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3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notesSlides/notesSlide14.xml" ContentType="application/vnd.openxmlformats-officedocument.presentationml.notesSlid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5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6.xml" ContentType="application/vnd.openxmlformats-officedocument.presentationml.notesSlid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4.xml" ContentType="application/vnd.openxmlformats-officedocument.presentationml.notesSlide+xml"/>
  <Override PartName="/ppt/charts/chart1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5.xml" ContentType="application/vnd.openxmlformats-officedocument.presentationml.notesSlide+xml"/>
  <Override PartName="/ppt/charts/chart1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rts/chart19.xml" ContentType="application/vnd.openxmlformats-officedocument.drawingml.chart+xml"/>
  <Override PartName="/ppt/notesSlides/notesSlide30.xml" ContentType="application/vnd.openxmlformats-officedocument.presentationml.notesSlide+xml"/>
  <Override PartName="/ppt/charts/chart2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</p:sldMasterIdLst>
  <p:notesMasterIdLst>
    <p:notesMasterId r:id="rId59"/>
  </p:notesMasterIdLst>
  <p:sldIdLst>
    <p:sldId id="417" r:id="rId2"/>
    <p:sldId id="410" r:id="rId3"/>
    <p:sldId id="362" r:id="rId4"/>
    <p:sldId id="391" r:id="rId5"/>
    <p:sldId id="364" r:id="rId6"/>
    <p:sldId id="462" r:id="rId7"/>
    <p:sldId id="365" r:id="rId8"/>
    <p:sldId id="459" r:id="rId9"/>
    <p:sldId id="371" r:id="rId10"/>
    <p:sldId id="463" r:id="rId11"/>
    <p:sldId id="393" r:id="rId12"/>
    <p:sldId id="394" r:id="rId13"/>
    <p:sldId id="467" r:id="rId14"/>
    <p:sldId id="466" r:id="rId15"/>
    <p:sldId id="464" r:id="rId16"/>
    <p:sldId id="465" r:id="rId17"/>
    <p:sldId id="468" r:id="rId18"/>
    <p:sldId id="469" r:id="rId19"/>
    <p:sldId id="471" r:id="rId20"/>
    <p:sldId id="470" r:id="rId21"/>
    <p:sldId id="511" r:id="rId22"/>
    <p:sldId id="510" r:id="rId23"/>
    <p:sldId id="513" r:id="rId24"/>
    <p:sldId id="512" r:id="rId25"/>
    <p:sldId id="509" r:id="rId26"/>
    <p:sldId id="508" r:id="rId27"/>
    <p:sldId id="453" r:id="rId28"/>
    <p:sldId id="431" r:id="rId29"/>
    <p:sldId id="476" r:id="rId30"/>
    <p:sldId id="503" r:id="rId31"/>
    <p:sldId id="507" r:id="rId32"/>
    <p:sldId id="501" r:id="rId33"/>
    <p:sldId id="502" r:id="rId34"/>
    <p:sldId id="500" r:id="rId35"/>
    <p:sldId id="456" r:id="rId36"/>
    <p:sldId id="457" r:id="rId37"/>
    <p:sldId id="475" r:id="rId38"/>
    <p:sldId id="458" r:id="rId39"/>
    <p:sldId id="496" r:id="rId40"/>
    <p:sldId id="493" r:id="rId41"/>
    <p:sldId id="514" r:id="rId42"/>
    <p:sldId id="477" r:id="rId43"/>
    <p:sldId id="515" r:id="rId44"/>
    <p:sldId id="478" r:id="rId45"/>
    <p:sldId id="492" r:id="rId46"/>
    <p:sldId id="481" r:id="rId47"/>
    <p:sldId id="482" r:id="rId48"/>
    <p:sldId id="497" r:id="rId49"/>
    <p:sldId id="485" r:id="rId50"/>
    <p:sldId id="486" r:id="rId51"/>
    <p:sldId id="487" r:id="rId52"/>
    <p:sldId id="494" r:id="rId53"/>
    <p:sldId id="488" r:id="rId54"/>
    <p:sldId id="498" r:id="rId55"/>
    <p:sldId id="489" r:id="rId56"/>
    <p:sldId id="490" r:id="rId57"/>
    <p:sldId id="491" r:id="rId58"/>
  </p:sldIdLst>
  <p:sldSz cx="9144000" cy="6858000" type="screen4x3"/>
  <p:notesSz cx="6877050" cy="9656763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2">
          <p15:clr>
            <a:srgbClr val="A4A3A4"/>
          </p15:clr>
        </p15:guide>
        <p15:guide id="2" pos="216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FF99"/>
    <a:srgbClr val="FFFFCC"/>
    <a:srgbClr val="FF6600"/>
    <a:srgbClr val="66FFFF"/>
    <a:srgbClr val="000066"/>
    <a:srgbClr val="000099"/>
    <a:srgbClr val="003366"/>
    <a:srgbClr val="CCECFF"/>
    <a:srgbClr val="1F497D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4" autoAdjust="0"/>
    <p:restoredTop sz="97093" autoAdjust="0"/>
  </p:normalViewPr>
  <p:slideViewPr>
    <p:cSldViewPr>
      <p:cViewPr varScale="1">
        <p:scale>
          <a:sx n="103" d="100"/>
          <a:sy n="103" d="100"/>
        </p:scale>
        <p:origin x="258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66" d="100"/>
        <a:sy n="66" d="100"/>
      </p:scale>
      <p:origin x="0" y="1824"/>
    </p:cViewPr>
  </p:sorterViewPr>
  <p:notesViewPr>
    <p:cSldViewPr>
      <p:cViewPr>
        <p:scale>
          <a:sx n="100" d="100"/>
          <a:sy n="100" d="100"/>
        </p:scale>
        <p:origin x="-864" y="1242"/>
      </p:cViewPr>
      <p:guideLst>
        <p:guide orient="horz" pos="3042"/>
        <p:guide pos="216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4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9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1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1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1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17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_al__ma_Sayfas_1.xlsx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1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1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_al__ma_Sayfas_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5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3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al__ma_Sayfas_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7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al__ma_Sayfas_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510498687664035E-2"/>
          <c:y val="2.9325798103238716E-2"/>
          <c:w val="0.91712992125984261"/>
          <c:h val="0.746679909819777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FFFF00"/>
              </a:solidFill>
              <a:effectLst>
                <a:glow>
                  <a:srgbClr val="FFFF00"/>
                </a:glow>
                <a:outerShdw blurRad="50800" dist="50800" dir="7200000" sx="3000" sy="3000" algn="ctr" rotWithShape="0">
                  <a:srgbClr val="1F497D"/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61E4-4A8A-AD79-02A6C85202A1}"/>
              </c:ext>
            </c:extLst>
          </c:dPt>
          <c:dLbls>
            <c:dLbl>
              <c:idx val="0"/>
              <c:layout>
                <c:manualLayout>
                  <c:x val="1.3888888888888634E-3"/>
                  <c:y val="-1.96890270623351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61E4-4A8A-AD79-02A6C85202A1}"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F4F1-4358-B558-A41DB9A465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rgbClr val="FFFF00"/>
                    </a:solidFill>
                  </a:defRPr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7</c:f>
              <c:strCache>
                <c:ptCount val="6"/>
                <c:pt idx="0">
                  <c:v>2000-2010</c:v>
                </c:pt>
                <c:pt idx="1">
                  <c:v>2010-2017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3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8</c:v>
                </c:pt>
                <c:pt idx="1">
                  <c:v>3.8</c:v>
                </c:pt>
                <c:pt idx="2">
                  <c:v>4.0999999999999996</c:v>
                </c:pt>
                <c:pt idx="3">
                  <c:v>3.2</c:v>
                </c:pt>
                <c:pt idx="4">
                  <c:v>3.2</c:v>
                </c:pt>
                <c:pt idx="5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1E4-4A8A-AD79-02A6C85202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5574400"/>
        <c:axId val="105575936"/>
      </c:barChart>
      <c:catAx>
        <c:axId val="105574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fr-FR" sz="2000" b="1" i="0" baseline="0">
                <a:solidFill>
                  <a:srgbClr val="FFFF00"/>
                </a:solidFill>
              </a:defRPr>
            </a:pPr>
            <a:endParaRPr lang="tr-TR"/>
          </a:p>
        </c:txPr>
        <c:crossAx val="105575936"/>
        <c:crosses val="autoZero"/>
        <c:auto val="1"/>
        <c:lblAlgn val="ctr"/>
        <c:lblOffset val="100"/>
        <c:noMultiLvlLbl val="0"/>
      </c:catAx>
      <c:valAx>
        <c:axId val="105575936"/>
        <c:scaling>
          <c:orientation val="minMax"/>
          <c:max val="8"/>
          <c:min val="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fr-FR" sz="2400" b="1" i="0" baseline="0">
                <a:solidFill>
                  <a:srgbClr val="FFFF00"/>
                </a:solidFill>
              </a:defRPr>
            </a:pPr>
            <a:endParaRPr lang="tr-TR"/>
          </a:p>
        </c:txPr>
        <c:crossAx val="105574400"/>
        <c:crosses val="autoZero"/>
        <c:crossBetween val="between"/>
        <c:majorUnit val="1"/>
        <c:minorUnit val="1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tr-TR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ayfa1!$B$1</c:f>
              <c:strCache>
                <c:ptCount val="1"/>
                <c:pt idx="0">
                  <c:v>Seri 1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600" b="1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ayfa1!$A$2:$A$6</c:f>
              <c:strCache>
                <c:ptCount val="5"/>
                <c:pt idx="0">
                  <c:v>Mısır</c:v>
                </c:pt>
                <c:pt idx="1">
                  <c:v>Fas</c:v>
                </c:pt>
                <c:pt idx="2">
                  <c:v>Cezayir</c:v>
                </c:pt>
                <c:pt idx="3">
                  <c:v>Tunus</c:v>
                </c:pt>
                <c:pt idx="4">
                  <c:v>Libya</c:v>
                </c:pt>
              </c:strCache>
            </c:strRef>
          </c:cat>
          <c:val>
            <c:numRef>
              <c:f>Sayfa1!$B$2:$B$6</c:f>
              <c:numCache>
                <c:formatCode>General</c:formatCode>
                <c:ptCount val="5"/>
                <c:pt idx="0">
                  <c:v>106.7</c:v>
                </c:pt>
                <c:pt idx="1">
                  <c:v>62.7</c:v>
                </c:pt>
                <c:pt idx="2">
                  <c:v>29.1</c:v>
                </c:pt>
                <c:pt idx="3">
                  <c:v>28.7</c:v>
                </c:pt>
                <c:pt idx="4">
                  <c:v>1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7A-4E33-91C0-DE465E9184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34630944"/>
        <c:axId val="434628976"/>
      </c:barChart>
      <c:catAx>
        <c:axId val="434630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6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34628976"/>
        <c:crosses val="autoZero"/>
        <c:auto val="1"/>
        <c:lblAlgn val="ctr"/>
        <c:lblOffset val="100"/>
        <c:noMultiLvlLbl val="0"/>
      </c:catAx>
      <c:valAx>
        <c:axId val="434628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34630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 b="1">
          <a:solidFill>
            <a:srgbClr val="FFFF00"/>
          </a:solidFill>
        </a:defRPr>
      </a:pPr>
      <a:endParaRPr lang="tr-T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896551724137928E-2"/>
          <c:y val="1.6129032258064523E-2"/>
          <c:w val="0.9094827586206895"/>
          <c:h val="0.967741935483873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2E2E2"/>
            </a:solidFill>
            <a:ln w="12519">
              <a:solidFill>
                <a:srgbClr val="FFFFFF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FF00"/>
              </a:solidFill>
              <a:ln w="12519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280-4579-A855-DEFD9B7FF342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80-4579-A855-DEFD9B7FF34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280-4579-A855-DEFD9B7FF34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280-4579-A855-DEFD9B7FF342}"/>
                </c:ext>
              </c:extLst>
            </c:dLbl>
            <c:dLbl>
              <c:idx val="3"/>
              <c:layout>
                <c:manualLayout>
                  <c:x val="-4.8996302202842417E-3"/>
                  <c:y val="1.383942385202700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280-4579-A855-DEFD9B7FF342}"/>
                </c:ext>
              </c:extLst>
            </c:dLbl>
            <c:dLbl>
              <c:idx val="4"/>
              <c:layout>
                <c:manualLayout>
                  <c:x val="5.9066335377485875E-3"/>
                  <c:y val="1.614340690487295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0280-4579-A855-DEFD9B7FF342}"/>
                </c:ext>
              </c:extLst>
            </c:dLbl>
            <c:dLbl>
              <c:idx val="5"/>
              <c:layout>
                <c:manualLayout>
                  <c:x val="-4.724211366305609E-3"/>
                  <c:y val="1.61435349310716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0280-4579-A855-DEFD9B7FF342}"/>
                </c:ext>
              </c:extLst>
            </c:dLbl>
            <c:dLbl>
              <c:idx val="6"/>
              <c:layout>
                <c:manualLayout>
                  <c:x val="-2.3116084367888192E-3"/>
                  <c:y val="1.6143370518479541E-2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rgbClr val="FFFF00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en-US" sz="1400" b="1" dirty="0"/>
                      <a:t>595</a:t>
                    </a:r>
                  </a:p>
                </c:rich>
              </c:tx>
              <c:spPr>
                <a:noFill/>
                <a:ln w="25039">
                  <a:noFill/>
                </a:ln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280-4579-A855-DEFD9B7FF342}"/>
                </c:ext>
              </c:extLst>
            </c:dLbl>
            <c:spPr>
              <a:noFill/>
              <a:ln w="25039">
                <a:noFill/>
              </a:ln>
            </c:spPr>
            <c:txPr>
              <a:bodyPr/>
              <a:lstStyle/>
              <a:p>
                <a:pPr>
                  <a:defRPr sz="1380" b="0" i="0" u="none" strike="noStrike" baseline="0">
                    <a:solidFill>
                      <a:srgbClr val="FFFF00"/>
                    </a:solidFill>
                    <a:latin typeface="Calibri"/>
                    <a:ea typeface="Calibri"/>
                    <a:cs typeface="Calibri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#,##0;\-#,##0</c:formatCode>
                <c:ptCount val="7"/>
                <c:pt idx="0">
                  <c:v>1499.0000000001705</c:v>
                </c:pt>
                <c:pt idx="1">
                  <c:v>1310.0000000001489</c:v>
                </c:pt>
                <c:pt idx="2">
                  <c:v>1270.0000000001451</c:v>
                </c:pt>
                <c:pt idx="3">
                  <c:v>990.00000000011255</c:v>
                </c:pt>
                <c:pt idx="4">
                  <c:v>823.00000000009356</c:v>
                </c:pt>
                <c:pt idx="5">
                  <c:v>805.00000000009152</c:v>
                </c:pt>
                <c:pt idx="6">
                  <c:v>595.00000000006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280-4579-A855-DEFD9B7FF3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46245888"/>
        <c:axId val="147238912"/>
      </c:barChart>
      <c:catAx>
        <c:axId val="14624588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519">
            <a:solidFill>
              <a:srgbClr val="808080"/>
            </a:solidFill>
            <a:prstDash val="solid"/>
          </a:ln>
        </c:spPr>
        <c:crossAx val="14723891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47238912"/>
        <c:scaling>
          <c:orientation val="minMax"/>
          <c:max val="1499"/>
          <c:min val="0"/>
        </c:scaling>
        <c:delete val="0"/>
        <c:axPos val="b"/>
        <c:numFmt formatCode="#,##0;\-#,##0" sourceLinked="1"/>
        <c:majorTickMark val="none"/>
        <c:minorTickMark val="none"/>
        <c:tickLblPos val="none"/>
        <c:spPr>
          <a:ln w="9390">
            <a:noFill/>
          </a:ln>
        </c:spPr>
        <c:crossAx val="146245888"/>
        <c:crosses val="max"/>
        <c:crossBetween val="between"/>
        <c:majorUnit val="50"/>
      </c:valAx>
      <c:spPr>
        <a:noFill/>
        <a:ln w="2503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83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tr-T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66666666666668E-2"/>
          <c:y val="2.0689655172413845E-2"/>
          <c:w val="0.90666666666666651"/>
          <c:h val="0.9655172413793103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2E2E2"/>
            </a:solidFill>
            <a:ln w="12686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FFFF00"/>
              </a:solidFill>
              <a:ln w="12686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C1F-4BC2-B72A-ACE6858F391A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#,##0.0"%";\-#,##0.0"%"</c:formatCode>
                <c:ptCount val="7"/>
                <c:pt idx="0">
                  <c:v>72.700000000008274</c:v>
                </c:pt>
                <c:pt idx="1">
                  <c:v>64.600000000007341</c:v>
                </c:pt>
                <c:pt idx="2">
                  <c:v>62.40000000000709</c:v>
                </c:pt>
                <c:pt idx="3">
                  <c:v>58.200000000006604</c:v>
                </c:pt>
                <c:pt idx="4">
                  <c:v>51.800000000005888</c:v>
                </c:pt>
                <c:pt idx="5">
                  <c:v>49.300000000005596</c:v>
                </c:pt>
                <c:pt idx="6">
                  <c:v>40.1000000000045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1F-4BC2-B72A-ACE6858F39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47971072"/>
        <c:axId val="147985152"/>
      </c:barChart>
      <c:catAx>
        <c:axId val="14797107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686">
            <a:solidFill>
              <a:srgbClr val="808080"/>
            </a:solidFill>
            <a:prstDash val="solid"/>
          </a:ln>
        </c:spPr>
        <c:crossAx val="14798515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47985152"/>
        <c:scaling>
          <c:orientation val="minMax"/>
          <c:max val="72.7"/>
          <c:min val="0"/>
        </c:scaling>
        <c:delete val="0"/>
        <c:axPos val="b"/>
        <c:numFmt formatCode="#,##0.0&quot;%&quot;;\-#,##0.0&quot;%&quot;" sourceLinked="1"/>
        <c:majorTickMark val="none"/>
        <c:minorTickMark val="none"/>
        <c:tickLblPos val="none"/>
        <c:spPr>
          <a:ln w="9515">
            <a:noFill/>
          </a:ln>
        </c:spPr>
        <c:crossAx val="147971072"/>
        <c:crosses val="max"/>
        <c:crossBetween val="between"/>
        <c:majorUnit val="50"/>
      </c:valAx>
      <c:spPr>
        <a:noFill/>
        <a:ln w="2537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9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tr-T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873303167420823E-2"/>
          <c:y val="2.0689655172413845E-2"/>
          <c:w val="0.90045248868778249"/>
          <c:h val="0.9655172413793103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2E2E2"/>
            </a:solidFill>
            <a:ln w="12693">
              <a:solidFill>
                <a:srgbClr val="FFFFFF"/>
              </a:solidFill>
              <a:prstDash val="solid"/>
            </a:ln>
          </c:spPr>
          <c:invertIfNegative val="0"/>
          <c:dPt>
            <c:idx val="6"/>
            <c:invertIfNegative val="0"/>
            <c:bubble3D val="0"/>
            <c:spPr>
              <a:solidFill>
                <a:srgbClr val="FFFF00"/>
              </a:solidFill>
              <a:ln w="12693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EC2-431C-BA13-F931939ADC4F}"/>
              </c:ext>
            </c:extLst>
          </c:dPt>
          <c:cat>
            <c:numRef>
              <c:f>Sheet1!$B$1:$H$1</c:f>
              <c:numCache>
                <c:formatCode>General</c:formatCode>
                <c:ptCount val="7"/>
              </c:numCache>
            </c:numRef>
          </c:cat>
          <c:val>
            <c:numRef>
              <c:f>Sheet1!$B$2:$H$2</c:f>
              <c:numCache>
                <c:formatCode>#,##0;\-#,##0</c:formatCode>
                <c:ptCount val="7"/>
                <c:pt idx="0">
                  <c:v>32090.000000003649</c:v>
                </c:pt>
                <c:pt idx="1">
                  <c:v>12498.000000001422</c:v>
                </c:pt>
                <c:pt idx="2">
                  <c:v>6279.000000000714</c:v>
                </c:pt>
                <c:pt idx="3">
                  <c:v>5966.0000000006794</c:v>
                </c:pt>
                <c:pt idx="4">
                  <c:v>5793.0000000006594</c:v>
                </c:pt>
                <c:pt idx="5">
                  <c:v>5763.0000000006548</c:v>
                </c:pt>
                <c:pt idx="6">
                  <c:v>5538.0000000006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C2-431C-BA13-F931939ADC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50249472"/>
        <c:axId val="150251008"/>
      </c:barChart>
      <c:catAx>
        <c:axId val="15024947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693">
            <a:solidFill>
              <a:srgbClr val="808080"/>
            </a:solidFill>
            <a:prstDash val="solid"/>
          </a:ln>
        </c:spPr>
        <c:crossAx val="1502510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50251008"/>
        <c:scaling>
          <c:orientation val="minMax"/>
          <c:max val="32090"/>
          <c:min val="0"/>
        </c:scaling>
        <c:delete val="0"/>
        <c:axPos val="b"/>
        <c:numFmt formatCode="#,##0;\-#,##0" sourceLinked="1"/>
        <c:majorTickMark val="none"/>
        <c:minorTickMark val="none"/>
        <c:tickLblPos val="none"/>
        <c:spPr>
          <a:ln w="9520">
            <a:noFill/>
          </a:ln>
        </c:spPr>
        <c:crossAx val="150249472"/>
        <c:crosses val="max"/>
        <c:crossBetween val="between"/>
        <c:majorUnit val="64.179999999999978"/>
      </c:valAx>
      <c:spPr>
        <a:noFill/>
        <a:ln w="2538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9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tr-TR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499992653392567E-2"/>
          <c:y val="4.0084061969897208E-2"/>
          <c:w val="0.90546374081903658"/>
          <c:h val="0.8411936401759672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6"/>
              <c:layout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rgbClr val="FFFF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CED9-4569-886C-227BB59C99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ayfa1!$A$2:$A$8</c:f>
              <c:numCache>
                <c:formatCode>General</c:formatCode>
                <c:ptCount val="7"/>
                <c:pt idx="0">
                  <c:v>2001</c:v>
                </c:pt>
                <c:pt idx="1">
                  <c:v>2005</c:v>
                </c:pt>
                <c:pt idx="2">
                  <c:v>2010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Sayfa1!$B$2:$B$8</c:f>
              <c:numCache>
                <c:formatCode>General</c:formatCode>
                <c:ptCount val="7"/>
                <c:pt idx="0">
                  <c:v>11.036685</c:v>
                </c:pt>
                <c:pt idx="1">
                  <c:v>20.803177000000002</c:v>
                </c:pt>
                <c:pt idx="2">
                  <c:v>35.378881999999997</c:v>
                </c:pt>
                <c:pt idx="3">
                  <c:v>46.191743000000002</c:v>
                </c:pt>
                <c:pt idx="4">
                  <c:v>37.545665999999997</c:v>
                </c:pt>
                <c:pt idx="5">
                  <c:v>41.696102000000003</c:v>
                </c:pt>
                <c:pt idx="6">
                  <c:v>45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D9-4569-886C-227BB59C9978}"/>
            </c:ext>
          </c:extLst>
        </c:ser>
        <c:ser>
          <c:idx val="1"/>
          <c:order val="1"/>
          <c:spPr>
            <a:solidFill>
              <a:srgbClr val="FFFF99"/>
            </a:solidFill>
            <a:ln>
              <a:noFill/>
            </a:ln>
            <a:effectLst/>
          </c:spPr>
          <c:invertIfNegative val="0"/>
          <c:dLbls>
            <c:dLbl>
              <c:idx val="6"/>
              <c:layout>
                <c:manualLayout>
                  <c:x val="1.3120581704376083E-2"/>
                  <c:y val="-7.89713249108312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ED9-4569-886C-227BB59C99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ayfa1!$A$2:$A$8</c:f>
              <c:numCache>
                <c:formatCode>General</c:formatCode>
                <c:ptCount val="7"/>
                <c:pt idx="0">
                  <c:v>2001</c:v>
                </c:pt>
                <c:pt idx="1">
                  <c:v>2005</c:v>
                </c:pt>
                <c:pt idx="2">
                  <c:v>2010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</c:numCache>
            </c:numRef>
          </c:cat>
          <c:val>
            <c:numRef>
              <c:f>Sayfa1!$C$2:$C$8</c:f>
              <c:numCache>
                <c:formatCode>General</c:formatCode>
                <c:ptCount val="7"/>
                <c:pt idx="0">
                  <c:v>7.1440789999999996</c:v>
                </c:pt>
                <c:pt idx="1">
                  <c:v>11.184847</c:v>
                </c:pt>
                <c:pt idx="2">
                  <c:v>17.764790999999999</c:v>
                </c:pt>
                <c:pt idx="3">
                  <c:v>23.815816000000002</c:v>
                </c:pt>
                <c:pt idx="4">
                  <c:v>22.036819999999999</c:v>
                </c:pt>
                <c:pt idx="5">
                  <c:v>22.858288999999999</c:v>
                </c:pt>
                <c:pt idx="6">
                  <c:v>25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D9-4569-886C-227BB59C99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69445792"/>
        <c:axId val="369448416"/>
      </c:barChart>
      <c:catAx>
        <c:axId val="369445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369448416"/>
        <c:crosses val="autoZero"/>
        <c:auto val="1"/>
        <c:lblAlgn val="ctr"/>
        <c:lblOffset val="100"/>
        <c:noMultiLvlLbl val="0"/>
      </c:catAx>
      <c:valAx>
        <c:axId val="3694484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369445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44444125434251"/>
          <c:y val="9.1456048830395292E-2"/>
          <c:w val="0.41765060292446138"/>
          <c:h val="0.3823561857759153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28B-471A-A01B-078C8BEED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28B-471A-A01B-078C8BEED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28B-471A-A01B-078C8BEED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28B-471A-A01B-078C8BEED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28B-471A-A01B-078C8BEED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28B-471A-A01B-078C8BEED5E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28B-471A-A01B-078C8BEED5EE}"/>
              </c:ext>
            </c:extLst>
          </c:dPt>
          <c:dLbls>
            <c:dLbl>
              <c:idx val="0"/>
              <c:layout>
                <c:manualLayout>
                  <c:x val="4.5223800269915362E-2"/>
                  <c:y val="1.6332496702244348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094720805156439"/>
                      <c:h val="0.2358118268549190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28B-471A-A01B-078C8BEED5EE}"/>
                </c:ext>
              </c:extLst>
            </c:dLbl>
            <c:dLbl>
              <c:idx val="1"/>
              <c:layout>
                <c:manualLayout>
                  <c:x val="1.4492565342202121E-2"/>
                  <c:y val="4.848998259452653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28B-471A-A01B-078C8BEED5EE}"/>
                </c:ext>
              </c:extLst>
            </c:dLbl>
            <c:dLbl>
              <c:idx val="2"/>
              <c:layout>
                <c:manualLayout>
                  <c:x val="2.3136478129916142E-2"/>
                  <c:y val="-1.848163115780617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FFF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586206371335083"/>
                      <c:h val="0.182004314335444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928B-471A-A01B-078C8BEED5EE}"/>
                </c:ext>
              </c:extLst>
            </c:dLbl>
            <c:dLbl>
              <c:idx val="3"/>
              <c:layout>
                <c:manualLayout>
                  <c:x val="0.16622872996190388"/>
                  <c:y val="8.054637447690997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49483026476111"/>
                      <c:h val="0.1959563178426183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928B-471A-A01B-078C8BEED5EE}"/>
                </c:ext>
              </c:extLst>
            </c:dLbl>
            <c:dLbl>
              <c:idx val="4"/>
              <c:layout>
                <c:manualLayout>
                  <c:x val="2.1453709444470325E-3"/>
                  <c:y val="0.1292096017109209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11464675967903"/>
                      <c:h val="0.235811761656112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928B-471A-A01B-078C8BEED5EE}"/>
                </c:ext>
              </c:extLst>
            </c:dLbl>
            <c:dLbl>
              <c:idx val="5"/>
              <c:layout>
                <c:manualLayout>
                  <c:x val="-2.8528864176381837E-2"/>
                  <c:y val="0.1295897678035773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928B-471A-A01B-078C8BEED5EE}"/>
                </c:ext>
              </c:extLst>
            </c:dLbl>
            <c:dLbl>
              <c:idx val="6"/>
              <c:layout>
                <c:manualLayout>
                  <c:x val="-1.8940323834986075E-2"/>
                  <c:y val="1.76369292300855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FFF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187436163006978"/>
                      <c:h val="0.2180873421471688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928B-471A-A01B-078C8BEED5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Trade_Map_-_List_of_products_exported_by_Morocco.xls]Sayfa1'!$D$3:$D$9</c:f>
              <c:strCache>
                <c:ptCount val="7"/>
                <c:pt idx="0">
                  <c:v>E-Kablo</c:v>
                </c:pt>
                <c:pt idx="1">
                  <c:v>Tarım</c:v>
                </c:pt>
                <c:pt idx="2">
                  <c:v>Tekstil-K</c:v>
                </c:pt>
                <c:pt idx="3">
                  <c:v>Fosfat</c:v>
                </c:pt>
                <c:pt idx="4">
                  <c:v>Otomotiv</c:v>
                </c:pt>
                <c:pt idx="5">
                  <c:v>Balık</c:v>
                </c:pt>
                <c:pt idx="6">
                  <c:v>Diğer</c:v>
                </c:pt>
              </c:strCache>
            </c:strRef>
          </c:cat>
          <c:val>
            <c:numRef>
              <c:f>'[Trade_Map_-_List_of_products_exported_by_Morocco.xls]Sayfa1'!$E$3:$E$9</c:f>
              <c:numCache>
                <c:formatCode>General</c:formatCode>
                <c:ptCount val="7"/>
                <c:pt idx="0">
                  <c:v>16.5</c:v>
                </c:pt>
                <c:pt idx="1">
                  <c:v>16.600000000000001</c:v>
                </c:pt>
                <c:pt idx="2">
                  <c:v>15.5</c:v>
                </c:pt>
                <c:pt idx="3">
                  <c:v>14.5</c:v>
                </c:pt>
                <c:pt idx="4">
                  <c:v>13.3</c:v>
                </c:pt>
                <c:pt idx="5">
                  <c:v>5.2</c:v>
                </c:pt>
                <c:pt idx="6">
                  <c:v>18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28B-471A-A01B-078C8BEED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416814549682509"/>
          <c:y val="5.3411328754393979E-2"/>
          <c:w val="0.375"/>
          <c:h val="0.62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416-41F0-BB81-31A004C8E3A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416-41F0-BB81-31A004C8E3A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416-41F0-BB81-31A004C8E3A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416-41F0-BB81-31A004C8E3A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416-41F0-BB81-31A004C8E3A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416-41F0-BB81-31A004C8E3A4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0416-41F0-BB81-31A004C8E3A4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416-41F0-BB81-31A004C8E3A4}"/>
              </c:ext>
            </c:extLst>
          </c:dPt>
          <c:dLbls>
            <c:dLbl>
              <c:idx val="0"/>
              <c:layout>
                <c:manualLayout>
                  <c:x val="7.1116373216210782E-2"/>
                  <c:y val="2.952748074032184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828850263693283"/>
                      <c:h val="0.3333334517378467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416-41F0-BB81-31A004C8E3A4}"/>
                </c:ext>
              </c:extLst>
            </c:dLbl>
            <c:dLbl>
              <c:idx val="1"/>
              <c:layout>
                <c:manualLayout>
                  <c:x val="2.5575787401574804E-2"/>
                  <c:y val="7.176618547681540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416-41F0-BB81-31A004C8E3A4}"/>
                </c:ext>
              </c:extLst>
            </c:dLbl>
            <c:dLbl>
              <c:idx val="2"/>
              <c:layout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972222222222223"/>
                      <c:h val="0.329861111111111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416-41F0-BB81-31A004C8E3A4}"/>
                </c:ext>
              </c:extLst>
            </c:dLbl>
            <c:dLbl>
              <c:idx val="3"/>
              <c:layout>
                <c:manualLayout>
                  <c:x val="-1.6666666666666718E-2"/>
                  <c:y val="-9.2592592592592587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430555555555557"/>
                      <c:h val="0.329861111111111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416-41F0-BB81-31A004C8E3A4}"/>
                </c:ext>
              </c:extLst>
            </c:dLbl>
            <c:dLbl>
              <c:idx val="4"/>
              <c:layout>
                <c:manualLayout>
                  <c:x val="-6.3888888888888884E-2"/>
                  <c:y val="-5.947287839020122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597222222222221"/>
                      <c:h val="0.329861111111111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0416-41F0-BB81-31A004C8E3A4}"/>
                </c:ext>
              </c:extLst>
            </c:dLbl>
            <c:dLbl>
              <c:idx val="5"/>
              <c:layout>
                <c:manualLayout>
                  <c:x val="-0.10968110224188861"/>
                  <c:y val="-0.2427170567858574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734475899248104"/>
                      <c:h val="0.324807261133102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0416-41F0-BB81-31A004C8E3A4}"/>
                </c:ext>
              </c:extLst>
            </c:dLbl>
            <c:dLbl>
              <c:idx val="6"/>
              <c:layout>
                <c:manualLayout>
                  <c:x val="-7.5512835437055253E-2"/>
                  <c:y val="-6.11038331803547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0416-41F0-BB81-31A004C8E3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ayfa1!$E$4:$E$11</c:f>
              <c:strCache>
                <c:ptCount val="7"/>
                <c:pt idx="0">
                  <c:v>Makine E.</c:v>
                </c:pt>
                <c:pt idx="1">
                  <c:v>Petrol</c:v>
                </c:pt>
                <c:pt idx="2">
                  <c:v>Otomotiv</c:v>
                </c:pt>
                <c:pt idx="3">
                  <c:v>Tekstil K.</c:v>
                </c:pt>
                <c:pt idx="4">
                  <c:v>Demir-Ç.</c:v>
                </c:pt>
                <c:pt idx="5">
                  <c:v>Plastik</c:v>
                </c:pt>
                <c:pt idx="6">
                  <c:v>Diğer</c:v>
                </c:pt>
              </c:strCache>
            </c:strRef>
          </c:cat>
          <c:val>
            <c:numRef>
              <c:f>Sayfa1!$F$4:$F$11</c:f>
              <c:numCache>
                <c:formatCode>General</c:formatCode>
                <c:ptCount val="8"/>
                <c:pt idx="0">
                  <c:v>21</c:v>
                </c:pt>
                <c:pt idx="1">
                  <c:v>16</c:v>
                </c:pt>
                <c:pt idx="2">
                  <c:v>10</c:v>
                </c:pt>
                <c:pt idx="3">
                  <c:v>8</c:v>
                </c:pt>
                <c:pt idx="4">
                  <c:v>4.7</c:v>
                </c:pt>
                <c:pt idx="5">
                  <c:v>4.2</c:v>
                </c:pt>
                <c:pt idx="6">
                  <c:v>3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416-41F0-BB81-31A004C8E3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291324112135688E-2"/>
          <c:y val="4.5507174161411576E-2"/>
          <c:w val="0.92848097896530013"/>
          <c:h val="0.6701336667401798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013-46FF-810A-F223CA2C79D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04C-4D2F-9F8D-7A794A5EE678}"/>
              </c:ext>
            </c:extLst>
          </c:dPt>
          <c:cat>
            <c:strRef>
              <c:f>Sayfa1!$C$4:$C$13</c:f>
              <c:strCache>
                <c:ptCount val="10"/>
                <c:pt idx="0">
                  <c:v>İspanya</c:v>
                </c:pt>
                <c:pt idx="1">
                  <c:v>Fransa</c:v>
                </c:pt>
                <c:pt idx="2">
                  <c:v>İtalya</c:v>
                </c:pt>
                <c:pt idx="3">
                  <c:v>ABD</c:v>
                </c:pt>
                <c:pt idx="4">
                  <c:v>Brezilya</c:v>
                </c:pt>
                <c:pt idx="5">
                  <c:v>Almanya</c:v>
                </c:pt>
                <c:pt idx="6">
                  <c:v>Türkiye</c:v>
                </c:pt>
                <c:pt idx="7">
                  <c:v>Hindistan</c:v>
                </c:pt>
                <c:pt idx="8">
                  <c:v>İngiltere</c:v>
                </c:pt>
                <c:pt idx="9">
                  <c:v>Hollanda</c:v>
                </c:pt>
              </c:strCache>
            </c:strRef>
          </c:cat>
          <c:val>
            <c:numRef>
              <c:f>Sayfa1!$D$4:$D$13</c:f>
              <c:numCache>
                <c:formatCode>General</c:formatCode>
                <c:ptCount val="10"/>
                <c:pt idx="0">
                  <c:v>6.0624500000000001</c:v>
                </c:pt>
                <c:pt idx="1">
                  <c:v>5.856471</c:v>
                </c:pt>
                <c:pt idx="2">
                  <c:v>1.1784809999999999</c:v>
                </c:pt>
                <c:pt idx="3">
                  <c:v>1.009722</c:v>
                </c:pt>
                <c:pt idx="4">
                  <c:v>0.75662099999999999</c:v>
                </c:pt>
                <c:pt idx="5">
                  <c:v>0.72248900000000005</c:v>
                </c:pt>
                <c:pt idx="6">
                  <c:v>0.70682199999999995</c:v>
                </c:pt>
                <c:pt idx="7">
                  <c:v>0.66475399999999996</c:v>
                </c:pt>
                <c:pt idx="8">
                  <c:v>0.60486700000000004</c:v>
                </c:pt>
                <c:pt idx="9">
                  <c:v>0.5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B2-4E86-AE83-2A413CE2FC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98988424"/>
        <c:axId val="498984160"/>
      </c:barChart>
      <c:catAx>
        <c:axId val="498988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rgbClr val="FFFF99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98984160"/>
        <c:crosses val="autoZero"/>
        <c:auto val="1"/>
        <c:lblAlgn val="ctr"/>
        <c:lblOffset val="100"/>
        <c:noMultiLvlLbl val="0"/>
      </c:catAx>
      <c:valAx>
        <c:axId val="498984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98988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7B2-4E86-AE83-2A413CE2FCA6}"/>
              </c:ext>
            </c:extLst>
          </c:dPt>
          <c:cat>
            <c:strRef>
              <c:f>Sayfa1!$C$4:$C$13</c:f>
              <c:strCache>
                <c:ptCount val="10"/>
                <c:pt idx="0">
                  <c:v>İspanya</c:v>
                </c:pt>
                <c:pt idx="1">
                  <c:v>Fransa</c:v>
                </c:pt>
                <c:pt idx="2">
                  <c:v>Çin</c:v>
                </c:pt>
                <c:pt idx="3">
                  <c:v>ABD</c:v>
                </c:pt>
                <c:pt idx="4">
                  <c:v>Almanya</c:v>
                </c:pt>
                <c:pt idx="5">
                  <c:v>İtalya</c:v>
                </c:pt>
                <c:pt idx="6">
                  <c:v>Türkiye</c:v>
                </c:pt>
                <c:pt idx="7">
                  <c:v>Partekiz</c:v>
                </c:pt>
                <c:pt idx="8">
                  <c:v>İngiltere</c:v>
                </c:pt>
                <c:pt idx="9">
                  <c:v>Rusya</c:v>
                </c:pt>
              </c:strCache>
            </c:strRef>
          </c:cat>
          <c:val>
            <c:numRef>
              <c:f>Sayfa1!$D$4:$D$13</c:f>
              <c:numCache>
                <c:formatCode>General</c:formatCode>
                <c:ptCount val="10"/>
                <c:pt idx="0">
                  <c:v>7.6087480000000003</c:v>
                </c:pt>
                <c:pt idx="1">
                  <c:v>5.3641519999999998</c:v>
                </c:pt>
                <c:pt idx="2">
                  <c:v>4.0825069999999997</c:v>
                </c:pt>
                <c:pt idx="3">
                  <c:v>3.0870549999999999</c:v>
                </c:pt>
                <c:pt idx="4">
                  <c:v>2.7192889999999998</c:v>
                </c:pt>
                <c:pt idx="5">
                  <c:v>2.6215820000000001</c:v>
                </c:pt>
                <c:pt idx="6">
                  <c:v>1.983139</c:v>
                </c:pt>
                <c:pt idx="7">
                  <c:v>1.3877729999999999</c:v>
                </c:pt>
                <c:pt idx="8">
                  <c:v>1.023917</c:v>
                </c:pt>
                <c:pt idx="9">
                  <c:v>0.963655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B2-4E86-AE83-2A413CE2FC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98988424"/>
        <c:axId val="498984160"/>
      </c:barChart>
      <c:catAx>
        <c:axId val="498988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98984160"/>
        <c:crosses val="autoZero"/>
        <c:auto val="1"/>
        <c:lblAlgn val="ctr"/>
        <c:lblOffset val="100"/>
        <c:noMultiLvlLbl val="0"/>
      </c:catAx>
      <c:valAx>
        <c:axId val="498984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98988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4994596263703676E-2"/>
          <c:y val="4.7376543209876554E-2"/>
          <c:w val="0.90663270032422416"/>
          <c:h val="0.7664724895499174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İhracat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numRef>
              <c:f>Sheet1!$A$2:$A$12</c:f>
              <c:numCache>
                <c:formatCode>General</c:formatCode>
                <c:ptCount val="11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B$12</c:f>
              <c:numCache>
                <c:formatCode>#,##0</c:formatCode>
                <c:ptCount val="11"/>
                <c:pt idx="0">
                  <c:v>70</c:v>
                </c:pt>
                <c:pt idx="1">
                  <c:v>371</c:v>
                </c:pt>
                <c:pt idx="2">
                  <c:v>624</c:v>
                </c:pt>
                <c:pt idx="3">
                  <c:v>921</c:v>
                </c:pt>
                <c:pt idx="4">
                  <c:v>1015</c:v>
                </c:pt>
                <c:pt idx="5">
                  <c:v>1194</c:v>
                </c:pt>
                <c:pt idx="6">
                  <c:v>1407</c:v>
                </c:pt>
                <c:pt idx="7">
                  <c:v>1338</c:v>
                </c:pt>
                <c:pt idx="8">
                  <c:v>1550</c:v>
                </c:pt>
                <c:pt idx="9">
                  <c:v>1657</c:v>
                </c:pt>
                <c:pt idx="10">
                  <c:v>19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A2-4D45-8C28-261004B1FA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İthalat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</c:spPr>
          <c:invertIfNegative val="0"/>
          <c:cat>
            <c:numRef>
              <c:f>Sheet1!$A$2:$A$12</c:f>
              <c:numCache>
                <c:formatCode>General</c:formatCode>
                <c:ptCount val="11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C$2:$C$12</c:f>
              <c:numCache>
                <c:formatCode>#,##0</c:formatCode>
                <c:ptCount val="11"/>
                <c:pt idx="0">
                  <c:v>73</c:v>
                </c:pt>
                <c:pt idx="1">
                  <c:v>143</c:v>
                </c:pt>
                <c:pt idx="2">
                  <c:v>397</c:v>
                </c:pt>
                <c:pt idx="3">
                  <c:v>420</c:v>
                </c:pt>
                <c:pt idx="4">
                  <c:v>430</c:v>
                </c:pt>
                <c:pt idx="5">
                  <c:v>572</c:v>
                </c:pt>
                <c:pt idx="6">
                  <c:v>640</c:v>
                </c:pt>
                <c:pt idx="7">
                  <c:v>711</c:v>
                </c:pt>
                <c:pt idx="8">
                  <c:v>922</c:v>
                </c:pt>
                <c:pt idx="9">
                  <c:v>924</c:v>
                </c:pt>
                <c:pt idx="10">
                  <c:v>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A2-4D45-8C28-261004B1FA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50504960"/>
        <c:axId val="150506496"/>
        <c:axId val="0"/>
      </c:bar3DChart>
      <c:catAx>
        <c:axId val="150504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fr-FR" sz="2000" b="1" i="0" baseline="0">
                <a:solidFill>
                  <a:srgbClr val="FFFF00"/>
                </a:solidFill>
              </a:defRPr>
            </a:pPr>
            <a:endParaRPr lang="tr-TR"/>
          </a:p>
        </c:txPr>
        <c:crossAx val="150506496"/>
        <c:crosses val="autoZero"/>
        <c:auto val="1"/>
        <c:lblAlgn val="ctr"/>
        <c:lblOffset val="100"/>
        <c:noMultiLvlLbl val="0"/>
      </c:catAx>
      <c:valAx>
        <c:axId val="150506496"/>
        <c:scaling>
          <c:orientation val="minMax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numFmt formatCode="#,##0" sourceLinked="1"/>
        <c:majorTickMark val="out"/>
        <c:minorTickMark val="none"/>
        <c:tickLblPos val="nextTo"/>
        <c:spPr>
          <a:ln>
            <a:solidFill>
              <a:schemeClr val="bg1"/>
            </a:solidFill>
          </a:ln>
        </c:spPr>
        <c:txPr>
          <a:bodyPr/>
          <a:lstStyle/>
          <a:p>
            <a:pPr>
              <a:defRPr lang="fr-FR" sz="2000" b="1" i="0" baseline="0">
                <a:solidFill>
                  <a:srgbClr val="FFFF00"/>
                </a:solidFill>
              </a:defRPr>
            </a:pPr>
            <a:endParaRPr lang="tr-TR"/>
          </a:p>
        </c:txPr>
        <c:crossAx val="150504960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2400" b="1" i="0" baseline="0">
                <a:solidFill>
                  <a:srgbClr val="FFC000"/>
                </a:solidFill>
              </a:defRPr>
            </a:pPr>
            <a:endParaRPr lang="tr-TR"/>
          </a:p>
        </c:txPr>
      </c:legendEntry>
      <c:legendEntry>
        <c:idx val="1"/>
        <c:txPr>
          <a:bodyPr/>
          <a:lstStyle/>
          <a:p>
            <a:pPr>
              <a:defRPr sz="2400" b="1" i="0" baseline="0">
                <a:solidFill>
                  <a:schemeClr val="accent3">
                    <a:lumMod val="95000"/>
                  </a:schemeClr>
                </a:solidFill>
              </a:defRPr>
            </a:pPr>
            <a:endParaRPr lang="tr-TR"/>
          </a:p>
        </c:txPr>
      </c:legendEntry>
      <c:layout>
        <c:manualLayout>
          <c:xMode val="edge"/>
          <c:yMode val="edge"/>
          <c:x val="0.28799571164082599"/>
          <c:y val="0.10603189557885379"/>
          <c:w val="0.29980902977003154"/>
          <c:h val="0.1297629941702384"/>
        </c:manualLayout>
      </c:layout>
      <c:overlay val="0"/>
      <c:txPr>
        <a:bodyPr/>
        <a:lstStyle/>
        <a:p>
          <a:pPr>
            <a:defRPr lang="fr-FR" sz="2000" baseline="0"/>
          </a:pPr>
          <a:endParaRPr lang="tr-TR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tr-T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fr-FR"/>
            </a:pPr>
            <a:r>
              <a:rPr lang="tr-TR" dirty="0" smtClean="0">
                <a:solidFill>
                  <a:schemeClr val="bg1"/>
                </a:solidFill>
              </a:rPr>
              <a:t>GSMH </a:t>
            </a:r>
            <a:endParaRPr lang="tr-TR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6314643200563923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244951710346361"/>
          <c:y val="0.20922364347576636"/>
          <c:w val="0.69098285056449671"/>
          <c:h val="0.59816425869762402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 w="13586">
              <a:solidFill>
                <a:srgbClr val="000000"/>
              </a:solidFill>
              <a:prstDash val="solid"/>
            </a:ln>
          </c:spPr>
          <c:dPt>
            <c:idx val="0"/>
            <c:bubble3D val="0"/>
            <c:spPr>
              <a:solidFill>
                <a:srgbClr val="FF0000"/>
              </a:solidFill>
              <a:ln w="13586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CC9-4998-89E9-D8280B30152B}"/>
              </c:ext>
            </c:extLst>
          </c:dPt>
          <c:dPt>
            <c:idx val="1"/>
            <c:bubble3D val="0"/>
            <c:spPr>
              <a:solidFill>
                <a:srgbClr val="FFFF80"/>
              </a:solidFill>
              <a:ln w="13586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CC9-4998-89E9-D8280B30152B}"/>
              </c:ext>
            </c:extLst>
          </c:dPt>
          <c:dPt>
            <c:idx val="2"/>
            <c:bubble3D val="0"/>
            <c:spPr>
              <a:solidFill>
                <a:srgbClr val="69FFFF"/>
              </a:solidFill>
              <a:ln w="13586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CC9-4998-89E9-D8280B30152B}"/>
              </c:ext>
            </c:extLst>
          </c:dPt>
          <c:dLbls>
            <c:dLbl>
              <c:idx val="0"/>
              <c:layout>
                <c:manualLayout>
                  <c:x val="0.18224387903259792"/>
                  <c:y val="-5.257990658042822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3CC9-4998-89E9-D8280B30152B}"/>
                </c:ext>
              </c:extLst>
            </c:dLbl>
            <c:dLbl>
              <c:idx val="1"/>
              <c:layout>
                <c:manualLayout>
                  <c:x val="0.21551203305452832"/>
                  <c:y val="9.588359229926832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698223345554197"/>
                      <c:h val="0.3905573983843064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CC9-4998-89E9-D8280B30152B}"/>
                </c:ext>
              </c:extLst>
            </c:dLbl>
            <c:dLbl>
              <c:idx val="2"/>
              <c:layout>
                <c:manualLayout>
                  <c:x val="-6.9797321370422494E-2"/>
                  <c:y val="-0.2235791735700864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545586888813112"/>
                      <c:h val="0.297163237901102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CC9-4998-89E9-D8280B30152B}"/>
                </c:ext>
              </c:extLst>
            </c:dLbl>
            <c:dLbl>
              <c:idx val="3"/>
              <c:layout>
                <c:manualLayout>
                  <c:xMode val="edge"/>
                  <c:yMode val="edge"/>
                  <c:x val="0.15784408084697227"/>
                  <c:y val="4.545454545454546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C9-4998-89E9-D8280B30152B}"/>
                </c:ext>
              </c:extLst>
            </c:dLbl>
            <c:dLbl>
              <c:idx val="4"/>
              <c:layout>
                <c:manualLayout>
                  <c:xMode val="edge"/>
                  <c:yMode val="edge"/>
                  <c:x val="1.9249278152069303E-2"/>
                  <c:y val="7.765151515151515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CC9-4998-89E9-D8280B30152B}"/>
                </c:ext>
              </c:extLst>
            </c:dLbl>
            <c:dLbl>
              <c:idx val="5"/>
              <c:layout>
                <c:manualLayout>
                  <c:xMode val="edge"/>
                  <c:yMode val="edge"/>
                  <c:x val="0.24061597690086622"/>
                  <c:y val="3.0303030303030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CC9-4998-89E9-D8280B30152B}"/>
                </c:ext>
              </c:extLst>
            </c:dLbl>
            <c:dLbl>
              <c:idx val="6"/>
              <c:layout>
                <c:manualLayout>
                  <c:xMode val="edge"/>
                  <c:yMode val="edge"/>
                  <c:x val="0.20211742059673013"/>
                  <c:y val="3.5984848484848612E-2"/>
                </c:manualLayout>
              </c:layout>
              <c:numFmt formatCode="0%" sourceLinked="0"/>
              <c:spPr>
                <a:noFill/>
                <a:ln w="27172">
                  <a:noFill/>
                </a:ln>
              </c:spPr>
              <c:txPr>
                <a:bodyPr/>
                <a:lstStyle/>
                <a:p>
                  <a:pPr>
                    <a:defRPr lang="fr-FR" sz="2160" b="1" i="0" u="none" strike="noStrike" baseline="0">
                      <a:solidFill>
                        <a:srgbClr val="FFFF00"/>
                      </a:solidFill>
                      <a:latin typeface="Times New Roman Tur"/>
                      <a:ea typeface="Times New Roman Tur"/>
                      <a:cs typeface="Times New Roman Tur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CC9-4998-89E9-D8280B30152B}"/>
                </c:ext>
              </c:extLst>
            </c:dLbl>
            <c:dLbl>
              <c:idx val="7"/>
              <c:numFmt formatCode="0%" sourceLinked="0"/>
              <c:spPr>
                <a:noFill/>
                <a:ln w="27172">
                  <a:noFill/>
                </a:ln>
              </c:spPr>
              <c:txPr>
                <a:bodyPr/>
                <a:lstStyle/>
                <a:p>
                  <a:pPr>
                    <a:defRPr lang="fr-FR" sz="2160" b="1" i="0" u="none" strike="noStrike" baseline="0">
                      <a:solidFill>
                        <a:srgbClr val="FFFF00"/>
                      </a:solidFill>
                      <a:latin typeface="Times New Roman Tur"/>
                      <a:ea typeface="Times New Roman Tur"/>
                      <a:cs typeface="Times New Roman Tur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3CC9-4998-89E9-D8280B30152B}"/>
                </c:ext>
              </c:extLst>
            </c:dLbl>
            <c:dLbl>
              <c:idx val="8"/>
              <c:layout>
                <c:manualLayout>
                  <c:xMode val="edge"/>
                  <c:yMode val="edge"/>
                  <c:x val="0.42059672762271438"/>
                  <c:y val="1.7045454545454544E-2"/>
                </c:manualLayout>
              </c:layout>
              <c:numFmt formatCode="0%" sourceLinked="0"/>
              <c:spPr>
                <a:noFill/>
                <a:ln w="27172">
                  <a:noFill/>
                </a:ln>
              </c:spPr>
              <c:txPr>
                <a:bodyPr/>
                <a:lstStyle/>
                <a:p>
                  <a:pPr>
                    <a:defRPr lang="fr-FR" sz="2160" b="1" i="0" u="none" strike="noStrike" baseline="0">
                      <a:solidFill>
                        <a:srgbClr val="FFFF00"/>
                      </a:solidFill>
                      <a:latin typeface="Times New Roman Tur"/>
                      <a:ea typeface="Times New Roman Tur"/>
                      <a:cs typeface="Times New Roman Tur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CC9-4998-89E9-D8280B30152B}"/>
                </c:ext>
              </c:extLst>
            </c:dLbl>
            <c:numFmt formatCode="0%" sourceLinked="0"/>
            <c:spPr>
              <a:noFill/>
              <a:ln w="27172">
                <a:noFill/>
              </a:ln>
            </c:spPr>
            <c:txPr>
              <a:bodyPr/>
              <a:lstStyle/>
              <a:p>
                <a:pPr>
                  <a:defRPr lang="fr-FR" sz="2160" b="1" i="0" u="none" strike="noStrike" baseline="0">
                    <a:solidFill>
                      <a:srgbClr val="FFFF80"/>
                    </a:solidFill>
                    <a:latin typeface="Arial"/>
                    <a:ea typeface="Arial"/>
                    <a:cs typeface="Arial"/>
                  </a:defRPr>
                </a:pPr>
                <a:endParaRPr lang="tr-T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D$1</c:f>
              <c:strCache>
                <c:ptCount val="3"/>
                <c:pt idx="0">
                  <c:v>Tarım</c:v>
                </c:pt>
                <c:pt idx="1">
                  <c:v>Sanayi</c:v>
                </c:pt>
                <c:pt idx="2">
                  <c:v>Hizmetler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15</c:v>
                </c:pt>
                <c:pt idx="1">
                  <c:v>25</c:v>
                </c:pt>
                <c:pt idx="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CC9-4998-89E9-D8280B3015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45"/>
        <c:holeSize val="50"/>
      </c:doughnutChart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926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tr-TR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5300720554859"/>
          <c:y val="0.32807541858710604"/>
          <c:w val="0.51806454375439759"/>
          <c:h val="0.6241499384783767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3FF-4A36-9071-40377FE32A5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3FF-4A36-9071-40377FE32A5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3FF-4A36-9071-40377FE32A5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3FF-4A36-9071-40377FE32A5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3FF-4A36-9071-40377FE32A5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3FF-4A36-9071-40377FE32A53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23FF-4A36-9071-40377FE32A53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23FF-4A36-9071-40377FE32A53}"/>
              </c:ext>
            </c:extLst>
          </c:dPt>
          <c:dLbls>
            <c:dLbl>
              <c:idx val="0"/>
              <c:layout>
                <c:manualLayout>
                  <c:x val="-3.7406558001491898E-3"/>
                  <c:y val="4.139691757590358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727968717761522"/>
                      <c:h val="0.212484881017529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3FF-4A36-9071-40377FE32A53}"/>
                </c:ext>
              </c:extLst>
            </c:dLbl>
            <c:dLbl>
              <c:idx val="1"/>
              <c:layout>
                <c:manualLayout>
                  <c:x val="1.3004259447362991E-2"/>
                  <c:y val="-5.885895785916707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176261169393877"/>
                      <c:h val="0.2124848953611483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3FF-4A36-9071-40377FE32A53}"/>
                </c:ext>
              </c:extLst>
            </c:dLbl>
            <c:dLbl>
              <c:idx val="2"/>
              <c:layout>
                <c:manualLayout>
                  <c:x val="2.4266896932086867E-3"/>
                  <c:y val="-2.127325105953618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rgbClr val="FFFF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021065965348115"/>
                      <c:h val="0.1609326654838713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3FF-4A36-9071-40377FE32A53}"/>
                </c:ext>
              </c:extLst>
            </c:dLbl>
            <c:dLbl>
              <c:idx val="3"/>
              <c:layout>
                <c:manualLayout>
                  <c:x val="3.1494516482295618E-3"/>
                  <c:y val="-0.1031124046326364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153982890789912"/>
                      <c:h val="0.2124848953611483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23FF-4A36-9071-40377FE32A53}"/>
                </c:ext>
              </c:extLst>
            </c:dLbl>
            <c:dLbl>
              <c:idx val="4"/>
              <c:layout>
                <c:manualLayout>
                  <c:x val="1.2399415937911661E-7"/>
                  <c:y val="-0.1931755730689820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50954903007134"/>
                      <c:h val="0.2803619957870178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23FF-4A36-9071-40377FE32A53}"/>
                </c:ext>
              </c:extLst>
            </c:dLbl>
            <c:dLbl>
              <c:idx val="5"/>
              <c:layout>
                <c:manualLayout>
                  <c:x val="2.885821364631095E-2"/>
                  <c:y val="-0.3061062680019008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603614479343564"/>
                      <c:h val="0.212484881017529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FF-4A36-9071-40377FE32A53}"/>
                </c:ext>
              </c:extLst>
            </c:dLbl>
            <c:dLbl>
              <c:idx val="6"/>
              <c:layout>
                <c:manualLayout>
                  <c:x val="0.18573506713539761"/>
                  <c:y val="-0.144193671696451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FF-4A36-9071-40377FE32A53}"/>
                </c:ext>
              </c:extLst>
            </c:dLbl>
            <c:dLbl>
              <c:idx val="7"/>
              <c:layout>
                <c:manualLayout>
                  <c:x val="0.30841464043677691"/>
                  <c:y val="-6.774373077812363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23FF-4A36-9071-40377FE32A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FFFF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tr-T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ayfa2!$D$2:$D$9</c:f>
              <c:strCache>
                <c:ptCount val="8"/>
                <c:pt idx="0">
                  <c:v>Fosfat</c:v>
                </c:pt>
                <c:pt idx="1">
                  <c:v>Otomotiv</c:v>
                </c:pt>
                <c:pt idx="2">
                  <c:v>Balık Unu</c:v>
                </c:pt>
                <c:pt idx="3">
                  <c:v>Tekstil K.</c:v>
                </c:pt>
                <c:pt idx="4">
                  <c:v>Altın-Gümüş</c:v>
                </c:pt>
                <c:pt idx="5">
                  <c:v>Gübre</c:v>
                </c:pt>
                <c:pt idx="6">
                  <c:v>Balık</c:v>
                </c:pt>
                <c:pt idx="7">
                  <c:v>Diğer</c:v>
                </c:pt>
              </c:strCache>
            </c:strRef>
          </c:cat>
          <c:val>
            <c:numRef>
              <c:f>Sayfa2!$E$2:$E$9</c:f>
              <c:numCache>
                <c:formatCode>General</c:formatCode>
                <c:ptCount val="8"/>
                <c:pt idx="0">
                  <c:v>27.1</c:v>
                </c:pt>
                <c:pt idx="1">
                  <c:v>24.2</c:v>
                </c:pt>
                <c:pt idx="2">
                  <c:v>10.9</c:v>
                </c:pt>
                <c:pt idx="3">
                  <c:v>9.8000000000000007</c:v>
                </c:pt>
                <c:pt idx="4">
                  <c:v>6.8</c:v>
                </c:pt>
                <c:pt idx="5">
                  <c:v>6.4</c:v>
                </c:pt>
                <c:pt idx="6">
                  <c:v>2.2000000000000002</c:v>
                </c:pt>
                <c:pt idx="7">
                  <c:v>1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3FF-4A36-9071-40377FE32A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055555555555557"/>
          <c:y val="0.20370370370370369"/>
          <c:w val="0.44722222222222224"/>
          <c:h val="0.74537037037037035"/>
        </c:manualLayout>
      </c:layout>
      <c:pieChart>
        <c:varyColors val="1"/>
        <c:ser>
          <c:idx val="0"/>
          <c:order val="0"/>
          <c:cat>
            <c:strRef>
              <c:f>Sayfa1!$B$3:$B$11</c:f>
              <c:strCache>
                <c:ptCount val="9"/>
                <c:pt idx="0">
                  <c:v>Otomotiv</c:v>
                </c:pt>
                <c:pt idx="1">
                  <c:v>Makine E.</c:v>
                </c:pt>
                <c:pt idx="2">
                  <c:v>Demir-Ç.</c:v>
                </c:pt>
                <c:pt idx="3">
                  <c:v>Tekstil-K.</c:v>
                </c:pt>
                <c:pt idx="4">
                  <c:v>Plastik</c:v>
                </c:pt>
                <c:pt idx="5">
                  <c:v>Pamuk</c:v>
                </c:pt>
                <c:pt idx="6">
                  <c:v>Altın-G.</c:v>
                </c:pt>
                <c:pt idx="7">
                  <c:v>Mobilya</c:v>
                </c:pt>
                <c:pt idx="8">
                  <c:v>Diğer</c:v>
                </c:pt>
              </c:strCache>
            </c:strRef>
          </c:cat>
          <c:val>
            <c:numRef>
              <c:f>Sayfa1!$C$3:$C$11</c:f>
            </c:numRef>
          </c:val>
          <c:extLst>
            <c:ext xmlns:c16="http://schemas.microsoft.com/office/drawing/2014/chart" uri="{C3380CC4-5D6E-409C-BE32-E72D297353CC}">
              <c16:uniqueId val="{00000000-8A8A-4B09-8F60-07D8223CF449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A8A-4B09-8F60-07D8223CF44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8A8A-4B09-8F60-07D8223CF44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8A8A-4B09-8F60-07D8223CF44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8A8A-4B09-8F60-07D8223CF449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8A8A-4B09-8F60-07D8223CF449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8A8A-4B09-8F60-07D8223CF449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8A8A-4B09-8F60-07D8223CF449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8A8A-4B09-8F60-07D8223CF449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2-8A8A-4B09-8F60-07D8223CF449}"/>
              </c:ext>
            </c:extLst>
          </c:dPt>
          <c:dLbls>
            <c:dLbl>
              <c:idx val="0"/>
              <c:layout>
                <c:manualLayout>
                  <c:x val="0"/>
                  <c:y val="6.763888711818902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847222222222222"/>
                      <c:h val="0.206005116007146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8A8A-4B09-8F60-07D8223CF449}"/>
                </c:ext>
              </c:extLst>
            </c:dLbl>
            <c:dLbl>
              <c:idx val="1"/>
              <c:layout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16666666666666"/>
                      <c:h val="0.206005116007146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8A8A-4B09-8F60-07D8223CF449}"/>
                </c:ext>
              </c:extLst>
            </c:dLbl>
            <c:dLbl>
              <c:idx val="2"/>
              <c:layout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930555555555555"/>
                      <c:h val="0.206005116007146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8A8A-4B09-8F60-07D8223CF449}"/>
                </c:ext>
              </c:extLst>
            </c:dLbl>
            <c:dLbl>
              <c:idx val="3"/>
              <c:layout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486111111111113"/>
                      <c:h val="0.206005116007146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8A8A-4B09-8F60-07D8223CF449}"/>
                </c:ext>
              </c:extLst>
            </c:dLbl>
            <c:dLbl>
              <c:idx val="6"/>
              <c:layout>
                <c:manualLayout>
                  <c:x val="-5.5555555555555558E-3"/>
                  <c:y val="-9.731614520062434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555555555555554"/>
                      <c:h val="0.206005116007146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8A8A-4B09-8F60-07D8223CF449}"/>
                </c:ext>
              </c:extLst>
            </c:dLbl>
            <c:dLbl>
              <c:idx val="7"/>
              <c:layout>
                <c:manualLayout>
                  <c:x val="3.888888888888889E-2"/>
                  <c:y val="-0.2888048868887063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611111111111111"/>
                      <c:h val="0.206005116007146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0-8A8A-4B09-8F60-07D8223CF449}"/>
                </c:ext>
              </c:extLst>
            </c:dLbl>
            <c:dLbl>
              <c:idx val="8"/>
              <c:layout>
                <c:manualLayout>
                  <c:x val="0.23063418635170604"/>
                  <c:y val="-6.438902052777377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8A8A-4B09-8F60-07D8223CF4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FFFF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tr-T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ayfa1!$B$3:$B$11</c:f>
              <c:strCache>
                <c:ptCount val="9"/>
                <c:pt idx="0">
                  <c:v>Otomotiv</c:v>
                </c:pt>
                <c:pt idx="1">
                  <c:v>Makine E.</c:v>
                </c:pt>
                <c:pt idx="2">
                  <c:v>Demir-Ç.</c:v>
                </c:pt>
                <c:pt idx="3">
                  <c:v>Tekstil-K.</c:v>
                </c:pt>
                <c:pt idx="4">
                  <c:v>Plastik</c:v>
                </c:pt>
                <c:pt idx="5">
                  <c:v>Pamuk</c:v>
                </c:pt>
                <c:pt idx="6">
                  <c:v>Altın-G.</c:v>
                </c:pt>
                <c:pt idx="7">
                  <c:v>Mobilya</c:v>
                </c:pt>
                <c:pt idx="8">
                  <c:v>Diğer</c:v>
                </c:pt>
              </c:strCache>
            </c:strRef>
          </c:cat>
          <c:val>
            <c:numRef>
              <c:f>Sayfa1!$D$3:$D$11</c:f>
              <c:numCache>
                <c:formatCode>0.0</c:formatCode>
                <c:ptCount val="9"/>
                <c:pt idx="0">
                  <c:v>17.59656846462812</c:v>
                </c:pt>
                <c:pt idx="1">
                  <c:v>18.5526426209276</c:v>
                </c:pt>
                <c:pt idx="2">
                  <c:v>15.674470468283372</c:v>
                </c:pt>
                <c:pt idx="3">
                  <c:v>14.12327457157315</c:v>
                </c:pt>
                <c:pt idx="4">
                  <c:v>4.5625330085783355</c:v>
                </c:pt>
                <c:pt idx="5">
                  <c:v>2.9694780888366057</c:v>
                </c:pt>
                <c:pt idx="6">
                  <c:v>2.8404337057094602</c:v>
                </c:pt>
                <c:pt idx="7">
                  <c:v>2.1671717722447039</c:v>
                </c:pt>
                <c:pt idx="8" formatCode="General">
                  <c:v>2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A8A-4B09-8F60-07D8223CF4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fr-FR"/>
            </a:pPr>
            <a:r>
              <a:rPr lang="tr-TR" dirty="0" smtClean="0">
                <a:solidFill>
                  <a:schemeClr val="bg1"/>
                </a:solidFill>
              </a:rPr>
              <a:t>İŞGÜCÜ</a:t>
            </a:r>
            <a:endParaRPr lang="tr-TR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36864151846376042"/>
          <c:y val="1.979972619950483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801921576103579"/>
          <c:y val="0.21846296357461928"/>
          <c:w val="0.80165183516788463"/>
          <c:h val="0.63053204298621457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ln w="13586">
              <a:solidFill>
                <a:srgbClr val="000000"/>
              </a:solidFill>
              <a:prstDash val="solid"/>
            </a:ln>
          </c:spPr>
          <c:dPt>
            <c:idx val="0"/>
            <c:bubble3D val="0"/>
            <c:spPr>
              <a:solidFill>
                <a:srgbClr val="FF0000"/>
              </a:solidFill>
              <a:ln w="13586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5215-4207-89FA-0BFD225958F9}"/>
              </c:ext>
            </c:extLst>
          </c:dPt>
          <c:dPt>
            <c:idx val="1"/>
            <c:bubble3D val="0"/>
            <c:spPr>
              <a:solidFill>
                <a:srgbClr val="FFFF80"/>
              </a:solidFill>
              <a:ln w="13586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215-4207-89FA-0BFD225958F9}"/>
              </c:ext>
            </c:extLst>
          </c:dPt>
          <c:dPt>
            <c:idx val="2"/>
            <c:bubble3D val="0"/>
            <c:spPr>
              <a:solidFill>
                <a:srgbClr val="69FFFF"/>
              </a:solidFill>
              <a:ln w="13586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5215-4207-89FA-0BFD225958F9}"/>
              </c:ext>
            </c:extLst>
          </c:dPt>
          <c:dLbls>
            <c:dLbl>
              <c:idx val="0"/>
              <c:layout>
                <c:manualLayout>
                  <c:x val="0.20235700306803522"/>
                  <c:y val="0.1686464130248154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106432618597935"/>
                      <c:h val="0.168897647736110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215-4207-89FA-0BFD225958F9}"/>
                </c:ext>
              </c:extLst>
            </c:dLbl>
            <c:dLbl>
              <c:idx val="1"/>
              <c:layout>
                <c:manualLayout>
                  <c:x val="-0.17879039081127737"/>
                  <c:y val="0.1139112068356041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122772683377062"/>
                      <c:h val="0.2485365262445586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215-4207-89FA-0BFD225958F9}"/>
                </c:ext>
              </c:extLst>
            </c:dLbl>
            <c:dLbl>
              <c:idx val="2"/>
              <c:layout>
                <c:manualLayout>
                  <c:x val="-0.24114478733132216"/>
                  <c:y val="-6.734154852128376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186039158042268"/>
                      <c:h val="0.2485365262445586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5215-4207-89FA-0BFD225958F9}"/>
                </c:ext>
              </c:extLst>
            </c:dLbl>
            <c:dLbl>
              <c:idx val="3"/>
              <c:layout>
                <c:manualLayout>
                  <c:xMode val="edge"/>
                  <c:yMode val="edge"/>
                  <c:x val="0.15784408084697243"/>
                  <c:y val="4.545454545454546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215-4207-89FA-0BFD225958F9}"/>
                </c:ext>
              </c:extLst>
            </c:dLbl>
            <c:dLbl>
              <c:idx val="4"/>
              <c:layout>
                <c:manualLayout>
                  <c:xMode val="edge"/>
                  <c:yMode val="edge"/>
                  <c:x val="1.9249278152069303E-2"/>
                  <c:y val="7.765151515151515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215-4207-89FA-0BFD225958F9}"/>
                </c:ext>
              </c:extLst>
            </c:dLbl>
            <c:dLbl>
              <c:idx val="5"/>
              <c:layout>
                <c:manualLayout>
                  <c:xMode val="edge"/>
                  <c:yMode val="edge"/>
                  <c:x val="0.24061597690086622"/>
                  <c:y val="3.0303030303030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215-4207-89FA-0BFD225958F9}"/>
                </c:ext>
              </c:extLst>
            </c:dLbl>
            <c:dLbl>
              <c:idx val="6"/>
              <c:layout>
                <c:manualLayout>
                  <c:xMode val="edge"/>
                  <c:yMode val="edge"/>
                  <c:x val="0.20211742059673024"/>
                  <c:y val="3.5984848484848612E-2"/>
                </c:manualLayout>
              </c:layout>
              <c:numFmt formatCode="0%" sourceLinked="0"/>
              <c:spPr>
                <a:noFill/>
                <a:ln w="27172">
                  <a:noFill/>
                </a:ln>
              </c:spPr>
              <c:txPr>
                <a:bodyPr/>
                <a:lstStyle/>
                <a:p>
                  <a:pPr>
                    <a:defRPr lang="fr-FR" sz="2160" b="1" i="0" u="none" strike="noStrike" baseline="0">
                      <a:solidFill>
                        <a:srgbClr val="FFFF00"/>
                      </a:solidFill>
                      <a:latin typeface="Times New Roman Tur"/>
                      <a:ea typeface="Times New Roman Tur"/>
                      <a:cs typeface="Times New Roman Tur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215-4207-89FA-0BFD225958F9}"/>
                </c:ext>
              </c:extLst>
            </c:dLbl>
            <c:dLbl>
              <c:idx val="7"/>
              <c:numFmt formatCode="0%" sourceLinked="0"/>
              <c:spPr>
                <a:noFill/>
                <a:ln w="27172">
                  <a:noFill/>
                </a:ln>
              </c:spPr>
              <c:txPr>
                <a:bodyPr/>
                <a:lstStyle/>
                <a:p>
                  <a:pPr>
                    <a:defRPr lang="fr-FR" sz="2160" b="1" i="0" u="none" strike="noStrike" baseline="0">
                      <a:solidFill>
                        <a:srgbClr val="FFFF00"/>
                      </a:solidFill>
                      <a:latin typeface="Times New Roman Tur"/>
                      <a:ea typeface="Times New Roman Tur"/>
                      <a:cs typeface="Times New Roman Tur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5215-4207-89FA-0BFD225958F9}"/>
                </c:ext>
              </c:extLst>
            </c:dLbl>
            <c:dLbl>
              <c:idx val="8"/>
              <c:layout>
                <c:manualLayout>
                  <c:xMode val="edge"/>
                  <c:yMode val="edge"/>
                  <c:x val="0.42059672762271438"/>
                  <c:y val="1.7045454545454544E-2"/>
                </c:manualLayout>
              </c:layout>
              <c:numFmt formatCode="0%" sourceLinked="0"/>
              <c:spPr>
                <a:noFill/>
                <a:ln w="27172">
                  <a:noFill/>
                </a:ln>
              </c:spPr>
              <c:txPr>
                <a:bodyPr/>
                <a:lstStyle/>
                <a:p>
                  <a:pPr>
                    <a:defRPr lang="fr-FR" sz="2160" b="1" i="0" u="none" strike="noStrike" baseline="0">
                      <a:solidFill>
                        <a:srgbClr val="FFFF00"/>
                      </a:solidFill>
                      <a:latin typeface="Times New Roman Tur"/>
                      <a:ea typeface="Times New Roman Tur"/>
                      <a:cs typeface="Times New Roman Tur"/>
                    </a:defRPr>
                  </a:pPr>
                  <a:endParaRPr lang="tr-TR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215-4207-89FA-0BFD225958F9}"/>
                </c:ext>
              </c:extLst>
            </c:dLbl>
            <c:numFmt formatCode="0%" sourceLinked="0"/>
            <c:spPr>
              <a:noFill/>
              <a:ln w="27172">
                <a:noFill/>
              </a:ln>
            </c:spPr>
            <c:txPr>
              <a:bodyPr/>
              <a:lstStyle/>
              <a:p>
                <a:pPr>
                  <a:defRPr lang="fr-FR" sz="2160" b="1" i="0" u="none" strike="noStrike" baseline="0">
                    <a:solidFill>
                      <a:srgbClr val="FFFF80"/>
                    </a:solidFill>
                    <a:latin typeface="Arial"/>
                    <a:ea typeface="Arial"/>
                    <a:cs typeface="Arial"/>
                  </a:defRPr>
                </a:pPr>
                <a:endParaRPr lang="tr-T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1:$D$1</c:f>
              <c:strCache>
                <c:ptCount val="3"/>
                <c:pt idx="0">
                  <c:v>Tarım</c:v>
                </c:pt>
                <c:pt idx="1">
                  <c:v>Sanayi</c:v>
                </c:pt>
                <c:pt idx="2">
                  <c:v>Hizmetler</c:v>
                </c:pt>
              </c:strCache>
            </c:strRef>
          </c:cat>
          <c:val>
            <c:numRef>
              <c:f>Sheet1!$B$2:$D$2</c:f>
              <c:numCache>
                <c:formatCode>General</c:formatCode>
                <c:ptCount val="3"/>
                <c:pt idx="0">
                  <c:v>40</c:v>
                </c:pt>
                <c:pt idx="1">
                  <c:v>20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215-4207-89FA-0BFD225958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45"/>
        <c:holeSize val="50"/>
      </c:doughnutChart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926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tr-TR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210292663292419E-2"/>
          <c:y val="0.10951052386980477"/>
          <c:w val="0.86084833925556536"/>
          <c:h val="0.692429323189442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A$2</c:f>
              <c:strCache>
                <c:ptCount val="1"/>
                <c:pt idx="0">
                  <c:v>Geli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8"/>
              <c:layout>
                <c:manualLayout>
                  <c:x val="-1.445649936892268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56F0-4838-B5CD-C6A75239D09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</c:strRef>
          </c:cat>
          <c:val>
            <c:numRef>
              <c:f>Feuil1!$B$2:$J$2</c:f>
              <c:numCache>
                <c:formatCode>0.0</c:formatCode>
                <c:ptCount val="9"/>
                <c:pt idx="0">
                  <c:v>21.379271942026211</c:v>
                </c:pt>
                <c:pt idx="1">
                  <c:v>21.788764783180024</c:v>
                </c:pt>
                <c:pt idx="2">
                  <c:v>22.963965729800883</c:v>
                </c:pt>
                <c:pt idx="3">
                  <c:v>23.229683933882015</c:v>
                </c:pt>
                <c:pt idx="4">
                  <c:v>21.373753732476338</c:v>
                </c:pt>
                <c:pt idx="5">
                  <c:v>21.550025208201983</c:v>
                </c:pt>
                <c:pt idx="6">
                  <c:v>21.620111784383852</c:v>
                </c:pt>
                <c:pt idx="7">
                  <c:v>20.693956714892654</c:v>
                </c:pt>
                <c:pt idx="8" formatCode="General">
                  <c:v>2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F0-4838-B5CD-C6A75239D099}"/>
            </c:ext>
          </c:extLst>
        </c:ser>
        <c:ser>
          <c:idx val="1"/>
          <c:order val="1"/>
          <c:tx>
            <c:strRef>
              <c:f>Feuil1!$A$3</c:f>
              <c:strCache>
                <c:ptCount val="1"/>
                <c:pt idx="0">
                  <c:v>Harcama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8"/>
              <c:layout>
                <c:manualLayout>
                  <c:x val="-8.6738996213536531E-3"/>
                  <c:y val="-1.73885217761407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56F0-4838-B5CD-C6A75239D09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</c:strRef>
          </c:cat>
          <c:val>
            <c:numRef>
              <c:f>Feuil1!$B$3:$J$3</c:f>
              <c:numCache>
                <c:formatCode>0.0</c:formatCode>
                <c:ptCount val="9"/>
                <c:pt idx="0">
                  <c:v>27.20021649963304</c:v>
                </c:pt>
                <c:pt idx="1">
                  <c:v>28.86188965350301</c:v>
                </c:pt>
                <c:pt idx="2">
                  <c:v>28.721505073374889</c:v>
                </c:pt>
                <c:pt idx="3">
                  <c:v>28.529160038730204</c:v>
                </c:pt>
                <c:pt idx="4">
                  <c:v>26.267624879801609</c:v>
                </c:pt>
                <c:pt idx="5">
                  <c:v>26.305234327750036</c:v>
                </c:pt>
                <c:pt idx="6">
                  <c:v>25.641001526384443</c:v>
                </c:pt>
                <c:pt idx="7">
                  <c:v>25.003817699442642</c:v>
                </c:pt>
                <c:pt idx="8" formatCode="General">
                  <c:v>2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6F0-4838-B5CD-C6A75239D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1095296"/>
        <c:axId val="101096832"/>
      </c:barChart>
      <c:lineChart>
        <c:grouping val="standard"/>
        <c:varyColors val="0"/>
        <c:ser>
          <c:idx val="2"/>
          <c:order val="2"/>
          <c:tx>
            <c:strRef>
              <c:f>Feuil1!$A$4</c:f>
              <c:strCache>
                <c:ptCount val="1"/>
                <c:pt idx="0">
                  <c:v>Bütçe Açığı</c:v>
                </c:pt>
              </c:strCache>
            </c:strRef>
          </c:tx>
          <c:spPr>
            <a:ln w="57150" cap="rnd">
              <a:solidFill>
                <a:srgbClr val="FFFF0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dLbl>
              <c:idx val="8"/>
              <c:layout>
                <c:manualLayout>
                  <c:x val="1.8948766941414116E-2"/>
                  <c:y val="-7.4522236183460055E-3"/>
                </c:manualLayout>
              </c:layout>
              <c:spPr>
                <a:noFill/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  <a:effectLst/>
              </c:spPr>
              <c:txPr>
                <a:bodyPr rot="0" vert="horz"/>
                <a:lstStyle/>
                <a:p>
                  <a:pPr>
                    <a:defRPr/>
                  </a:pPr>
                  <a:endParaRPr lang="tr-T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56F0-4838-B5CD-C6A75239D09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1:$J$1</c:f>
              <c:strCache>
                <c:ptCount val="9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</c:strCache>
            </c:strRef>
          </c:cat>
          <c:val>
            <c:numRef>
              <c:f>Feuil1!$B$4:$J$4</c:f>
              <c:numCache>
                <c:formatCode>0.0</c:formatCode>
                <c:ptCount val="9"/>
                <c:pt idx="0">
                  <c:v>-5.4123349106771936</c:v>
                </c:pt>
                <c:pt idx="1">
                  <c:v>-6.220174285911888</c:v>
                </c:pt>
                <c:pt idx="2">
                  <c:v>-5.0883282865011825</c:v>
                </c:pt>
                <c:pt idx="3">
                  <c:v>-4.7163617815893231</c:v>
                </c:pt>
                <c:pt idx="4">
                  <c:v>-4.1670125006326231</c:v>
                </c:pt>
                <c:pt idx="5">
                  <c:v>-4.3309614931148568</c:v>
                </c:pt>
                <c:pt idx="6">
                  <c:v>-3.5590244306153407</c:v>
                </c:pt>
                <c:pt idx="7">
                  <c:v>-3.8615028651716932</c:v>
                </c:pt>
                <c:pt idx="8" formatCode="General">
                  <c:v>-3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56F0-4838-B5CD-C6A75239D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116544"/>
        <c:axId val="101115008"/>
      </c:lineChart>
      <c:catAx>
        <c:axId val="101095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tr-TR"/>
          </a:p>
        </c:txPr>
        <c:crossAx val="101096832"/>
        <c:crosses val="autoZero"/>
        <c:auto val="1"/>
        <c:lblAlgn val="ctr"/>
        <c:lblOffset val="100"/>
        <c:noMultiLvlLbl val="0"/>
      </c:catAx>
      <c:valAx>
        <c:axId val="101096832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tr-TR"/>
          </a:p>
        </c:txPr>
        <c:crossAx val="101095296"/>
        <c:crosses val="autoZero"/>
        <c:crossBetween val="between"/>
      </c:valAx>
      <c:valAx>
        <c:axId val="101115008"/>
        <c:scaling>
          <c:orientation val="minMax"/>
        </c:scaling>
        <c:delete val="0"/>
        <c:axPos val="r"/>
        <c:numFmt formatCode="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tr-TR"/>
          </a:p>
        </c:txPr>
        <c:crossAx val="101116544"/>
        <c:crosses val="max"/>
        <c:crossBetween val="between"/>
      </c:valAx>
      <c:catAx>
        <c:axId val="101116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011150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5999586355484315E-2"/>
          <c:y val="0.86653493569201967"/>
          <c:w val="0.94752939157553961"/>
          <c:h val="0.11748453957633574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 b="1">
          <a:solidFill>
            <a:srgbClr val="FFFF00"/>
          </a:solidFill>
        </a:defRPr>
      </a:pPr>
      <a:endParaRPr lang="tr-T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59401120563984E-2"/>
          <c:y val="7.2093537774095329E-2"/>
          <c:w val="0.9132168171697439"/>
          <c:h val="0.755284238642463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A$2</c:f>
              <c:strCache>
                <c:ptCount val="1"/>
                <c:pt idx="0">
                  <c:v>Hazine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A20A-49E5-AF75-DD9B9CF6E8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1:$H$1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strCache>
            </c:strRef>
          </c:cat>
          <c:val>
            <c:numRef>
              <c:f>Feuil1!$B$2:$H$2</c:f>
              <c:numCache>
                <c:formatCode>General</c:formatCode>
                <c:ptCount val="7"/>
                <c:pt idx="0">
                  <c:v>58.2</c:v>
                </c:pt>
                <c:pt idx="1">
                  <c:v>61.7</c:v>
                </c:pt>
                <c:pt idx="2">
                  <c:v>63.4</c:v>
                </c:pt>
                <c:pt idx="3">
                  <c:v>63.7</c:v>
                </c:pt>
                <c:pt idx="4">
                  <c:v>64.900000000000006</c:v>
                </c:pt>
                <c:pt idx="5">
                  <c:v>65.099999999999994</c:v>
                </c:pt>
                <c:pt idx="6">
                  <c:v>6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0A-49E5-AF75-DD9B9CF6E840}"/>
            </c:ext>
          </c:extLst>
        </c:ser>
        <c:ser>
          <c:idx val="1"/>
          <c:order val="1"/>
          <c:tx>
            <c:strRef>
              <c:f>Feuil1!$A$3</c:f>
              <c:strCache>
                <c:ptCount val="1"/>
                <c:pt idx="0">
                  <c:v>Toplam Kamu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6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A20A-49E5-AF75-DD9B9CF6E8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1:$H$1</c:f>
              <c:strCach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strCache>
            </c:strRef>
          </c:cat>
          <c:val>
            <c:numRef>
              <c:f>Feuil1!$B$3:$H$3</c:f>
              <c:numCache>
                <c:formatCode>General</c:formatCode>
                <c:ptCount val="7"/>
                <c:pt idx="0">
                  <c:v>69.5</c:v>
                </c:pt>
                <c:pt idx="1">
                  <c:v>73.400000000000006</c:v>
                </c:pt>
                <c:pt idx="2">
                  <c:v>78.2</c:v>
                </c:pt>
                <c:pt idx="3">
                  <c:v>79.900000000000006</c:v>
                </c:pt>
                <c:pt idx="4">
                  <c:v>81.599999999999994</c:v>
                </c:pt>
                <c:pt idx="5">
                  <c:v>82</c:v>
                </c:pt>
                <c:pt idx="6">
                  <c:v>8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20A-49E5-AF75-DD9B9CF6E8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7576064"/>
        <c:axId val="97577600"/>
      </c:barChart>
      <c:catAx>
        <c:axId val="97576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2000" b="1"/>
            </a:pPr>
            <a:endParaRPr lang="tr-TR"/>
          </a:p>
        </c:txPr>
        <c:crossAx val="97577600"/>
        <c:crosses val="autoZero"/>
        <c:auto val="1"/>
        <c:lblAlgn val="ctr"/>
        <c:lblOffset val="100"/>
        <c:noMultiLvlLbl val="0"/>
      </c:catAx>
      <c:valAx>
        <c:axId val="97577600"/>
        <c:scaling>
          <c:orientation val="minMax"/>
          <c:min val="5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 sz="2000" b="1"/>
            </a:pPr>
            <a:endParaRPr lang="tr-TR"/>
          </a:p>
        </c:txPr>
        <c:crossAx val="97576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 sz="2400" b="1"/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FFFF00"/>
          </a:solidFill>
        </a:defRPr>
      </a:pPr>
      <a:endParaRPr lang="tr-T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ayfa1!$B$1</c:f>
              <c:strCache>
                <c:ptCount val="1"/>
                <c:pt idx="0">
                  <c:v>Seri 1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9FE-4979-B2A3-6C45B9F9C5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3000" b="1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ayfa1!$A$2:$A$7</c:f>
              <c:numCache>
                <c:formatCode>General</c:formatCode>
                <c:ptCount val="6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Sayfa1!$B$2:$B$7</c:f>
              <c:numCache>
                <c:formatCode>General</c:formatCode>
                <c:ptCount val="6"/>
                <c:pt idx="0">
                  <c:v>25</c:v>
                </c:pt>
                <c:pt idx="1">
                  <c:v>20.8</c:v>
                </c:pt>
                <c:pt idx="2">
                  <c:v>27.3</c:v>
                </c:pt>
                <c:pt idx="3">
                  <c:v>43.5</c:v>
                </c:pt>
                <c:pt idx="4">
                  <c:v>44.4</c:v>
                </c:pt>
                <c:pt idx="5">
                  <c:v>49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FE-4979-B2A3-6C45B9F9C5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8296392"/>
        <c:axId val="528289176"/>
      </c:barChart>
      <c:catAx>
        <c:axId val="528296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2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28289176"/>
        <c:crosses val="autoZero"/>
        <c:auto val="1"/>
        <c:lblAlgn val="ctr"/>
        <c:lblOffset val="100"/>
        <c:noMultiLvlLbl val="0"/>
      </c:catAx>
      <c:valAx>
        <c:axId val="528289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32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528296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A$2</c:f>
              <c:strCache>
                <c:ptCount val="1"/>
                <c:pt idx="0">
                  <c:v>Dış Ticaret Açığı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5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964-459D-9047-5EA4CA995293}"/>
                </c:ext>
              </c:extLst>
            </c:dLbl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964-459D-9047-5EA4CA9952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000" b="1">
                    <a:solidFill>
                      <a:srgbClr val="FFFF00"/>
                    </a:solidFill>
                  </a:defRPr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1:$G$1</c:f>
              <c:strCach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strCache>
            </c:strRef>
          </c:cat>
          <c:val>
            <c:numRef>
              <c:f>Feuil1!$B$2:$G$2</c:f>
              <c:numCache>
                <c:formatCode>0.0</c:formatCode>
                <c:ptCount val="6"/>
                <c:pt idx="0">
                  <c:v>-20.6</c:v>
                </c:pt>
                <c:pt idx="1">
                  <c:v>-15.605377911002597</c:v>
                </c:pt>
                <c:pt idx="2">
                  <c:v>-18.2</c:v>
                </c:pt>
                <c:pt idx="3">
                  <c:v>-17.782744618757725</c:v>
                </c:pt>
                <c:pt idx="4">
                  <c:v>-18.3</c:v>
                </c:pt>
                <c:pt idx="5" formatCode="General">
                  <c:v>-18.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64-459D-9047-5EA4CA9952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01206272"/>
        <c:axId val="101216256"/>
      </c:barChart>
      <c:lineChart>
        <c:grouping val="stacked"/>
        <c:varyColors val="0"/>
        <c:ser>
          <c:idx val="1"/>
          <c:order val="1"/>
          <c:tx>
            <c:strRef>
              <c:f>Feuil1!$A$3</c:f>
              <c:strCache>
                <c:ptCount val="1"/>
                <c:pt idx="0">
                  <c:v>Cari Açık</c:v>
                </c:pt>
              </c:strCache>
            </c:strRef>
          </c:tx>
          <c:spPr>
            <a:ln w="38100" cap="rnd">
              <a:solidFill>
                <a:srgbClr val="FFFF00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circle"/>
            <c:size val="5"/>
            <c:spPr>
              <a:solidFill>
                <a:schemeClr val="accent2"/>
              </a:solidFill>
              <a:ln w="38100">
                <a:solidFill>
                  <a:srgbClr val="FFFF00"/>
                </a:solidFill>
              </a:ln>
              <a:effectLst/>
            </c:spPr>
          </c:marker>
          <c:dLbls>
            <c:dLbl>
              <c:idx val="5"/>
              <c:layout>
                <c:manualLayout>
                  <c:x val="2.8285641218061611E-2"/>
                  <c:y val="-1.2739932042995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3964-459D-9047-5EA4CA9952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000" b="1">
                    <a:solidFill>
                      <a:srgbClr val="FFFF00"/>
                    </a:solidFill>
                  </a:defRPr>
                </a:pPr>
                <a:endParaRPr lang="tr-TR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B$1:$G$1</c:f>
              <c:strCach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strCache>
            </c:strRef>
          </c:cat>
          <c:val>
            <c:numRef>
              <c:f>Feuil1!$B$3:$G$3</c:f>
              <c:numCache>
                <c:formatCode>0.0</c:formatCode>
                <c:ptCount val="6"/>
                <c:pt idx="0">
                  <c:v>-6</c:v>
                </c:pt>
                <c:pt idx="1">
                  <c:v>-2</c:v>
                </c:pt>
                <c:pt idx="2">
                  <c:v>-4.3</c:v>
                </c:pt>
                <c:pt idx="3">
                  <c:v>-3.7</c:v>
                </c:pt>
                <c:pt idx="4">
                  <c:v>-4.5</c:v>
                </c:pt>
                <c:pt idx="5" formatCode="General">
                  <c:v>-4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3964-459D-9047-5EA4CA9952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206272"/>
        <c:axId val="101216256"/>
      </c:lineChart>
      <c:catAx>
        <c:axId val="10120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>
              <a:defRPr sz="25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01216256"/>
        <c:crosses val="autoZero"/>
        <c:auto val="0"/>
        <c:lblAlgn val="ctr"/>
        <c:lblOffset val="100"/>
        <c:noMultiLvlLbl val="0"/>
      </c:catAx>
      <c:valAx>
        <c:axId val="1012162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101206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5113876235973775"/>
          <c:w val="1"/>
          <c:h val="0.204768827412642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baseline="0">
              <a:solidFill>
                <a:srgbClr val="FFFF00"/>
              </a:solidFill>
              <a:latin typeface="+mn-lt"/>
              <a:ea typeface="+mn-ea"/>
              <a:cs typeface="+mn-cs"/>
            </a:defRPr>
          </a:pPr>
          <a:endParaRPr lang="tr-TR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ayfa1!$B$1</c:f>
              <c:strCache>
                <c:ptCount val="1"/>
                <c:pt idx="0">
                  <c:v>Seri 1</c:v>
                </c:pt>
              </c:strCache>
            </c:strRef>
          </c:tx>
          <c:spPr>
            <a:solidFill>
              <a:srgbClr val="66FFF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ayfa1!$A$2:$A$11</c:f>
              <c:numCache>
                <c:formatCode>General</c:formatCode>
                <c:ptCount val="10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ayfa1!$B$2:$B$11</c:f>
              <c:numCache>
                <c:formatCode>General</c:formatCode>
                <c:ptCount val="10"/>
                <c:pt idx="0">
                  <c:v>0.5</c:v>
                </c:pt>
                <c:pt idx="1">
                  <c:v>1.7</c:v>
                </c:pt>
                <c:pt idx="2">
                  <c:v>1.6</c:v>
                </c:pt>
                <c:pt idx="3">
                  <c:v>2.5</c:v>
                </c:pt>
                <c:pt idx="4">
                  <c:v>2.7</c:v>
                </c:pt>
                <c:pt idx="5">
                  <c:v>3.3</c:v>
                </c:pt>
                <c:pt idx="6">
                  <c:v>3.6</c:v>
                </c:pt>
                <c:pt idx="7">
                  <c:v>3.3</c:v>
                </c:pt>
                <c:pt idx="8">
                  <c:v>2.2000000000000002</c:v>
                </c:pt>
                <c:pt idx="9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1A-446D-A8A8-AE8486FDC3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2644400"/>
        <c:axId val="442641776"/>
      </c:barChart>
      <c:catAx>
        <c:axId val="442644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42641776"/>
        <c:crosses val="autoZero"/>
        <c:auto val="1"/>
        <c:lblAlgn val="ctr"/>
        <c:lblOffset val="100"/>
        <c:noMultiLvlLbl val="0"/>
      </c:catAx>
      <c:valAx>
        <c:axId val="442641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42644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tr-T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ayfa1!$B$1</c:f>
              <c:strCache>
                <c:ptCount val="1"/>
                <c:pt idx="0">
                  <c:v>Seri 1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2.950014215816536E-3"/>
                  <c:y val="-3.07946383382446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5194-4613-B4E9-D492FDAB52C5}"/>
                </c:ext>
              </c:extLst>
            </c:dLbl>
            <c:dLbl>
              <c:idx val="4"/>
              <c:layout>
                <c:manualLayout>
                  <c:x val="2.950014215816428E-3"/>
                  <c:y val="-3.919317606685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5194-4613-B4E9-D492FDAB52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200" b="1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ayfa1!$A$2:$A$7</c:f>
              <c:numCache>
                <c:formatCode>General</c:formatCode>
                <c:ptCount val="6"/>
                <c:pt idx="0">
                  <c:v>1995</c:v>
                </c:pt>
                <c:pt idx="1">
                  <c:v>2000</c:v>
                </c:pt>
                <c:pt idx="2">
                  <c:v>2005</c:v>
                </c:pt>
                <c:pt idx="3">
                  <c:v>2010</c:v>
                </c:pt>
                <c:pt idx="4">
                  <c:v>2015</c:v>
                </c:pt>
                <c:pt idx="5">
                  <c:v>2017</c:v>
                </c:pt>
              </c:numCache>
            </c:numRef>
          </c:cat>
          <c:val>
            <c:numRef>
              <c:f>Sayfa1!$B$2:$B$7</c:f>
              <c:numCache>
                <c:formatCode>General</c:formatCode>
                <c:ptCount val="6"/>
                <c:pt idx="0">
                  <c:v>5.0999999999999996</c:v>
                </c:pt>
                <c:pt idx="1">
                  <c:v>8.8000000000000007</c:v>
                </c:pt>
                <c:pt idx="2">
                  <c:v>20.7</c:v>
                </c:pt>
                <c:pt idx="3">
                  <c:v>45.1</c:v>
                </c:pt>
                <c:pt idx="4">
                  <c:v>55.2</c:v>
                </c:pt>
                <c:pt idx="5">
                  <c:v>6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94-4613-B4E9-D492FDAB52C5}"/>
            </c:ext>
          </c:extLst>
        </c:ser>
        <c:ser>
          <c:idx val="1"/>
          <c:order val="1"/>
          <c:tx>
            <c:strRef>
              <c:f>Sayfa1!$C$1</c:f>
              <c:strCache>
                <c:ptCount val="1"/>
                <c:pt idx="0">
                  <c:v>Sütun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ayfa1!$A$2:$A$7</c:f>
              <c:numCache>
                <c:formatCode>General</c:formatCode>
                <c:ptCount val="6"/>
                <c:pt idx="0">
                  <c:v>1995</c:v>
                </c:pt>
                <c:pt idx="1">
                  <c:v>2000</c:v>
                </c:pt>
                <c:pt idx="2">
                  <c:v>2005</c:v>
                </c:pt>
                <c:pt idx="3">
                  <c:v>2010</c:v>
                </c:pt>
                <c:pt idx="4">
                  <c:v>2015</c:v>
                </c:pt>
                <c:pt idx="5">
                  <c:v>2017</c:v>
                </c:pt>
              </c:numCache>
            </c:numRef>
          </c:cat>
          <c:val>
            <c:numRef>
              <c:f>Sayfa1!$C$2:$C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1-5194-4613-B4E9-D492FDAB52C5}"/>
            </c:ext>
          </c:extLst>
        </c:ser>
        <c:ser>
          <c:idx val="2"/>
          <c:order val="2"/>
          <c:tx>
            <c:strRef>
              <c:f>Sayfa1!$D$1</c:f>
              <c:strCache>
                <c:ptCount val="1"/>
                <c:pt idx="0">
                  <c:v>Sütun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Sayfa1!$A$2:$A$7</c:f>
              <c:numCache>
                <c:formatCode>General</c:formatCode>
                <c:ptCount val="6"/>
                <c:pt idx="0">
                  <c:v>1995</c:v>
                </c:pt>
                <c:pt idx="1">
                  <c:v>2000</c:v>
                </c:pt>
                <c:pt idx="2">
                  <c:v>2005</c:v>
                </c:pt>
                <c:pt idx="3">
                  <c:v>2010</c:v>
                </c:pt>
                <c:pt idx="4">
                  <c:v>2015</c:v>
                </c:pt>
                <c:pt idx="5">
                  <c:v>2017</c:v>
                </c:pt>
              </c:numCache>
            </c:numRef>
          </c:cat>
          <c:val>
            <c:numRef>
              <c:f>Sayfa1!$D$2:$D$7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2-5194-4613-B4E9-D492FDAB52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34627664"/>
        <c:axId val="434626024"/>
      </c:barChart>
      <c:catAx>
        <c:axId val="434627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34626024"/>
        <c:crosses val="autoZero"/>
        <c:auto val="1"/>
        <c:lblAlgn val="ctr"/>
        <c:lblOffset val="100"/>
        <c:noMultiLvlLbl val="0"/>
      </c:catAx>
      <c:valAx>
        <c:axId val="434626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rgbClr val="FFFF00"/>
                </a:solidFill>
                <a:latin typeface="+mn-lt"/>
                <a:ea typeface="+mn-ea"/>
                <a:cs typeface="+mn-cs"/>
              </a:defRPr>
            </a:pPr>
            <a:endParaRPr lang="tr-TR"/>
          </a:p>
        </c:txPr>
        <c:crossAx val="434627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200" b="1">
          <a:solidFill>
            <a:srgbClr val="FFFF00"/>
          </a:solidFill>
        </a:defRPr>
      </a:pPr>
      <a:endParaRPr lang="tr-T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995</cdr:x>
      <cdr:y>0.49</cdr:y>
    </cdr:from>
    <cdr:to>
      <cdr:x>0.50725</cdr:x>
      <cdr:y>0.5752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54631" y="1971446"/>
          <a:ext cx="61359" cy="34299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36576" tIns="41148" rIns="36576" bIns="41148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tr-TR" sz="1800" b="1" i="0" u="none" strike="noStrike" baseline="0">
              <a:solidFill>
                <a:srgbClr val="FFFF00"/>
              </a:solidFill>
              <a:latin typeface="Times New Roman Tur"/>
              <a:cs typeface="Times New Roman Tur"/>
            </a:rPr>
            <a:t>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995</cdr:x>
      <cdr:y>0.49</cdr:y>
    </cdr:from>
    <cdr:to>
      <cdr:x>0.50725</cdr:x>
      <cdr:y>0.5752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54631" y="1971446"/>
          <a:ext cx="61359" cy="34299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36576" tIns="41148" rIns="36576" bIns="41148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tr-TR" sz="1800" b="1" i="0" u="none" strike="noStrike" baseline="0">
              <a:solidFill>
                <a:srgbClr val="FFFF00"/>
              </a:solidFill>
              <a:latin typeface="Times New Roman Tur"/>
              <a:cs typeface="Times New Roman Tur"/>
            </a:rPr>
            <a:t> 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00478</cdr:y>
    </cdr:from>
    <cdr:to>
      <cdr:x>1</cdr:x>
      <cdr:y>0.10711</cdr:y>
    </cdr:to>
    <cdr:sp macro="" textlink="">
      <cdr:nvSpPr>
        <cdr:cNvPr id="2" name="Titre 1"/>
        <cdr:cNvSpPr>
          <a:spLocks xmlns:a="http://schemas.openxmlformats.org/drawingml/2006/main" noGrp="1"/>
        </cdr:cNvSpPr>
      </cdr:nvSpPr>
      <cdr:spPr bwMode="auto">
        <a:xfrm xmlns:a="http://schemas.openxmlformats.org/drawingml/2006/main">
          <a:off x="0" y="24655"/>
          <a:ext cx="8640960" cy="52804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="horz" wrap="square" lIns="91440" tIns="45720" rIns="91440" bIns="45720" numCol="1" anchor="ctr" anchorCtr="0" compatLnSpc="1">
          <a:prstTxWarp prst="textNoShape">
            <a:avLst/>
          </a:prstTxWarp>
        </a:bodyPr>
        <a:lstStyle xmlns:a="http://schemas.openxmlformats.org/drawingml/2006/main">
          <a:lvl1pPr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+mj-lt"/>
              <a:ea typeface="+mj-ea"/>
              <a:cs typeface="+mj-cs"/>
            </a:defRPr>
          </a:lvl1pPr>
          <a:lvl2pPr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Arial" pitchFamily="34" charset="0"/>
            </a:defRPr>
          </a:lvl2pPr>
          <a:lvl3pPr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Arial" pitchFamily="34" charset="0"/>
            </a:defRPr>
          </a:lvl3pPr>
          <a:lvl4pPr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Arial" pitchFamily="34" charset="0"/>
            </a:defRPr>
          </a:lvl4pPr>
          <a:lvl5pPr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Arial" pitchFamily="34" charset="0"/>
            </a:defRPr>
          </a:lvl5pPr>
          <a:lvl6pPr marL="457200"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Arial" pitchFamily="34" charset="0"/>
            </a:defRPr>
          </a:lvl6pPr>
          <a:lvl7pPr marL="914400"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Arial" pitchFamily="34" charset="0"/>
            </a:defRPr>
          </a:lvl7pPr>
          <a:lvl8pPr marL="1371600"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Arial" pitchFamily="34" charset="0"/>
            </a:defRPr>
          </a:lvl8pPr>
          <a:lvl9pPr marL="1828800" algn="ctr" rtl="0" eaLnBrk="0" fontAlgn="base" hangingPunct="0">
            <a:spcBef>
              <a:spcPct val="0"/>
            </a:spcBef>
            <a:spcAft>
              <a:spcPct val="0"/>
            </a:spcAft>
            <a:defRPr sz="4400">
              <a:solidFill>
                <a:schemeClr val="tx1"/>
              </a:solidFill>
              <a:latin typeface="Arial" pitchFamily="34" charset="0"/>
            </a:defRPr>
          </a:lvl9pPr>
        </a:lstStyle>
        <a:p xmlns:a="http://schemas.openxmlformats.org/drawingml/2006/main">
          <a:r>
            <a:rPr lang="tr-TR" sz="3200" b="1" dirty="0" smtClean="0">
              <a:solidFill>
                <a:schemeClr val="bg1"/>
              </a:solidFill>
            </a:rPr>
            <a:t>Kamu %73, Dış Borç Servisi 3,9 Milyar $</a:t>
          </a:r>
          <a:endParaRPr lang="fr-FR" sz="3200" b="1" dirty="0" smtClean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/>
          <a:lstStyle>
            <a:lvl1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95404" y="0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/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3889E21-8138-41DE-A96F-AD2132581EC6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25525" y="723900"/>
            <a:ext cx="4826000" cy="3621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476" tIns="47238" rIns="94476" bIns="47238" rtlCol="0" anchor="ctr"/>
          <a:lstStyle/>
          <a:p>
            <a:pPr lvl="0"/>
            <a:endParaRPr lang="fr-FR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7705" y="4586963"/>
            <a:ext cx="5501640" cy="4345543"/>
          </a:xfrm>
          <a:prstGeom prst="rect">
            <a:avLst/>
          </a:prstGeom>
        </p:spPr>
        <p:txBody>
          <a:bodyPr vert="horz" wrap="square" lIns="94476" tIns="47238" rIns="94476" bIns="47238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172249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 anchor="b"/>
          <a:lstStyle>
            <a:lvl1pPr algn="l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95404" y="9172249"/>
            <a:ext cx="2980055" cy="482838"/>
          </a:xfrm>
          <a:prstGeom prst="rect">
            <a:avLst/>
          </a:prstGeom>
        </p:spPr>
        <p:txBody>
          <a:bodyPr vert="horz" lIns="94476" tIns="47238" rIns="94476" bIns="47238" rtlCol="0" anchor="b"/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FF676EA-86AD-4A40-AB8B-38BB599435D5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13469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B927DBC-D04D-4BA8-960C-D6FD7405761F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r-TR" smtClean="0"/>
          </a:p>
        </p:txBody>
      </p:sp>
    </p:spTree>
    <p:extLst>
      <p:ext uri="{BB962C8B-B14F-4D97-AF65-F5344CB8AC3E}">
        <p14:creationId xmlns:p14="http://schemas.microsoft.com/office/powerpoint/2010/main" val="8973664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2614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FF676EA-86AD-4A40-AB8B-38BB599435D5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50265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fr-FR" sz="1900" b="1" dirty="0" smtClean="0">
              <a:latin typeface="Arial" pitchFamily="34" charset="0"/>
            </a:endParaRPr>
          </a:p>
          <a:p>
            <a:pPr eaLnBrk="1" hangingPunct="1"/>
            <a:endParaRPr lang="fr-FR" dirty="0" smtClean="0"/>
          </a:p>
        </p:txBody>
      </p:sp>
      <p:sp>
        <p:nvSpPr>
          <p:cNvPr id="5837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A590F62-3CAB-44D6-A586-E532DF445448}" type="slidenum">
              <a:rPr lang="fr-FR" smtClean="0">
                <a:latin typeface="Arial" pitchFamily="34" charset="0"/>
                <a:cs typeface="Arial" pitchFamily="34" charset="0"/>
              </a:rPr>
              <a:pPr/>
              <a:t>23</a:t>
            </a:fld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5694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dthdth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2D1A5C8-A9DB-4539-A5B9-6A3E7BE39448}" type="slidenum">
              <a:rPr lang="fr-FR" smtClean="0"/>
              <a:pPr>
                <a:defRPr/>
              </a:pPr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32952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mtClean="0">
              <a:latin typeface="Arial" pitchFamily="34" charset="0"/>
            </a:endParaRPr>
          </a:p>
          <a:p>
            <a:pPr eaLnBrk="1" hangingPunct="1"/>
            <a:r>
              <a:rPr lang="tr-TR" smtClean="0">
                <a:latin typeface="Arial" pitchFamily="34" charset="0"/>
              </a:rPr>
              <a:t>Gayrimenkul ve Şirketlere Yönelik Hizmetler 52,5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İmalat Sanayi19,2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Finans 15,3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Ticaret6,7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Ulaştırma ve Haberleşme2,4</a:t>
            </a:r>
          </a:p>
          <a:p>
            <a:pPr eaLnBrk="1" hangingPunct="1"/>
            <a:endParaRPr lang="tr-TR" smtClean="0">
              <a:latin typeface="Arial" pitchFamily="34" charset="0"/>
            </a:endParaRPr>
          </a:p>
          <a:p>
            <a:pPr eaLnBrk="1" hangingPunct="1"/>
            <a:r>
              <a:rPr lang="tr-TR" smtClean="0">
                <a:latin typeface="Arial" pitchFamily="34" charset="0"/>
              </a:rPr>
              <a:t>Hollanda</a:t>
            </a:r>
            <a:r>
              <a:rPr lang="fr-FR" smtClean="0">
                <a:latin typeface="Arial" pitchFamily="34" charset="0"/>
              </a:rPr>
              <a:t>15,1</a:t>
            </a:r>
            <a:r>
              <a:rPr lang="tr-TR" smtClean="0">
                <a:latin typeface="Arial" pitchFamily="34" charset="0"/>
              </a:rPr>
              <a:t>İngiltere</a:t>
            </a:r>
            <a:r>
              <a:rPr lang="fr-FR" smtClean="0">
                <a:latin typeface="Arial" pitchFamily="34" charset="0"/>
              </a:rPr>
              <a:t>14,4</a:t>
            </a:r>
            <a:r>
              <a:rPr lang="tr-TR" smtClean="0">
                <a:latin typeface="Arial" pitchFamily="34" charset="0"/>
              </a:rPr>
              <a:t>ABD</a:t>
            </a:r>
            <a:r>
              <a:rPr lang="fr-FR" smtClean="0">
                <a:latin typeface="Arial" pitchFamily="34" charset="0"/>
              </a:rPr>
              <a:t>12,1</a:t>
            </a:r>
            <a:r>
              <a:rPr lang="tr-TR" smtClean="0">
                <a:latin typeface="Arial" pitchFamily="34" charset="0"/>
              </a:rPr>
              <a:t>Almanya</a:t>
            </a:r>
            <a:r>
              <a:rPr lang="fr-FR" smtClean="0">
                <a:latin typeface="Arial" pitchFamily="34" charset="0"/>
              </a:rPr>
              <a:t>11,3</a:t>
            </a:r>
            <a:r>
              <a:rPr lang="tr-TR" smtClean="0">
                <a:latin typeface="Arial" pitchFamily="34" charset="0"/>
              </a:rPr>
              <a:t>Belçika</a:t>
            </a:r>
            <a:r>
              <a:rPr lang="fr-FR" smtClean="0">
                <a:latin typeface="Arial" pitchFamily="34" charset="0"/>
              </a:rPr>
              <a:t>10,7</a:t>
            </a:r>
            <a:r>
              <a:rPr lang="tr-TR" smtClean="0">
                <a:latin typeface="Arial" pitchFamily="34" charset="0"/>
              </a:rPr>
              <a:t>İsviçre</a:t>
            </a:r>
            <a:r>
              <a:rPr lang="fr-FR" smtClean="0">
                <a:latin typeface="Arial" pitchFamily="34" charset="0"/>
              </a:rPr>
              <a:t>5,3</a:t>
            </a:r>
            <a:r>
              <a:rPr lang="tr-TR" smtClean="0">
                <a:latin typeface="Arial" pitchFamily="34" charset="0"/>
              </a:rPr>
              <a:t>İtalya</a:t>
            </a:r>
            <a:r>
              <a:rPr lang="fr-FR" smtClean="0">
                <a:latin typeface="Arial" pitchFamily="34" charset="0"/>
              </a:rPr>
              <a:t>3,0</a:t>
            </a:r>
            <a:r>
              <a:rPr lang="tr-TR" smtClean="0">
                <a:latin typeface="Arial" pitchFamily="34" charset="0"/>
              </a:rPr>
              <a:t>Japonya</a:t>
            </a:r>
            <a:r>
              <a:rPr lang="fr-FR" smtClean="0">
                <a:latin typeface="Arial" pitchFamily="34" charset="0"/>
              </a:rPr>
              <a:t>1,8</a:t>
            </a:r>
          </a:p>
        </p:txBody>
      </p:sp>
      <p:sp>
        <p:nvSpPr>
          <p:cNvPr id="59396" name="Espace réservé du numéro de diapositive 3"/>
          <p:cNvSpPr txBox="1">
            <a:spLocks noGrp="1"/>
          </p:cNvSpPr>
          <p:nvPr/>
        </p:nvSpPr>
        <p:spPr bwMode="auto">
          <a:xfrm>
            <a:off x="3895404" y="9172249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6" tIns="47238" rIns="94476" bIns="47238" anchor="b"/>
          <a:lstStyle/>
          <a:p>
            <a:pPr algn="r" eaLnBrk="1" hangingPunct="1"/>
            <a:fld id="{7C4095B5-7314-4BFA-AE32-5D7B238488E2}" type="slidenum">
              <a:rPr lang="fr-FR" sz="1200"/>
              <a:pPr algn="r" eaLnBrk="1" hangingPunct="1"/>
              <a:t>25</a:t>
            </a:fld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38538601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mtClean="0">
              <a:latin typeface="Arial" pitchFamily="34" charset="0"/>
            </a:endParaRPr>
          </a:p>
          <a:p>
            <a:pPr eaLnBrk="1" hangingPunct="1"/>
            <a:r>
              <a:rPr lang="tr-TR" smtClean="0">
                <a:latin typeface="Arial" pitchFamily="34" charset="0"/>
              </a:rPr>
              <a:t>Gayrimenkul ve Şirketlere Yönelik Hizmetler 52,5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İmalat Sanayi19,2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Finans 15,3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Ticaret6,7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Ulaştırma ve Haberleşme2,4</a:t>
            </a:r>
          </a:p>
          <a:p>
            <a:pPr eaLnBrk="1" hangingPunct="1"/>
            <a:endParaRPr lang="tr-TR" smtClean="0">
              <a:latin typeface="Arial" pitchFamily="34" charset="0"/>
            </a:endParaRPr>
          </a:p>
          <a:p>
            <a:pPr eaLnBrk="1" hangingPunct="1"/>
            <a:r>
              <a:rPr lang="tr-TR" smtClean="0">
                <a:latin typeface="Arial" pitchFamily="34" charset="0"/>
              </a:rPr>
              <a:t>Hollanda</a:t>
            </a:r>
            <a:r>
              <a:rPr lang="fr-FR" smtClean="0">
                <a:latin typeface="Arial" pitchFamily="34" charset="0"/>
              </a:rPr>
              <a:t>15,1</a:t>
            </a:r>
            <a:r>
              <a:rPr lang="tr-TR" smtClean="0">
                <a:latin typeface="Arial" pitchFamily="34" charset="0"/>
              </a:rPr>
              <a:t>İngiltere</a:t>
            </a:r>
            <a:r>
              <a:rPr lang="fr-FR" smtClean="0">
                <a:latin typeface="Arial" pitchFamily="34" charset="0"/>
              </a:rPr>
              <a:t>14,4</a:t>
            </a:r>
            <a:r>
              <a:rPr lang="tr-TR" smtClean="0">
                <a:latin typeface="Arial" pitchFamily="34" charset="0"/>
              </a:rPr>
              <a:t>ABD</a:t>
            </a:r>
            <a:r>
              <a:rPr lang="fr-FR" smtClean="0">
                <a:latin typeface="Arial" pitchFamily="34" charset="0"/>
              </a:rPr>
              <a:t>12,1</a:t>
            </a:r>
            <a:r>
              <a:rPr lang="tr-TR" smtClean="0">
                <a:latin typeface="Arial" pitchFamily="34" charset="0"/>
              </a:rPr>
              <a:t>Almanya</a:t>
            </a:r>
            <a:r>
              <a:rPr lang="fr-FR" smtClean="0">
                <a:latin typeface="Arial" pitchFamily="34" charset="0"/>
              </a:rPr>
              <a:t>11,3</a:t>
            </a:r>
            <a:r>
              <a:rPr lang="tr-TR" smtClean="0">
                <a:latin typeface="Arial" pitchFamily="34" charset="0"/>
              </a:rPr>
              <a:t>Belçika</a:t>
            </a:r>
            <a:r>
              <a:rPr lang="fr-FR" smtClean="0">
                <a:latin typeface="Arial" pitchFamily="34" charset="0"/>
              </a:rPr>
              <a:t>10,7</a:t>
            </a:r>
            <a:r>
              <a:rPr lang="tr-TR" smtClean="0">
                <a:latin typeface="Arial" pitchFamily="34" charset="0"/>
              </a:rPr>
              <a:t>İsviçre</a:t>
            </a:r>
            <a:r>
              <a:rPr lang="fr-FR" smtClean="0">
                <a:latin typeface="Arial" pitchFamily="34" charset="0"/>
              </a:rPr>
              <a:t>5,3</a:t>
            </a:r>
            <a:r>
              <a:rPr lang="tr-TR" smtClean="0">
                <a:latin typeface="Arial" pitchFamily="34" charset="0"/>
              </a:rPr>
              <a:t>İtalya</a:t>
            </a:r>
            <a:r>
              <a:rPr lang="fr-FR" smtClean="0">
                <a:latin typeface="Arial" pitchFamily="34" charset="0"/>
              </a:rPr>
              <a:t>3,0</a:t>
            </a:r>
            <a:r>
              <a:rPr lang="tr-TR" smtClean="0">
                <a:latin typeface="Arial" pitchFamily="34" charset="0"/>
              </a:rPr>
              <a:t>Japonya</a:t>
            </a:r>
            <a:r>
              <a:rPr lang="fr-FR" smtClean="0">
                <a:latin typeface="Arial" pitchFamily="34" charset="0"/>
              </a:rPr>
              <a:t>1,8</a:t>
            </a:r>
          </a:p>
        </p:txBody>
      </p:sp>
      <p:sp>
        <p:nvSpPr>
          <p:cNvPr id="59396" name="Espace réservé du numéro de diapositive 3"/>
          <p:cNvSpPr txBox="1">
            <a:spLocks noGrp="1"/>
          </p:cNvSpPr>
          <p:nvPr/>
        </p:nvSpPr>
        <p:spPr bwMode="auto">
          <a:xfrm>
            <a:off x="3895404" y="9172249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6" tIns="47238" rIns="94476" bIns="47238" anchor="b"/>
          <a:lstStyle/>
          <a:p>
            <a:pPr algn="r" eaLnBrk="1" hangingPunct="1"/>
            <a:fld id="{7C4095B5-7314-4BFA-AE32-5D7B238488E2}" type="slidenum">
              <a:rPr lang="fr-FR" sz="1200"/>
              <a:pPr algn="r" eaLnBrk="1" hangingPunct="1"/>
              <a:t>26</a:t>
            </a:fld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7647199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mtClean="0">
              <a:latin typeface="Arial" pitchFamily="34" charset="0"/>
            </a:endParaRPr>
          </a:p>
          <a:p>
            <a:pPr eaLnBrk="1" hangingPunct="1"/>
            <a:r>
              <a:rPr lang="tr-TR" smtClean="0">
                <a:latin typeface="Arial" pitchFamily="34" charset="0"/>
              </a:rPr>
              <a:t>Gayrimenkul ve Şirketlere Yönelik Hizmetler 52,5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İmalat Sanayi19,2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Finans 15,3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Ticaret6,7</a:t>
            </a:r>
          </a:p>
          <a:p>
            <a:pPr eaLnBrk="1" hangingPunct="1"/>
            <a:r>
              <a:rPr lang="tr-TR" smtClean="0">
                <a:latin typeface="Arial" pitchFamily="34" charset="0"/>
              </a:rPr>
              <a:t>Ulaştırma ve Haberleşme2,4</a:t>
            </a:r>
          </a:p>
          <a:p>
            <a:pPr eaLnBrk="1" hangingPunct="1"/>
            <a:endParaRPr lang="tr-TR" smtClean="0">
              <a:latin typeface="Arial" pitchFamily="34" charset="0"/>
            </a:endParaRPr>
          </a:p>
          <a:p>
            <a:pPr eaLnBrk="1" hangingPunct="1"/>
            <a:r>
              <a:rPr lang="tr-TR" smtClean="0">
                <a:latin typeface="Arial" pitchFamily="34" charset="0"/>
              </a:rPr>
              <a:t>Hollanda</a:t>
            </a:r>
            <a:r>
              <a:rPr lang="fr-FR" smtClean="0">
                <a:latin typeface="Arial" pitchFamily="34" charset="0"/>
              </a:rPr>
              <a:t>15,1</a:t>
            </a:r>
            <a:r>
              <a:rPr lang="tr-TR" smtClean="0">
                <a:latin typeface="Arial" pitchFamily="34" charset="0"/>
              </a:rPr>
              <a:t>İngiltere</a:t>
            </a:r>
            <a:r>
              <a:rPr lang="fr-FR" smtClean="0">
                <a:latin typeface="Arial" pitchFamily="34" charset="0"/>
              </a:rPr>
              <a:t>14,4</a:t>
            </a:r>
            <a:r>
              <a:rPr lang="tr-TR" smtClean="0">
                <a:latin typeface="Arial" pitchFamily="34" charset="0"/>
              </a:rPr>
              <a:t>ABD</a:t>
            </a:r>
            <a:r>
              <a:rPr lang="fr-FR" smtClean="0">
                <a:latin typeface="Arial" pitchFamily="34" charset="0"/>
              </a:rPr>
              <a:t>12,1</a:t>
            </a:r>
            <a:r>
              <a:rPr lang="tr-TR" smtClean="0">
                <a:latin typeface="Arial" pitchFamily="34" charset="0"/>
              </a:rPr>
              <a:t>Almanya</a:t>
            </a:r>
            <a:r>
              <a:rPr lang="fr-FR" smtClean="0">
                <a:latin typeface="Arial" pitchFamily="34" charset="0"/>
              </a:rPr>
              <a:t>11,3</a:t>
            </a:r>
            <a:r>
              <a:rPr lang="tr-TR" smtClean="0">
                <a:latin typeface="Arial" pitchFamily="34" charset="0"/>
              </a:rPr>
              <a:t>Belçika</a:t>
            </a:r>
            <a:r>
              <a:rPr lang="fr-FR" smtClean="0">
                <a:latin typeface="Arial" pitchFamily="34" charset="0"/>
              </a:rPr>
              <a:t>10,7</a:t>
            </a:r>
            <a:r>
              <a:rPr lang="tr-TR" smtClean="0">
                <a:latin typeface="Arial" pitchFamily="34" charset="0"/>
              </a:rPr>
              <a:t>İsviçre</a:t>
            </a:r>
            <a:r>
              <a:rPr lang="fr-FR" smtClean="0">
                <a:latin typeface="Arial" pitchFamily="34" charset="0"/>
              </a:rPr>
              <a:t>5,3</a:t>
            </a:r>
            <a:r>
              <a:rPr lang="tr-TR" smtClean="0">
                <a:latin typeface="Arial" pitchFamily="34" charset="0"/>
              </a:rPr>
              <a:t>İtalya</a:t>
            </a:r>
            <a:r>
              <a:rPr lang="fr-FR" smtClean="0">
                <a:latin typeface="Arial" pitchFamily="34" charset="0"/>
              </a:rPr>
              <a:t>3,0</a:t>
            </a:r>
            <a:r>
              <a:rPr lang="tr-TR" smtClean="0">
                <a:latin typeface="Arial" pitchFamily="34" charset="0"/>
              </a:rPr>
              <a:t>Japonya</a:t>
            </a:r>
            <a:r>
              <a:rPr lang="fr-FR" smtClean="0">
                <a:latin typeface="Arial" pitchFamily="34" charset="0"/>
              </a:rPr>
              <a:t>1,8</a:t>
            </a:r>
          </a:p>
        </p:txBody>
      </p:sp>
      <p:sp>
        <p:nvSpPr>
          <p:cNvPr id="59396" name="Espace réservé du numéro de diapositive 3"/>
          <p:cNvSpPr txBox="1">
            <a:spLocks noGrp="1"/>
          </p:cNvSpPr>
          <p:nvPr/>
        </p:nvSpPr>
        <p:spPr bwMode="auto">
          <a:xfrm>
            <a:off x="3895404" y="9172249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6" tIns="47238" rIns="94476" bIns="47238" anchor="b"/>
          <a:lstStyle/>
          <a:p>
            <a:pPr algn="r" eaLnBrk="1" hangingPunct="1"/>
            <a:fld id="{7C4095B5-7314-4BFA-AE32-5D7B238488E2}" type="slidenum">
              <a:rPr lang="fr-FR" sz="1200"/>
              <a:pPr algn="r" eaLnBrk="1" hangingPunct="1"/>
              <a:t>27</a:t>
            </a:fld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14444524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dirty="0" smtClean="0">
              <a:latin typeface="Arial" pitchFamily="34" charset="0"/>
            </a:endParaRPr>
          </a:p>
          <a:p>
            <a:pPr eaLnBrk="1" hangingPunct="1"/>
            <a:endParaRPr lang="tr-TR" dirty="0" smtClean="0">
              <a:latin typeface="Arial" pitchFamily="34" charset="0"/>
            </a:endParaRPr>
          </a:p>
          <a:p>
            <a:pPr eaLnBrk="1" hangingPunct="1"/>
            <a:endParaRPr lang="tr-TR" dirty="0" smtClean="0">
              <a:latin typeface="Arial" pitchFamily="34" charset="0"/>
            </a:endParaRPr>
          </a:p>
          <a:p>
            <a:pPr eaLnBrk="1" hangingPunct="1"/>
            <a:endParaRPr lang="tr-TR" dirty="0" smtClean="0">
              <a:latin typeface="Arial" pitchFamily="34" charset="0"/>
            </a:endParaRPr>
          </a:p>
          <a:p>
            <a:pPr eaLnBrk="1" hangingPunct="1"/>
            <a:r>
              <a:rPr lang="tr-TR" dirty="0" smtClean="0">
                <a:latin typeface="Arial" pitchFamily="34" charset="0"/>
              </a:rPr>
              <a:t>Gayrimenkul ve Şirketlere Yönelik Hizmetler 52,5</a:t>
            </a:r>
          </a:p>
          <a:p>
            <a:pPr eaLnBrk="1" hangingPunct="1"/>
            <a:r>
              <a:rPr lang="tr-TR" dirty="0" smtClean="0">
                <a:latin typeface="Arial" pitchFamily="34" charset="0"/>
              </a:rPr>
              <a:t>İmalat Sanayi19,2</a:t>
            </a:r>
          </a:p>
          <a:p>
            <a:pPr eaLnBrk="1" hangingPunct="1"/>
            <a:r>
              <a:rPr lang="tr-TR" dirty="0" smtClean="0">
                <a:latin typeface="Arial" pitchFamily="34" charset="0"/>
              </a:rPr>
              <a:t>Finans 15,3</a:t>
            </a:r>
          </a:p>
          <a:p>
            <a:pPr eaLnBrk="1" hangingPunct="1"/>
            <a:r>
              <a:rPr lang="tr-TR" dirty="0" smtClean="0">
                <a:latin typeface="Arial" pitchFamily="34" charset="0"/>
              </a:rPr>
              <a:t>Ticaret6,7</a:t>
            </a:r>
          </a:p>
          <a:p>
            <a:pPr eaLnBrk="1" hangingPunct="1"/>
            <a:r>
              <a:rPr lang="tr-TR" dirty="0" smtClean="0">
                <a:latin typeface="Arial" pitchFamily="34" charset="0"/>
              </a:rPr>
              <a:t>Ulaştırma ve Haberleşme2,4</a:t>
            </a:r>
          </a:p>
          <a:p>
            <a:pPr eaLnBrk="1" hangingPunct="1"/>
            <a:endParaRPr lang="tr-TR" dirty="0" smtClean="0">
              <a:latin typeface="Arial" pitchFamily="34" charset="0"/>
            </a:endParaRPr>
          </a:p>
          <a:p>
            <a:pPr eaLnBrk="1" hangingPunct="1"/>
            <a:r>
              <a:rPr lang="tr-TR" dirty="0" smtClean="0">
                <a:latin typeface="Arial" pitchFamily="34" charset="0"/>
              </a:rPr>
              <a:t>Hollanda</a:t>
            </a:r>
            <a:r>
              <a:rPr lang="fr-FR" dirty="0" smtClean="0">
                <a:latin typeface="Arial" pitchFamily="34" charset="0"/>
              </a:rPr>
              <a:t>15,1</a:t>
            </a:r>
            <a:r>
              <a:rPr lang="tr-TR" dirty="0" smtClean="0">
                <a:latin typeface="Arial" pitchFamily="34" charset="0"/>
              </a:rPr>
              <a:t>İngiltere</a:t>
            </a:r>
            <a:r>
              <a:rPr lang="fr-FR" dirty="0" smtClean="0">
                <a:latin typeface="Arial" pitchFamily="34" charset="0"/>
              </a:rPr>
              <a:t>14,4</a:t>
            </a:r>
            <a:r>
              <a:rPr lang="tr-TR" dirty="0" smtClean="0">
                <a:latin typeface="Arial" pitchFamily="34" charset="0"/>
              </a:rPr>
              <a:t>ABD</a:t>
            </a:r>
            <a:r>
              <a:rPr lang="fr-FR" dirty="0" smtClean="0">
                <a:latin typeface="Arial" pitchFamily="34" charset="0"/>
              </a:rPr>
              <a:t>12,1</a:t>
            </a:r>
            <a:r>
              <a:rPr lang="tr-TR" dirty="0" smtClean="0">
                <a:latin typeface="Arial" pitchFamily="34" charset="0"/>
              </a:rPr>
              <a:t>Almanya</a:t>
            </a:r>
            <a:r>
              <a:rPr lang="fr-FR" dirty="0" smtClean="0">
                <a:latin typeface="Arial" pitchFamily="34" charset="0"/>
              </a:rPr>
              <a:t>11,3</a:t>
            </a:r>
            <a:r>
              <a:rPr lang="tr-TR" dirty="0" smtClean="0">
                <a:latin typeface="Arial" pitchFamily="34" charset="0"/>
              </a:rPr>
              <a:t>Belçika</a:t>
            </a:r>
            <a:r>
              <a:rPr lang="fr-FR" dirty="0" smtClean="0">
                <a:latin typeface="Arial" pitchFamily="34" charset="0"/>
              </a:rPr>
              <a:t>10,7</a:t>
            </a:r>
            <a:r>
              <a:rPr lang="tr-TR" dirty="0" smtClean="0">
                <a:latin typeface="Arial" pitchFamily="34" charset="0"/>
              </a:rPr>
              <a:t>İsviçre</a:t>
            </a:r>
            <a:r>
              <a:rPr lang="fr-FR" dirty="0" smtClean="0">
                <a:latin typeface="Arial" pitchFamily="34" charset="0"/>
              </a:rPr>
              <a:t>5,3</a:t>
            </a:r>
            <a:r>
              <a:rPr lang="tr-TR" dirty="0" smtClean="0">
                <a:latin typeface="Arial" pitchFamily="34" charset="0"/>
              </a:rPr>
              <a:t>İtalya</a:t>
            </a:r>
            <a:r>
              <a:rPr lang="fr-FR" dirty="0" smtClean="0">
                <a:latin typeface="Arial" pitchFamily="34" charset="0"/>
              </a:rPr>
              <a:t>3,0</a:t>
            </a:r>
            <a:r>
              <a:rPr lang="tr-TR" dirty="0" smtClean="0">
                <a:latin typeface="Arial" pitchFamily="34" charset="0"/>
              </a:rPr>
              <a:t>Japonya</a:t>
            </a:r>
            <a:r>
              <a:rPr lang="fr-FR" dirty="0" smtClean="0">
                <a:latin typeface="Arial" pitchFamily="34" charset="0"/>
              </a:rPr>
              <a:t>1,8</a:t>
            </a:r>
          </a:p>
        </p:txBody>
      </p:sp>
      <p:sp>
        <p:nvSpPr>
          <p:cNvPr id="59396" name="Espace réservé du numéro de diapositive 3"/>
          <p:cNvSpPr txBox="1">
            <a:spLocks noGrp="1"/>
          </p:cNvSpPr>
          <p:nvPr/>
        </p:nvSpPr>
        <p:spPr bwMode="auto">
          <a:xfrm>
            <a:off x="3895404" y="9172249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6" tIns="47238" rIns="94476" bIns="47238" anchor="b"/>
          <a:lstStyle/>
          <a:p>
            <a:pPr algn="r" eaLnBrk="1" hangingPunct="1"/>
            <a:fld id="{7C4095B5-7314-4BFA-AE32-5D7B238488E2}" type="slidenum">
              <a:rPr lang="fr-FR" sz="1200"/>
              <a:pPr algn="r" eaLnBrk="1" hangingPunct="1"/>
              <a:t>28</a:t>
            </a:fld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133630607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  <a:p>
            <a:pPr eaLnBrk="1" hangingPunct="1"/>
            <a:r>
              <a:rPr lang="tr-TR" b="1" dirty="0" smtClean="0">
                <a:latin typeface="Arial" pitchFamily="34" charset="0"/>
              </a:rPr>
              <a:t>$ 29900 29360 32329 37038 40842 42267 44200</a:t>
            </a:r>
            <a:endParaRPr lang="fr-FR" b="1" dirty="0" smtClean="0">
              <a:latin typeface="Arial" pitchFamily="34" charset="0"/>
            </a:endParaRPr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D13055C-04A4-45F0-B82D-FF4C4B4CBFEC}" type="slidenum">
              <a:rPr lang="fr-FR" smtClean="0">
                <a:latin typeface="Arial" pitchFamily="34" charset="0"/>
                <a:cs typeface="Arial" pitchFamily="34" charset="0"/>
              </a:rPr>
              <a:pPr/>
              <a:t>35</a:t>
            </a:fld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09320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  <a:p>
            <a:pPr eaLnBrk="1" hangingPunct="1"/>
            <a:r>
              <a:rPr lang="tr-TR" b="1" dirty="0" smtClean="0">
                <a:latin typeface="Arial" pitchFamily="34" charset="0"/>
              </a:rPr>
              <a:t>$ 29900 29360 32329 37038 40842 42267 44200</a:t>
            </a:r>
            <a:endParaRPr lang="fr-FR" b="1" dirty="0" smtClean="0">
              <a:latin typeface="Arial" pitchFamily="34" charset="0"/>
            </a:endParaRPr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D13055C-04A4-45F0-B82D-FF4C4B4CBFEC}" type="slidenum">
              <a:rPr lang="fr-FR" smtClean="0">
                <a:latin typeface="Arial" pitchFamily="34" charset="0"/>
                <a:cs typeface="Arial" pitchFamily="34" charset="0"/>
              </a:rPr>
              <a:pPr/>
              <a:t>36</a:t>
            </a:fld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2637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0115" name="Rectangle 3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dirty="0" smtClean="0">
                <a:latin typeface="Arial" pitchFamily="34" charset="0"/>
              </a:rPr>
              <a:t>Toplam </a:t>
            </a:r>
            <a:r>
              <a:rPr lang="tr-TR" b="1" dirty="0" err="1" smtClean="0">
                <a:latin typeface="Arial" pitchFamily="34" charset="0"/>
              </a:rPr>
              <a:t>Nufusa</a:t>
            </a:r>
            <a:r>
              <a:rPr lang="tr-TR" b="1" dirty="0" smtClean="0">
                <a:latin typeface="Arial" pitchFamily="34" charset="0"/>
              </a:rPr>
              <a:t> oranı (%)	20 yaş altı	20-59 Yaş	60 ve üstü	75 ve üstü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1980	30,6	52,4	17	</a:t>
            </a:r>
            <a:r>
              <a:rPr lang="tr-TR" i="1" dirty="0" smtClean="0">
                <a:latin typeface="Arial" pitchFamily="34" charset="0"/>
              </a:rPr>
              <a:t>5,7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1990	27,8	53,2	19	</a:t>
            </a:r>
            <a:r>
              <a:rPr lang="tr-TR" i="1" dirty="0" smtClean="0">
                <a:latin typeface="Arial" pitchFamily="34" charset="0"/>
              </a:rPr>
              <a:t>6,8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2000	25,6	53,8	20,6	</a:t>
            </a:r>
            <a:r>
              <a:rPr lang="tr-TR" i="1" dirty="0" smtClean="0">
                <a:latin typeface="Arial" pitchFamily="34" charset="0"/>
              </a:rPr>
              <a:t>7,2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2006	24,8	54,3	20,9	</a:t>
            </a:r>
            <a:r>
              <a:rPr lang="tr-TR" i="1" dirty="0" smtClean="0">
                <a:latin typeface="Arial" pitchFamily="34" charset="0"/>
              </a:rPr>
              <a:t>8,2	</a:t>
            </a:r>
          </a:p>
          <a:p>
            <a:pPr marL="236190" indent="-236190" eaLnBrk="1" hangingPunct="1">
              <a:buFontTx/>
              <a:buAutoNum type="arabicPlain" startAt="2007"/>
              <a:defRPr/>
            </a:pPr>
            <a:r>
              <a:rPr lang="tr-TR" dirty="0" smtClean="0">
                <a:latin typeface="Arial" pitchFamily="34" charset="0"/>
              </a:rPr>
              <a:t>24,7	54	21,3	</a:t>
            </a:r>
            <a:r>
              <a:rPr lang="tr-TR" i="1" dirty="0" smtClean="0">
                <a:latin typeface="Arial" pitchFamily="34" charset="0"/>
              </a:rPr>
              <a:t>8,4	</a:t>
            </a:r>
          </a:p>
          <a:p>
            <a:pPr marL="236190" indent="-236190" eaLnBrk="1" hangingPunct="1">
              <a:buFontTx/>
              <a:buAutoNum type="arabicPlain" startAt="2007"/>
              <a:defRPr/>
            </a:pPr>
            <a:endParaRPr lang="tr-TR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Paris		:</a:t>
            </a:r>
            <a:r>
              <a:rPr lang="tr-TR" i="1" dirty="0" smtClean="0">
                <a:latin typeface="Arial" pitchFamily="34" charset="0"/>
              </a:rPr>
              <a:t> 11,2 Milyon (şehir merkezi 2,5 milyon)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Lyon		: </a:t>
            </a:r>
            <a:r>
              <a:rPr lang="tr-TR" i="1" dirty="0" smtClean="0">
                <a:latin typeface="Arial" pitchFamily="34" charset="0"/>
              </a:rPr>
              <a:t>1,7 Milyon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Marsilya	: </a:t>
            </a:r>
            <a:r>
              <a:rPr lang="tr-TR" i="1" dirty="0" smtClean="0">
                <a:latin typeface="Arial" pitchFamily="34" charset="0"/>
              </a:rPr>
              <a:t>1,5 Milyon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Lille		: </a:t>
            </a:r>
            <a:r>
              <a:rPr lang="tr-TR" i="1" dirty="0" smtClean="0">
                <a:latin typeface="Arial" pitchFamily="34" charset="0"/>
              </a:rPr>
              <a:t>1,2 Milyon</a:t>
            </a:r>
          </a:p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9526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ECDBB9-B030-4685-8D43-E710D9206754}" type="slidenum">
              <a:rPr lang="de-DE"/>
              <a:pPr/>
              <a:t>37</a:t>
            </a:fld>
            <a:endParaRPr lang="de-DE"/>
          </a:p>
        </p:txBody>
      </p:sp>
      <p:sp>
        <p:nvSpPr>
          <p:cNvPr id="5099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23938" y="723900"/>
            <a:ext cx="4830762" cy="3622675"/>
          </a:xfrm>
          <a:ln/>
        </p:spPr>
      </p:sp>
      <p:sp>
        <p:nvSpPr>
          <p:cNvPr id="5099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941" y="4586964"/>
            <a:ext cx="5043170" cy="4345543"/>
          </a:xfrm>
        </p:spPr>
        <p:txBody>
          <a:bodyPr/>
          <a:lstStyle/>
          <a:p>
            <a:r>
              <a:rPr lang="de-DE" dirty="0" smtClean="0"/>
              <a:t>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iscut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vec</a:t>
            </a:r>
            <a:r>
              <a:rPr lang="de-DE" baseline="0" dirty="0" smtClean="0"/>
              <a:t> M </a:t>
            </a:r>
            <a:r>
              <a:rPr lang="de-DE" baseline="0" dirty="0" err="1" smtClean="0"/>
              <a:t>Fass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Fihri</a:t>
            </a:r>
            <a:endParaRPr lang="de-DE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  <a:p>
            <a:pPr eaLnBrk="1" hangingPunct="1"/>
            <a:r>
              <a:rPr lang="tr-TR" b="1" dirty="0" smtClean="0">
                <a:latin typeface="Arial" pitchFamily="34" charset="0"/>
              </a:rPr>
              <a:t>$ 29900 29360 32329 37038 40842 42267 44200</a:t>
            </a:r>
            <a:endParaRPr lang="fr-FR" b="1" dirty="0" smtClean="0">
              <a:latin typeface="Arial" pitchFamily="34" charset="0"/>
            </a:endParaRPr>
          </a:p>
        </p:txBody>
      </p:sp>
      <p:sp>
        <p:nvSpPr>
          <p:cNvPr id="6042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D13055C-04A4-45F0-B82D-FF4C4B4CBFEC}" type="slidenum">
              <a:rPr lang="fr-FR" smtClean="0">
                <a:latin typeface="Arial" pitchFamily="34" charset="0"/>
                <a:cs typeface="Arial" pitchFamily="34" charset="0"/>
              </a:rPr>
              <a:pPr/>
              <a:t>38</a:t>
            </a:fld>
            <a:endParaRPr lang="fr-FR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18584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1031"/>
          <p:cNvSpPr txBox="1">
            <a:spLocks noGrp="1" noChangeArrowheads="1"/>
          </p:cNvSpPr>
          <p:nvPr/>
        </p:nvSpPr>
        <p:spPr bwMode="auto">
          <a:xfrm>
            <a:off x="3896995" y="9173925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6" tIns="47238" rIns="94476" bIns="47238" anchor="b"/>
          <a:lstStyle/>
          <a:p>
            <a:pPr algn="r"/>
            <a:fld id="{E892808C-48D5-4E0C-BEA4-B384E676AD3A}" type="slidenum">
              <a:rPr lang="en-US" sz="1200">
                <a:latin typeface="Times New Roman" pitchFamily="18" charset="0"/>
              </a:rPr>
              <a:pPr algn="r"/>
              <a:t>40</a:t>
            </a:fld>
            <a:endParaRPr lang="en-US" sz="1200" dirty="0">
              <a:latin typeface="Times New Roman" pitchFamily="18" charset="0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3463" y="730250"/>
            <a:ext cx="4808537" cy="36083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349" y="4585287"/>
            <a:ext cx="5044761" cy="4347219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4792" tIns="47396" rIns="94792" bIns="47396"/>
          <a:lstStyle/>
          <a:p>
            <a:pPr algn="just" eaLnBrk="1" hangingPunct="1">
              <a:buFont typeface="Monotype Sorts" pitchFamily="2" charset="2"/>
              <a:buChar char="F"/>
            </a:pPr>
            <a:endParaRPr lang="tr-TR" smtClean="0"/>
          </a:p>
        </p:txBody>
      </p:sp>
    </p:spTree>
    <p:extLst>
      <p:ext uri="{BB962C8B-B14F-4D97-AF65-F5344CB8AC3E}">
        <p14:creationId xmlns:p14="http://schemas.microsoft.com/office/powerpoint/2010/main" val="41186795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</p:txBody>
      </p:sp>
      <p:sp>
        <p:nvSpPr>
          <p:cNvPr id="64516" name="Espace réservé du numéro de diapositive 3"/>
          <p:cNvSpPr txBox="1">
            <a:spLocks noGrp="1"/>
          </p:cNvSpPr>
          <p:nvPr/>
        </p:nvSpPr>
        <p:spPr bwMode="auto">
          <a:xfrm>
            <a:off x="3895404" y="9172249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6" tIns="47238" rIns="94476" bIns="47238" anchor="b"/>
          <a:lstStyle/>
          <a:p>
            <a:pPr algn="r" eaLnBrk="1" hangingPunct="1"/>
            <a:fld id="{B51335D2-A639-427A-BECC-F8186CF4F07A}" type="slidenum">
              <a:rPr lang="fr-FR" sz="1200"/>
              <a:pPr algn="r" eaLnBrk="1" hangingPunct="1"/>
              <a:t>41</a:t>
            </a:fld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353318383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C0E222-6F9E-4DED-A431-8AD27E9BF8B6}" type="slidenum">
              <a:rPr lang="tr-TR" smtClean="0"/>
              <a:pPr/>
              <a:t>4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22703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C0E222-6F9E-4DED-A431-8AD27E9BF8B6}" type="slidenum">
              <a:rPr lang="tr-TR" smtClean="0"/>
              <a:pPr/>
              <a:t>44</a:t>
            </a:fld>
            <a:endParaRPr lang="tr-TR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5737B8CA-0092-4D04-88F9-01A69241EAE8}" type="slidenum">
              <a:rPr lang="en-US" smtClean="0">
                <a:latin typeface="Arial" pitchFamily="34" charset="0"/>
                <a:cs typeface="Arial" pitchFamily="34" charset="0"/>
              </a:rPr>
              <a:pPr/>
              <a:t>45</a:t>
            </a:fld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08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5050" y="730250"/>
            <a:ext cx="4808538" cy="3606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349" y="4586963"/>
            <a:ext cx="5044761" cy="434722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4400" tIns="47200" rIns="94400" bIns="47200"/>
          <a:lstStyle/>
          <a:p>
            <a:r>
              <a:rPr lang="tr-TR" smtClean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00025805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algn="just" eaLnBrk="1" hangingPunct="1">
              <a:spcBef>
                <a:spcPct val="0"/>
              </a:spcBef>
            </a:pPr>
            <a:r>
              <a:rPr lang="fr-FR" sz="1900" dirty="0" smtClean="0">
                <a:latin typeface="Arial" pitchFamily="34" charset="0"/>
              </a:rPr>
              <a:t>	</a:t>
            </a:r>
            <a:endParaRPr lang="tr-TR" sz="1900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39058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167FDFB-4411-4828-8FFD-9056AFFCC14D}" type="slidenum">
              <a:rPr lang="en-US" smtClean="0">
                <a:latin typeface="Arial" pitchFamily="34" charset="0"/>
                <a:cs typeface="Arial" pitchFamily="34" charset="0"/>
              </a:rPr>
              <a:pPr/>
              <a:t>47</a:t>
            </a:fld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27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3463" y="730250"/>
            <a:ext cx="4808537" cy="36083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270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350" y="4585288"/>
            <a:ext cx="5044761" cy="4347219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5876" tIns="47938" rIns="95876" bIns="47938"/>
          <a:lstStyle/>
          <a:p>
            <a:pPr algn="just">
              <a:buFont typeface="Monotype Sorts" pitchFamily="2" charset="2"/>
              <a:buChar char="F"/>
            </a:pPr>
            <a:endParaRPr lang="tr-TR" smtClean="0"/>
          </a:p>
        </p:txBody>
      </p:sp>
    </p:spTree>
    <p:extLst>
      <p:ext uri="{BB962C8B-B14F-4D97-AF65-F5344CB8AC3E}">
        <p14:creationId xmlns:p14="http://schemas.microsoft.com/office/powerpoint/2010/main" val="42253499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89C0FAE-2BD4-4BBA-92AB-FA1B62C83723}" type="slidenum">
              <a:rPr lang="tr-TR"/>
              <a:pPr/>
              <a:t>48</a:t>
            </a:fld>
            <a:endParaRPr lang="tr-TR"/>
          </a:p>
        </p:txBody>
      </p:sp>
      <p:sp>
        <p:nvSpPr>
          <p:cNvPr id="6164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31875" y="730250"/>
            <a:ext cx="4810125" cy="3608388"/>
          </a:xfrm>
          <a:ln/>
        </p:spPr>
      </p:sp>
      <p:sp>
        <p:nvSpPr>
          <p:cNvPr id="6164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442" y="4585959"/>
            <a:ext cx="5044563" cy="4346625"/>
          </a:xfrm>
        </p:spPr>
        <p:txBody>
          <a:bodyPr lIns="94852" tIns="47426" rIns="94852" bIns="47426"/>
          <a:lstStyle/>
          <a:p>
            <a:pPr algn="just"/>
            <a:r>
              <a:rPr lang="tr-TR" sz="1400" dirty="0">
                <a:latin typeface="Times New Roman Tur" charset="-94"/>
              </a:rPr>
              <a:t>        	</a:t>
            </a:r>
          </a:p>
        </p:txBody>
      </p:sp>
      <p:sp>
        <p:nvSpPr>
          <p:cNvPr id="616452" name="Rectangle 4"/>
          <p:cNvSpPr>
            <a:spLocks noChangeArrowheads="1"/>
          </p:cNvSpPr>
          <p:nvPr/>
        </p:nvSpPr>
        <p:spPr bwMode="auto">
          <a:xfrm>
            <a:off x="815869" y="4618386"/>
            <a:ext cx="5317589" cy="4345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736" tIns="49367" rIns="98736" bIns="49367"/>
          <a:lstStyle/>
          <a:p>
            <a:pPr algn="l">
              <a:spcBef>
                <a:spcPct val="30000"/>
              </a:spcBef>
            </a:pPr>
            <a:r>
              <a:rPr lang="fr-FR" sz="1400" dirty="0">
                <a:latin typeface="Times New Roman" pitchFamily="18" charset="0"/>
              </a:rPr>
              <a:t>Les échanges entre la Turquie est la France </a:t>
            </a:r>
            <a:r>
              <a:rPr lang="fr-FR" sz="1400" dirty="0" err="1">
                <a:latin typeface="Times New Roman" pitchFamily="18" charset="0"/>
              </a:rPr>
              <a:t>co</a:t>
            </a:r>
            <a:r>
              <a:rPr lang="tr-TR" sz="1400" dirty="0">
                <a:latin typeface="Times New Roman" pitchFamily="18" charset="0"/>
              </a:rPr>
              <a:t>n</a:t>
            </a:r>
            <a:r>
              <a:rPr lang="fr-FR" sz="1400" dirty="0">
                <a:latin typeface="Times New Roman" pitchFamily="18" charset="0"/>
              </a:rPr>
              <a:t>naissent une progression constante. </a:t>
            </a:r>
          </a:p>
          <a:p>
            <a:pPr algn="l">
              <a:spcBef>
                <a:spcPct val="30000"/>
              </a:spcBef>
            </a:pPr>
            <a:r>
              <a:rPr lang="tr-TR" sz="1400" dirty="0">
                <a:latin typeface="Times New Roman" pitchFamily="18" charset="0"/>
              </a:rPr>
              <a:t> </a:t>
            </a:r>
            <a:endParaRPr lang="fr-FR" sz="1400" dirty="0">
              <a:latin typeface="Times New Roman" pitchFamily="18" charset="0"/>
            </a:endParaRPr>
          </a:p>
          <a:p>
            <a:pPr algn="l">
              <a:spcBef>
                <a:spcPct val="30000"/>
              </a:spcBef>
            </a:pPr>
            <a:r>
              <a:rPr lang="fr-FR" sz="1400" dirty="0">
                <a:latin typeface="Times New Roman" pitchFamily="18" charset="0"/>
              </a:rPr>
              <a:t>En 2006 les exportations turques vers la France ont atteint </a:t>
            </a:r>
            <a:r>
              <a:rPr lang="tr-TR" sz="1400" dirty="0">
                <a:latin typeface="Times New Roman" pitchFamily="18" charset="0"/>
              </a:rPr>
              <a:t>4</a:t>
            </a:r>
            <a:r>
              <a:rPr lang="fr-FR" sz="1400" dirty="0">
                <a:latin typeface="Times New Roman" pitchFamily="18" charset="0"/>
              </a:rPr>
              <a:t>,2 milliards d’euros</a:t>
            </a:r>
            <a:r>
              <a:rPr lang="tr-TR" sz="1400" dirty="0">
                <a:latin typeface="Times New Roman" pitchFamily="18" charset="0"/>
              </a:rPr>
              <a:t> </a:t>
            </a:r>
            <a:r>
              <a:rPr lang="tr-TR" sz="1400" dirty="0" err="1">
                <a:latin typeface="Times New Roman" pitchFamily="18" charset="0"/>
              </a:rPr>
              <a:t>alors</a:t>
            </a:r>
            <a:r>
              <a:rPr lang="tr-TR" sz="1400" dirty="0">
                <a:latin typeface="Times New Roman" pitchFamily="18" charset="0"/>
              </a:rPr>
              <a:t> </a:t>
            </a:r>
            <a:r>
              <a:rPr lang="tr-TR" sz="1400" dirty="0" err="1">
                <a:latin typeface="Times New Roman" pitchFamily="18" charset="0"/>
              </a:rPr>
              <a:t>que</a:t>
            </a:r>
            <a:r>
              <a:rPr lang="fr-FR" sz="1400" dirty="0">
                <a:latin typeface="Times New Roman" pitchFamily="18" charset="0"/>
              </a:rPr>
              <a:t> les exportations françaises </a:t>
            </a:r>
            <a:r>
              <a:rPr lang="tr-TR" sz="1400" dirty="0" err="1">
                <a:latin typeface="Times New Roman" pitchFamily="18" charset="0"/>
              </a:rPr>
              <a:t>vers</a:t>
            </a:r>
            <a:r>
              <a:rPr lang="tr-TR" sz="1400" dirty="0">
                <a:latin typeface="Times New Roman" pitchFamily="18" charset="0"/>
              </a:rPr>
              <a:t> la </a:t>
            </a:r>
            <a:r>
              <a:rPr lang="tr-TR" sz="1400" dirty="0" err="1">
                <a:latin typeface="Times New Roman" pitchFamily="18" charset="0"/>
              </a:rPr>
              <a:t>Turquıe</a:t>
            </a:r>
            <a:r>
              <a:rPr lang="tr-TR" sz="1400" dirty="0">
                <a:latin typeface="Times New Roman" pitchFamily="18" charset="0"/>
              </a:rPr>
              <a:t> </a:t>
            </a:r>
            <a:r>
              <a:rPr lang="tr-TR" sz="1400" dirty="0" err="1">
                <a:latin typeface="Times New Roman" pitchFamily="18" charset="0"/>
              </a:rPr>
              <a:t>se</a:t>
            </a:r>
            <a:r>
              <a:rPr lang="tr-TR" sz="1400" dirty="0">
                <a:latin typeface="Times New Roman" pitchFamily="18" charset="0"/>
              </a:rPr>
              <a:t> </a:t>
            </a:r>
            <a:r>
              <a:rPr lang="tr-TR" sz="1400" dirty="0" err="1">
                <a:latin typeface="Times New Roman" pitchFamily="18" charset="0"/>
              </a:rPr>
              <a:t>chiffrait</a:t>
            </a:r>
            <a:r>
              <a:rPr lang="fr-FR" sz="1400" dirty="0">
                <a:latin typeface="Times New Roman" pitchFamily="18" charset="0"/>
              </a:rPr>
              <a:t> </a:t>
            </a:r>
            <a:r>
              <a:rPr lang="tr-TR" sz="1400" dirty="0">
                <a:latin typeface="Times New Roman" pitchFamily="18" charset="0"/>
              </a:rPr>
              <a:t>a </a:t>
            </a:r>
            <a:r>
              <a:rPr lang="fr-FR" sz="1400" dirty="0">
                <a:latin typeface="Times New Roman" pitchFamily="18" charset="0"/>
              </a:rPr>
              <a:t>5,2 milliards d’euros</a:t>
            </a:r>
            <a:r>
              <a:rPr lang="tr-TR" sz="1400" dirty="0">
                <a:latin typeface="Times New Roman" pitchFamily="18" charset="0"/>
              </a:rPr>
              <a:t>.</a:t>
            </a:r>
            <a:endParaRPr lang="fr-FR" sz="1400" dirty="0">
              <a:latin typeface="Times New Roman" pitchFamily="18" charset="0"/>
            </a:endParaRPr>
          </a:p>
          <a:p>
            <a:pPr algn="l">
              <a:spcBef>
                <a:spcPct val="30000"/>
              </a:spcBef>
            </a:pPr>
            <a:endParaRPr lang="fr-FR" sz="1400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248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0115" name="Rectangle 3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dirty="0" smtClean="0">
                <a:latin typeface="Arial" pitchFamily="34" charset="0"/>
              </a:rPr>
              <a:t>Toplam </a:t>
            </a:r>
            <a:r>
              <a:rPr lang="tr-TR" b="1" dirty="0" err="1" smtClean="0">
                <a:latin typeface="Arial" pitchFamily="34" charset="0"/>
              </a:rPr>
              <a:t>Nufusa</a:t>
            </a:r>
            <a:r>
              <a:rPr lang="tr-TR" b="1" dirty="0" smtClean="0">
                <a:latin typeface="Arial" pitchFamily="34" charset="0"/>
              </a:rPr>
              <a:t> oranı (%)	20 yaş altı	20-59 Yaş	60 ve üstü	75 ve üstü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1980	30,6	52,4	17	</a:t>
            </a:r>
            <a:r>
              <a:rPr lang="tr-TR" i="1" dirty="0" smtClean="0">
                <a:latin typeface="Arial" pitchFamily="34" charset="0"/>
              </a:rPr>
              <a:t>5,7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1990	27,8	53,2	19	</a:t>
            </a:r>
            <a:r>
              <a:rPr lang="tr-TR" i="1" dirty="0" smtClean="0">
                <a:latin typeface="Arial" pitchFamily="34" charset="0"/>
              </a:rPr>
              <a:t>6,8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2000	25,6	53,8	20,6	</a:t>
            </a:r>
            <a:r>
              <a:rPr lang="tr-TR" i="1" dirty="0" smtClean="0">
                <a:latin typeface="Arial" pitchFamily="34" charset="0"/>
              </a:rPr>
              <a:t>7,2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2006	24,8	54,3	20,9	</a:t>
            </a:r>
            <a:r>
              <a:rPr lang="tr-TR" i="1" dirty="0" smtClean="0">
                <a:latin typeface="Arial" pitchFamily="34" charset="0"/>
              </a:rPr>
              <a:t>8,2	</a:t>
            </a:r>
          </a:p>
          <a:p>
            <a:pPr marL="236190" indent="-236190" eaLnBrk="1" hangingPunct="1">
              <a:buFontTx/>
              <a:buAutoNum type="arabicPlain" startAt="2007"/>
              <a:defRPr/>
            </a:pPr>
            <a:r>
              <a:rPr lang="tr-TR" dirty="0" smtClean="0">
                <a:latin typeface="Arial" pitchFamily="34" charset="0"/>
              </a:rPr>
              <a:t>24,7	54	21,3	</a:t>
            </a:r>
            <a:r>
              <a:rPr lang="tr-TR" i="1" dirty="0" smtClean="0">
                <a:latin typeface="Arial" pitchFamily="34" charset="0"/>
              </a:rPr>
              <a:t>8,4	</a:t>
            </a:r>
          </a:p>
          <a:p>
            <a:pPr marL="236190" indent="-236190" eaLnBrk="1" hangingPunct="1">
              <a:buFontTx/>
              <a:buAutoNum type="arabicPlain" startAt="2007"/>
              <a:defRPr/>
            </a:pPr>
            <a:endParaRPr lang="tr-TR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Paris		:</a:t>
            </a:r>
            <a:r>
              <a:rPr lang="tr-TR" i="1" dirty="0" smtClean="0">
                <a:latin typeface="Arial" pitchFamily="34" charset="0"/>
              </a:rPr>
              <a:t> 11,2 Milyon (şehir merkezi 2,5 milyon)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Lyon		: </a:t>
            </a:r>
            <a:r>
              <a:rPr lang="tr-TR" i="1" dirty="0" smtClean="0">
                <a:latin typeface="Arial" pitchFamily="34" charset="0"/>
              </a:rPr>
              <a:t>1,7 Milyon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Marsilya	: </a:t>
            </a:r>
            <a:r>
              <a:rPr lang="tr-TR" i="1" dirty="0" smtClean="0">
                <a:latin typeface="Arial" pitchFamily="34" charset="0"/>
              </a:rPr>
              <a:t>1,5 Milyon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Lille		: </a:t>
            </a:r>
            <a:r>
              <a:rPr lang="tr-TR" i="1" dirty="0" smtClean="0">
                <a:latin typeface="Arial" pitchFamily="34" charset="0"/>
              </a:rPr>
              <a:t>1,2 Milyon</a:t>
            </a:r>
          </a:p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82009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7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dirty="0" smtClean="0"/>
          </a:p>
        </p:txBody>
      </p:sp>
    </p:spTree>
    <p:extLst>
      <p:ext uri="{BB962C8B-B14F-4D97-AF65-F5344CB8AC3E}">
        <p14:creationId xmlns:p14="http://schemas.microsoft.com/office/powerpoint/2010/main" val="28966730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1031"/>
          <p:cNvSpPr txBox="1">
            <a:spLocks noGrp="1" noChangeArrowheads="1"/>
          </p:cNvSpPr>
          <p:nvPr/>
        </p:nvSpPr>
        <p:spPr bwMode="auto">
          <a:xfrm>
            <a:off x="3896995" y="9173925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0" tIns="47235" rIns="94470" bIns="47235" anchor="b"/>
          <a:lstStyle/>
          <a:p>
            <a:pPr algn="r"/>
            <a:fld id="{E892808C-48D5-4E0C-BEA4-B384E676AD3A}" type="slidenum">
              <a:rPr lang="en-US" sz="1200">
                <a:latin typeface="Times New Roman" pitchFamily="18" charset="0"/>
              </a:rPr>
              <a:pPr algn="r"/>
              <a:t>55</a:t>
            </a:fld>
            <a:endParaRPr lang="en-US" sz="1200" dirty="0">
              <a:latin typeface="Times New Roman" pitchFamily="18" charset="0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3463" y="730250"/>
            <a:ext cx="4808537" cy="36083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350" y="4585288"/>
            <a:ext cx="5044761" cy="4347219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4786" tIns="47393" rIns="94786" bIns="47393"/>
          <a:lstStyle/>
          <a:p>
            <a:pPr algn="just" eaLnBrk="1" hangingPunct="1">
              <a:buFont typeface="Monotype Sorts" pitchFamily="2" charset="2"/>
              <a:buChar char="F"/>
            </a:pPr>
            <a:endParaRPr lang="tr-TR" smtClean="0"/>
          </a:p>
        </p:txBody>
      </p:sp>
    </p:spTree>
    <p:extLst>
      <p:ext uri="{BB962C8B-B14F-4D97-AF65-F5344CB8AC3E}">
        <p14:creationId xmlns:p14="http://schemas.microsoft.com/office/powerpoint/2010/main" val="275289602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1031"/>
          <p:cNvSpPr txBox="1">
            <a:spLocks noGrp="1" noChangeArrowheads="1"/>
          </p:cNvSpPr>
          <p:nvPr/>
        </p:nvSpPr>
        <p:spPr bwMode="auto">
          <a:xfrm>
            <a:off x="3896995" y="9173925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0" tIns="47235" rIns="94470" bIns="47235" anchor="b"/>
          <a:lstStyle/>
          <a:p>
            <a:pPr algn="r"/>
            <a:fld id="{E892808C-48D5-4E0C-BEA4-B384E676AD3A}" type="slidenum">
              <a:rPr lang="en-US" sz="1200">
                <a:latin typeface="Times New Roman" pitchFamily="18" charset="0"/>
              </a:rPr>
              <a:pPr algn="r"/>
              <a:t>56</a:t>
            </a:fld>
            <a:endParaRPr lang="en-US" sz="1200" dirty="0">
              <a:latin typeface="Times New Roman" pitchFamily="18" charset="0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3463" y="730250"/>
            <a:ext cx="4808537" cy="36083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350" y="4585288"/>
            <a:ext cx="5044761" cy="4347219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4786" tIns="47393" rIns="94786" bIns="47393"/>
          <a:lstStyle/>
          <a:p>
            <a:pPr algn="just" eaLnBrk="1" hangingPunct="1">
              <a:buFont typeface="Monotype Sorts" pitchFamily="2" charset="2"/>
              <a:buChar char="F"/>
            </a:pPr>
            <a:endParaRPr lang="tr-TR" smtClean="0"/>
          </a:p>
        </p:txBody>
      </p:sp>
    </p:spTree>
    <p:extLst>
      <p:ext uri="{BB962C8B-B14F-4D97-AF65-F5344CB8AC3E}">
        <p14:creationId xmlns:p14="http://schemas.microsoft.com/office/powerpoint/2010/main" val="29210495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294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9906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0115" name="Rectangle 3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dirty="0" smtClean="0">
                <a:latin typeface="Arial" pitchFamily="34" charset="0"/>
              </a:rPr>
              <a:t>Toplam </a:t>
            </a:r>
            <a:r>
              <a:rPr lang="tr-TR" b="1" dirty="0" err="1" smtClean="0">
                <a:latin typeface="Arial" pitchFamily="34" charset="0"/>
              </a:rPr>
              <a:t>Nufusa</a:t>
            </a:r>
            <a:r>
              <a:rPr lang="tr-TR" b="1" dirty="0" smtClean="0">
                <a:latin typeface="Arial" pitchFamily="34" charset="0"/>
              </a:rPr>
              <a:t> oranı (%)	20 yaş altı	20-59 Yaş	60 ve üstü	75 ve üstü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1980	30,6	52,4	17	</a:t>
            </a:r>
            <a:r>
              <a:rPr lang="tr-TR" i="1" dirty="0" smtClean="0">
                <a:latin typeface="Arial" pitchFamily="34" charset="0"/>
              </a:rPr>
              <a:t>5,7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1990	27,8	53,2	19	</a:t>
            </a:r>
            <a:r>
              <a:rPr lang="tr-TR" i="1" dirty="0" smtClean="0">
                <a:latin typeface="Arial" pitchFamily="34" charset="0"/>
              </a:rPr>
              <a:t>6,8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2000	25,6	53,8	20,6	</a:t>
            </a:r>
            <a:r>
              <a:rPr lang="tr-TR" i="1" dirty="0" smtClean="0">
                <a:latin typeface="Arial" pitchFamily="34" charset="0"/>
              </a:rPr>
              <a:t>7,2	</a:t>
            </a:r>
          </a:p>
          <a:p>
            <a:pPr marL="236190" indent="-236190" eaLnBrk="1" hangingPunct="1">
              <a:defRPr/>
            </a:pPr>
            <a:r>
              <a:rPr lang="tr-TR" dirty="0" smtClean="0">
                <a:latin typeface="Arial" pitchFamily="34" charset="0"/>
              </a:rPr>
              <a:t>2006	24,8	54,3	20,9	</a:t>
            </a:r>
            <a:r>
              <a:rPr lang="tr-TR" i="1" dirty="0" smtClean="0">
                <a:latin typeface="Arial" pitchFamily="34" charset="0"/>
              </a:rPr>
              <a:t>8,2	</a:t>
            </a:r>
          </a:p>
          <a:p>
            <a:pPr marL="236190" indent="-236190" eaLnBrk="1" hangingPunct="1">
              <a:buFontTx/>
              <a:buAutoNum type="arabicPlain" startAt="2007"/>
              <a:defRPr/>
            </a:pPr>
            <a:r>
              <a:rPr lang="tr-TR" dirty="0" smtClean="0">
                <a:latin typeface="Arial" pitchFamily="34" charset="0"/>
              </a:rPr>
              <a:t>24,7	54	21,3	</a:t>
            </a:r>
            <a:r>
              <a:rPr lang="tr-TR" i="1" dirty="0" smtClean="0">
                <a:latin typeface="Arial" pitchFamily="34" charset="0"/>
              </a:rPr>
              <a:t>8,4	</a:t>
            </a:r>
          </a:p>
          <a:p>
            <a:pPr marL="236190" indent="-236190" eaLnBrk="1" hangingPunct="1">
              <a:buFontTx/>
              <a:buAutoNum type="arabicPlain" startAt="2007"/>
              <a:defRPr/>
            </a:pPr>
            <a:endParaRPr lang="tr-TR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Paris		:</a:t>
            </a:r>
            <a:r>
              <a:rPr lang="tr-TR" i="1" dirty="0" smtClean="0">
                <a:latin typeface="Arial" pitchFamily="34" charset="0"/>
              </a:rPr>
              <a:t> 11,2 Milyon (şehir merkezi 2,5 milyon)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Lyon		: </a:t>
            </a:r>
            <a:r>
              <a:rPr lang="tr-TR" i="1" dirty="0" smtClean="0">
                <a:latin typeface="Arial" pitchFamily="34" charset="0"/>
              </a:rPr>
              <a:t>1,7 Milyon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Marsilya	: </a:t>
            </a:r>
            <a:r>
              <a:rPr lang="tr-TR" i="1" dirty="0" smtClean="0">
                <a:latin typeface="Arial" pitchFamily="34" charset="0"/>
              </a:rPr>
              <a:t>1,5 Milyon</a:t>
            </a:r>
            <a:endParaRPr lang="tr-TR" b="1" i="1" dirty="0" smtClean="0">
              <a:latin typeface="Arial" pitchFamily="34" charset="0"/>
            </a:endParaRPr>
          </a:p>
          <a:p>
            <a:pPr marL="236190" indent="-236190" eaLnBrk="1" hangingPunct="1">
              <a:defRPr/>
            </a:pPr>
            <a:r>
              <a:rPr lang="tr-TR" b="1" i="1" dirty="0" smtClean="0">
                <a:latin typeface="Arial" pitchFamily="34" charset="0"/>
              </a:rPr>
              <a:t>Lille		: </a:t>
            </a:r>
            <a:r>
              <a:rPr lang="tr-TR" i="1" dirty="0" smtClean="0">
                <a:latin typeface="Arial" pitchFamily="34" charset="0"/>
              </a:rPr>
              <a:t>1,2 Milyon</a:t>
            </a:r>
          </a:p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942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1031"/>
          <p:cNvSpPr txBox="1">
            <a:spLocks noGrp="1" noChangeArrowheads="1"/>
          </p:cNvSpPr>
          <p:nvPr/>
        </p:nvSpPr>
        <p:spPr bwMode="auto">
          <a:xfrm>
            <a:off x="3896995" y="9173925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6" tIns="47238" rIns="94476" bIns="47238" anchor="b"/>
          <a:lstStyle/>
          <a:p>
            <a:pPr algn="r"/>
            <a:fld id="{2D4B277F-531B-4740-9AC5-303024BC6E93}" type="slidenum">
              <a:rPr lang="en-US" sz="1200">
                <a:latin typeface="Times New Roman" pitchFamily="18" charset="0"/>
              </a:rPr>
              <a:pPr algn="r"/>
              <a:t>5</a:t>
            </a:fld>
            <a:endParaRPr lang="en-US" sz="1200" dirty="0">
              <a:latin typeface="Times New Roman" pitchFamily="18" charset="0"/>
            </a:endParaRPr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33463" y="730250"/>
            <a:ext cx="4808537" cy="36083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349" y="4585287"/>
            <a:ext cx="5044761" cy="4347219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94792" tIns="47396" rIns="94792" bIns="47396"/>
          <a:lstStyle/>
          <a:p>
            <a:pPr algn="just" eaLnBrk="1" hangingPunct="1">
              <a:buFont typeface="Monotype Sorts" pitchFamily="2" charset="2"/>
              <a:buChar char="F"/>
            </a:pPr>
            <a:endParaRPr lang="tr-TR" smtClean="0"/>
          </a:p>
        </p:txBody>
      </p:sp>
    </p:spTree>
    <p:extLst>
      <p:ext uri="{BB962C8B-B14F-4D97-AF65-F5344CB8AC3E}">
        <p14:creationId xmlns:p14="http://schemas.microsoft.com/office/powerpoint/2010/main" val="17336790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2550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0115" name="Rectangle 3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236190" indent="-236190" eaLnBrk="1" hangingPunct="1">
              <a:spcBef>
                <a:spcPct val="0"/>
              </a:spcBef>
              <a:defRPr/>
            </a:pPr>
            <a:endParaRPr lang="tr-TR" i="1" u="sng" dirty="0" smtClean="0"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50873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</p:txBody>
      </p:sp>
      <p:sp>
        <p:nvSpPr>
          <p:cNvPr id="64516" name="Espace réservé du numéro de diapositive 3"/>
          <p:cNvSpPr txBox="1">
            <a:spLocks noGrp="1"/>
          </p:cNvSpPr>
          <p:nvPr/>
        </p:nvSpPr>
        <p:spPr bwMode="auto">
          <a:xfrm>
            <a:off x="3895404" y="9172249"/>
            <a:ext cx="2980055" cy="48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476" tIns="47238" rIns="94476" bIns="47238" anchor="b"/>
          <a:lstStyle/>
          <a:p>
            <a:pPr algn="r" eaLnBrk="1" hangingPunct="1"/>
            <a:fld id="{B51335D2-A639-427A-BECC-F8186CF4F07A}" type="slidenum">
              <a:rPr lang="fr-FR" sz="1200"/>
              <a:pPr algn="r" eaLnBrk="1" hangingPunct="1"/>
              <a:t>8</a:t>
            </a:fld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9457017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5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tr-TR" sz="1900" b="1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22405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2A3EC9-79E2-4E5F-9DB0-1931A5662A9F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05F156-7DE2-4590-B260-4082D0EEEAF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C9BB44-4171-4ABA-8BC6-1539253122F8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A3FB7C-D2AB-4988-941D-AF24C3E3EC2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E557F7-C548-4F4F-9FB8-0CE69E783070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93B156-C320-4CAD-B870-D93666156A30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r-TR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endParaRPr lang="tr-T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8C310F14-2B64-4ADB-87F0-92C31FF148EF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5"/>
          <p:cNvSpPr txBox="1">
            <a:spLocks/>
          </p:cNvSpPr>
          <p:nvPr userDrawn="1"/>
        </p:nvSpPr>
        <p:spPr>
          <a:xfrm>
            <a:off x="488728" y="616907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177800" algn="l">
              <a:defRPr sz="1100">
                <a:solidFill>
                  <a:schemeClr val="bg1"/>
                </a:solidFill>
              </a:defRPr>
            </a:lvl1pPr>
          </a:lstStyle>
          <a:p>
            <a:pPr marL="0" marR="0" lvl="0" indent="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9F9CB-EFB3-46EC-9479-713D26ED68FF}" type="slidenum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1778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17414" y="44624"/>
            <a:ext cx="8133739" cy="648072"/>
          </a:xfrm>
          <a:prstGeom prst="rect">
            <a:avLst/>
          </a:prstGeom>
        </p:spPr>
        <p:txBody>
          <a:bodyPr anchor="ctr" anchorCtr="0"/>
          <a:lstStyle>
            <a:lvl1pPr algn="l">
              <a:defRPr sz="2800" b="1">
                <a:solidFill>
                  <a:srgbClr val="002060"/>
                </a:solidFill>
              </a:defRPr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6" name="Espace réservé du numéro de diapositive 5"/>
          <p:cNvSpPr txBox="1">
            <a:spLocks/>
          </p:cNvSpPr>
          <p:nvPr userDrawn="1"/>
        </p:nvSpPr>
        <p:spPr>
          <a:xfrm>
            <a:off x="488728" y="616907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indent="177800" algn="l"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C39F9CB-EFB3-46EC-9479-713D26ED68FF}" type="slidenum">
              <a:rPr lang="fr-FR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04367C-88EF-4407-9ED9-A86BE0E08E8C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0672C2-5DF1-406C-8AD1-031DA537BBA8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5834B8-2E68-4B0C-932A-52F5056B0154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7F3FAC-92E6-4478-B2E7-5ABC38EE88D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251C02-19B5-4343-8404-AC7EC96FAB9C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25A36B-CA79-4803-B524-4A998C5CC4C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13541E-857B-4539-A4F4-220068561C65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AAE4FE-1872-4F38-AF55-2FFDB127CEF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C88F06-FD94-4F54-97E9-1BD012828434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0462C2-E602-40D4-A0F1-D57F66601EF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70232-709F-4D43-82EC-AC6FBAD2D06D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CC2288-4414-4A3C-9EAE-A6E08277FB2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442682-03EC-4A71-9789-301268EECE1B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B4524D-6B7B-44B2-A058-C8DBEF4FB74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6A7418-7C2B-4FF2-9ED6-B92C63E04BD0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CBB467-BB11-4F94-B1D0-0EFB7DF7DA4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3315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0244BD2-04D9-4766-B788-33E57899239D}" type="datetimeFigureOut">
              <a:rPr lang="fr-FR"/>
              <a:pPr>
                <a:defRPr/>
              </a:pPr>
              <a:t>01/04/2019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DE9F204-1F13-4CC3-9C47-046D081441A2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6" r:id="rId2"/>
    <p:sldLayoutId id="2147483685" r:id="rId3"/>
    <p:sldLayoutId id="2147483684" r:id="rId4"/>
    <p:sldLayoutId id="2147483683" r:id="rId5"/>
    <p:sldLayoutId id="2147483682" r:id="rId6"/>
    <p:sldLayoutId id="2147483681" r:id="rId7"/>
    <p:sldLayoutId id="2147483680" r:id="rId8"/>
    <p:sldLayoutId id="2147483679" r:id="rId9"/>
    <p:sldLayoutId id="2147483678" r:id="rId10"/>
    <p:sldLayoutId id="2147483677" r:id="rId11"/>
    <p:sldLayoutId id="2147483688" r:id="rId12"/>
    <p:sldLayoutId id="2147483689" r:id="rId13"/>
    <p:sldLayoutId id="2147483690" r:id="rId14"/>
  </p:sldLayoutIdLst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gi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gif"/><Relationship Id="rId4" Type="http://schemas.openxmlformats.org/officeDocument/2006/relationships/image" Target="../media/image2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image" Target="../media/image43.emf"/><Relationship Id="rId50" Type="http://schemas.openxmlformats.org/officeDocument/2006/relationships/chart" Target="../charts/chart13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oleObject" Target="../embeddings/oleObject1.bin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slideLayout" Target="../slideLayouts/slideLayout14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chart" Target="../charts/chart1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chart" Target="../charts/chart11.xml"/><Relationship Id="rId8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ouane.gov.ma/adil/" TargetMode="Externa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18" Type="http://schemas.openxmlformats.org/officeDocument/2006/relationships/image" Target="../media/image62.png"/><Relationship Id="rId3" Type="http://schemas.openxmlformats.org/officeDocument/2006/relationships/image" Target="../media/image47.jpeg"/><Relationship Id="rId21" Type="http://schemas.openxmlformats.org/officeDocument/2006/relationships/image" Target="../media/image65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17" Type="http://schemas.openxmlformats.org/officeDocument/2006/relationships/image" Target="../media/image61.png"/><Relationship Id="rId2" Type="http://schemas.openxmlformats.org/officeDocument/2006/relationships/image" Target="../media/image46.png"/><Relationship Id="rId16" Type="http://schemas.openxmlformats.org/officeDocument/2006/relationships/image" Target="../media/image60.png"/><Relationship Id="rId20" Type="http://schemas.openxmlformats.org/officeDocument/2006/relationships/image" Target="../media/image6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10" Type="http://schemas.openxmlformats.org/officeDocument/2006/relationships/image" Target="../media/image54.png"/><Relationship Id="rId19" Type="http://schemas.openxmlformats.org/officeDocument/2006/relationships/image" Target="../media/image63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8.png"/><Relationship Id="rId22" Type="http://schemas.openxmlformats.org/officeDocument/2006/relationships/image" Target="../media/image6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gi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gif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png"/><Relationship Id="rId4" Type="http://schemas.openxmlformats.org/officeDocument/2006/relationships/image" Target="../media/image5.gi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179" name="Text Box 3"/>
          <p:cNvSpPr txBox="1">
            <a:spLocks noChangeArrowheads="1"/>
          </p:cNvSpPr>
          <p:nvPr/>
        </p:nvSpPr>
        <p:spPr bwMode="auto">
          <a:xfrm>
            <a:off x="15172" y="4915034"/>
            <a:ext cx="914400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tr-TR" sz="3600" b="1" dirty="0" smtClean="0">
                <a:solidFill>
                  <a:srgbClr val="FFFF00"/>
                </a:solidFill>
                <a:cs typeface="Times New Roman" pitchFamily="18" charset="0"/>
              </a:rPr>
              <a:t>FAS ÜLKE PROFİLİ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tr-TR" sz="3600" b="1" dirty="0" smtClean="0">
                <a:solidFill>
                  <a:srgbClr val="FFFF00"/>
                </a:solidFill>
                <a:cs typeface="Times New Roman" pitchFamily="18" charset="0"/>
              </a:rPr>
              <a:t>VE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tr-TR" sz="3600" b="1" dirty="0" smtClean="0">
                <a:solidFill>
                  <a:srgbClr val="FFFF00"/>
                </a:solidFill>
                <a:cs typeface="Times New Roman" pitchFamily="18" charset="0"/>
              </a:rPr>
              <a:t>TÜRKİYE-FAS İLİŞKİLERİ</a:t>
            </a:r>
            <a:endParaRPr lang="tr-TR" sz="3600" b="1" dirty="0">
              <a:solidFill>
                <a:srgbClr val="FFFF00"/>
              </a:solidFill>
              <a:cs typeface="Times New Roman" pitchFamily="18" charset="0"/>
            </a:endParaRPr>
          </a:p>
        </p:txBody>
      </p:sp>
      <p:pic>
        <p:nvPicPr>
          <p:cNvPr id="412" name="Picture 5" descr="turflag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628800"/>
            <a:ext cx="2201289" cy="1585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" name="Rectangle 2"/>
          <p:cNvSpPr txBox="1">
            <a:spLocks/>
          </p:cNvSpPr>
          <p:nvPr/>
        </p:nvSpPr>
        <p:spPr bwMode="auto">
          <a:xfrm>
            <a:off x="0" y="-27384"/>
            <a:ext cx="9144000" cy="172819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1" hangingPunct="1">
              <a:defRPr/>
            </a:pPr>
            <a:r>
              <a:rPr kumimoji="0" lang="tr-TR" sz="3600" b="1" i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T.C. RABAT</a:t>
            </a:r>
            <a:r>
              <a:rPr kumimoji="0" lang="tr-TR" sz="3600" b="1" i="1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 </a:t>
            </a:r>
            <a:r>
              <a:rPr kumimoji="0" lang="tr-TR" sz="3600" b="1" i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BÜYÜKELÇİLİĞİ</a:t>
            </a:r>
            <a:br>
              <a:rPr kumimoji="0" lang="tr-TR" sz="3600" b="1" i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</a:br>
            <a:r>
              <a:rPr lang="tr-TR" sz="3600" b="1" i="1" kern="0" dirty="0">
                <a:solidFill>
                  <a:schemeClr val="bg1"/>
                </a:solidFill>
                <a:latin typeface="Calibri" pitchFamily="34" charset="0"/>
                <a:ea typeface="+mj-ea"/>
                <a:cs typeface="+mj-cs"/>
              </a:rPr>
              <a:t>TİCARET </a:t>
            </a:r>
            <a:r>
              <a:rPr lang="tr-TR" sz="3600" b="1" i="1" kern="0" dirty="0" smtClean="0">
                <a:solidFill>
                  <a:schemeClr val="bg1"/>
                </a:solidFill>
                <a:latin typeface="Calibri" pitchFamily="34" charset="0"/>
                <a:ea typeface="+mj-ea"/>
                <a:cs typeface="+mj-cs"/>
              </a:rPr>
              <a:t>MÜŞAVİRLİĞİ-KAZABLANKA OFİSİ</a:t>
            </a:r>
            <a:r>
              <a:rPr kumimoji="0" lang="tr-TR" sz="3400" b="1" i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/>
            </a:r>
            <a:br>
              <a:rPr kumimoji="0" lang="tr-TR" sz="3400" b="1" i="1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</a:br>
            <a:endParaRPr kumimoji="0" lang="fr-FR" sz="3400" b="1" i="1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274" name="Rectangle 5"/>
          <p:cNvSpPr>
            <a:spLocks noChangeArrowheads="1"/>
          </p:cNvSpPr>
          <p:nvPr/>
        </p:nvSpPr>
        <p:spPr bwMode="auto">
          <a:xfrm>
            <a:off x="0" y="1171922"/>
            <a:ext cx="9144000" cy="96838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grpSp>
        <p:nvGrpSpPr>
          <p:cNvPr id="426" name="Group 184"/>
          <p:cNvGrpSpPr>
            <a:grpSpLocks/>
          </p:cNvGrpSpPr>
          <p:nvPr/>
        </p:nvGrpSpPr>
        <p:grpSpPr bwMode="auto">
          <a:xfrm>
            <a:off x="2843807" y="1412776"/>
            <a:ext cx="3497031" cy="3528391"/>
            <a:chOff x="531" y="945"/>
            <a:chExt cx="2507" cy="2630"/>
          </a:xfrm>
          <a:solidFill>
            <a:schemeClr val="tx2"/>
          </a:solidFill>
        </p:grpSpPr>
        <p:sp>
          <p:nvSpPr>
            <p:cNvPr id="427" name="Freeform 3"/>
            <p:cNvSpPr>
              <a:spLocks/>
            </p:cNvSpPr>
            <p:nvPr/>
          </p:nvSpPr>
          <p:spPr bwMode="auto">
            <a:xfrm>
              <a:off x="1755" y="3136"/>
              <a:ext cx="579" cy="439"/>
            </a:xfrm>
            <a:custGeom>
              <a:avLst/>
              <a:gdLst/>
              <a:ahLst/>
              <a:cxnLst>
                <a:cxn ang="0">
                  <a:pos x="0" y="257"/>
                </a:cxn>
                <a:cxn ang="0">
                  <a:pos x="0" y="282"/>
                </a:cxn>
                <a:cxn ang="0">
                  <a:pos x="23" y="313"/>
                </a:cxn>
                <a:cxn ang="0">
                  <a:pos x="40" y="345"/>
                </a:cxn>
                <a:cxn ang="0">
                  <a:pos x="34" y="365"/>
                </a:cxn>
                <a:cxn ang="0">
                  <a:pos x="23" y="393"/>
                </a:cxn>
                <a:cxn ang="0">
                  <a:pos x="23" y="416"/>
                </a:cxn>
                <a:cxn ang="0">
                  <a:pos x="52" y="439"/>
                </a:cxn>
                <a:cxn ang="0">
                  <a:pos x="100" y="422"/>
                </a:cxn>
                <a:cxn ang="0">
                  <a:pos x="123" y="434"/>
                </a:cxn>
                <a:cxn ang="0">
                  <a:pos x="157" y="422"/>
                </a:cxn>
                <a:cxn ang="0">
                  <a:pos x="178" y="422"/>
                </a:cxn>
                <a:cxn ang="0">
                  <a:pos x="218" y="422"/>
                </a:cxn>
                <a:cxn ang="0">
                  <a:pos x="251" y="422"/>
                </a:cxn>
                <a:cxn ang="0">
                  <a:pos x="268" y="422"/>
                </a:cxn>
                <a:cxn ang="0">
                  <a:pos x="307" y="424"/>
                </a:cxn>
                <a:cxn ang="0">
                  <a:pos x="320" y="403"/>
                </a:cxn>
                <a:cxn ang="0">
                  <a:pos x="328" y="384"/>
                </a:cxn>
                <a:cxn ang="0">
                  <a:pos x="362" y="378"/>
                </a:cxn>
                <a:cxn ang="0">
                  <a:pos x="380" y="382"/>
                </a:cxn>
                <a:cxn ang="0">
                  <a:pos x="416" y="368"/>
                </a:cxn>
                <a:cxn ang="0">
                  <a:pos x="433" y="334"/>
                </a:cxn>
                <a:cxn ang="0">
                  <a:pos x="447" y="317"/>
                </a:cxn>
                <a:cxn ang="0">
                  <a:pos x="462" y="305"/>
                </a:cxn>
                <a:cxn ang="0">
                  <a:pos x="491" y="269"/>
                </a:cxn>
                <a:cxn ang="0">
                  <a:pos x="510" y="251"/>
                </a:cxn>
                <a:cxn ang="0">
                  <a:pos x="533" y="242"/>
                </a:cxn>
                <a:cxn ang="0">
                  <a:pos x="547" y="226"/>
                </a:cxn>
                <a:cxn ang="0">
                  <a:pos x="573" y="211"/>
                </a:cxn>
                <a:cxn ang="0">
                  <a:pos x="573" y="196"/>
                </a:cxn>
                <a:cxn ang="0">
                  <a:pos x="562" y="171"/>
                </a:cxn>
                <a:cxn ang="0">
                  <a:pos x="524" y="184"/>
                </a:cxn>
                <a:cxn ang="0">
                  <a:pos x="512" y="169"/>
                </a:cxn>
                <a:cxn ang="0">
                  <a:pos x="518" y="157"/>
                </a:cxn>
                <a:cxn ang="0">
                  <a:pos x="527" y="146"/>
                </a:cxn>
                <a:cxn ang="0">
                  <a:pos x="545" y="146"/>
                </a:cxn>
                <a:cxn ang="0">
                  <a:pos x="573" y="123"/>
                </a:cxn>
                <a:cxn ang="0">
                  <a:pos x="579" y="94"/>
                </a:cxn>
                <a:cxn ang="0">
                  <a:pos x="562" y="81"/>
                </a:cxn>
                <a:cxn ang="0">
                  <a:pos x="554" y="48"/>
                </a:cxn>
                <a:cxn ang="0">
                  <a:pos x="550" y="29"/>
                </a:cxn>
                <a:cxn ang="0">
                  <a:pos x="539" y="6"/>
                </a:cxn>
                <a:cxn ang="0">
                  <a:pos x="518" y="6"/>
                </a:cxn>
                <a:cxn ang="0">
                  <a:pos x="485" y="6"/>
                </a:cxn>
                <a:cxn ang="0">
                  <a:pos x="462" y="6"/>
                </a:cxn>
                <a:cxn ang="0">
                  <a:pos x="428" y="17"/>
                </a:cxn>
                <a:cxn ang="0">
                  <a:pos x="416" y="29"/>
                </a:cxn>
                <a:cxn ang="0">
                  <a:pos x="385" y="77"/>
                </a:cxn>
                <a:cxn ang="0">
                  <a:pos x="357" y="100"/>
                </a:cxn>
                <a:cxn ang="0">
                  <a:pos x="334" y="129"/>
                </a:cxn>
                <a:cxn ang="0">
                  <a:pos x="305" y="140"/>
                </a:cxn>
                <a:cxn ang="0">
                  <a:pos x="263" y="123"/>
                </a:cxn>
                <a:cxn ang="0">
                  <a:pos x="228" y="146"/>
                </a:cxn>
                <a:cxn ang="0">
                  <a:pos x="182" y="171"/>
                </a:cxn>
                <a:cxn ang="0">
                  <a:pos x="169" y="134"/>
                </a:cxn>
                <a:cxn ang="0">
                  <a:pos x="140" y="106"/>
                </a:cxn>
                <a:cxn ang="0">
                  <a:pos x="140" y="129"/>
                </a:cxn>
                <a:cxn ang="0">
                  <a:pos x="140" y="146"/>
                </a:cxn>
                <a:cxn ang="0">
                  <a:pos x="123" y="194"/>
                </a:cxn>
                <a:cxn ang="0">
                  <a:pos x="111" y="200"/>
                </a:cxn>
                <a:cxn ang="0">
                  <a:pos x="77" y="234"/>
                </a:cxn>
                <a:cxn ang="0">
                  <a:pos x="29" y="234"/>
                </a:cxn>
                <a:cxn ang="0">
                  <a:pos x="6" y="224"/>
                </a:cxn>
              </a:cxnLst>
              <a:rect l="0" t="0" r="r" b="b"/>
              <a:pathLst>
                <a:path w="579" h="439">
                  <a:moveTo>
                    <a:pt x="0" y="217"/>
                  </a:moveTo>
                  <a:lnTo>
                    <a:pt x="2" y="234"/>
                  </a:lnTo>
                  <a:lnTo>
                    <a:pt x="6" y="251"/>
                  </a:lnTo>
                  <a:lnTo>
                    <a:pt x="0" y="257"/>
                  </a:lnTo>
                  <a:lnTo>
                    <a:pt x="0" y="261"/>
                  </a:lnTo>
                  <a:lnTo>
                    <a:pt x="0" y="263"/>
                  </a:lnTo>
                  <a:lnTo>
                    <a:pt x="0" y="269"/>
                  </a:lnTo>
                  <a:lnTo>
                    <a:pt x="0" y="282"/>
                  </a:lnTo>
                  <a:lnTo>
                    <a:pt x="0" y="294"/>
                  </a:lnTo>
                  <a:lnTo>
                    <a:pt x="7" y="301"/>
                  </a:lnTo>
                  <a:lnTo>
                    <a:pt x="17" y="305"/>
                  </a:lnTo>
                  <a:lnTo>
                    <a:pt x="23" y="313"/>
                  </a:lnTo>
                  <a:lnTo>
                    <a:pt x="29" y="322"/>
                  </a:lnTo>
                  <a:lnTo>
                    <a:pt x="29" y="334"/>
                  </a:lnTo>
                  <a:lnTo>
                    <a:pt x="36" y="340"/>
                  </a:lnTo>
                  <a:lnTo>
                    <a:pt x="40" y="345"/>
                  </a:lnTo>
                  <a:lnTo>
                    <a:pt x="40" y="357"/>
                  </a:lnTo>
                  <a:lnTo>
                    <a:pt x="36" y="359"/>
                  </a:lnTo>
                  <a:lnTo>
                    <a:pt x="36" y="361"/>
                  </a:lnTo>
                  <a:lnTo>
                    <a:pt x="34" y="365"/>
                  </a:lnTo>
                  <a:lnTo>
                    <a:pt x="34" y="368"/>
                  </a:lnTo>
                  <a:lnTo>
                    <a:pt x="29" y="378"/>
                  </a:lnTo>
                  <a:lnTo>
                    <a:pt x="23" y="388"/>
                  </a:lnTo>
                  <a:lnTo>
                    <a:pt x="23" y="393"/>
                  </a:lnTo>
                  <a:lnTo>
                    <a:pt x="23" y="395"/>
                  </a:lnTo>
                  <a:lnTo>
                    <a:pt x="23" y="399"/>
                  </a:lnTo>
                  <a:lnTo>
                    <a:pt x="23" y="405"/>
                  </a:lnTo>
                  <a:lnTo>
                    <a:pt x="23" y="416"/>
                  </a:lnTo>
                  <a:lnTo>
                    <a:pt x="23" y="428"/>
                  </a:lnTo>
                  <a:lnTo>
                    <a:pt x="29" y="439"/>
                  </a:lnTo>
                  <a:lnTo>
                    <a:pt x="40" y="439"/>
                  </a:lnTo>
                  <a:lnTo>
                    <a:pt x="52" y="439"/>
                  </a:lnTo>
                  <a:lnTo>
                    <a:pt x="63" y="428"/>
                  </a:lnTo>
                  <a:lnTo>
                    <a:pt x="82" y="428"/>
                  </a:lnTo>
                  <a:lnTo>
                    <a:pt x="90" y="424"/>
                  </a:lnTo>
                  <a:lnTo>
                    <a:pt x="100" y="422"/>
                  </a:lnTo>
                  <a:lnTo>
                    <a:pt x="105" y="434"/>
                  </a:lnTo>
                  <a:lnTo>
                    <a:pt x="107" y="434"/>
                  </a:lnTo>
                  <a:lnTo>
                    <a:pt x="111" y="434"/>
                  </a:lnTo>
                  <a:lnTo>
                    <a:pt x="123" y="434"/>
                  </a:lnTo>
                  <a:lnTo>
                    <a:pt x="134" y="434"/>
                  </a:lnTo>
                  <a:lnTo>
                    <a:pt x="144" y="428"/>
                  </a:lnTo>
                  <a:lnTo>
                    <a:pt x="151" y="422"/>
                  </a:lnTo>
                  <a:lnTo>
                    <a:pt x="157" y="422"/>
                  </a:lnTo>
                  <a:lnTo>
                    <a:pt x="161" y="422"/>
                  </a:lnTo>
                  <a:lnTo>
                    <a:pt x="163" y="422"/>
                  </a:lnTo>
                  <a:lnTo>
                    <a:pt x="169" y="422"/>
                  </a:lnTo>
                  <a:lnTo>
                    <a:pt x="178" y="422"/>
                  </a:lnTo>
                  <a:lnTo>
                    <a:pt x="188" y="422"/>
                  </a:lnTo>
                  <a:lnTo>
                    <a:pt x="199" y="422"/>
                  </a:lnTo>
                  <a:lnTo>
                    <a:pt x="211" y="422"/>
                  </a:lnTo>
                  <a:lnTo>
                    <a:pt x="218" y="422"/>
                  </a:lnTo>
                  <a:lnTo>
                    <a:pt x="228" y="422"/>
                  </a:lnTo>
                  <a:lnTo>
                    <a:pt x="238" y="422"/>
                  </a:lnTo>
                  <a:lnTo>
                    <a:pt x="245" y="422"/>
                  </a:lnTo>
                  <a:lnTo>
                    <a:pt x="251" y="422"/>
                  </a:lnTo>
                  <a:lnTo>
                    <a:pt x="257" y="422"/>
                  </a:lnTo>
                  <a:lnTo>
                    <a:pt x="263" y="422"/>
                  </a:lnTo>
                  <a:lnTo>
                    <a:pt x="266" y="422"/>
                  </a:lnTo>
                  <a:lnTo>
                    <a:pt x="268" y="422"/>
                  </a:lnTo>
                  <a:lnTo>
                    <a:pt x="274" y="422"/>
                  </a:lnTo>
                  <a:lnTo>
                    <a:pt x="288" y="422"/>
                  </a:lnTo>
                  <a:lnTo>
                    <a:pt x="299" y="422"/>
                  </a:lnTo>
                  <a:lnTo>
                    <a:pt x="307" y="424"/>
                  </a:lnTo>
                  <a:lnTo>
                    <a:pt x="316" y="428"/>
                  </a:lnTo>
                  <a:lnTo>
                    <a:pt x="316" y="416"/>
                  </a:lnTo>
                  <a:lnTo>
                    <a:pt x="316" y="405"/>
                  </a:lnTo>
                  <a:lnTo>
                    <a:pt x="320" y="403"/>
                  </a:lnTo>
                  <a:lnTo>
                    <a:pt x="320" y="401"/>
                  </a:lnTo>
                  <a:lnTo>
                    <a:pt x="322" y="397"/>
                  </a:lnTo>
                  <a:lnTo>
                    <a:pt x="322" y="393"/>
                  </a:lnTo>
                  <a:lnTo>
                    <a:pt x="328" y="384"/>
                  </a:lnTo>
                  <a:lnTo>
                    <a:pt x="334" y="374"/>
                  </a:lnTo>
                  <a:lnTo>
                    <a:pt x="345" y="374"/>
                  </a:lnTo>
                  <a:lnTo>
                    <a:pt x="357" y="374"/>
                  </a:lnTo>
                  <a:lnTo>
                    <a:pt x="362" y="378"/>
                  </a:lnTo>
                  <a:lnTo>
                    <a:pt x="368" y="382"/>
                  </a:lnTo>
                  <a:lnTo>
                    <a:pt x="374" y="382"/>
                  </a:lnTo>
                  <a:lnTo>
                    <a:pt x="378" y="382"/>
                  </a:lnTo>
                  <a:lnTo>
                    <a:pt x="380" y="382"/>
                  </a:lnTo>
                  <a:lnTo>
                    <a:pt x="385" y="382"/>
                  </a:lnTo>
                  <a:lnTo>
                    <a:pt x="399" y="382"/>
                  </a:lnTo>
                  <a:lnTo>
                    <a:pt x="410" y="382"/>
                  </a:lnTo>
                  <a:lnTo>
                    <a:pt x="416" y="368"/>
                  </a:lnTo>
                  <a:lnTo>
                    <a:pt x="416" y="361"/>
                  </a:lnTo>
                  <a:lnTo>
                    <a:pt x="416" y="351"/>
                  </a:lnTo>
                  <a:lnTo>
                    <a:pt x="422" y="340"/>
                  </a:lnTo>
                  <a:lnTo>
                    <a:pt x="433" y="334"/>
                  </a:lnTo>
                  <a:lnTo>
                    <a:pt x="439" y="328"/>
                  </a:lnTo>
                  <a:lnTo>
                    <a:pt x="439" y="324"/>
                  </a:lnTo>
                  <a:lnTo>
                    <a:pt x="443" y="320"/>
                  </a:lnTo>
                  <a:lnTo>
                    <a:pt x="447" y="317"/>
                  </a:lnTo>
                  <a:lnTo>
                    <a:pt x="451" y="317"/>
                  </a:lnTo>
                  <a:lnTo>
                    <a:pt x="455" y="311"/>
                  </a:lnTo>
                  <a:lnTo>
                    <a:pt x="456" y="305"/>
                  </a:lnTo>
                  <a:lnTo>
                    <a:pt x="462" y="305"/>
                  </a:lnTo>
                  <a:lnTo>
                    <a:pt x="472" y="295"/>
                  </a:lnTo>
                  <a:lnTo>
                    <a:pt x="479" y="282"/>
                  </a:lnTo>
                  <a:lnTo>
                    <a:pt x="485" y="276"/>
                  </a:lnTo>
                  <a:lnTo>
                    <a:pt x="491" y="269"/>
                  </a:lnTo>
                  <a:lnTo>
                    <a:pt x="497" y="267"/>
                  </a:lnTo>
                  <a:lnTo>
                    <a:pt x="502" y="263"/>
                  </a:lnTo>
                  <a:lnTo>
                    <a:pt x="508" y="257"/>
                  </a:lnTo>
                  <a:lnTo>
                    <a:pt x="510" y="251"/>
                  </a:lnTo>
                  <a:lnTo>
                    <a:pt x="516" y="246"/>
                  </a:lnTo>
                  <a:lnTo>
                    <a:pt x="524" y="246"/>
                  </a:lnTo>
                  <a:lnTo>
                    <a:pt x="533" y="246"/>
                  </a:lnTo>
                  <a:lnTo>
                    <a:pt x="533" y="242"/>
                  </a:lnTo>
                  <a:lnTo>
                    <a:pt x="537" y="242"/>
                  </a:lnTo>
                  <a:lnTo>
                    <a:pt x="541" y="240"/>
                  </a:lnTo>
                  <a:lnTo>
                    <a:pt x="545" y="240"/>
                  </a:lnTo>
                  <a:lnTo>
                    <a:pt x="547" y="226"/>
                  </a:lnTo>
                  <a:lnTo>
                    <a:pt x="550" y="223"/>
                  </a:lnTo>
                  <a:lnTo>
                    <a:pt x="556" y="217"/>
                  </a:lnTo>
                  <a:lnTo>
                    <a:pt x="568" y="217"/>
                  </a:lnTo>
                  <a:lnTo>
                    <a:pt x="573" y="211"/>
                  </a:lnTo>
                  <a:lnTo>
                    <a:pt x="573" y="207"/>
                  </a:lnTo>
                  <a:lnTo>
                    <a:pt x="573" y="205"/>
                  </a:lnTo>
                  <a:lnTo>
                    <a:pt x="573" y="200"/>
                  </a:lnTo>
                  <a:lnTo>
                    <a:pt x="573" y="196"/>
                  </a:lnTo>
                  <a:lnTo>
                    <a:pt x="573" y="194"/>
                  </a:lnTo>
                  <a:lnTo>
                    <a:pt x="573" y="182"/>
                  </a:lnTo>
                  <a:lnTo>
                    <a:pt x="573" y="171"/>
                  </a:lnTo>
                  <a:lnTo>
                    <a:pt x="562" y="171"/>
                  </a:lnTo>
                  <a:lnTo>
                    <a:pt x="554" y="177"/>
                  </a:lnTo>
                  <a:lnTo>
                    <a:pt x="545" y="182"/>
                  </a:lnTo>
                  <a:lnTo>
                    <a:pt x="533" y="182"/>
                  </a:lnTo>
                  <a:lnTo>
                    <a:pt x="524" y="184"/>
                  </a:lnTo>
                  <a:lnTo>
                    <a:pt x="516" y="188"/>
                  </a:lnTo>
                  <a:lnTo>
                    <a:pt x="512" y="178"/>
                  </a:lnTo>
                  <a:lnTo>
                    <a:pt x="510" y="171"/>
                  </a:lnTo>
                  <a:lnTo>
                    <a:pt x="512" y="169"/>
                  </a:lnTo>
                  <a:lnTo>
                    <a:pt x="514" y="167"/>
                  </a:lnTo>
                  <a:lnTo>
                    <a:pt x="516" y="163"/>
                  </a:lnTo>
                  <a:lnTo>
                    <a:pt x="516" y="157"/>
                  </a:lnTo>
                  <a:lnTo>
                    <a:pt x="518" y="157"/>
                  </a:lnTo>
                  <a:lnTo>
                    <a:pt x="520" y="155"/>
                  </a:lnTo>
                  <a:lnTo>
                    <a:pt x="522" y="152"/>
                  </a:lnTo>
                  <a:lnTo>
                    <a:pt x="522" y="146"/>
                  </a:lnTo>
                  <a:lnTo>
                    <a:pt x="527" y="146"/>
                  </a:lnTo>
                  <a:lnTo>
                    <a:pt x="533" y="146"/>
                  </a:lnTo>
                  <a:lnTo>
                    <a:pt x="539" y="146"/>
                  </a:lnTo>
                  <a:lnTo>
                    <a:pt x="541" y="146"/>
                  </a:lnTo>
                  <a:lnTo>
                    <a:pt x="545" y="146"/>
                  </a:lnTo>
                  <a:lnTo>
                    <a:pt x="556" y="146"/>
                  </a:lnTo>
                  <a:lnTo>
                    <a:pt x="568" y="146"/>
                  </a:lnTo>
                  <a:lnTo>
                    <a:pt x="568" y="129"/>
                  </a:lnTo>
                  <a:lnTo>
                    <a:pt x="573" y="123"/>
                  </a:lnTo>
                  <a:lnTo>
                    <a:pt x="573" y="121"/>
                  </a:lnTo>
                  <a:lnTo>
                    <a:pt x="573" y="117"/>
                  </a:lnTo>
                  <a:lnTo>
                    <a:pt x="577" y="106"/>
                  </a:lnTo>
                  <a:lnTo>
                    <a:pt x="579" y="94"/>
                  </a:lnTo>
                  <a:lnTo>
                    <a:pt x="573" y="88"/>
                  </a:lnTo>
                  <a:lnTo>
                    <a:pt x="562" y="88"/>
                  </a:lnTo>
                  <a:lnTo>
                    <a:pt x="562" y="84"/>
                  </a:lnTo>
                  <a:lnTo>
                    <a:pt x="562" y="81"/>
                  </a:lnTo>
                  <a:lnTo>
                    <a:pt x="560" y="77"/>
                  </a:lnTo>
                  <a:lnTo>
                    <a:pt x="556" y="77"/>
                  </a:lnTo>
                  <a:lnTo>
                    <a:pt x="556" y="59"/>
                  </a:lnTo>
                  <a:lnTo>
                    <a:pt x="554" y="48"/>
                  </a:lnTo>
                  <a:lnTo>
                    <a:pt x="550" y="40"/>
                  </a:lnTo>
                  <a:lnTo>
                    <a:pt x="550" y="35"/>
                  </a:lnTo>
                  <a:lnTo>
                    <a:pt x="550" y="33"/>
                  </a:lnTo>
                  <a:lnTo>
                    <a:pt x="550" y="29"/>
                  </a:lnTo>
                  <a:lnTo>
                    <a:pt x="550" y="17"/>
                  </a:lnTo>
                  <a:lnTo>
                    <a:pt x="550" y="6"/>
                  </a:lnTo>
                  <a:lnTo>
                    <a:pt x="545" y="6"/>
                  </a:lnTo>
                  <a:lnTo>
                    <a:pt x="539" y="6"/>
                  </a:lnTo>
                  <a:lnTo>
                    <a:pt x="533" y="6"/>
                  </a:lnTo>
                  <a:lnTo>
                    <a:pt x="527" y="6"/>
                  </a:lnTo>
                  <a:lnTo>
                    <a:pt x="522" y="6"/>
                  </a:lnTo>
                  <a:lnTo>
                    <a:pt x="518" y="6"/>
                  </a:lnTo>
                  <a:lnTo>
                    <a:pt x="516" y="6"/>
                  </a:lnTo>
                  <a:lnTo>
                    <a:pt x="510" y="6"/>
                  </a:lnTo>
                  <a:lnTo>
                    <a:pt x="499" y="6"/>
                  </a:lnTo>
                  <a:lnTo>
                    <a:pt x="485" y="6"/>
                  </a:lnTo>
                  <a:lnTo>
                    <a:pt x="479" y="0"/>
                  </a:lnTo>
                  <a:lnTo>
                    <a:pt x="468" y="0"/>
                  </a:lnTo>
                  <a:lnTo>
                    <a:pt x="466" y="2"/>
                  </a:lnTo>
                  <a:lnTo>
                    <a:pt x="462" y="6"/>
                  </a:lnTo>
                  <a:lnTo>
                    <a:pt x="451" y="6"/>
                  </a:lnTo>
                  <a:lnTo>
                    <a:pt x="439" y="6"/>
                  </a:lnTo>
                  <a:lnTo>
                    <a:pt x="433" y="13"/>
                  </a:lnTo>
                  <a:lnTo>
                    <a:pt x="428" y="17"/>
                  </a:lnTo>
                  <a:lnTo>
                    <a:pt x="426" y="21"/>
                  </a:lnTo>
                  <a:lnTo>
                    <a:pt x="424" y="25"/>
                  </a:lnTo>
                  <a:lnTo>
                    <a:pt x="420" y="29"/>
                  </a:lnTo>
                  <a:lnTo>
                    <a:pt x="416" y="29"/>
                  </a:lnTo>
                  <a:lnTo>
                    <a:pt x="410" y="35"/>
                  </a:lnTo>
                  <a:lnTo>
                    <a:pt x="399" y="46"/>
                  </a:lnTo>
                  <a:lnTo>
                    <a:pt x="393" y="59"/>
                  </a:lnTo>
                  <a:lnTo>
                    <a:pt x="385" y="77"/>
                  </a:lnTo>
                  <a:lnTo>
                    <a:pt x="385" y="88"/>
                  </a:lnTo>
                  <a:lnTo>
                    <a:pt x="374" y="94"/>
                  </a:lnTo>
                  <a:lnTo>
                    <a:pt x="362" y="94"/>
                  </a:lnTo>
                  <a:lnTo>
                    <a:pt x="357" y="100"/>
                  </a:lnTo>
                  <a:lnTo>
                    <a:pt x="351" y="106"/>
                  </a:lnTo>
                  <a:lnTo>
                    <a:pt x="351" y="117"/>
                  </a:lnTo>
                  <a:lnTo>
                    <a:pt x="339" y="123"/>
                  </a:lnTo>
                  <a:lnTo>
                    <a:pt x="334" y="129"/>
                  </a:lnTo>
                  <a:lnTo>
                    <a:pt x="330" y="134"/>
                  </a:lnTo>
                  <a:lnTo>
                    <a:pt x="328" y="140"/>
                  </a:lnTo>
                  <a:lnTo>
                    <a:pt x="316" y="140"/>
                  </a:lnTo>
                  <a:lnTo>
                    <a:pt x="305" y="140"/>
                  </a:lnTo>
                  <a:lnTo>
                    <a:pt x="293" y="134"/>
                  </a:lnTo>
                  <a:lnTo>
                    <a:pt x="280" y="129"/>
                  </a:lnTo>
                  <a:lnTo>
                    <a:pt x="268" y="129"/>
                  </a:lnTo>
                  <a:lnTo>
                    <a:pt x="263" y="123"/>
                  </a:lnTo>
                  <a:lnTo>
                    <a:pt x="251" y="123"/>
                  </a:lnTo>
                  <a:lnTo>
                    <a:pt x="240" y="129"/>
                  </a:lnTo>
                  <a:lnTo>
                    <a:pt x="234" y="134"/>
                  </a:lnTo>
                  <a:lnTo>
                    <a:pt x="228" y="146"/>
                  </a:lnTo>
                  <a:lnTo>
                    <a:pt x="217" y="153"/>
                  </a:lnTo>
                  <a:lnTo>
                    <a:pt x="205" y="163"/>
                  </a:lnTo>
                  <a:lnTo>
                    <a:pt x="194" y="171"/>
                  </a:lnTo>
                  <a:lnTo>
                    <a:pt x="182" y="171"/>
                  </a:lnTo>
                  <a:lnTo>
                    <a:pt x="182" y="157"/>
                  </a:lnTo>
                  <a:lnTo>
                    <a:pt x="172" y="152"/>
                  </a:lnTo>
                  <a:lnTo>
                    <a:pt x="169" y="146"/>
                  </a:lnTo>
                  <a:lnTo>
                    <a:pt x="169" y="134"/>
                  </a:lnTo>
                  <a:lnTo>
                    <a:pt x="163" y="129"/>
                  </a:lnTo>
                  <a:lnTo>
                    <a:pt x="157" y="117"/>
                  </a:lnTo>
                  <a:lnTo>
                    <a:pt x="151" y="111"/>
                  </a:lnTo>
                  <a:lnTo>
                    <a:pt x="140" y="106"/>
                  </a:lnTo>
                  <a:lnTo>
                    <a:pt x="140" y="111"/>
                  </a:lnTo>
                  <a:lnTo>
                    <a:pt x="140" y="117"/>
                  </a:lnTo>
                  <a:lnTo>
                    <a:pt x="140" y="123"/>
                  </a:lnTo>
                  <a:lnTo>
                    <a:pt x="140" y="129"/>
                  </a:lnTo>
                  <a:lnTo>
                    <a:pt x="140" y="134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40" y="146"/>
                  </a:lnTo>
                  <a:lnTo>
                    <a:pt x="140" y="161"/>
                  </a:lnTo>
                  <a:lnTo>
                    <a:pt x="140" y="177"/>
                  </a:lnTo>
                  <a:lnTo>
                    <a:pt x="134" y="194"/>
                  </a:lnTo>
                  <a:lnTo>
                    <a:pt x="123" y="194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5" y="200"/>
                  </a:lnTo>
                  <a:lnTo>
                    <a:pt x="111" y="200"/>
                  </a:lnTo>
                  <a:lnTo>
                    <a:pt x="111" y="211"/>
                  </a:lnTo>
                  <a:lnTo>
                    <a:pt x="100" y="217"/>
                  </a:lnTo>
                  <a:lnTo>
                    <a:pt x="88" y="234"/>
                  </a:lnTo>
                  <a:lnTo>
                    <a:pt x="77" y="234"/>
                  </a:lnTo>
                  <a:lnTo>
                    <a:pt x="61" y="238"/>
                  </a:lnTo>
                  <a:lnTo>
                    <a:pt x="52" y="240"/>
                  </a:lnTo>
                  <a:lnTo>
                    <a:pt x="42" y="238"/>
                  </a:lnTo>
                  <a:lnTo>
                    <a:pt x="29" y="234"/>
                  </a:lnTo>
                  <a:lnTo>
                    <a:pt x="23" y="228"/>
                  </a:lnTo>
                  <a:lnTo>
                    <a:pt x="21" y="228"/>
                  </a:lnTo>
                  <a:lnTo>
                    <a:pt x="13" y="226"/>
                  </a:lnTo>
                  <a:lnTo>
                    <a:pt x="6" y="224"/>
                  </a:lnTo>
                  <a:lnTo>
                    <a:pt x="0" y="2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28" name="Freeform 4"/>
            <p:cNvSpPr>
              <a:spLocks/>
            </p:cNvSpPr>
            <p:nvPr/>
          </p:nvSpPr>
          <p:spPr bwMode="auto">
            <a:xfrm>
              <a:off x="1755" y="3136"/>
              <a:ext cx="579" cy="439"/>
            </a:xfrm>
            <a:custGeom>
              <a:avLst/>
              <a:gdLst/>
              <a:ahLst/>
              <a:cxnLst>
                <a:cxn ang="0">
                  <a:pos x="0" y="257"/>
                </a:cxn>
                <a:cxn ang="0">
                  <a:pos x="0" y="282"/>
                </a:cxn>
                <a:cxn ang="0">
                  <a:pos x="23" y="313"/>
                </a:cxn>
                <a:cxn ang="0">
                  <a:pos x="40" y="345"/>
                </a:cxn>
                <a:cxn ang="0">
                  <a:pos x="34" y="365"/>
                </a:cxn>
                <a:cxn ang="0">
                  <a:pos x="23" y="393"/>
                </a:cxn>
                <a:cxn ang="0">
                  <a:pos x="23" y="416"/>
                </a:cxn>
                <a:cxn ang="0">
                  <a:pos x="52" y="439"/>
                </a:cxn>
                <a:cxn ang="0">
                  <a:pos x="100" y="422"/>
                </a:cxn>
                <a:cxn ang="0">
                  <a:pos x="123" y="434"/>
                </a:cxn>
                <a:cxn ang="0">
                  <a:pos x="157" y="422"/>
                </a:cxn>
                <a:cxn ang="0">
                  <a:pos x="178" y="422"/>
                </a:cxn>
                <a:cxn ang="0">
                  <a:pos x="218" y="422"/>
                </a:cxn>
                <a:cxn ang="0">
                  <a:pos x="251" y="422"/>
                </a:cxn>
                <a:cxn ang="0">
                  <a:pos x="268" y="422"/>
                </a:cxn>
                <a:cxn ang="0">
                  <a:pos x="307" y="424"/>
                </a:cxn>
                <a:cxn ang="0">
                  <a:pos x="320" y="403"/>
                </a:cxn>
                <a:cxn ang="0">
                  <a:pos x="328" y="384"/>
                </a:cxn>
                <a:cxn ang="0">
                  <a:pos x="362" y="378"/>
                </a:cxn>
                <a:cxn ang="0">
                  <a:pos x="380" y="382"/>
                </a:cxn>
                <a:cxn ang="0">
                  <a:pos x="416" y="368"/>
                </a:cxn>
                <a:cxn ang="0">
                  <a:pos x="433" y="334"/>
                </a:cxn>
                <a:cxn ang="0">
                  <a:pos x="447" y="317"/>
                </a:cxn>
                <a:cxn ang="0">
                  <a:pos x="462" y="305"/>
                </a:cxn>
                <a:cxn ang="0">
                  <a:pos x="491" y="269"/>
                </a:cxn>
                <a:cxn ang="0">
                  <a:pos x="510" y="251"/>
                </a:cxn>
                <a:cxn ang="0">
                  <a:pos x="533" y="242"/>
                </a:cxn>
                <a:cxn ang="0">
                  <a:pos x="547" y="226"/>
                </a:cxn>
                <a:cxn ang="0">
                  <a:pos x="573" y="211"/>
                </a:cxn>
                <a:cxn ang="0">
                  <a:pos x="573" y="196"/>
                </a:cxn>
                <a:cxn ang="0">
                  <a:pos x="562" y="171"/>
                </a:cxn>
                <a:cxn ang="0">
                  <a:pos x="524" y="184"/>
                </a:cxn>
                <a:cxn ang="0">
                  <a:pos x="512" y="169"/>
                </a:cxn>
                <a:cxn ang="0">
                  <a:pos x="518" y="157"/>
                </a:cxn>
                <a:cxn ang="0">
                  <a:pos x="527" y="146"/>
                </a:cxn>
                <a:cxn ang="0">
                  <a:pos x="545" y="146"/>
                </a:cxn>
                <a:cxn ang="0">
                  <a:pos x="573" y="123"/>
                </a:cxn>
                <a:cxn ang="0">
                  <a:pos x="579" y="94"/>
                </a:cxn>
                <a:cxn ang="0">
                  <a:pos x="562" y="81"/>
                </a:cxn>
                <a:cxn ang="0">
                  <a:pos x="554" y="48"/>
                </a:cxn>
                <a:cxn ang="0">
                  <a:pos x="550" y="29"/>
                </a:cxn>
                <a:cxn ang="0">
                  <a:pos x="539" y="6"/>
                </a:cxn>
                <a:cxn ang="0">
                  <a:pos x="518" y="6"/>
                </a:cxn>
                <a:cxn ang="0">
                  <a:pos x="485" y="6"/>
                </a:cxn>
                <a:cxn ang="0">
                  <a:pos x="462" y="6"/>
                </a:cxn>
                <a:cxn ang="0">
                  <a:pos x="428" y="17"/>
                </a:cxn>
                <a:cxn ang="0">
                  <a:pos x="416" y="29"/>
                </a:cxn>
                <a:cxn ang="0">
                  <a:pos x="385" y="77"/>
                </a:cxn>
                <a:cxn ang="0">
                  <a:pos x="357" y="100"/>
                </a:cxn>
                <a:cxn ang="0">
                  <a:pos x="334" y="129"/>
                </a:cxn>
                <a:cxn ang="0">
                  <a:pos x="305" y="140"/>
                </a:cxn>
                <a:cxn ang="0">
                  <a:pos x="263" y="123"/>
                </a:cxn>
                <a:cxn ang="0">
                  <a:pos x="228" y="146"/>
                </a:cxn>
                <a:cxn ang="0">
                  <a:pos x="182" y="171"/>
                </a:cxn>
                <a:cxn ang="0">
                  <a:pos x="169" y="134"/>
                </a:cxn>
                <a:cxn ang="0">
                  <a:pos x="140" y="106"/>
                </a:cxn>
                <a:cxn ang="0">
                  <a:pos x="140" y="129"/>
                </a:cxn>
                <a:cxn ang="0">
                  <a:pos x="140" y="146"/>
                </a:cxn>
                <a:cxn ang="0">
                  <a:pos x="123" y="194"/>
                </a:cxn>
                <a:cxn ang="0">
                  <a:pos x="111" y="200"/>
                </a:cxn>
                <a:cxn ang="0">
                  <a:pos x="77" y="234"/>
                </a:cxn>
                <a:cxn ang="0">
                  <a:pos x="29" y="234"/>
                </a:cxn>
                <a:cxn ang="0">
                  <a:pos x="6" y="224"/>
                </a:cxn>
              </a:cxnLst>
              <a:rect l="0" t="0" r="r" b="b"/>
              <a:pathLst>
                <a:path w="579" h="439">
                  <a:moveTo>
                    <a:pt x="0" y="217"/>
                  </a:moveTo>
                  <a:lnTo>
                    <a:pt x="2" y="234"/>
                  </a:lnTo>
                  <a:lnTo>
                    <a:pt x="6" y="251"/>
                  </a:lnTo>
                  <a:lnTo>
                    <a:pt x="0" y="257"/>
                  </a:lnTo>
                  <a:lnTo>
                    <a:pt x="0" y="261"/>
                  </a:lnTo>
                  <a:lnTo>
                    <a:pt x="0" y="263"/>
                  </a:lnTo>
                  <a:lnTo>
                    <a:pt x="0" y="269"/>
                  </a:lnTo>
                  <a:lnTo>
                    <a:pt x="0" y="282"/>
                  </a:lnTo>
                  <a:lnTo>
                    <a:pt x="0" y="294"/>
                  </a:lnTo>
                  <a:lnTo>
                    <a:pt x="7" y="301"/>
                  </a:lnTo>
                  <a:lnTo>
                    <a:pt x="17" y="305"/>
                  </a:lnTo>
                  <a:lnTo>
                    <a:pt x="23" y="313"/>
                  </a:lnTo>
                  <a:lnTo>
                    <a:pt x="29" y="322"/>
                  </a:lnTo>
                  <a:lnTo>
                    <a:pt x="29" y="334"/>
                  </a:lnTo>
                  <a:lnTo>
                    <a:pt x="36" y="340"/>
                  </a:lnTo>
                  <a:lnTo>
                    <a:pt x="40" y="345"/>
                  </a:lnTo>
                  <a:lnTo>
                    <a:pt x="40" y="357"/>
                  </a:lnTo>
                  <a:lnTo>
                    <a:pt x="36" y="359"/>
                  </a:lnTo>
                  <a:lnTo>
                    <a:pt x="36" y="361"/>
                  </a:lnTo>
                  <a:lnTo>
                    <a:pt x="34" y="365"/>
                  </a:lnTo>
                  <a:lnTo>
                    <a:pt x="34" y="368"/>
                  </a:lnTo>
                  <a:lnTo>
                    <a:pt x="29" y="378"/>
                  </a:lnTo>
                  <a:lnTo>
                    <a:pt x="23" y="388"/>
                  </a:lnTo>
                  <a:lnTo>
                    <a:pt x="23" y="393"/>
                  </a:lnTo>
                  <a:lnTo>
                    <a:pt x="23" y="395"/>
                  </a:lnTo>
                  <a:lnTo>
                    <a:pt x="23" y="399"/>
                  </a:lnTo>
                  <a:lnTo>
                    <a:pt x="23" y="405"/>
                  </a:lnTo>
                  <a:lnTo>
                    <a:pt x="23" y="416"/>
                  </a:lnTo>
                  <a:lnTo>
                    <a:pt x="23" y="428"/>
                  </a:lnTo>
                  <a:lnTo>
                    <a:pt x="29" y="439"/>
                  </a:lnTo>
                  <a:lnTo>
                    <a:pt x="40" y="439"/>
                  </a:lnTo>
                  <a:lnTo>
                    <a:pt x="52" y="439"/>
                  </a:lnTo>
                  <a:lnTo>
                    <a:pt x="63" y="428"/>
                  </a:lnTo>
                  <a:lnTo>
                    <a:pt x="82" y="428"/>
                  </a:lnTo>
                  <a:lnTo>
                    <a:pt x="90" y="424"/>
                  </a:lnTo>
                  <a:lnTo>
                    <a:pt x="100" y="422"/>
                  </a:lnTo>
                  <a:lnTo>
                    <a:pt x="105" y="434"/>
                  </a:lnTo>
                  <a:lnTo>
                    <a:pt x="107" y="434"/>
                  </a:lnTo>
                  <a:lnTo>
                    <a:pt x="111" y="434"/>
                  </a:lnTo>
                  <a:lnTo>
                    <a:pt x="123" y="434"/>
                  </a:lnTo>
                  <a:lnTo>
                    <a:pt x="134" y="434"/>
                  </a:lnTo>
                  <a:lnTo>
                    <a:pt x="144" y="428"/>
                  </a:lnTo>
                  <a:lnTo>
                    <a:pt x="151" y="422"/>
                  </a:lnTo>
                  <a:lnTo>
                    <a:pt x="157" y="422"/>
                  </a:lnTo>
                  <a:lnTo>
                    <a:pt x="161" y="422"/>
                  </a:lnTo>
                  <a:lnTo>
                    <a:pt x="163" y="422"/>
                  </a:lnTo>
                  <a:lnTo>
                    <a:pt x="169" y="422"/>
                  </a:lnTo>
                  <a:lnTo>
                    <a:pt x="178" y="422"/>
                  </a:lnTo>
                  <a:lnTo>
                    <a:pt x="188" y="422"/>
                  </a:lnTo>
                  <a:lnTo>
                    <a:pt x="199" y="422"/>
                  </a:lnTo>
                  <a:lnTo>
                    <a:pt x="211" y="422"/>
                  </a:lnTo>
                  <a:lnTo>
                    <a:pt x="218" y="422"/>
                  </a:lnTo>
                  <a:lnTo>
                    <a:pt x="228" y="422"/>
                  </a:lnTo>
                  <a:lnTo>
                    <a:pt x="238" y="422"/>
                  </a:lnTo>
                  <a:lnTo>
                    <a:pt x="245" y="422"/>
                  </a:lnTo>
                  <a:lnTo>
                    <a:pt x="251" y="422"/>
                  </a:lnTo>
                  <a:lnTo>
                    <a:pt x="257" y="422"/>
                  </a:lnTo>
                  <a:lnTo>
                    <a:pt x="263" y="422"/>
                  </a:lnTo>
                  <a:lnTo>
                    <a:pt x="266" y="422"/>
                  </a:lnTo>
                  <a:lnTo>
                    <a:pt x="268" y="422"/>
                  </a:lnTo>
                  <a:lnTo>
                    <a:pt x="274" y="422"/>
                  </a:lnTo>
                  <a:lnTo>
                    <a:pt x="288" y="422"/>
                  </a:lnTo>
                  <a:lnTo>
                    <a:pt x="299" y="422"/>
                  </a:lnTo>
                  <a:lnTo>
                    <a:pt x="307" y="424"/>
                  </a:lnTo>
                  <a:lnTo>
                    <a:pt x="316" y="428"/>
                  </a:lnTo>
                  <a:lnTo>
                    <a:pt x="316" y="416"/>
                  </a:lnTo>
                  <a:lnTo>
                    <a:pt x="316" y="405"/>
                  </a:lnTo>
                  <a:lnTo>
                    <a:pt x="320" y="403"/>
                  </a:lnTo>
                  <a:lnTo>
                    <a:pt x="320" y="401"/>
                  </a:lnTo>
                  <a:lnTo>
                    <a:pt x="322" y="397"/>
                  </a:lnTo>
                  <a:lnTo>
                    <a:pt x="322" y="393"/>
                  </a:lnTo>
                  <a:lnTo>
                    <a:pt x="328" y="384"/>
                  </a:lnTo>
                  <a:lnTo>
                    <a:pt x="334" y="374"/>
                  </a:lnTo>
                  <a:lnTo>
                    <a:pt x="345" y="374"/>
                  </a:lnTo>
                  <a:lnTo>
                    <a:pt x="357" y="374"/>
                  </a:lnTo>
                  <a:lnTo>
                    <a:pt x="362" y="378"/>
                  </a:lnTo>
                  <a:lnTo>
                    <a:pt x="368" y="382"/>
                  </a:lnTo>
                  <a:lnTo>
                    <a:pt x="374" y="382"/>
                  </a:lnTo>
                  <a:lnTo>
                    <a:pt x="378" y="382"/>
                  </a:lnTo>
                  <a:lnTo>
                    <a:pt x="380" y="382"/>
                  </a:lnTo>
                  <a:lnTo>
                    <a:pt x="385" y="382"/>
                  </a:lnTo>
                  <a:lnTo>
                    <a:pt x="399" y="382"/>
                  </a:lnTo>
                  <a:lnTo>
                    <a:pt x="410" y="382"/>
                  </a:lnTo>
                  <a:lnTo>
                    <a:pt x="416" y="368"/>
                  </a:lnTo>
                  <a:lnTo>
                    <a:pt x="416" y="361"/>
                  </a:lnTo>
                  <a:lnTo>
                    <a:pt x="416" y="351"/>
                  </a:lnTo>
                  <a:lnTo>
                    <a:pt x="422" y="340"/>
                  </a:lnTo>
                  <a:lnTo>
                    <a:pt x="433" y="334"/>
                  </a:lnTo>
                  <a:lnTo>
                    <a:pt x="439" y="328"/>
                  </a:lnTo>
                  <a:lnTo>
                    <a:pt x="439" y="324"/>
                  </a:lnTo>
                  <a:lnTo>
                    <a:pt x="443" y="320"/>
                  </a:lnTo>
                  <a:lnTo>
                    <a:pt x="447" y="317"/>
                  </a:lnTo>
                  <a:lnTo>
                    <a:pt x="451" y="317"/>
                  </a:lnTo>
                  <a:lnTo>
                    <a:pt x="455" y="311"/>
                  </a:lnTo>
                  <a:lnTo>
                    <a:pt x="456" y="305"/>
                  </a:lnTo>
                  <a:lnTo>
                    <a:pt x="462" y="305"/>
                  </a:lnTo>
                  <a:lnTo>
                    <a:pt x="472" y="295"/>
                  </a:lnTo>
                  <a:lnTo>
                    <a:pt x="479" y="282"/>
                  </a:lnTo>
                  <a:lnTo>
                    <a:pt x="485" y="276"/>
                  </a:lnTo>
                  <a:lnTo>
                    <a:pt x="491" y="269"/>
                  </a:lnTo>
                  <a:lnTo>
                    <a:pt x="497" y="267"/>
                  </a:lnTo>
                  <a:lnTo>
                    <a:pt x="502" y="263"/>
                  </a:lnTo>
                  <a:lnTo>
                    <a:pt x="508" y="257"/>
                  </a:lnTo>
                  <a:lnTo>
                    <a:pt x="510" y="251"/>
                  </a:lnTo>
                  <a:lnTo>
                    <a:pt x="516" y="246"/>
                  </a:lnTo>
                  <a:lnTo>
                    <a:pt x="524" y="246"/>
                  </a:lnTo>
                  <a:lnTo>
                    <a:pt x="533" y="246"/>
                  </a:lnTo>
                  <a:lnTo>
                    <a:pt x="533" y="242"/>
                  </a:lnTo>
                  <a:lnTo>
                    <a:pt x="537" y="242"/>
                  </a:lnTo>
                  <a:lnTo>
                    <a:pt x="541" y="240"/>
                  </a:lnTo>
                  <a:lnTo>
                    <a:pt x="545" y="240"/>
                  </a:lnTo>
                  <a:lnTo>
                    <a:pt x="547" y="226"/>
                  </a:lnTo>
                  <a:lnTo>
                    <a:pt x="550" y="223"/>
                  </a:lnTo>
                  <a:lnTo>
                    <a:pt x="556" y="217"/>
                  </a:lnTo>
                  <a:lnTo>
                    <a:pt x="568" y="217"/>
                  </a:lnTo>
                  <a:lnTo>
                    <a:pt x="573" y="211"/>
                  </a:lnTo>
                  <a:lnTo>
                    <a:pt x="573" y="207"/>
                  </a:lnTo>
                  <a:lnTo>
                    <a:pt x="573" y="205"/>
                  </a:lnTo>
                  <a:lnTo>
                    <a:pt x="573" y="200"/>
                  </a:lnTo>
                  <a:lnTo>
                    <a:pt x="573" y="196"/>
                  </a:lnTo>
                  <a:lnTo>
                    <a:pt x="573" y="194"/>
                  </a:lnTo>
                  <a:lnTo>
                    <a:pt x="573" y="182"/>
                  </a:lnTo>
                  <a:lnTo>
                    <a:pt x="573" y="171"/>
                  </a:lnTo>
                  <a:lnTo>
                    <a:pt x="562" y="171"/>
                  </a:lnTo>
                  <a:lnTo>
                    <a:pt x="554" y="177"/>
                  </a:lnTo>
                  <a:lnTo>
                    <a:pt x="545" y="182"/>
                  </a:lnTo>
                  <a:lnTo>
                    <a:pt x="533" y="182"/>
                  </a:lnTo>
                  <a:lnTo>
                    <a:pt x="524" y="184"/>
                  </a:lnTo>
                  <a:lnTo>
                    <a:pt x="516" y="188"/>
                  </a:lnTo>
                  <a:lnTo>
                    <a:pt x="512" y="178"/>
                  </a:lnTo>
                  <a:lnTo>
                    <a:pt x="510" y="171"/>
                  </a:lnTo>
                  <a:lnTo>
                    <a:pt x="512" y="169"/>
                  </a:lnTo>
                  <a:lnTo>
                    <a:pt x="514" y="167"/>
                  </a:lnTo>
                  <a:lnTo>
                    <a:pt x="516" y="163"/>
                  </a:lnTo>
                  <a:lnTo>
                    <a:pt x="516" y="157"/>
                  </a:lnTo>
                  <a:lnTo>
                    <a:pt x="518" y="157"/>
                  </a:lnTo>
                  <a:lnTo>
                    <a:pt x="520" y="155"/>
                  </a:lnTo>
                  <a:lnTo>
                    <a:pt x="522" y="152"/>
                  </a:lnTo>
                  <a:lnTo>
                    <a:pt x="522" y="146"/>
                  </a:lnTo>
                  <a:lnTo>
                    <a:pt x="527" y="146"/>
                  </a:lnTo>
                  <a:lnTo>
                    <a:pt x="533" y="146"/>
                  </a:lnTo>
                  <a:lnTo>
                    <a:pt x="539" y="146"/>
                  </a:lnTo>
                  <a:lnTo>
                    <a:pt x="541" y="146"/>
                  </a:lnTo>
                  <a:lnTo>
                    <a:pt x="545" y="146"/>
                  </a:lnTo>
                  <a:lnTo>
                    <a:pt x="556" y="146"/>
                  </a:lnTo>
                  <a:lnTo>
                    <a:pt x="568" y="146"/>
                  </a:lnTo>
                  <a:lnTo>
                    <a:pt x="568" y="129"/>
                  </a:lnTo>
                  <a:lnTo>
                    <a:pt x="573" y="123"/>
                  </a:lnTo>
                  <a:lnTo>
                    <a:pt x="573" y="121"/>
                  </a:lnTo>
                  <a:lnTo>
                    <a:pt x="573" y="117"/>
                  </a:lnTo>
                  <a:lnTo>
                    <a:pt x="577" y="106"/>
                  </a:lnTo>
                  <a:lnTo>
                    <a:pt x="579" y="94"/>
                  </a:lnTo>
                  <a:lnTo>
                    <a:pt x="573" y="88"/>
                  </a:lnTo>
                  <a:lnTo>
                    <a:pt x="562" y="88"/>
                  </a:lnTo>
                  <a:lnTo>
                    <a:pt x="562" y="84"/>
                  </a:lnTo>
                  <a:lnTo>
                    <a:pt x="562" y="81"/>
                  </a:lnTo>
                  <a:lnTo>
                    <a:pt x="560" y="77"/>
                  </a:lnTo>
                  <a:lnTo>
                    <a:pt x="556" y="77"/>
                  </a:lnTo>
                  <a:lnTo>
                    <a:pt x="556" y="59"/>
                  </a:lnTo>
                  <a:lnTo>
                    <a:pt x="554" y="48"/>
                  </a:lnTo>
                  <a:lnTo>
                    <a:pt x="550" y="40"/>
                  </a:lnTo>
                  <a:lnTo>
                    <a:pt x="550" y="35"/>
                  </a:lnTo>
                  <a:lnTo>
                    <a:pt x="550" y="33"/>
                  </a:lnTo>
                  <a:lnTo>
                    <a:pt x="550" y="29"/>
                  </a:lnTo>
                  <a:lnTo>
                    <a:pt x="550" y="17"/>
                  </a:lnTo>
                  <a:lnTo>
                    <a:pt x="550" y="6"/>
                  </a:lnTo>
                  <a:lnTo>
                    <a:pt x="545" y="6"/>
                  </a:lnTo>
                  <a:lnTo>
                    <a:pt x="539" y="6"/>
                  </a:lnTo>
                  <a:lnTo>
                    <a:pt x="533" y="6"/>
                  </a:lnTo>
                  <a:lnTo>
                    <a:pt x="527" y="6"/>
                  </a:lnTo>
                  <a:lnTo>
                    <a:pt x="522" y="6"/>
                  </a:lnTo>
                  <a:lnTo>
                    <a:pt x="518" y="6"/>
                  </a:lnTo>
                  <a:lnTo>
                    <a:pt x="516" y="6"/>
                  </a:lnTo>
                  <a:lnTo>
                    <a:pt x="510" y="6"/>
                  </a:lnTo>
                  <a:lnTo>
                    <a:pt x="499" y="6"/>
                  </a:lnTo>
                  <a:lnTo>
                    <a:pt x="485" y="6"/>
                  </a:lnTo>
                  <a:lnTo>
                    <a:pt x="479" y="0"/>
                  </a:lnTo>
                  <a:lnTo>
                    <a:pt x="468" y="0"/>
                  </a:lnTo>
                  <a:lnTo>
                    <a:pt x="466" y="2"/>
                  </a:lnTo>
                  <a:lnTo>
                    <a:pt x="462" y="6"/>
                  </a:lnTo>
                  <a:lnTo>
                    <a:pt x="451" y="6"/>
                  </a:lnTo>
                  <a:lnTo>
                    <a:pt x="439" y="6"/>
                  </a:lnTo>
                  <a:lnTo>
                    <a:pt x="433" y="13"/>
                  </a:lnTo>
                  <a:lnTo>
                    <a:pt x="428" y="17"/>
                  </a:lnTo>
                  <a:lnTo>
                    <a:pt x="426" y="21"/>
                  </a:lnTo>
                  <a:lnTo>
                    <a:pt x="424" y="25"/>
                  </a:lnTo>
                  <a:lnTo>
                    <a:pt x="420" y="29"/>
                  </a:lnTo>
                  <a:lnTo>
                    <a:pt x="416" y="29"/>
                  </a:lnTo>
                  <a:lnTo>
                    <a:pt x="410" y="35"/>
                  </a:lnTo>
                  <a:lnTo>
                    <a:pt x="399" y="46"/>
                  </a:lnTo>
                  <a:lnTo>
                    <a:pt x="393" y="59"/>
                  </a:lnTo>
                  <a:lnTo>
                    <a:pt x="385" y="77"/>
                  </a:lnTo>
                  <a:lnTo>
                    <a:pt x="385" y="88"/>
                  </a:lnTo>
                  <a:lnTo>
                    <a:pt x="374" y="94"/>
                  </a:lnTo>
                  <a:lnTo>
                    <a:pt x="362" y="94"/>
                  </a:lnTo>
                  <a:lnTo>
                    <a:pt x="357" y="100"/>
                  </a:lnTo>
                  <a:lnTo>
                    <a:pt x="351" y="106"/>
                  </a:lnTo>
                  <a:lnTo>
                    <a:pt x="351" y="117"/>
                  </a:lnTo>
                  <a:lnTo>
                    <a:pt x="339" y="123"/>
                  </a:lnTo>
                  <a:lnTo>
                    <a:pt x="334" y="129"/>
                  </a:lnTo>
                  <a:lnTo>
                    <a:pt x="330" y="134"/>
                  </a:lnTo>
                  <a:lnTo>
                    <a:pt x="328" y="140"/>
                  </a:lnTo>
                  <a:lnTo>
                    <a:pt x="316" y="140"/>
                  </a:lnTo>
                  <a:lnTo>
                    <a:pt x="305" y="140"/>
                  </a:lnTo>
                  <a:lnTo>
                    <a:pt x="293" y="134"/>
                  </a:lnTo>
                  <a:lnTo>
                    <a:pt x="280" y="129"/>
                  </a:lnTo>
                  <a:lnTo>
                    <a:pt x="268" y="129"/>
                  </a:lnTo>
                  <a:lnTo>
                    <a:pt x="263" y="123"/>
                  </a:lnTo>
                  <a:lnTo>
                    <a:pt x="251" y="123"/>
                  </a:lnTo>
                  <a:lnTo>
                    <a:pt x="240" y="129"/>
                  </a:lnTo>
                  <a:lnTo>
                    <a:pt x="234" y="134"/>
                  </a:lnTo>
                  <a:lnTo>
                    <a:pt x="228" y="146"/>
                  </a:lnTo>
                  <a:lnTo>
                    <a:pt x="217" y="153"/>
                  </a:lnTo>
                  <a:lnTo>
                    <a:pt x="205" y="163"/>
                  </a:lnTo>
                  <a:lnTo>
                    <a:pt x="194" y="171"/>
                  </a:lnTo>
                  <a:lnTo>
                    <a:pt x="182" y="171"/>
                  </a:lnTo>
                  <a:lnTo>
                    <a:pt x="182" y="157"/>
                  </a:lnTo>
                  <a:lnTo>
                    <a:pt x="172" y="152"/>
                  </a:lnTo>
                  <a:lnTo>
                    <a:pt x="169" y="146"/>
                  </a:lnTo>
                  <a:lnTo>
                    <a:pt x="169" y="134"/>
                  </a:lnTo>
                  <a:lnTo>
                    <a:pt x="163" y="129"/>
                  </a:lnTo>
                  <a:lnTo>
                    <a:pt x="157" y="117"/>
                  </a:lnTo>
                  <a:lnTo>
                    <a:pt x="151" y="111"/>
                  </a:lnTo>
                  <a:lnTo>
                    <a:pt x="140" y="106"/>
                  </a:lnTo>
                  <a:lnTo>
                    <a:pt x="140" y="111"/>
                  </a:lnTo>
                  <a:lnTo>
                    <a:pt x="140" y="117"/>
                  </a:lnTo>
                  <a:lnTo>
                    <a:pt x="140" y="123"/>
                  </a:lnTo>
                  <a:lnTo>
                    <a:pt x="140" y="129"/>
                  </a:lnTo>
                  <a:lnTo>
                    <a:pt x="140" y="134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40" y="146"/>
                  </a:lnTo>
                  <a:lnTo>
                    <a:pt x="140" y="161"/>
                  </a:lnTo>
                  <a:lnTo>
                    <a:pt x="140" y="177"/>
                  </a:lnTo>
                  <a:lnTo>
                    <a:pt x="134" y="194"/>
                  </a:lnTo>
                  <a:lnTo>
                    <a:pt x="123" y="194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5" y="200"/>
                  </a:lnTo>
                  <a:lnTo>
                    <a:pt x="111" y="200"/>
                  </a:lnTo>
                  <a:lnTo>
                    <a:pt x="111" y="211"/>
                  </a:lnTo>
                  <a:lnTo>
                    <a:pt x="100" y="217"/>
                  </a:lnTo>
                  <a:lnTo>
                    <a:pt x="88" y="234"/>
                  </a:lnTo>
                  <a:lnTo>
                    <a:pt x="77" y="234"/>
                  </a:lnTo>
                  <a:lnTo>
                    <a:pt x="61" y="238"/>
                  </a:lnTo>
                  <a:lnTo>
                    <a:pt x="52" y="240"/>
                  </a:lnTo>
                  <a:lnTo>
                    <a:pt x="42" y="238"/>
                  </a:lnTo>
                  <a:lnTo>
                    <a:pt x="29" y="234"/>
                  </a:lnTo>
                  <a:lnTo>
                    <a:pt x="23" y="228"/>
                  </a:lnTo>
                  <a:lnTo>
                    <a:pt x="21" y="228"/>
                  </a:lnTo>
                  <a:lnTo>
                    <a:pt x="13" y="226"/>
                  </a:lnTo>
                  <a:lnTo>
                    <a:pt x="6" y="224"/>
                  </a:lnTo>
                  <a:lnTo>
                    <a:pt x="0" y="21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29" name="Freeform 5"/>
            <p:cNvSpPr>
              <a:spLocks/>
            </p:cNvSpPr>
            <p:nvPr/>
          </p:nvSpPr>
          <p:spPr bwMode="auto">
            <a:xfrm>
              <a:off x="1901" y="2979"/>
              <a:ext cx="322" cy="320"/>
            </a:xfrm>
            <a:custGeom>
              <a:avLst/>
              <a:gdLst/>
              <a:ahLst/>
              <a:cxnLst>
                <a:cxn ang="0">
                  <a:pos x="5" y="228"/>
                </a:cxn>
                <a:cxn ang="0">
                  <a:pos x="5" y="203"/>
                </a:cxn>
                <a:cxn ang="0">
                  <a:pos x="5" y="186"/>
                </a:cxn>
                <a:cxn ang="0">
                  <a:pos x="5" y="174"/>
                </a:cxn>
                <a:cxn ang="0">
                  <a:pos x="2" y="149"/>
                </a:cxn>
                <a:cxn ang="0">
                  <a:pos x="0" y="140"/>
                </a:cxn>
                <a:cxn ang="0">
                  <a:pos x="28" y="128"/>
                </a:cxn>
                <a:cxn ang="0">
                  <a:pos x="36" y="97"/>
                </a:cxn>
                <a:cxn ang="0">
                  <a:pos x="36" y="69"/>
                </a:cxn>
                <a:cxn ang="0">
                  <a:pos x="36" y="55"/>
                </a:cxn>
                <a:cxn ang="0">
                  <a:pos x="36" y="34"/>
                </a:cxn>
                <a:cxn ang="0">
                  <a:pos x="44" y="23"/>
                </a:cxn>
                <a:cxn ang="0">
                  <a:pos x="71" y="23"/>
                </a:cxn>
                <a:cxn ang="0">
                  <a:pos x="99" y="17"/>
                </a:cxn>
                <a:cxn ang="0">
                  <a:pos x="128" y="11"/>
                </a:cxn>
                <a:cxn ang="0">
                  <a:pos x="153" y="17"/>
                </a:cxn>
                <a:cxn ang="0">
                  <a:pos x="182" y="0"/>
                </a:cxn>
                <a:cxn ang="0">
                  <a:pos x="188" y="19"/>
                </a:cxn>
                <a:cxn ang="0">
                  <a:pos x="199" y="46"/>
                </a:cxn>
                <a:cxn ang="0">
                  <a:pos x="220" y="57"/>
                </a:cxn>
                <a:cxn ang="0">
                  <a:pos x="247" y="63"/>
                </a:cxn>
                <a:cxn ang="0">
                  <a:pos x="253" y="76"/>
                </a:cxn>
                <a:cxn ang="0">
                  <a:pos x="253" y="86"/>
                </a:cxn>
                <a:cxn ang="0">
                  <a:pos x="272" y="103"/>
                </a:cxn>
                <a:cxn ang="0">
                  <a:pos x="282" y="122"/>
                </a:cxn>
                <a:cxn ang="0">
                  <a:pos x="305" y="140"/>
                </a:cxn>
                <a:cxn ang="0">
                  <a:pos x="316" y="163"/>
                </a:cxn>
                <a:cxn ang="0">
                  <a:pos x="299" y="163"/>
                </a:cxn>
                <a:cxn ang="0">
                  <a:pos x="276" y="180"/>
                </a:cxn>
                <a:cxn ang="0">
                  <a:pos x="257" y="192"/>
                </a:cxn>
                <a:cxn ang="0">
                  <a:pos x="247" y="203"/>
                </a:cxn>
                <a:cxn ang="0">
                  <a:pos x="243" y="230"/>
                </a:cxn>
                <a:cxn ang="0">
                  <a:pos x="236" y="243"/>
                </a:cxn>
                <a:cxn ang="0">
                  <a:pos x="226" y="251"/>
                </a:cxn>
                <a:cxn ang="0">
                  <a:pos x="211" y="274"/>
                </a:cxn>
                <a:cxn ang="0">
                  <a:pos x="195" y="287"/>
                </a:cxn>
                <a:cxn ang="0">
                  <a:pos x="182" y="303"/>
                </a:cxn>
                <a:cxn ang="0">
                  <a:pos x="161" y="297"/>
                </a:cxn>
                <a:cxn ang="0">
                  <a:pos x="142" y="291"/>
                </a:cxn>
                <a:cxn ang="0">
                  <a:pos x="105" y="280"/>
                </a:cxn>
                <a:cxn ang="0">
                  <a:pos x="88" y="303"/>
                </a:cxn>
                <a:cxn ang="0">
                  <a:pos x="67" y="309"/>
                </a:cxn>
                <a:cxn ang="0">
                  <a:pos x="48" y="320"/>
                </a:cxn>
                <a:cxn ang="0">
                  <a:pos x="28" y="309"/>
                </a:cxn>
                <a:cxn ang="0">
                  <a:pos x="23" y="286"/>
                </a:cxn>
                <a:cxn ang="0">
                  <a:pos x="5" y="274"/>
                </a:cxn>
              </a:cxnLst>
              <a:rect l="0" t="0" r="r" b="b"/>
              <a:pathLst>
                <a:path w="322" h="320">
                  <a:moveTo>
                    <a:pt x="0" y="257"/>
                  </a:moveTo>
                  <a:lnTo>
                    <a:pt x="3" y="241"/>
                  </a:lnTo>
                  <a:lnTo>
                    <a:pt x="5" y="228"/>
                  </a:lnTo>
                  <a:lnTo>
                    <a:pt x="5" y="218"/>
                  </a:lnTo>
                  <a:lnTo>
                    <a:pt x="5" y="209"/>
                  </a:lnTo>
                  <a:lnTo>
                    <a:pt x="5" y="203"/>
                  </a:lnTo>
                  <a:lnTo>
                    <a:pt x="5" y="197"/>
                  </a:lnTo>
                  <a:lnTo>
                    <a:pt x="5" y="192"/>
                  </a:lnTo>
                  <a:lnTo>
                    <a:pt x="5" y="186"/>
                  </a:lnTo>
                  <a:lnTo>
                    <a:pt x="5" y="180"/>
                  </a:lnTo>
                  <a:lnTo>
                    <a:pt x="5" y="178"/>
                  </a:lnTo>
                  <a:lnTo>
                    <a:pt x="5" y="174"/>
                  </a:lnTo>
                  <a:lnTo>
                    <a:pt x="5" y="163"/>
                  </a:lnTo>
                  <a:lnTo>
                    <a:pt x="5" y="151"/>
                  </a:lnTo>
                  <a:lnTo>
                    <a:pt x="2" y="149"/>
                  </a:lnTo>
                  <a:lnTo>
                    <a:pt x="2" y="147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11" y="140"/>
                  </a:lnTo>
                  <a:lnTo>
                    <a:pt x="17" y="134"/>
                  </a:lnTo>
                  <a:lnTo>
                    <a:pt x="28" y="128"/>
                  </a:lnTo>
                  <a:lnTo>
                    <a:pt x="36" y="122"/>
                  </a:lnTo>
                  <a:lnTo>
                    <a:pt x="36" y="111"/>
                  </a:lnTo>
                  <a:lnTo>
                    <a:pt x="36" y="97"/>
                  </a:lnTo>
                  <a:lnTo>
                    <a:pt x="36" y="86"/>
                  </a:lnTo>
                  <a:lnTo>
                    <a:pt x="36" y="74"/>
                  </a:lnTo>
                  <a:lnTo>
                    <a:pt x="36" y="69"/>
                  </a:lnTo>
                  <a:lnTo>
                    <a:pt x="36" y="63"/>
                  </a:lnTo>
                  <a:lnTo>
                    <a:pt x="36" y="57"/>
                  </a:lnTo>
                  <a:lnTo>
                    <a:pt x="36" y="55"/>
                  </a:lnTo>
                  <a:lnTo>
                    <a:pt x="36" y="51"/>
                  </a:lnTo>
                  <a:lnTo>
                    <a:pt x="36" y="46"/>
                  </a:lnTo>
                  <a:lnTo>
                    <a:pt x="36" y="34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59" y="23"/>
                  </a:lnTo>
                  <a:lnTo>
                    <a:pt x="71" y="23"/>
                  </a:lnTo>
                  <a:lnTo>
                    <a:pt x="76" y="17"/>
                  </a:lnTo>
                  <a:lnTo>
                    <a:pt x="88" y="17"/>
                  </a:lnTo>
                  <a:lnTo>
                    <a:pt x="99" y="17"/>
                  </a:lnTo>
                  <a:lnTo>
                    <a:pt x="105" y="11"/>
                  </a:lnTo>
                  <a:lnTo>
                    <a:pt x="117" y="11"/>
                  </a:lnTo>
                  <a:lnTo>
                    <a:pt x="128" y="11"/>
                  </a:lnTo>
                  <a:lnTo>
                    <a:pt x="134" y="17"/>
                  </a:lnTo>
                  <a:lnTo>
                    <a:pt x="143" y="17"/>
                  </a:lnTo>
                  <a:lnTo>
                    <a:pt x="153" y="17"/>
                  </a:lnTo>
                  <a:lnTo>
                    <a:pt x="165" y="11"/>
                  </a:lnTo>
                  <a:lnTo>
                    <a:pt x="172" y="5"/>
                  </a:lnTo>
                  <a:lnTo>
                    <a:pt x="182" y="0"/>
                  </a:lnTo>
                  <a:lnTo>
                    <a:pt x="182" y="7"/>
                  </a:lnTo>
                  <a:lnTo>
                    <a:pt x="182" y="17"/>
                  </a:lnTo>
                  <a:lnTo>
                    <a:pt x="188" y="19"/>
                  </a:lnTo>
                  <a:lnTo>
                    <a:pt x="193" y="23"/>
                  </a:lnTo>
                  <a:lnTo>
                    <a:pt x="193" y="34"/>
                  </a:lnTo>
                  <a:lnTo>
                    <a:pt x="199" y="46"/>
                  </a:lnTo>
                  <a:lnTo>
                    <a:pt x="205" y="50"/>
                  </a:lnTo>
                  <a:lnTo>
                    <a:pt x="211" y="57"/>
                  </a:lnTo>
                  <a:lnTo>
                    <a:pt x="220" y="57"/>
                  </a:lnTo>
                  <a:lnTo>
                    <a:pt x="228" y="57"/>
                  </a:lnTo>
                  <a:lnTo>
                    <a:pt x="234" y="63"/>
                  </a:lnTo>
                  <a:lnTo>
                    <a:pt x="247" y="63"/>
                  </a:lnTo>
                  <a:lnTo>
                    <a:pt x="253" y="69"/>
                  </a:lnTo>
                  <a:lnTo>
                    <a:pt x="253" y="73"/>
                  </a:lnTo>
                  <a:lnTo>
                    <a:pt x="253" y="76"/>
                  </a:lnTo>
                  <a:lnTo>
                    <a:pt x="255" y="80"/>
                  </a:lnTo>
                  <a:lnTo>
                    <a:pt x="259" y="80"/>
                  </a:lnTo>
                  <a:lnTo>
                    <a:pt x="253" y="86"/>
                  </a:lnTo>
                  <a:lnTo>
                    <a:pt x="255" y="96"/>
                  </a:lnTo>
                  <a:lnTo>
                    <a:pt x="264" y="103"/>
                  </a:lnTo>
                  <a:lnTo>
                    <a:pt x="272" y="103"/>
                  </a:lnTo>
                  <a:lnTo>
                    <a:pt x="282" y="103"/>
                  </a:lnTo>
                  <a:lnTo>
                    <a:pt x="282" y="111"/>
                  </a:lnTo>
                  <a:lnTo>
                    <a:pt x="282" y="122"/>
                  </a:lnTo>
                  <a:lnTo>
                    <a:pt x="282" y="134"/>
                  </a:lnTo>
                  <a:lnTo>
                    <a:pt x="293" y="140"/>
                  </a:lnTo>
                  <a:lnTo>
                    <a:pt x="305" y="140"/>
                  </a:lnTo>
                  <a:lnTo>
                    <a:pt x="310" y="145"/>
                  </a:lnTo>
                  <a:lnTo>
                    <a:pt x="322" y="151"/>
                  </a:lnTo>
                  <a:lnTo>
                    <a:pt x="316" y="163"/>
                  </a:lnTo>
                  <a:lnTo>
                    <a:pt x="314" y="163"/>
                  </a:lnTo>
                  <a:lnTo>
                    <a:pt x="310" y="163"/>
                  </a:lnTo>
                  <a:lnTo>
                    <a:pt x="299" y="163"/>
                  </a:lnTo>
                  <a:lnTo>
                    <a:pt x="287" y="163"/>
                  </a:lnTo>
                  <a:lnTo>
                    <a:pt x="284" y="172"/>
                  </a:lnTo>
                  <a:lnTo>
                    <a:pt x="276" y="180"/>
                  </a:lnTo>
                  <a:lnTo>
                    <a:pt x="264" y="180"/>
                  </a:lnTo>
                  <a:lnTo>
                    <a:pt x="259" y="186"/>
                  </a:lnTo>
                  <a:lnTo>
                    <a:pt x="257" y="192"/>
                  </a:lnTo>
                  <a:lnTo>
                    <a:pt x="255" y="197"/>
                  </a:lnTo>
                  <a:lnTo>
                    <a:pt x="251" y="201"/>
                  </a:lnTo>
                  <a:lnTo>
                    <a:pt x="247" y="203"/>
                  </a:lnTo>
                  <a:lnTo>
                    <a:pt x="247" y="213"/>
                  </a:lnTo>
                  <a:lnTo>
                    <a:pt x="247" y="222"/>
                  </a:lnTo>
                  <a:lnTo>
                    <a:pt x="243" y="230"/>
                  </a:lnTo>
                  <a:lnTo>
                    <a:pt x="239" y="239"/>
                  </a:lnTo>
                  <a:lnTo>
                    <a:pt x="238" y="239"/>
                  </a:lnTo>
                  <a:lnTo>
                    <a:pt x="236" y="243"/>
                  </a:lnTo>
                  <a:lnTo>
                    <a:pt x="234" y="247"/>
                  </a:lnTo>
                  <a:lnTo>
                    <a:pt x="234" y="251"/>
                  </a:lnTo>
                  <a:lnTo>
                    <a:pt x="226" y="251"/>
                  </a:lnTo>
                  <a:lnTo>
                    <a:pt x="216" y="251"/>
                  </a:lnTo>
                  <a:lnTo>
                    <a:pt x="216" y="263"/>
                  </a:lnTo>
                  <a:lnTo>
                    <a:pt x="211" y="274"/>
                  </a:lnTo>
                  <a:lnTo>
                    <a:pt x="205" y="276"/>
                  </a:lnTo>
                  <a:lnTo>
                    <a:pt x="199" y="280"/>
                  </a:lnTo>
                  <a:lnTo>
                    <a:pt x="195" y="287"/>
                  </a:lnTo>
                  <a:lnTo>
                    <a:pt x="193" y="291"/>
                  </a:lnTo>
                  <a:lnTo>
                    <a:pt x="188" y="295"/>
                  </a:lnTo>
                  <a:lnTo>
                    <a:pt x="182" y="303"/>
                  </a:lnTo>
                  <a:lnTo>
                    <a:pt x="172" y="303"/>
                  </a:lnTo>
                  <a:lnTo>
                    <a:pt x="165" y="303"/>
                  </a:lnTo>
                  <a:lnTo>
                    <a:pt x="161" y="297"/>
                  </a:lnTo>
                  <a:lnTo>
                    <a:pt x="159" y="291"/>
                  </a:lnTo>
                  <a:lnTo>
                    <a:pt x="149" y="291"/>
                  </a:lnTo>
                  <a:lnTo>
                    <a:pt x="142" y="291"/>
                  </a:lnTo>
                  <a:lnTo>
                    <a:pt x="128" y="280"/>
                  </a:lnTo>
                  <a:lnTo>
                    <a:pt x="117" y="280"/>
                  </a:lnTo>
                  <a:lnTo>
                    <a:pt x="105" y="280"/>
                  </a:lnTo>
                  <a:lnTo>
                    <a:pt x="94" y="286"/>
                  </a:lnTo>
                  <a:lnTo>
                    <a:pt x="88" y="291"/>
                  </a:lnTo>
                  <a:lnTo>
                    <a:pt x="88" y="303"/>
                  </a:lnTo>
                  <a:lnTo>
                    <a:pt x="78" y="303"/>
                  </a:lnTo>
                  <a:lnTo>
                    <a:pt x="71" y="303"/>
                  </a:lnTo>
                  <a:lnTo>
                    <a:pt x="67" y="309"/>
                  </a:lnTo>
                  <a:lnTo>
                    <a:pt x="65" y="314"/>
                  </a:lnTo>
                  <a:lnTo>
                    <a:pt x="53" y="314"/>
                  </a:lnTo>
                  <a:lnTo>
                    <a:pt x="48" y="320"/>
                  </a:lnTo>
                  <a:lnTo>
                    <a:pt x="38" y="320"/>
                  </a:lnTo>
                  <a:lnTo>
                    <a:pt x="28" y="320"/>
                  </a:lnTo>
                  <a:lnTo>
                    <a:pt x="28" y="309"/>
                  </a:lnTo>
                  <a:lnTo>
                    <a:pt x="23" y="303"/>
                  </a:lnTo>
                  <a:lnTo>
                    <a:pt x="23" y="295"/>
                  </a:lnTo>
                  <a:lnTo>
                    <a:pt x="23" y="286"/>
                  </a:lnTo>
                  <a:lnTo>
                    <a:pt x="17" y="280"/>
                  </a:lnTo>
                  <a:lnTo>
                    <a:pt x="11" y="278"/>
                  </a:lnTo>
                  <a:lnTo>
                    <a:pt x="5" y="274"/>
                  </a:lnTo>
                  <a:lnTo>
                    <a:pt x="3" y="264"/>
                  </a:lnTo>
                  <a:lnTo>
                    <a:pt x="0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0" name="Freeform 6"/>
            <p:cNvSpPr>
              <a:spLocks/>
            </p:cNvSpPr>
            <p:nvPr/>
          </p:nvSpPr>
          <p:spPr bwMode="auto">
            <a:xfrm>
              <a:off x="1901" y="2979"/>
              <a:ext cx="322" cy="320"/>
            </a:xfrm>
            <a:custGeom>
              <a:avLst/>
              <a:gdLst/>
              <a:ahLst/>
              <a:cxnLst>
                <a:cxn ang="0">
                  <a:pos x="5" y="228"/>
                </a:cxn>
                <a:cxn ang="0">
                  <a:pos x="5" y="203"/>
                </a:cxn>
                <a:cxn ang="0">
                  <a:pos x="5" y="186"/>
                </a:cxn>
                <a:cxn ang="0">
                  <a:pos x="5" y="174"/>
                </a:cxn>
                <a:cxn ang="0">
                  <a:pos x="2" y="149"/>
                </a:cxn>
                <a:cxn ang="0">
                  <a:pos x="0" y="140"/>
                </a:cxn>
                <a:cxn ang="0">
                  <a:pos x="28" y="128"/>
                </a:cxn>
                <a:cxn ang="0">
                  <a:pos x="36" y="97"/>
                </a:cxn>
                <a:cxn ang="0">
                  <a:pos x="36" y="69"/>
                </a:cxn>
                <a:cxn ang="0">
                  <a:pos x="36" y="55"/>
                </a:cxn>
                <a:cxn ang="0">
                  <a:pos x="36" y="34"/>
                </a:cxn>
                <a:cxn ang="0">
                  <a:pos x="44" y="23"/>
                </a:cxn>
                <a:cxn ang="0">
                  <a:pos x="71" y="23"/>
                </a:cxn>
                <a:cxn ang="0">
                  <a:pos x="99" y="17"/>
                </a:cxn>
                <a:cxn ang="0">
                  <a:pos x="128" y="11"/>
                </a:cxn>
                <a:cxn ang="0">
                  <a:pos x="153" y="17"/>
                </a:cxn>
                <a:cxn ang="0">
                  <a:pos x="182" y="0"/>
                </a:cxn>
                <a:cxn ang="0">
                  <a:pos x="188" y="19"/>
                </a:cxn>
                <a:cxn ang="0">
                  <a:pos x="199" y="46"/>
                </a:cxn>
                <a:cxn ang="0">
                  <a:pos x="220" y="57"/>
                </a:cxn>
                <a:cxn ang="0">
                  <a:pos x="247" y="63"/>
                </a:cxn>
                <a:cxn ang="0">
                  <a:pos x="253" y="76"/>
                </a:cxn>
                <a:cxn ang="0">
                  <a:pos x="253" y="86"/>
                </a:cxn>
                <a:cxn ang="0">
                  <a:pos x="272" y="103"/>
                </a:cxn>
                <a:cxn ang="0">
                  <a:pos x="282" y="122"/>
                </a:cxn>
                <a:cxn ang="0">
                  <a:pos x="305" y="140"/>
                </a:cxn>
                <a:cxn ang="0">
                  <a:pos x="316" y="163"/>
                </a:cxn>
                <a:cxn ang="0">
                  <a:pos x="299" y="163"/>
                </a:cxn>
                <a:cxn ang="0">
                  <a:pos x="276" y="180"/>
                </a:cxn>
                <a:cxn ang="0">
                  <a:pos x="257" y="192"/>
                </a:cxn>
                <a:cxn ang="0">
                  <a:pos x="247" y="203"/>
                </a:cxn>
                <a:cxn ang="0">
                  <a:pos x="243" y="230"/>
                </a:cxn>
                <a:cxn ang="0">
                  <a:pos x="236" y="243"/>
                </a:cxn>
                <a:cxn ang="0">
                  <a:pos x="226" y="251"/>
                </a:cxn>
                <a:cxn ang="0">
                  <a:pos x="211" y="274"/>
                </a:cxn>
                <a:cxn ang="0">
                  <a:pos x="195" y="287"/>
                </a:cxn>
                <a:cxn ang="0">
                  <a:pos x="182" y="303"/>
                </a:cxn>
                <a:cxn ang="0">
                  <a:pos x="161" y="297"/>
                </a:cxn>
                <a:cxn ang="0">
                  <a:pos x="142" y="291"/>
                </a:cxn>
                <a:cxn ang="0">
                  <a:pos x="105" y="280"/>
                </a:cxn>
                <a:cxn ang="0">
                  <a:pos x="88" y="303"/>
                </a:cxn>
                <a:cxn ang="0">
                  <a:pos x="67" y="309"/>
                </a:cxn>
                <a:cxn ang="0">
                  <a:pos x="48" y="320"/>
                </a:cxn>
                <a:cxn ang="0">
                  <a:pos x="28" y="309"/>
                </a:cxn>
                <a:cxn ang="0">
                  <a:pos x="23" y="286"/>
                </a:cxn>
                <a:cxn ang="0">
                  <a:pos x="5" y="274"/>
                </a:cxn>
              </a:cxnLst>
              <a:rect l="0" t="0" r="r" b="b"/>
              <a:pathLst>
                <a:path w="322" h="320">
                  <a:moveTo>
                    <a:pt x="0" y="257"/>
                  </a:moveTo>
                  <a:lnTo>
                    <a:pt x="3" y="241"/>
                  </a:lnTo>
                  <a:lnTo>
                    <a:pt x="5" y="228"/>
                  </a:lnTo>
                  <a:lnTo>
                    <a:pt x="5" y="218"/>
                  </a:lnTo>
                  <a:lnTo>
                    <a:pt x="5" y="209"/>
                  </a:lnTo>
                  <a:lnTo>
                    <a:pt x="5" y="203"/>
                  </a:lnTo>
                  <a:lnTo>
                    <a:pt x="5" y="197"/>
                  </a:lnTo>
                  <a:lnTo>
                    <a:pt x="5" y="192"/>
                  </a:lnTo>
                  <a:lnTo>
                    <a:pt x="5" y="186"/>
                  </a:lnTo>
                  <a:lnTo>
                    <a:pt x="5" y="180"/>
                  </a:lnTo>
                  <a:lnTo>
                    <a:pt x="5" y="178"/>
                  </a:lnTo>
                  <a:lnTo>
                    <a:pt x="5" y="174"/>
                  </a:lnTo>
                  <a:lnTo>
                    <a:pt x="5" y="163"/>
                  </a:lnTo>
                  <a:lnTo>
                    <a:pt x="5" y="151"/>
                  </a:lnTo>
                  <a:lnTo>
                    <a:pt x="2" y="149"/>
                  </a:lnTo>
                  <a:lnTo>
                    <a:pt x="2" y="147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11" y="140"/>
                  </a:lnTo>
                  <a:lnTo>
                    <a:pt x="17" y="134"/>
                  </a:lnTo>
                  <a:lnTo>
                    <a:pt x="28" y="128"/>
                  </a:lnTo>
                  <a:lnTo>
                    <a:pt x="36" y="122"/>
                  </a:lnTo>
                  <a:lnTo>
                    <a:pt x="36" y="111"/>
                  </a:lnTo>
                  <a:lnTo>
                    <a:pt x="36" y="97"/>
                  </a:lnTo>
                  <a:lnTo>
                    <a:pt x="36" y="86"/>
                  </a:lnTo>
                  <a:lnTo>
                    <a:pt x="36" y="74"/>
                  </a:lnTo>
                  <a:lnTo>
                    <a:pt x="36" y="69"/>
                  </a:lnTo>
                  <a:lnTo>
                    <a:pt x="36" y="63"/>
                  </a:lnTo>
                  <a:lnTo>
                    <a:pt x="36" y="57"/>
                  </a:lnTo>
                  <a:lnTo>
                    <a:pt x="36" y="55"/>
                  </a:lnTo>
                  <a:lnTo>
                    <a:pt x="36" y="51"/>
                  </a:lnTo>
                  <a:lnTo>
                    <a:pt x="36" y="46"/>
                  </a:lnTo>
                  <a:lnTo>
                    <a:pt x="36" y="34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59" y="23"/>
                  </a:lnTo>
                  <a:lnTo>
                    <a:pt x="71" y="23"/>
                  </a:lnTo>
                  <a:lnTo>
                    <a:pt x="76" y="17"/>
                  </a:lnTo>
                  <a:lnTo>
                    <a:pt x="88" y="17"/>
                  </a:lnTo>
                  <a:lnTo>
                    <a:pt x="99" y="17"/>
                  </a:lnTo>
                  <a:lnTo>
                    <a:pt x="105" y="11"/>
                  </a:lnTo>
                  <a:lnTo>
                    <a:pt x="117" y="11"/>
                  </a:lnTo>
                  <a:lnTo>
                    <a:pt x="128" y="11"/>
                  </a:lnTo>
                  <a:lnTo>
                    <a:pt x="134" y="17"/>
                  </a:lnTo>
                  <a:lnTo>
                    <a:pt x="143" y="17"/>
                  </a:lnTo>
                  <a:lnTo>
                    <a:pt x="153" y="17"/>
                  </a:lnTo>
                  <a:lnTo>
                    <a:pt x="165" y="11"/>
                  </a:lnTo>
                  <a:lnTo>
                    <a:pt x="172" y="5"/>
                  </a:lnTo>
                  <a:lnTo>
                    <a:pt x="182" y="0"/>
                  </a:lnTo>
                  <a:lnTo>
                    <a:pt x="182" y="7"/>
                  </a:lnTo>
                  <a:lnTo>
                    <a:pt x="182" y="17"/>
                  </a:lnTo>
                  <a:lnTo>
                    <a:pt x="188" y="19"/>
                  </a:lnTo>
                  <a:lnTo>
                    <a:pt x="193" y="23"/>
                  </a:lnTo>
                  <a:lnTo>
                    <a:pt x="193" y="34"/>
                  </a:lnTo>
                  <a:lnTo>
                    <a:pt x="199" y="46"/>
                  </a:lnTo>
                  <a:lnTo>
                    <a:pt x="205" y="50"/>
                  </a:lnTo>
                  <a:lnTo>
                    <a:pt x="211" y="57"/>
                  </a:lnTo>
                  <a:lnTo>
                    <a:pt x="220" y="57"/>
                  </a:lnTo>
                  <a:lnTo>
                    <a:pt x="228" y="57"/>
                  </a:lnTo>
                  <a:lnTo>
                    <a:pt x="234" y="63"/>
                  </a:lnTo>
                  <a:lnTo>
                    <a:pt x="247" y="63"/>
                  </a:lnTo>
                  <a:lnTo>
                    <a:pt x="253" y="69"/>
                  </a:lnTo>
                  <a:lnTo>
                    <a:pt x="253" y="73"/>
                  </a:lnTo>
                  <a:lnTo>
                    <a:pt x="253" y="76"/>
                  </a:lnTo>
                  <a:lnTo>
                    <a:pt x="255" y="80"/>
                  </a:lnTo>
                  <a:lnTo>
                    <a:pt x="259" y="80"/>
                  </a:lnTo>
                  <a:lnTo>
                    <a:pt x="253" y="86"/>
                  </a:lnTo>
                  <a:lnTo>
                    <a:pt x="255" y="96"/>
                  </a:lnTo>
                  <a:lnTo>
                    <a:pt x="264" y="103"/>
                  </a:lnTo>
                  <a:lnTo>
                    <a:pt x="272" y="103"/>
                  </a:lnTo>
                  <a:lnTo>
                    <a:pt x="282" y="103"/>
                  </a:lnTo>
                  <a:lnTo>
                    <a:pt x="282" y="111"/>
                  </a:lnTo>
                  <a:lnTo>
                    <a:pt x="282" y="122"/>
                  </a:lnTo>
                  <a:lnTo>
                    <a:pt x="282" y="134"/>
                  </a:lnTo>
                  <a:lnTo>
                    <a:pt x="293" y="140"/>
                  </a:lnTo>
                  <a:lnTo>
                    <a:pt x="305" y="140"/>
                  </a:lnTo>
                  <a:lnTo>
                    <a:pt x="310" y="145"/>
                  </a:lnTo>
                  <a:lnTo>
                    <a:pt x="322" y="151"/>
                  </a:lnTo>
                  <a:lnTo>
                    <a:pt x="316" y="163"/>
                  </a:lnTo>
                  <a:lnTo>
                    <a:pt x="314" y="163"/>
                  </a:lnTo>
                  <a:lnTo>
                    <a:pt x="310" y="163"/>
                  </a:lnTo>
                  <a:lnTo>
                    <a:pt x="299" y="163"/>
                  </a:lnTo>
                  <a:lnTo>
                    <a:pt x="287" y="163"/>
                  </a:lnTo>
                  <a:lnTo>
                    <a:pt x="284" y="172"/>
                  </a:lnTo>
                  <a:lnTo>
                    <a:pt x="276" y="180"/>
                  </a:lnTo>
                  <a:lnTo>
                    <a:pt x="264" y="180"/>
                  </a:lnTo>
                  <a:lnTo>
                    <a:pt x="259" y="186"/>
                  </a:lnTo>
                  <a:lnTo>
                    <a:pt x="257" y="192"/>
                  </a:lnTo>
                  <a:lnTo>
                    <a:pt x="255" y="197"/>
                  </a:lnTo>
                  <a:lnTo>
                    <a:pt x="251" y="201"/>
                  </a:lnTo>
                  <a:lnTo>
                    <a:pt x="247" y="203"/>
                  </a:lnTo>
                  <a:lnTo>
                    <a:pt x="247" y="213"/>
                  </a:lnTo>
                  <a:lnTo>
                    <a:pt x="247" y="222"/>
                  </a:lnTo>
                  <a:lnTo>
                    <a:pt x="243" y="230"/>
                  </a:lnTo>
                  <a:lnTo>
                    <a:pt x="239" y="239"/>
                  </a:lnTo>
                  <a:lnTo>
                    <a:pt x="238" y="239"/>
                  </a:lnTo>
                  <a:lnTo>
                    <a:pt x="236" y="243"/>
                  </a:lnTo>
                  <a:lnTo>
                    <a:pt x="234" y="247"/>
                  </a:lnTo>
                  <a:lnTo>
                    <a:pt x="234" y="251"/>
                  </a:lnTo>
                  <a:lnTo>
                    <a:pt x="226" y="251"/>
                  </a:lnTo>
                  <a:lnTo>
                    <a:pt x="216" y="251"/>
                  </a:lnTo>
                  <a:lnTo>
                    <a:pt x="216" y="263"/>
                  </a:lnTo>
                  <a:lnTo>
                    <a:pt x="211" y="274"/>
                  </a:lnTo>
                  <a:lnTo>
                    <a:pt x="205" y="276"/>
                  </a:lnTo>
                  <a:lnTo>
                    <a:pt x="199" y="280"/>
                  </a:lnTo>
                  <a:lnTo>
                    <a:pt x="195" y="287"/>
                  </a:lnTo>
                  <a:lnTo>
                    <a:pt x="193" y="291"/>
                  </a:lnTo>
                  <a:lnTo>
                    <a:pt x="188" y="295"/>
                  </a:lnTo>
                  <a:lnTo>
                    <a:pt x="182" y="303"/>
                  </a:lnTo>
                  <a:lnTo>
                    <a:pt x="172" y="303"/>
                  </a:lnTo>
                  <a:lnTo>
                    <a:pt x="165" y="303"/>
                  </a:lnTo>
                  <a:lnTo>
                    <a:pt x="161" y="297"/>
                  </a:lnTo>
                  <a:lnTo>
                    <a:pt x="159" y="291"/>
                  </a:lnTo>
                  <a:lnTo>
                    <a:pt x="149" y="291"/>
                  </a:lnTo>
                  <a:lnTo>
                    <a:pt x="142" y="291"/>
                  </a:lnTo>
                  <a:lnTo>
                    <a:pt x="128" y="280"/>
                  </a:lnTo>
                  <a:lnTo>
                    <a:pt x="117" y="280"/>
                  </a:lnTo>
                  <a:lnTo>
                    <a:pt x="105" y="280"/>
                  </a:lnTo>
                  <a:lnTo>
                    <a:pt x="94" y="286"/>
                  </a:lnTo>
                  <a:lnTo>
                    <a:pt x="88" y="291"/>
                  </a:lnTo>
                  <a:lnTo>
                    <a:pt x="88" y="303"/>
                  </a:lnTo>
                  <a:lnTo>
                    <a:pt x="78" y="303"/>
                  </a:lnTo>
                  <a:lnTo>
                    <a:pt x="71" y="303"/>
                  </a:lnTo>
                  <a:lnTo>
                    <a:pt x="67" y="309"/>
                  </a:lnTo>
                  <a:lnTo>
                    <a:pt x="65" y="314"/>
                  </a:lnTo>
                  <a:lnTo>
                    <a:pt x="53" y="314"/>
                  </a:lnTo>
                  <a:lnTo>
                    <a:pt x="48" y="320"/>
                  </a:lnTo>
                  <a:lnTo>
                    <a:pt x="38" y="320"/>
                  </a:lnTo>
                  <a:lnTo>
                    <a:pt x="28" y="320"/>
                  </a:lnTo>
                  <a:lnTo>
                    <a:pt x="28" y="309"/>
                  </a:lnTo>
                  <a:lnTo>
                    <a:pt x="23" y="303"/>
                  </a:lnTo>
                  <a:lnTo>
                    <a:pt x="23" y="295"/>
                  </a:lnTo>
                  <a:lnTo>
                    <a:pt x="23" y="286"/>
                  </a:lnTo>
                  <a:lnTo>
                    <a:pt x="17" y="280"/>
                  </a:lnTo>
                  <a:lnTo>
                    <a:pt x="11" y="278"/>
                  </a:lnTo>
                  <a:lnTo>
                    <a:pt x="5" y="274"/>
                  </a:lnTo>
                  <a:lnTo>
                    <a:pt x="3" y="264"/>
                  </a:lnTo>
                  <a:lnTo>
                    <a:pt x="0" y="25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1" name="Freeform 7"/>
            <p:cNvSpPr>
              <a:spLocks/>
            </p:cNvSpPr>
            <p:nvPr/>
          </p:nvSpPr>
          <p:spPr bwMode="auto">
            <a:xfrm>
              <a:off x="1578" y="2936"/>
              <a:ext cx="499" cy="434"/>
            </a:xfrm>
            <a:custGeom>
              <a:avLst/>
              <a:gdLst/>
              <a:ahLst/>
              <a:cxnLst>
                <a:cxn ang="0">
                  <a:pos x="457" y="29"/>
                </a:cxn>
                <a:cxn ang="0">
                  <a:pos x="428" y="35"/>
                </a:cxn>
                <a:cxn ang="0">
                  <a:pos x="394" y="35"/>
                </a:cxn>
                <a:cxn ang="0">
                  <a:pos x="369" y="45"/>
                </a:cxn>
                <a:cxn ang="0">
                  <a:pos x="351" y="54"/>
                </a:cxn>
                <a:cxn ang="0">
                  <a:pos x="332" y="54"/>
                </a:cxn>
                <a:cxn ang="0">
                  <a:pos x="300" y="50"/>
                </a:cxn>
                <a:cxn ang="0">
                  <a:pos x="278" y="37"/>
                </a:cxn>
                <a:cxn ang="0">
                  <a:pos x="254" y="29"/>
                </a:cxn>
                <a:cxn ang="0">
                  <a:pos x="223" y="23"/>
                </a:cxn>
                <a:cxn ang="0">
                  <a:pos x="204" y="23"/>
                </a:cxn>
                <a:cxn ang="0">
                  <a:pos x="171" y="29"/>
                </a:cxn>
                <a:cxn ang="0">
                  <a:pos x="129" y="35"/>
                </a:cxn>
                <a:cxn ang="0">
                  <a:pos x="88" y="12"/>
                </a:cxn>
                <a:cxn ang="0">
                  <a:pos x="62" y="2"/>
                </a:cxn>
                <a:cxn ang="0">
                  <a:pos x="42" y="12"/>
                </a:cxn>
                <a:cxn ang="0">
                  <a:pos x="18" y="12"/>
                </a:cxn>
                <a:cxn ang="0">
                  <a:pos x="0" y="43"/>
                </a:cxn>
                <a:cxn ang="0">
                  <a:pos x="23" y="83"/>
                </a:cxn>
                <a:cxn ang="0">
                  <a:pos x="48" y="112"/>
                </a:cxn>
                <a:cxn ang="0">
                  <a:pos x="58" y="133"/>
                </a:cxn>
                <a:cxn ang="0">
                  <a:pos x="73" y="158"/>
                </a:cxn>
                <a:cxn ang="0">
                  <a:pos x="94" y="183"/>
                </a:cxn>
                <a:cxn ang="0">
                  <a:pos x="94" y="196"/>
                </a:cxn>
                <a:cxn ang="0">
                  <a:pos x="94" y="211"/>
                </a:cxn>
                <a:cxn ang="0">
                  <a:pos x="94" y="229"/>
                </a:cxn>
                <a:cxn ang="0">
                  <a:pos x="94" y="256"/>
                </a:cxn>
                <a:cxn ang="0">
                  <a:pos x="94" y="306"/>
                </a:cxn>
                <a:cxn ang="0">
                  <a:pos x="94" y="334"/>
                </a:cxn>
                <a:cxn ang="0">
                  <a:pos x="94" y="357"/>
                </a:cxn>
                <a:cxn ang="0">
                  <a:pos x="112" y="388"/>
                </a:cxn>
                <a:cxn ang="0">
                  <a:pos x="140" y="411"/>
                </a:cxn>
                <a:cxn ang="0">
                  <a:pos x="159" y="411"/>
                </a:cxn>
                <a:cxn ang="0">
                  <a:pos x="188" y="428"/>
                </a:cxn>
                <a:cxn ang="0">
                  <a:pos x="217" y="434"/>
                </a:cxn>
                <a:cxn ang="0">
                  <a:pos x="234" y="434"/>
                </a:cxn>
                <a:cxn ang="0">
                  <a:pos x="265" y="430"/>
                </a:cxn>
                <a:cxn ang="0">
                  <a:pos x="282" y="423"/>
                </a:cxn>
                <a:cxn ang="0">
                  <a:pos x="307" y="390"/>
                </a:cxn>
                <a:cxn ang="0">
                  <a:pos x="323" y="382"/>
                </a:cxn>
                <a:cxn ang="0">
                  <a:pos x="323" y="357"/>
                </a:cxn>
                <a:cxn ang="0">
                  <a:pos x="317" y="329"/>
                </a:cxn>
                <a:cxn ang="0">
                  <a:pos x="323" y="296"/>
                </a:cxn>
                <a:cxn ang="0">
                  <a:pos x="323" y="265"/>
                </a:cxn>
                <a:cxn ang="0">
                  <a:pos x="323" y="229"/>
                </a:cxn>
                <a:cxn ang="0">
                  <a:pos x="323" y="210"/>
                </a:cxn>
                <a:cxn ang="0">
                  <a:pos x="323" y="177"/>
                </a:cxn>
                <a:cxn ang="0">
                  <a:pos x="346" y="160"/>
                </a:cxn>
                <a:cxn ang="0">
                  <a:pos x="351" y="129"/>
                </a:cxn>
                <a:cxn ang="0">
                  <a:pos x="351" y="116"/>
                </a:cxn>
                <a:cxn ang="0">
                  <a:pos x="355" y="85"/>
                </a:cxn>
                <a:cxn ang="0">
                  <a:pos x="371" y="66"/>
                </a:cxn>
                <a:cxn ang="0">
                  <a:pos x="394" y="60"/>
                </a:cxn>
                <a:cxn ang="0">
                  <a:pos x="426" y="48"/>
                </a:cxn>
                <a:cxn ang="0">
                  <a:pos x="455" y="60"/>
                </a:cxn>
                <a:cxn ang="0">
                  <a:pos x="470" y="54"/>
                </a:cxn>
                <a:cxn ang="0">
                  <a:pos x="490" y="46"/>
                </a:cxn>
                <a:cxn ang="0">
                  <a:pos x="499" y="35"/>
                </a:cxn>
              </a:cxnLst>
              <a:rect l="0" t="0" r="r" b="b"/>
              <a:pathLst>
                <a:path w="499" h="434">
                  <a:moveTo>
                    <a:pt x="499" y="35"/>
                  </a:moveTo>
                  <a:lnTo>
                    <a:pt x="482" y="35"/>
                  </a:lnTo>
                  <a:lnTo>
                    <a:pt x="465" y="35"/>
                  </a:lnTo>
                  <a:lnTo>
                    <a:pt x="457" y="29"/>
                  </a:lnTo>
                  <a:lnTo>
                    <a:pt x="445" y="29"/>
                  </a:lnTo>
                  <a:lnTo>
                    <a:pt x="440" y="33"/>
                  </a:lnTo>
                  <a:lnTo>
                    <a:pt x="434" y="35"/>
                  </a:lnTo>
                  <a:lnTo>
                    <a:pt x="428" y="35"/>
                  </a:lnTo>
                  <a:lnTo>
                    <a:pt x="426" y="35"/>
                  </a:lnTo>
                  <a:lnTo>
                    <a:pt x="422" y="35"/>
                  </a:lnTo>
                  <a:lnTo>
                    <a:pt x="409" y="35"/>
                  </a:lnTo>
                  <a:lnTo>
                    <a:pt x="394" y="35"/>
                  </a:lnTo>
                  <a:lnTo>
                    <a:pt x="388" y="43"/>
                  </a:lnTo>
                  <a:lnTo>
                    <a:pt x="378" y="43"/>
                  </a:lnTo>
                  <a:lnTo>
                    <a:pt x="371" y="43"/>
                  </a:lnTo>
                  <a:lnTo>
                    <a:pt x="369" y="45"/>
                  </a:lnTo>
                  <a:lnTo>
                    <a:pt x="367" y="46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1" y="54"/>
                  </a:lnTo>
                  <a:lnTo>
                    <a:pt x="346" y="54"/>
                  </a:lnTo>
                  <a:lnTo>
                    <a:pt x="340" y="54"/>
                  </a:lnTo>
                  <a:lnTo>
                    <a:pt x="334" y="54"/>
                  </a:lnTo>
                  <a:lnTo>
                    <a:pt x="332" y="54"/>
                  </a:lnTo>
                  <a:lnTo>
                    <a:pt x="328" y="54"/>
                  </a:lnTo>
                  <a:lnTo>
                    <a:pt x="317" y="54"/>
                  </a:lnTo>
                  <a:lnTo>
                    <a:pt x="305" y="54"/>
                  </a:lnTo>
                  <a:lnTo>
                    <a:pt x="300" y="50"/>
                  </a:lnTo>
                  <a:lnTo>
                    <a:pt x="294" y="43"/>
                  </a:lnTo>
                  <a:lnTo>
                    <a:pt x="282" y="43"/>
                  </a:lnTo>
                  <a:lnTo>
                    <a:pt x="280" y="39"/>
                  </a:lnTo>
                  <a:lnTo>
                    <a:pt x="278" y="37"/>
                  </a:lnTo>
                  <a:lnTo>
                    <a:pt x="275" y="35"/>
                  </a:lnTo>
                  <a:lnTo>
                    <a:pt x="271" y="35"/>
                  </a:lnTo>
                  <a:lnTo>
                    <a:pt x="265" y="29"/>
                  </a:lnTo>
                  <a:lnTo>
                    <a:pt x="254" y="29"/>
                  </a:lnTo>
                  <a:lnTo>
                    <a:pt x="244" y="27"/>
                  </a:lnTo>
                  <a:lnTo>
                    <a:pt x="234" y="23"/>
                  </a:lnTo>
                  <a:lnTo>
                    <a:pt x="229" y="23"/>
                  </a:lnTo>
                  <a:lnTo>
                    <a:pt x="223" y="23"/>
                  </a:lnTo>
                  <a:lnTo>
                    <a:pt x="217" y="23"/>
                  </a:lnTo>
                  <a:lnTo>
                    <a:pt x="211" y="23"/>
                  </a:lnTo>
                  <a:lnTo>
                    <a:pt x="206" y="23"/>
                  </a:lnTo>
                  <a:lnTo>
                    <a:pt x="204" y="23"/>
                  </a:lnTo>
                  <a:lnTo>
                    <a:pt x="200" y="23"/>
                  </a:lnTo>
                  <a:lnTo>
                    <a:pt x="188" y="23"/>
                  </a:lnTo>
                  <a:lnTo>
                    <a:pt x="177" y="23"/>
                  </a:lnTo>
                  <a:lnTo>
                    <a:pt x="171" y="29"/>
                  </a:lnTo>
                  <a:lnTo>
                    <a:pt x="159" y="29"/>
                  </a:lnTo>
                  <a:lnTo>
                    <a:pt x="148" y="29"/>
                  </a:lnTo>
                  <a:lnTo>
                    <a:pt x="140" y="35"/>
                  </a:lnTo>
                  <a:lnTo>
                    <a:pt x="129" y="35"/>
                  </a:lnTo>
                  <a:lnTo>
                    <a:pt x="117" y="35"/>
                  </a:lnTo>
                  <a:lnTo>
                    <a:pt x="100" y="29"/>
                  </a:lnTo>
                  <a:lnTo>
                    <a:pt x="92" y="22"/>
                  </a:lnTo>
                  <a:lnTo>
                    <a:pt x="88" y="12"/>
                  </a:lnTo>
                  <a:lnTo>
                    <a:pt x="77" y="6"/>
                  </a:lnTo>
                  <a:lnTo>
                    <a:pt x="65" y="6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8" y="4"/>
                  </a:lnTo>
                  <a:lnTo>
                    <a:pt x="42" y="12"/>
                  </a:lnTo>
                  <a:lnTo>
                    <a:pt x="35" y="12"/>
                  </a:lnTo>
                  <a:lnTo>
                    <a:pt x="33" y="12"/>
                  </a:lnTo>
                  <a:lnTo>
                    <a:pt x="29" y="12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9"/>
                  </a:lnTo>
                  <a:lnTo>
                    <a:pt x="0" y="43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23" y="71"/>
                  </a:lnTo>
                  <a:lnTo>
                    <a:pt x="23" y="83"/>
                  </a:lnTo>
                  <a:lnTo>
                    <a:pt x="29" y="89"/>
                  </a:lnTo>
                  <a:lnTo>
                    <a:pt x="42" y="94"/>
                  </a:lnTo>
                  <a:lnTo>
                    <a:pt x="48" y="100"/>
                  </a:lnTo>
                  <a:lnTo>
                    <a:pt x="48" y="112"/>
                  </a:lnTo>
                  <a:lnTo>
                    <a:pt x="50" y="121"/>
                  </a:lnTo>
                  <a:lnTo>
                    <a:pt x="54" y="129"/>
                  </a:lnTo>
                  <a:lnTo>
                    <a:pt x="56" y="131"/>
                  </a:lnTo>
                  <a:lnTo>
                    <a:pt x="58" y="133"/>
                  </a:lnTo>
                  <a:lnTo>
                    <a:pt x="60" y="137"/>
                  </a:lnTo>
                  <a:lnTo>
                    <a:pt x="60" y="140"/>
                  </a:lnTo>
                  <a:lnTo>
                    <a:pt x="71" y="154"/>
                  </a:lnTo>
                  <a:lnTo>
                    <a:pt x="73" y="158"/>
                  </a:lnTo>
                  <a:lnTo>
                    <a:pt x="77" y="164"/>
                  </a:lnTo>
                  <a:lnTo>
                    <a:pt x="83" y="169"/>
                  </a:lnTo>
                  <a:lnTo>
                    <a:pt x="88" y="171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8"/>
                  </a:lnTo>
                  <a:lnTo>
                    <a:pt x="94" y="194"/>
                  </a:lnTo>
                  <a:lnTo>
                    <a:pt x="94" y="196"/>
                  </a:lnTo>
                  <a:lnTo>
                    <a:pt x="94" y="200"/>
                  </a:lnTo>
                  <a:lnTo>
                    <a:pt x="94" y="206"/>
                  </a:lnTo>
                  <a:lnTo>
                    <a:pt x="94" y="210"/>
                  </a:lnTo>
                  <a:lnTo>
                    <a:pt x="94" y="211"/>
                  </a:lnTo>
                  <a:lnTo>
                    <a:pt x="94" y="217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4" y="229"/>
                  </a:lnTo>
                  <a:lnTo>
                    <a:pt x="94" y="233"/>
                  </a:lnTo>
                  <a:lnTo>
                    <a:pt x="94" y="235"/>
                  </a:lnTo>
                  <a:lnTo>
                    <a:pt x="94" y="240"/>
                  </a:lnTo>
                  <a:lnTo>
                    <a:pt x="94" y="256"/>
                  </a:lnTo>
                  <a:lnTo>
                    <a:pt x="94" y="271"/>
                  </a:lnTo>
                  <a:lnTo>
                    <a:pt x="94" y="282"/>
                  </a:lnTo>
                  <a:lnTo>
                    <a:pt x="94" y="294"/>
                  </a:lnTo>
                  <a:lnTo>
                    <a:pt x="94" y="306"/>
                  </a:lnTo>
                  <a:lnTo>
                    <a:pt x="94" y="317"/>
                  </a:lnTo>
                  <a:lnTo>
                    <a:pt x="94" y="323"/>
                  </a:lnTo>
                  <a:lnTo>
                    <a:pt x="94" y="329"/>
                  </a:lnTo>
                  <a:lnTo>
                    <a:pt x="94" y="334"/>
                  </a:lnTo>
                  <a:lnTo>
                    <a:pt x="94" y="338"/>
                  </a:lnTo>
                  <a:lnTo>
                    <a:pt x="94" y="340"/>
                  </a:lnTo>
                  <a:lnTo>
                    <a:pt x="94" y="346"/>
                  </a:lnTo>
                  <a:lnTo>
                    <a:pt x="94" y="357"/>
                  </a:lnTo>
                  <a:lnTo>
                    <a:pt x="94" y="371"/>
                  </a:lnTo>
                  <a:lnTo>
                    <a:pt x="100" y="382"/>
                  </a:lnTo>
                  <a:lnTo>
                    <a:pt x="106" y="384"/>
                  </a:lnTo>
                  <a:lnTo>
                    <a:pt x="112" y="388"/>
                  </a:lnTo>
                  <a:lnTo>
                    <a:pt x="115" y="396"/>
                  </a:lnTo>
                  <a:lnTo>
                    <a:pt x="123" y="405"/>
                  </a:lnTo>
                  <a:lnTo>
                    <a:pt x="135" y="411"/>
                  </a:lnTo>
                  <a:lnTo>
                    <a:pt x="140" y="411"/>
                  </a:lnTo>
                  <a:lnTo>
                    <a:pt x="148" y="411"/>
                  </a:lnTo>
                  <a:lnTo>
                    <a:pt x="154" y="411"/>
                  </a:lnTo>
                  <a:lnTo>
                    <a:pt x="156" y="411"/>
                  </a:lnTo>
                  <a:lnTo>
                    <a:pt x="159" y="411"/>
                  </a:lnTo>
                  <a:lnTo>
                    <a:pt x="171" y="411"/>
                  </a:lnTo>
                  <a:lnTo>
                    <a:pt x="183" y="411"/>
                  </a:lnTo>
                  <a:lnTo>
                    <a:pt x="183" y="423"/>
                  </a:lnTo>
                  <a:lnTo>
                    <a:pt x="188" y="428"/>
                  </a:lnTo>
                  <a:lnTo>
                    <a:pt x="198" y="428"/>
                  </a:lnTo>
                  <a:lnTo>
                    <a:pt x="206" y="428"/>
                  </a:lnTo>
                  <a:lnTo>
                    <a:pt x="211" y="434"/>
                  </a:lnTo>
                  <a:lnTo>
                    <a:pt x="217" y="434"/>
                  </a:lnTo>
                  <a:lnTo>
                    <a:pt x="223" y="434"/>
                  </a:lnTo>
                  <a:lnTo>
                    <a:pt x="229" y="434"/>
                  </a:lnTo>
                  <a:lnTo>
                    <a:pt x="232" y="434"/>
                  </a:lnTo>
                  <a:lnTo>
                    <a:pt x="234" y="434"/>
                  </a:lnTo>
                  <a:lnTo>
                    <a:pt x="240" y="434"/>
                  </a:lnTo>
                  <a:lnTo>
                    <a:pt x="254" y="434"/>
                  </a:lnTo>
                  <a:lnTo>
                    <a:pt x="265" y="434"/>
                  </a:lnTo>
                  <a:lnTo>
                    <a:pt x="265" y="430"/>
                  </a:lnTo>
                  <a:lnTo>
                    <a:pt x="269" y="428"/>
                  </a:lnTo>
                  <a:lnTo>
                    <a:pt x="273" y="428"/>
                  </a:lnTo>
                  <a:lnTo>
                    <a:pt x="277" y="428"/>
                  </a:lnTo>
                  <a:lnTo>
                    <a:pt x="282" y="423"/>
                  </a:lnTo>
                  <a:lnTo>
                    <a:pt x="288" y="411"/>
                  </a:lnTo>
                  <a:lnTo>
                    <a:pt x="294" y="394"/>
                  </a:lnTo>
                  <a:lnTo>
                    <a:pt x="305" y="394"/>
                  </a:lnTo>
                  <a:lnTo>
                    <a:pt x="307" y="390"/>
                  </a:lnTo>
                  <a:lnTo>
                    <a:pt x="309" y="388"/>
                  </a:lnTo>
                  <a:lnTo>
                    <a:pt x="313" y="388"/>
                  </a:lnTo>
                  <a:lnTo>
                    <a:pt x="317" y="388"/>
                  </a:lnTo>
                  <a:lnTo>
                    <a:pt x="323" y="382"/>
                  </a:lnTo>
                  <a:lnTo>
                    <a:pt x="323" y="378"/>
                  </a:lnTo>
                  <a:lnTo>
                    <a:pt x="323" y="377"/>
                  </a:lnTo>
                  <a:lnTo>
                    <a:pt x="323" y="371"/>
                  </a:lnTo>
                  <a:lnTo>
                    <a:pt x="323" y="357"/>
                  </a:lnTo>
                  <a:lnTo>
                    <a:pt x="323" y="346"/>
                  </a:lnTo>
                  <a:lnTo>
                    <a:pt x="317" y="340"/>
                  </a:lnTo>
                  <a:lnTo>
                    <a:pt x="317" y="334"/>
                  </a:lnTo>
                  <a:lnTo>
                    <a:pt x="317" y="329"/>
                  </a:lnTo>
                  <a:lnTo>
                    <a:pt x="317" y="321"/>
                  </a:lnTo>
                  <a:lnTo>
                    <a:pt x="317" y="311"/>
                  </a:lnTo>
                  <a:lnTo>
                    <a:pt x="323" y="306"/>
                  </a:lnTo>
                  <a:lnTo>
                    <a:pt x="323" y="296"/>
                  </a:lnTo>
                  <a:lnTo>
                    <a:pt x="323" y="288"/>
                  </a:lnTo>
                  <a:lnTo>
                    <a:pt x="328" y="282"/>
                  </a:lnTo>
                  <a:lnTo>
                    <a:pt x="328" y="271"/>
                  </a:lnTo>
                  <a:lnTo>
                    <a:pt x="323" y="265"/>
                  </a:lnTo>
                  <a:lnTo>
                    <a:pt x="323" y="256"/>
                  </a:lnTo>
                  <a:lnTo>
                    <a:pt x="323" y="246"/>
                  </a:lnTo>
                  <a:lnTo>
                    <a:pt x="323" y="238"/>
                  </a:lnTo>
                  <a:lnTo>
                    <a:pt x="323" y="229"/>
                  </a:lnTo>
                  <a:lnTo>
                    <a:pt x="323" y="223"/>
                  </a:lnTo>
                  <a:lnTo>
                    <a:pt x="323" y="217"/>
                  </a:lnTo>
                  <a:lnTo>
                    <a:pt x="323" y="211"/>
                  </a:lnTo>
                  <a:lnTo>
                    <a:pt x="323" y="210"/>
                  </a:lnTo>
                  <a:lnTo>
                    <a:pt x="323" y="206"/>
                  </a:lnTo>
                  <a:lnTo>
                    <a:pt x="323" y="200"/>
                  </a:lnTo>
                  <a:lnTo>
                    <a:pt x="323" y="188"/>
                  </a:lnTo>
                  <a:lnTo>
                    <a:pt x="323" y="177"/>
                  </a:lnTo>
                  <a:lnTo>
                    <a:pt x="332" y="177"/>
                  </a:lnTo>
                  <a:lnTo>
                    <a:pt x="340" y="177"/>
                  </a:lnTo>
                  <a:lnTo>
                    <a:pt x="346" y="171"/>
                  </a:lnTo>
                  <a:lnTo>
                    <a:pt x="346" y="160"/>
                  </a:lnTo>
                  <a:lnTo>
                    <a:pt x="359" y="160"/>
                  </a:lnTo>
                  <a:lnTo>
                    <a:pt x="359" y="146"/>
                  </a:lnTo>
                  <a:lnTo>
                    <a:pt x="359" y="135"/>
                  </a:lnTo>
                  <a:lnTo>
                    <a:pt x="351" y="129"/>
                  </a:lnTo>
                  <a:lnTo>
                    <a:pt x="351" y="127"/>
                  </a:lnTo>
                  <a:lnTo>
                    <a:pt x="351" y="123"/>
                  </a:lnTo>
                  <a:lnTo>
                    <a:pt x="351" y="117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0"/>
                  </a:lnTo>
                  <a:lnTo>
                    <a:pt x="351" y="89"/>
                  </a:lnTo>
                  <a:lnTo>
                    <a:pt x="355" y="85"/>
                  </a:lnTo>
                  <a:lnTo>
                    <a:pt x="357" y="79"/>
                  </a:lnTo>
                  <a:lnTo>
                    <a:pt x="357" y="71"/>
                  </a:lnTo>
                  <a:lnTo>
                    <a:pt x="359" y="66"/>
                  </a:lnTo>
                  <a:lnTo>
                    <a:pt x="371" y="66"/>
                  </a:lnTo>
                  <a:lnTo>
                    <a:pt x="376" y="60"/>
                  </a:lnTo>
                  <a:lnTo>
                    <a:pt x="378" y="60"/>
                  </a:lnTo>
                  <a:lnTo>
                    <a:pt x="382" y="60"/>
                  </a:lnTo>
                  <a:lnTo>
                    <a:pt x="394" y="60"/>
                  </a:lnTo>
                  <a:lnTo>
                    <a:pt x="405" y="60"/>
                  </a:lnTo>
                  <a:lnTo>
                    <a:pt x="411" y="50"/>
                  </a:lnTo>
                  <a:lnTo>
                    <a:pt x="417" y="48"/>
                  </a:lnTo>
                  <a:lnTo>
                    <a:pt x="426" y="48"/>
                  </a:lnTo>
                  <a:lnTo>
                    <a:pt x="434" y="48"/>
                  </a:lnTo>
                  <a:lnTo>
                    <a:pt x="440" y="50"/>
                  </a:lnTo>
                  <a:lnTo>
                    <a:pt x="445" y="60"/>
                  </a:lnTo>
                  <a:lnTo>
                    <a:pt x="455" y="60"/>
                  </a:lnTo>
                  <a:lnTo>
                    <a:pt x="465" y="60"/>
                  </a:lnTo>
                  <a:lnTo>
                    <a:pt x="465" y="56"/>
                  </a:lnTo>
                  <a:lnTo>
                    <a:pt x="466" y="54"/>
                  </a:lnTo>
                  <a:lnTo>
                    <a:pt x="470" y="54"/>
                  </a:lnTo>
                  <a:lnTo>
                    <a:pt x="476" y="54"/>
                  </a:lnTo>
                  <a:lnTo>
                    <a:pt x="482" y="48"/>
                  </a:lnTo>
                  <a:lnTo>
                    <a:pt x="484" y="46"/>
                  </a:lnTo>
                  <a:lnTo>
                    <a:pt x="490" y="46"/>
                  </a:lnTo>
                  <a:lnTo>
                    <a:pt x="493" y="45"/>
                  </a:lnTo>
                  <a:lnTo>
                    <a:pt x="495" y="43"/>
                  </a:lnTo>
                  <a:lnTo>
                    <a:pt x="497" y="39"/>
                  </a:lnTo>
                  <a:lnTo>
                    <a:pt x="499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2" name="Freeform 8"/>
            <p:cNvSpPr>
              <a:spLocks/>
            </p:cNvSpPr>
            <p:nvPr/>
          </p:nvSpPr>
          <p:spPr bwMode="auto">
            <a:xfrm>
              <a:off x="1578" y="2936"/>
              <a:ext cx="499" cy="434"/>
            </a:xfrm>
            <a:custGeom>
              <a:avLst/>
              <a:gdLst/>
              <a:ahLst/>
              <a:cxnLst>
                <a:cxn ang="0">
                  <a:pos x="457" y="29"/>
                </a:cxn>
                <a:cxn ang="0">
                  <a:pos x="428" y="35"/>
                </a:cxn>
                <a:cxn ang="0">
                  <a:pos x="394" y="35"/>
                </a:cxn>
                <a:cxn ang="0">
                  <a:pos x="369" y="45"/>
                </a:cxn>
                <a:cxn ang="0">
                  <a:pos x="351" y="54"/>
                </a:cxn>
                <a:cxn ang="0">
                  <a:pos x="332" y="54"/>
                </a:cxn>
                <a:cxn ang="0">
                  <a:pos x="300" y="50"/>
                </a:cxn>
                <a:cxn ang="0">
                  <a:pos x="278" y="37"/>
                </a:cxn>
                <a:cxn ang="0">
                  <a:pos x="254" y="29"/>
                </a:cxn>
                <a:cxn ang="0">
                  <a:pos x="223" y="23"/>
                </a:cxn>
                <a:cxn ang="0">
                  <a:pos x="204" y="23"/>
                </a:cxn>
                <a:cxn ang="0">
                  <a:pos x="171" y="29"/>
                </a:cxn>
                <a:cxn ang="0">
                  <a:pos x="129" y="35"/>
                </a:cxn>
                <a:cxn ang="0">
                  <a:pos x="88" y="12"/>
                </a:cxn>
                <a:cxn ang="0">
                  <a:pos x="62" y="2"/>
                </a:cxn>
                <a:cxn ang="0">
                  <a:pos x="42" y="12"/>
                </a:cxn>
                <a:cxn ang="0">
                  <a:pos x="18" y="12"/>
                </a:cxn>
                <a:cxn ang="0">
                  <a:pos x="0" y="43"/>
                </a:cxn>
                <a:cxn ang="0">
                  <a:pos x="23" y="83"/>
                </a:cxn>
                <a:cxn ang="0">
                  <a:pos x="48" y="112"/>
                </a:cxn>
                <a:cxn ang="0">
                  <a:pos x="58" y="133"/>
                </a:cxn>
                <a:cxn ang="0">
                  <a:pos x="73" y="158"/>
                </a:cxn>
                <a:cxn ang="0">
                  <a:pos x="94" y="183"/>
                </a:cxn>
                <a:cxn ang="0">
                  <a:pos x="94" y="196"/>
                </a:cxn>
                <a:cxn ang="0">
                  <a:pos x="94" y="211"/>
                </a:cxn>
                <a:cxn ang="0">
                  <a:pos x="94" y="229"/>
                </a:cxn>
                <a:cxn ang="0">
                  <a:pos x="94" y="256"/>
                </a:cxn>
                <a:cxn ang="0">
                  <a:pos x="94" y="306"/>
                </a:cxn>
                <a:cxn ang="0">
                  <a:pos x="94" y="334"/>
                </a:cxn>
                <a:cxn ang="0">
                  <a:pos x="94" y="357"/>
                </a:cxn>
                <a:cxn ang="0">
                  <a:pos x="112" y="388"/>
                </a:cxn>
                <a:cxn ang="0">
                  <a:pos x="140" y="411"/>
                </a:cxn>
                <a:cxn ang="0">
                  <a:pos x="159" y="411"/>
                </a:cxn>
                <a:cxn ang="0">
                  <a:pos x="188" y="428"/>
                </a:cxn>
                <a:cxn ang="0">
                  <a:pos x="217" y="434"/>
                </a:cxn>
                <a:cxn ang="0">
                  <a:pos x="234" y="434"/>
                </a:cxn>
                <a:cxn ang="0">
                  <a:pos x="265" y="430"/>
                </a:cxn>
                <a:cxn ang="0">
                  <a:pos x="282" y="423"/>
                </a:cxn>
                <a:cxn ang="0">
                  <a:pos x="307" y="390"/>
                </a:cxn>
                <a:cxn ang="0">
                  <a:pos x="323" y="382"/>
                </a:cxn>
                <a:cxn ang="0">
                  <a:pos x="323" y="357"/>
                </a:cxn>
                <a:cxn ang="0">
                  <a:pos x="317" y="329"/>
                </a:cxn>
                <a:cxn ang="0">
                  <a:pos x="323" y="296"/>
                </a:cxn>
                <a:cxn ang="0">
                  <a:pos x="323" y="265"/>
                </a:cxn>
                <a:cxn ang="0">
                  <a:pos x="323" y="229"/>
                </a:cxn>
                <a:cxn ang="0">
                  <a:pos x="323" y="210"/>
                </a:cxn>
                <a:cxn ang="0">
                  <a:pos x="323" y="177"/>
                </a:cxn>
                <a:cxn ang="0">
                  <a:pos x="346" y="160"/>
                </a:cxn>
                <a:cxn ang="0">
                  <a:pos x="351" y="129"/>
                </a:cxn>
                <a:cxn ang="0">
                  <a:pos x="351" y="116"/>
                </a:cxn>
                <a:cxn ang="0">
                  <a:pos x="355" y="85"/>
                </a:cxn>
                <a:cxn ang="0">
                  <a:pos x="371" y="66"/>
                </a:cxn>
                <a:cxn ang="0">
                  <a:pos x="394" y="60"/>
                </a:cxn>
                <a:cxn ang="0">
                  <a:pos x="426" y="48"/>
                </a:cxn>
                <a:cxn ang="0">
                  <a:pos x="455" y="60"/>
                </a:cxn>
                <a:cxn ang="0">
                  <a:pos x="470" y="54"/>
                </a:cxn>
                <a:cxn ang="0">
                  <a:pos x="490" y="46"/>
                </a:cxn>
                <a:cxn ang="0">
                  <a:pos x="499" y="35"/>
                </a:cxn>
              </a:cxnLst>
              <a:rect l="0" t="0" r="r" b="b"/>
              <a:pathLst>
                <a:path w="499" h="434">
                  <a:moveTo>
                    <a:pt x="499" y="35"/>
                  </a:moveTo>
                  <a:lnTo>
                    <a:pt x="482" y="35"/>
                  </a:lnTo>
                  <a:lnTo>
                    <a:pt x="465" y="35"/>
                  </a:lnTo>
                  <a:lnTo>
                    <a:pt x="457" y="29"/>
                  </a:lnTo>
                  <a:lnTo>
                    <a:pt x="445" y="29"/>
                  </a:lnTo>
                  <a:lnTo>
                    <a:pt x="440" y="33"/>
                  </a:lnTo>
                  <a:lnTo>
                    <a:pt x="434" y="35"/>
                  </a:lnTo>
                  <a:lnTo>
                    <a:pt x="428" y="35"/>
                  </a:lnTo>
                  <a:lnTo>
                    <a:pt x="426" y="35"/>
                  </a:lnTo>
                  <a:lnTo>
                    <a:pt x="422" y="35"/>
                  </a:lnTo>
                  <a:lnTo>
                    <a:pt x="409" y="35"/>
                  </a:lnTo>
                  <a:lnTo>
                    <a:pt x="394" y="35"/>
                  </a:lnTo>
                  <a:lnTo>
                    <a:pt x="388" y="43"/>
                  </a:lnTo>
                  <a:lnTo>
                    <a:pt x="378" y="43"/>
                  </a:lnTo>
                  <a:lnTo>
                    <a:pt x="371" y="43"/>
                  </a:lnTo>
                  <a:lnTo>
                    <a:pt x="369" y="45"/>
                  </a:lnTo>
                  <a:lnTo>
                    <a:pt x="367" y="46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1" y="54"/>
                  </a:lnTo>
                  <a:lnTo>
                    <a:pt x="346" y="54"/>
                  </a:lnTo>
                  <a:lnTo>
                    <a:pt x="340" y="54"/>
                  </a:lnTo>
                  <a:lnTo>
                    <a:pt x="334" y="54"/>
                  </a:lnTo>
                  <a:lnTo>
                    <a:pt x="332" y="54"/>
                  </a:lnTo>
                  <a:lnTo>
                    <a:pt x="328" y="54"/>
                  </a:lnTo>
                  <a:lnTo>
                    <a:pt x="317" y="54"/>
                  </a:lnTo>
                  <a:lnTo>
                    <a:pt x="305" y="54"/>
                  </a:lnTo>
                  <a:lnTo>
                    <a:pt x="300" y="50"/>
                  </a:lnTo>
                  <a:lnTo>
                    <a:pt x="294" y="43"/>
                  </a:lnTo>
                  <a:lnTo>
                    <a:pt x="282" y="43"/>
                  </a:lnTo>
                  <a:lnTo>
                    <a:pt x="280" y="39"/>
                  </a:lnTo>
                  <a:lnTo>
                    <a:pt x="278" y="37"/>
                  </a:lnTo>
                  <a:lnTo>
                    <a:pt x="275" y="35"/>
                  </a:lnTo>
                  <a:lnTo>
                    <a:pt x="271" y="35"/>
                  </a:lnTo>
                  <a:lnTo>
                    <a:pt x="265" y="29"/>
                  </a:lnTo>
                  <a:lnTo>
                    <a:pt x="254" y="29"/>
                  </a:lnTo>
                  <a:lnTo>
                    <a:pt x="244" y="27"/>
                  </a:lnTo>
                  <a:lnTo>
                    <a:pt x="234" y="23"/>
                  </a:lnTo>
                  <a:lnTo>
                    <a:pt x="229" y="23"/>
                  </a:lnTo>
                  <a:lnTo>
                    <a:pt x="223" y="23"/>
                  </a:lnTo>
                  <a:lnTo>
                    <a:pt x="217" y="23"/>
                  </a:lnTo>
                  <a:lnTo>
                    <a:pt x="211" y="23"/>
                  </a:lnTo>
                  <a:lnTo>
                    <a:pt x="206" y="23"/>
                  </a:lnTo>
                  <a:lnTo>
                    <a:pt x="204" y="23"/>
                  </a:lnTo>
                  <a:lnTo>
                    <a:pt x="200" y="23"/>
                  </a:lnTo>
                  <a:lnTo>
                    <a:pt x="188" y="23"/>
                  </a:lnTo>
                  <a:lnTo>
                    <a:pt x="177" y="23"/>
                  </a:lnTo>
                  <a:lnTo>
                    <a:pt x="171" y="29"/>
                  </a:lnTo>
                  <a:lnTo>
                    <a:pt x="159" y="29"/>
                  </a:lnTo>
                  <a:lnTo>
                    <a:pt x="148" y="29"/>
                  </a:lnTo>
                  <a:lnTo>
                    <a:pt x="140" y="35"/>
                  </a:lnTo>
                  <a:lnTo>
                    <a:pt x="129" y="35"/>
                  </a:lnTo>
                  <a:lnTo>
                    <a:pt x="117" y="35"/>
                  </a:lnTo>
                  <a:lnTo>
                    <a:pt x="100" y="29"/>
                  </a:lnTo>
                  <a:lnTo>
                    <a:pt x="92" y="22"/>
                  </a:lnTo>
                  <a:lnTo>
                    <a:pt x="88" y="12"/>
                  </a:lnTo>
                  <a:lnTo>
                    <a:pt x="77" y="6"/>
                  </a:lnTo>
                  <a:lnTo>
                    <a:pt x="65" y="6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8" y="4"/>
                  </a:lnTo>
                  <a:lnTo>
                    <a:pt x="42" y="12"/>
                  </a:lnTo>
                  <a:lnTo>
                    <a:pt x="35" y="12"/>
                  </a:lnTo>
                  <a:lnTo>
                    <a:pt x="33" y="12"/>
                  </a:lnTo>
                  <a:lnTo>
                    <a:pt x="29" y="12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9"/>
                  </a:lnTo>
                  <a:lnTo>
                    <a:pt x="0" y="43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23" y="71"/>
                  </a:lnTo>
                  <a:lnTo>
                    <a:pt x="23" y="83"/>
                  </a:lnTo>
                  <a:lnTo>
                    <a:pt x="29" y="89"/>
                  </a:lnTo>
                  <a:lnTo>
                    <a:pt x="42" y="94"/>
                  </a:lnTo>
                  <a:lnTo>
                    <a:pt x="48" y="100"/>
                  </a:lnTo>
                  <a:lnTo>
                    <a:pt x="48" y="112"/>
                  </a:lnTo>
                  <a:lnTo>
                    <a:pt x="50" y="121"/>
                  </a:lnTo>
                  <a:lnTo>
                    <a:pt x="54" y="129"/>
                  </a:lnTo>
                  <a:lnTo>
                    <a:pt x="56" y="131"/>
                  </a:lnTo>
                  <a:lnTo>
                    <a:pt x="58" y="133"/>
                  </a:lnTo>
                  <a:lnTo>
                    <a:pt x="60" y="137"/>
                  </a:lnTo>
                  <a:lnTo>
                    <a:pt x="60" y="140"/>
                  </a:lnTo>
                  <a:lnTo>
                    <a:pt x="71" y="154"/>
                  </a:lnTo>
                  <a:lnTo>
                    <a:pt x="73" y="158"/>
                  </a:lnTo>
                  <a:lnTo>
                    <a:pt x="77" y="164"/>
                  </a:lnTo>
                  <a:lnTo>
                    <a:pt x="83" y="169"/>
                  </a:lnTo>
                  <a:lnTo>
                    <a:pt x="88" y="171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8"/>
                  </a:lnTo>
                  <a:lnTo>
                    <a:pt x="94" y="194"/>
                  </a:lnTo>
                  <a:lnTo>
                    <a:pt x="94" y="196"/>
                  </a:lnTo>
                  <a:lnTo>
                    <a:pt x="94" y="200"/>
                  </a:lnTo>
                  <a:lnTo>
                    <a:pt x="94" y="206"/>
                  </a:lnTo>
                  <a:lnTo>
                    <a:pt x="94" y="210"/>
                  </a:lnTo>
                  <a:lnTo>
                    <a:pt x="94" y="211"/>
                  </a:lnTo>
                  <a:lnTo>
                    <a:pt x="94" y="217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4" y="229"/>
                  </a:lnTo>
                  <a:lnTo>
                    <a:pt x="94" y="233"/>
                  </a:lnTo>
                  <a:lnTo>
                    <a:pt x="94" y="235"/>
                  </a:lnTo>
                  <a:lnTo>
                    <a:pt x="94" y="240"/>
                  </a:lnTo>
                  <a:lnTo>
                    <a:pt x="94" y="256"/>
                  </a:lnTo>
                  <a:lnTo>
                    <a:pt x="94" y="271"/>
                  </a:lnTo>
                  <a:lnTo>
                    <a:pt x="94" y="282"/>
                  </a:lnTo>
                  <a:lnTo>
                    <a:pt x="94" y="294"/>
                  </a:lnTo>
                  <a:lnTo>
                    <a:pt x="94" y="306"/>
                  </a:lnTo>
                  <a:lnTo>
                    <a:pt x="94" y="317"/>
                  </a:lnTo>
                  <a:lnTo>
                    <a:pt x="94" y="323"/>
                  </a:lnTo>
                  <a:lnTo>
                    <a:pt x="94" y="329"/>
                  </a:lnTo>
                  <a:lnTo>
                    <a:pt x="94" y="334"/>
                  </a:lnTo>
                  <a:lnTo>
                    <a:pt x="94" y="338"/>
                  </a:lnTo>
                  <a:lnTo>
                    <a:pt x="94" y="340"/>
                  </a:lnTo>
                  <a:lnTo>
                    <a:pt x="94" y="346"/>
                  </a:lnTo>
                  <a:lnTo>
                    <a:pt x="94" y="357"/>
                  </a:lnTo>
                  <a:lnTo>
                    <a:pt x="94" y="371"/>
                  </a:lnTo>
                  <a:lnTo>
                    <a:pt x="100" y="382"/>
                  </a:lnTo>
                  <a:lnTo>
                    <a:pt x="106" y="384"/>
                  </a:lnTo>
                  <a:lnTo>
                    <a:pt x="112" y="388"/>
                  </a:lnTo>
                  <a:lnTo>
                    <a:pt x="115" y="396"/>
                  </a:lnTo>
                  <a:lnTo>
                    <a:pt x="123" y="405"/>
                  </a:lnTo>
                  <a:lnTo>
                    <a:pt x="135" y="411"/>
                  </a:lnTo>
                  <a:lnTo>
                    <a:pt x="140" y="411"/>
                  </a:lnTo>
                  <a:lnTo>
                    <a:pt x="148" y="411"/>
                  </a:lnTo>
                  <a:lnTo>
                    <a:pt x="154" y="411"/>
                  </a:lnTo>
                  <a:lnTo>
                    <a:pt x="156" y="411"/>
                  </a:lnTo>
                  <a:lnTo>
                    <a:pt x="159" y="411"/>
                  </a:lnTo>
                  <a:lnTo>
                    <a:pt x="171" y="411"/>
                  </a:lnTo>
                  <a:lnTo>
                    <a:pt x="183" y="411"/>
                  </a:lnTo>
                  <a:lnTo>
                    <a:pt x="183" y="423"/>
                  </a:lnTo>
                  <a:lnTo>
                    <a:pt x="188" y="428"/>
                  </a:lnTo>
                  <a:lnTo>
                    <a:pt x="198" y="428"/>
                  </a:lnTo>
                  <a:lnTo>
                    <a:pt x="206" y="428"/>
                  </a:lnTo>
                  <a:lnTo>
                    <a:pt x="211" y="434"/>
                  </a:lnTo>
                  <a:lnTo>
                    <a:pt x="217" y="434"/>
                  </a:lnTo>
                  <a:lnTo>
                    <a:pt x="223" y="434"/>
                  </a:lnTo>
                  <a:lnTo>
                    <a:pt x="229" y="434"/>
                  </a:lnTo>
                  <a:lnTo>
                    <a:pt x="232" y="434"/>
                  </a:lnTo>
                  <a:lnTo>
                    <a:pt x="234" y="434"/>
                  </a:lnTo>
                  <a:lnTo>
                    <a:pt x="240" y="434"/>
                  </a:lnTo>
                  <a:lnTo>
                    <a:pt x="254" y="434"/>
                  </a:lnTo>
                  <a:lnTo>
                    <a:pt x="265" y="434"/>
                  </a:lnTo>
                  <a:lnTo>
                    <a:pt x="265" y="430"/>
                  </a:lnTo>
                  <a:lnTo>
                    <a:pt x="269" y="428"/>
                  </a:lnTo>
                  <a:lnTo>
                    <a:pt x="273" y="428"/>
                  </a:lnTo>
                  <a:lnTo>
                    <a:pt x="277" y="428"/>
                  </a:lnTo>
                  <a:lnTo>
                    <a:pt x="282" y="423"/>
                  </a:lnTo>
                  <a:lnTo>
                    <a:pt x="288" y="411"/>
                  </a:lnTo>
                  <a:lnTo>
                    <a:pt x="294" y="394"/>
                  </a:lnTo>
                  <a:lnTo>
                    <a:pt x="305" y="394"/>
                  </a:lnTo>
                  <a:lnTo>
                    <a:pt x="307" y="390"/>
                  </a:lnTo>
                  <a:lnTo>
                    <a:pt x="309" y="388"/>
                  </a:lnTo>
                  <a:lnTo>
                    <a:pt x="313" y="388"/>
                  </a:lnTo>
                  <a:lnTo>
                    <a:pt x="317" y="388"/>
                  </a:lnTo>
                  <a:lnTo>
                    <a:pt x="323" y="382"/>
                  </a:lnTo>
                  <a:lnTo>
                    <a:pt x="323" y="378"/>
                  </a:lnTo>
                  <a:lnTo>
                    <a:pt x="323" y="377"/>
                  </a:lnTo>
                  <a:lnTo>
                    <a:pt x="323" y="371"/>
                  </a:lnTo>
                  <a:lnTo>
                    <a:pt x="323" y="357"/>
                  </a:lnTo>
                  <a:lnTo>
                    <a:pt x="323" y="346"/>
                  </a:lnTo>
                  <a:lnTo>
                    <a:pt x="317" y="340"/>
                  </a:lnTo>
                  <a:lnTo>
                    <a:pt x="317" y="334"/>
                  </a:lnTo>
                  <a:lnTo>
                    <a:pt x="317" y="329"/>
                  </a:lnTo>
                  <a:lnTo>
                    <a:pt x="317" y="321"/>
                  </a:lnTo>
                  <a:lnTo>
                    <a:pt x="317" y="311"/>
                  </a:lnTo>
                  <a:lnTo>
                    <a:pt x="323" y="306"/>
                  </a:lnTo>
                  <a:lnTo>
                    <a:pt x="323" y="296"/>
                  </a:lnTo>
                  <a:lnTo>
                    <a:pt x="323" y="288"/>
                  </a:lnTo>
                  <a:lnTo>
                    <a:pt x="328" y="282"/>
                  </a:lnTo>
                  <a:lnTo>
                    <a:pt x="328" y="271"/>
                  </a:lnTo>
                  <a:lnTo>
                    <a:pt x="323" y="265"/>
                  </a:lnTo>
                  <a:lnTo>
                    <a:pt x="323" y="256"/>
                  </a:lnTo>
                  <a:lnTo>
                    <a:pt x="323" y="246"/>
                  </a:lnTo>
                  <a:lnTo>
                    <a:pt x="323" y="238"/>
                  </a:lnTo>
                  <a:lnTo>
                    <a:pt x="323" y="229"/>
                  </a:lnTo>
                  <a:lnTo>
                    <a:pt x="323" y="223"/>
                  </a:lnTo>
                  <a:lnTo>
                    <a:pt x="323" y="217"/>
                  </a:lnTo>
                  <a:lnTo>
                    <a:pt x="323" y="211"/>
                  </a:lnTo>
                  <a:lnTo>
                    <a:pt x="323" y="210"/>
                  </a:lnTo>
                  <a:lnTo>
                    <a:pt x="323" y="206"/>
                  </a:lnTo>
                  <a:lnTo>
                    <a:pt x="323" y="200"/>
                  </a:lnTo>
                  <a:lnTo>
                    <a:pt x="323" y="188"/>
                  </a:lnTo>
                  <a:lnTo>
                    <a:pt x="323" y="177"/>
                  </a:lnTo>
                  <a:lnTo>
                    <a:pt x="332" y="177"/>
                  </a:lnTo>
                  <a:lnTo>
                    <a:pt x="340" y="177"/>
                  </a:lnTo>
                  <a:lnTo>
                    <a:pt x="346" y="171"/>
                  </a:lnTo>
                  <a:lnTo>
                    <a:pt x="346" y="160"/>
                  </a:lnTo>
                  <a:lnTo>
                    <a:pt x="359" y="160"/>
                  </a:lnTo>
                  <a:lnTo>
                    <a:pt x="359" y="146"/>
                  </a:lnTo>
                  <a:lnTo>
                    <a:pt x="359" y="135"/>
                  </a:lnTo>
                  <a:lnTo>
                    <a:pt x="351" y="129"/>
                  </a:lnTo>
                  <a:lnTo>
                    <a:pt x="351" y="127"/>
                  </a:lnTo>
                  <a:lnTo>
                    <a:pt x="351" y="123"/>
                  </a:lnTo>
                  <a:lnTo>
                    <a:pt x="351" y="117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0"/>
                  </a:lnTo>
                  <a:lnTo>
                    <a:pt x="351" y="89"/>
                  </a:lnTo>
                  <a:lnTo>
                    <a:pt x="355" y="85"/>
                  </a:lnTo>
                  <a:lnTo>
                    <a:pt x="357" y="79"/>
                  </a:lnTo>
                  <a:lnTo>
                    <a:pt x="357" y="71"/>
                  </a:lnTo>
                  <a:lnTo>
                    <a:pt x="359" y="66"/>
                  </a:lnTo>
                  <a:lnTo>
                    <a:pt x="371" y="66"/>
                  </a:lnTo>
                  <a:lnTo>
                    <a:pt x="376" y="60"/>
                  </a:lnTo>
                  <a:lnTo>
                    <a:pt x="378" y="60"/>
                  </a:lnTo>
                  <a:lnTo>
                    <a:pt x="382" y="60"/>
                  </a:lnTo>
                  <a:lnTo>
                    <a:pt x="394" y="60"/>
                  </a:lnTo>
                  <a:lnTo>
                    <a:pt x="405" y="60"/>
                  </a:lnTo>
                  <a:lnTo>
                    <a:pt x="411" y="50"/>
                  </a:lnTo>
                  <a:lnTo>
                    <a:pt x="417" y="48"/>
                  </a:lnTo>
                  <a:lnTo>
                    <a:pt x="426" y="48"/>
                  </a:lnTo>
                  <a:lnTo>
                    <a:pt x="434" y="48"/>
                  </a:lnTo>
                  <a:lnTo>
                    <a:pt x="440" y="50"/>
                  </a:lnTo>
                  <a:lnTo>
                    <a:pt x="445" y="60"/>
                  </a:lnTo>
                  <a:lnTo>
                    <a:pt x="455" y="60"/>
                  </a:lnTo>
                  <a:lnTo>
                    <a:pt x="465" y="60"/>
                  </a:lnTo>
                  <a:lnTo>
                    <a:pt x="465" y="56"/>
                  </a:lnTo>
                  <a:lnTo>
                    <a:pt x="466" y="54"/>
                  </a:lnTo>
                  <a:lnTo>
                    <a:pt x="470" y="54"/>
                  </a:lnTo>
                  <a:lnTo>
                    <a:pt x="476" y="54"/>
                  </a:lnTo>
                  <a:lnTo>
                    <a:pt x="482" y="48"/>
                  </a:lnTo>
                  <a:lnTo>
                    <a:pt x="484" y="46"/>
                  </a:lnTo>
                  <a:lnTo>
                    <a:pt x="490" y="46"/>
                  </a:lnTo>
                  <a:lnTo>
                    <a:pt x="493" y="45"/>
                  </a:lnTo>
                  <a:lnTo>
                    <a:pt x="495" y="43"/>
                  </a:lnTo>
                  <a:lnTo>
                    <a:pt x="497" y="39"/>
                  </a:lnTo>
                  <a:lnTo>
                    <a:pt x="499" y="3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3" name="Freeform 9"/>
            <p:cNvSpPr>
              <a:spLocks/>
            </p:cNvSpPr>
            <p:nvPr/>
          </p:nvSpPr>
          <p:spPr bwMode="auto">
            <a:xfrm>
              <a:off x="1578" y="2532"/>
              <a:ext cx="465" cy="458"/>
            </a:xfrm>
            <a:custGeom>
              <a:avLst/>
              <a:gdLst/>
              <a:ahLst/>
              <a:cxnLst>
                <a:cxn ang="0">
                  <a:pos x="6" y="370"/>
                </a:cxn>
                <a:cxn ang="0">
                  <a:pos x="29" y="341"/>
                </a:cxn>
                <a:cxn ang="0">
                  <a:pos x="29" y="293"/>
                </a:cxn>
                <a:cxn ang="0">
                  <a:pos x="18" y="259"/>
                </a:cxn>
                <a:cxn ang="0">
                  <a:pos x="23" y="247"/>
                </a:cxn>
                <a:cxn ang="0">
                  <a:pos x="29" y="236"/>
                </a:cxn>
                <a:cxn ang="0">
                  <a:pos x="54" y="211"/>
                </a:cxn>
                <a:cxn ang="0">
                  <a:pos x="83" y="193"/>
                </a:cxn>
                <a:cxn ang="0">
                  <a:pos x="62" y="161"/>
                </a:cxn>
                <a:cxn ang="0">
                  <a:pos x="54" y="124"/>
                </a:cxn>
                <a:cxn ang="0">
                  <a:pos x="65" y="94"/>
                </a:cxn>
                <a:cxn ang="0">
                  <a:pos x="60" y="61"/>
                </a:cxn>
                <a:cxn ang="0">
                  <a:pos x="54" y="42"/>
                </a:cxn>
                <a:cxn ang="0">
                  <a:pos x="48" y="24"/>
                </a:cxn>
                <a:cxn ang="0">
                  <a:pos x="83" y="9"/>
                </a:cxn>
                <a:cxn ang="0">
                  <a:pos x="117" y="0"/>
                </a:cxn>
                <a:cxn ang="0">
                  <a:pos x="159" y="5"/>
                </a:cxn>
                <a:cxn ang="0">
                  <a:pos x="188" y="24"/>
                </a:cxn>
                <a:cxn ang="0">
                  <a:pos x="211" y="53"/>
                </a:cxn>
                <a:cxn ang="0">
                  <a:pos x="229" y="74"/>
                </a:cxn>
                <a:cxn ang="0">
                  <a:pos x="259" y="94"/>
                </a:cxn>
                <a:cxn ang="0">
                  <a:pos x="294" y="82"/>
                </a:cxn>
                <a:cxn ang="0">
                  <a:pos x="317" y="65"/>
                </a:cxn>
                <a:cxn ang="0">
                  <a:pos x="346" y="53"/>
                </a:cxn>
                <a:cxn ang="0">
                  <a:pos x="380" y="71"/>
                </a:cxn>
                <a:cxn ang="0">
                  <a:pos x="382" y="99"/>
                </a:cxn>
                <a:cxn ang="0">
                  <a:pos x="388" y="138"/>
                </a:cxn>
                <a:cxn ang="0">
                  <a:pos x="403" y="165"/>
                </a:cxn>
                <a:cxn ang="0">
                  <a:pos x="411" y="182"/>
                </a:cxn>
                <a:cxn ang="0">
                  <a:pos x="405" y="193"/>
                </a:cxn>
                <a:cxn ang="0">
                  <a:pos x="440" y="188"/>
                </a:cxn>
                <a:cxn ang="0">
                  <a:pos x="457" y="216"/>
                </a:cxn>
                <a:cxn ang="0">
                  <a:pos x="457" y="255"/>
                </a:cxn>
                <a:cxn ang="0">
                  <a:pos x="457" y="282"/>
                </a:cxn>
                <a:cxn ang="0">
                  <a:pos x="411" y="282"/>
                </a:cxn>
                <a:cxn ang="0">
                  <a:pos x="388" y="305"/>
                </a:cxn>
                <a:cxn ang="0">
                  <a:pos x="394" y="347"/>
                </a:cxn>
                <a:cxn ang="0">
                  <a:pos x="399" y="379"/>
                </a:cxn>
                <a:cxn ang="0">
                  <a:pos x="395" y="393"/>
                </a:cxn>
                <a:cxn ang="0">
                  <a:pos x="422" y="410"/>
                </a:cxn>
                <a:cxn ang="0">
                  <a:pos x="440" y="439"/>
                </a:cxn>
                <a:cxn ang="0">
                  <a:pos x="399" y="447"/>
                </a:cxn>
                <a:cxn ang="0">
                  <a:pos x="359" y="458"/>
                </a:cxn>
                <a:cxn ang="0">
                  <a:pos x="317" y="452"/>
                </a:cxn>
                <a:cxn ang="0">
                  <a:pos x="282" y="447"/>
                </a:cxn>
                <a:cxn ang="0">
                  <a:pos x="246" y="433"/>
                </a:cxn>
                <a:cxn ang="0">
                  <a:pos x="204" y="433"/>
                </a:cxn>
                <a:cxn ang="0">
                  <a:pos x="171" y="433"/>
                </a:cxn>
                <a:cxn ang="0">
                  <a:pos x="129" y="439"/>
                </a:cxn>
                <a:cxn ang="0">
                  <a:pos x="110" y="433"/>
                </a:cxn>
                <a:cxn ang="0">
                  <a:pos x="83" y="416"/>
                </a:cxn>
                <a:cxn ang="0">
                  <a:pos x="54" y="404"/>
                </a:cxn>
                <a:cxn ang="0">
                  <a:pos x="21" y="410"/>
                </a:cxn>
              </a:cxnLst>
              <a:rect l="0" t="0" r="r" b="b"/>
              <a:pathLst>
                <a:path w="465" h="458">
                  <a:moveTo>
                    <a:pt x="0" y="410"/>
                  </a:moveTo>
                  <a:lnTo>
                    <a:pt x="4" y="397"/>
                  </a:lnTo>
                  <a:lnTo>
                    <a:pt x="6" y="381"/>
                  </a:lnTo>
                  <a:lnTo>
                    <a:pt x="6" y="370"/>
                  </a:lnTo>
                  <a:lnTo>
                    <a:pt x="12" y="364"/>
                  </a:lnTo>
                  <a:lnTo>
                    <a:pt x="23" y="358"/>
                  </a:lnTo>
                  <a:lnTo>
                    <a:pt x="29" y="353"/>
                  </a:lnTo>
                  <a:lnTo>
                    <a:pt x="29" y="341"/>
                  </a:lnTo>
                  <a:lnTo>
                    <a:pt x="29" y="328"/>
                  </a:lnTo>
                  <a:lnTo>
                    <a:pt x="29" y="316"/>
                  </a:lnTo>
                  <a:lnTo>
                    <a:pt x="29" y="305"/>
                  </a:lnTo>
                  <a:lnTo>
                    <a:pt x="29" y="293"/>
                  </a:lnTo>
                  <a:lnTo>
                    <a:pt x="27" y="285"/>
                  </a:lnTo>
                  <a:lnTo>
                    <a:pt x="23" y="276"/>
                  </a:lnTo>
                  <a:lnTo>
                    <a:pt x="21" y="266"/>
                  </a:lnTo>
                  <a:lnTo>
                    <a:pt x="18" y="259"/>
                  </a:lnTo>
                  <a:lnTo>
                    <a:pt x="21" y="257"/>
                  </a:lnTo>
                  <a:lnTo>
                    <a:pt x="23" y="255"/>
                  </a:lnTo>
                  <a:lnTo>
                    <a:pt x="23" y="251"/>
                  </a:lnTo>
                  <a:lnTo>
                    <a:pt x="23" y="247"/>
                  </a:lnTo>
                  <a:lnTo>
                    <a:pt x="27" y="245"/>
                  </a:lnTo>
                  <a:lnTo>
                    <a:pt x="29" y="243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35" y="228"/>
                  </a:lnTo>
                  <a:lnTo>
                    <a:pt x="42" y="222"/>
                  </a:lnTo>
                  <a:lnTo>
                    <a:pt x="48" y="216"/>
                  </a:lnTo>
                  <a:lnTo>
                    <a:pt x="54" y="211"/>
                  </a:lnTo>
                  <a:lnTo>
                    <a:pt x="65" y="211"/>
                  </a:lnTo>
                  <a:lnTo>
                    <a:pt x="71" y="205"/>
                  </a:lnTo>
                  <a:lnTo>
                    <a:pt x="77" y="199"/>
                  </a:lnTo>
                  <a:lnTo>
                    <a:pt x="83" y="193"/>
                  </a:lnTo>
                  <a:lnTo>
                    <a:pt x="88" y="188"/>
                  </a:lnTo>
                  <a:lnTo>
                    <a:pt x="83" y="176"/>
                  </a:lnTo>
                  <a:lnTo>
                    <a:pt x="71" y="165"/>
                  </a:lnTo>
                  <a:lnTo>
                    <a:pt x="62" y="161"/>
                  </a:lnTo>
                  <a:lnTo>
                    <a:pt x="54" y="159"/>
                  </a:lnTo>
                  <a:lnTo>
                    <a:pt x="54" y="147"/>
                  </a:lnTo>
                  <a:lnTo>
                    <a:pt x="54" y="136"/>
                  </a:lnTo>
                  <a:lnTo>
                    <a:pt x="54" y="124"/>
                  </a:lnTo>
                  <a:lnTo>
                    <a:pt x="60" y="120"/>
                  </a:lnTo>
                  <a:lnTo>
                    <a:pt x="65" y="117"/>
                  </a:lnTo>
                  <a:lnTo>
                    <a:pt x="65" y="105"/>
                  </a:lnTo>
                  <a:lnTo>
                    <a:pt x="65" y="94"/>
                  </a:lnTo>
                  <a:lnTo>
                    <a:pt x="65" y="86"/>
                  </a:lnTo>
                  <a:lnTo>
                    <a:pt x="65" y="76"/>
                  </a:lnTo>
                  <a:lnTo>
                    <a:pt x="60" y="71"/>
                  </a:lnTo>
                  <a:lnTo>
                    <a:pt x="60" y="61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54" y="44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2" y="30"/>
                  </a:lnTo>
                  <a:lnTo>
                    <a:pt x="50" y="26"/>
                  </a:lnTo>
                  <a:lnTo>
                    <a:pt x="48" y="24"/>
                  </a:lnTo>
                  <a:lnTo>
                    <a:pt x="60" y="19"/>
                  </a:lnTo>
                  <a:lnTo>
                    <a:pt x="71" y="11"/>
                  </a:lnTo>
                  <a:lnTo>
                    <a:pt x="77" y="11"/>
                  </a:lnTo>
                  <a:lnTo>
                    <a:pt x="83" y="9"/>
                  </a:lnTo>
                  <a:lnTo>
                    <a:pt x="88" y="5"/>
                  </a:lnTo>
                  <a:lnTo>
                    <a:pt x="94" y="0"/>
                  </a:lnTo>
                  <a:lnTo>
                    <a:pt x="106" y="0"/>
                  </a:lnTo>
                  <a:lnTo>
                    <a:pt x="117" y="0"/>
                  </a:lnTo>
                  <a:lnTo>
                    <a:pt x="129" y="0"/>
                  </a:lnTo>
                  <a:lnTo>
                    <a:pt x="135" y="5"/>
                  </a:lnTo>
                  <a:lnTo>
                    <a:pt x="148" y="5"/>
                  </a:lnTo>
                  <a:lnTo>
                    <a:pt x="159" y="5"/>
                  </a:lnTo>
                  <a:lnTo>
                    <a:pt x="171" y="5"/>
                  </a:lnTo>
                  <a:lnTo>
                    <a:pt x="183" y="5"/>
                  </a:lnTo>
                  <a:lnTo>
                    <a:pt x="184" y="15"/>
                  </a:lnTo>
                  <a:lnTo>
                    <a:pt x="188" y="24"/>
                  </a:lnTo>
                  <a:lnTo>
                    <a:pt x="194" y="30"/>
                  </a:lnTo>
                  <a:lnTo>
                    <a:pt x="200" y="36"/>
                  </a:lnTo>
                  <a:lnTo>
                    <a:pt x="207" y="44"/>
                  </a:lnTo>
                  <a:lnTo>
                    <a:pt x="211" y="53"/>
                  </a:lnTo>
                  <a:lnTo>
                    <a:pt x="217" y="55"/>
                  </a:lnTo>
                  <a:lnTo>
                    <a:pt x="223" y="59"/>
                  </a:lnTo>
                  <a:lnTo>
                    <a:pt x="223" y="71"/>
                  </a:lnTo>
                  <a:lnTo>
                    <a:pt x="229" y="74"/>
                  </a:lnTo>
                  <a:lnTo>
                    <a:pt x="234" y="76"/>
                  </a:lnTo>
                  <a:lnTo>
                    <a:pt x="234" y="88"/>
                  </a:lnTo>
                  <a:lnTo>
                    <a:pt x="246" y="94"/>
                  </a:lnTo>
                  <a:lnTo>
                    <a:pt x="259" y="94"/>
                  </a:lnTo>
                  <a:lnTo>
                    <a:pt x="271" y="94"/>
                  </a:lnTo>
                  <a:lnTo>
                    <a:pt x="277" y="86"/>
                  </a:lnTo>
                  <a:lnTo>
                    <a:pt x="282" y="82"/>
                  </a:lnTo>
                  <a:lnTo>
                    <a:pt x="294" y="82"/>
                  </a:lnTo>
                  <a:lnTo>
                    <a:pt x="303" y="82"/>
                  </a:lnTo>
                  <a:lnTo>
                    <a:pt x="311" y="82"/>
                  </a:lnTo>
                  <a:lnTo>
                    <a:pt x="311" y="71"/>
                  </a:lnTo>
                  <a:lnTo>
                    <a:pt x="317" y="65"/>
                  </a:lnTo>
                  <a:lnTo>
                    <a:pt x="317" y="53"/>
                  </a:lnTo>
                  <a:lnTo>
                    <a:pt x="328" y="53"/>
                  </a:lnTo>
                  <a:lnTo>
                    <a:pt x="338" y="53"/>
                  </a:lnTo>
                  <a:lnTo>
                    <a:pt x="346" y="53"/>
                  </a:lnTo>
                  <a:lnTo>
                    <a:pt x="351" y="65"/>
                  </a:lnTo>
                  <a:lnTo>
                    <a:pt x="365" y="65"/>
                  </a:lnTo>
                  <a:lnTo>
                    <a:pt x="376" y="65"/>
                  </a:lnTo>
                  <a:lnTo>
                    <a:pt x="380" y="71"/>
                  </a:lnTo>
                  <a:lnTo>
                    <a:pt x="388" y="76"/>
                  </a:lnTo>
                  <a:lnTo>
                    <a:pt x="388" y="86"/>
                  </a:lnTo>
                  <a:lnTo>
                    <a:pt x="388" y="94"/>
                  </a:lnTo>
                  <a:lnTo>
                    <a:pt x="382" y="99"/>
                  </a:lnTo>
                  <a:lnTo>
                    <a:pt x="382" y="111"/>
                  </a:lnTo>
                  <a:lnTo>
                    <a:pt x="382" y="124"/>
                  </a:lnTo>
                  <a:lnTo>
                    <a:pt x="382" y="136"/>
                  </a:lnTo>
                  <a:lnTo>
                    <a:pt x="388" y="138"/>
                  </a:lnTo>
                  <a:lnTo>
                    <a:pt x="394" y="142"/>
                  </a:lnTo>
                  <a:lnTo>
                    <a:pt x="399" y="153"/>
                  </a:lnTo>
                  <a:lnTo>
                    <a:pt x="399" y="165"/>
                  </a:lnTo>
                  <a:lnTo>
                    <a:pt x="403" y="165"/>
                  </a:lnTo>
                  <a:lnTo>
                    <a:pt x="405" y="168"/>
                  </a:lnTo>
                  <a:lnTo>
                    <a:pt x="405" y="172"/>
                  </a:lnTo>
                  <a:lnTo>
                    <a:pt x="405" y="176"/>
                  </a:lnTo>
                  <a:lnTo>
                    <a:pt x="411" y="182"/>
                  </a:lnTo>
                  <a:lnTo>
                    <a:pt x="411" y="186"/>
                  </a:lnTo>
                  <a:lnTo>
                    <a:pt x="411" y="189"/>
                  </a:lnTo>
                  <a:lnTo>
                    <a:pt x="409" y="193"/>
                  </a:lnTo>
                  <a:lnTo>
                    <a:pt x="405" y="193"/>
                  </a:lnTo>
                  <a:lnTo>
                    <a:pt x="415" y="193"/>
                  </a:lnTo>
                  <a:lnTo>
                    <a:pt x="422" y="193"/>
                  </a:lnTo>
                  <a:lnTo>
                    <a:pt x="428" y="188"/>
                  </a:lnTo>
                  <a:lnTo>
                    <a:pt x="440" y="188"/>
                  </a:lnTo>
                  <a:lnTo>
                    <a:pt x="451" y="188"/>
                  </a:lnTo>
                  <a:lnTo>
                    <a:pt x="457" y="193"/>
                  </a:lnTo>
                  <a:lnTo>
                    <a:pt x="465" y="205"/>
                  </a:lnTo>
                  <a:lnTo>
                    <a:pt x="457" y="216"/>
                  </a:lnTo>
                  <a:lnTo>
                    <a:pt x="457" y="228"/>
                  </a:lnTo>
                  <a:lnTo>
                    <a:pt x="457" y="241"/>
                  </a:lnTo>
                  <a:lnTo>
                    <a:pt x="457" y="253"/>
                  </a:lnTo>
                  <a:lnTo>
                    <a:pt x="457" y="255"/>
                  </a:lnTo>
                  <a:lnTo>
                    <a:pt x="457" y="259"/>
                  </a:lnTo>
                  <a:lnTo>
                    <a:pt x="461" y="276"/>
                  </a:lnTo>
                  <a:lnTo>
                    <a:pt x="465" y="287"/>
                  </a:lnTo>
                  <a:lnTo>
                    <a:pt x="457" y="282"/>
                  </a:lnTo>
                  <a:lnTo>
                    <a:pt x="445" y="282"/>
                  </a:lnTo>
                  <a:lnTo>
                    <a:pt x="434" y="282"/>
                  </a:lnTo>
                  <a:lnTo>
                    <a:pt x="422" y="282"/>
                  </a:lnTo>
                  <a:lnTo>
                    <a:pt x="411" y="282"/>
                  </a:lnTo>
                  <a:lnTo>
                    <a:pt x="399" y="282"/>
                  </a:lnTo>
                  <a:lnTo>
                    <a:pt x="388" y="282"/>
                  </a:lnTo>
                  <a:lnTo>
                    <a:pt x="388" y="293"/>
                  </a:lnTo>
                  <a:lnTo>
                    <a:pt x="388" y="305"/>
                  </a:lnTo>
                  <a:lnTo>
                    <a:pt x="388" y="316"/>
                  </a:lnTo>
                  <a:lnTo>
                    <a:pt x="388" y="328"/>
                  </a:lnTo>
                  <a:lnTo>
                    <a:pt x="394" y="333"/>
                  </a:lnTo>
                  <a:lnTo>
                    <a:pt x="394" y="347"/>
                  </a:lnTo>
                  <a:lnTo>
                    <a:pt x="394" y="358"/>
                  </a:lnTo>
                  <a:lnTo>
                    <a:pt x="394" y="370"/>
                  </a:lnTo>
                  <a:lnTo>
                    <a:pt x="399" y="376"/>
                  </a:lnTo>
                  <a:lnTo>
                    <a:pt x="399" y="379"/>
                  </a:lnTo>
                  <a:lnTo>
                    <a:pt x="399" y="383"/>
                  </a:lnTo>
                  <a:lnTo>
                    <a:pt x="397" y="385"/>
                  </a:lnTo>
                  <a:lnTo>
                    <a:pt x="394" y="387"/>
                  </a:lnTo>
                  <a:lnTo>
                    <a:pt x="395" y="393"/>
                  </a:lnTo>
                  <a:lnTo>
                    <a:pt x="399" y="399"/>
                  </a:lnTo>
                  <a:lnTo>
                    <a:pt x="411" y="399"/>
                  </a:lnTo>
                  <a:lnTo>
                    <a:pt x="417" y="404"/>
                  </a:lnTo>
                  <a:lnTo>
                    <a:pt x="422" y="410"/>
                  </a:lnTo>
                  <a:lnTo>
                    <a:pt x="428" y="422"/>
                  </a:lnTo>
                  <a:lnTo>
                    <a:pt x="428" y="433"/>
                  </a:lnTo>
                  <a:lnTo>
                    <a:pt x="434" y="437"/>
                  </a:lnTo>
                  <a:lnTo>
                    <a:pt x="440" y="439"/>
                  </a:lnTo>
                  <a:lnTo>
                    <a:pt x="428" y="439"/>
                  </a:lnTo>
                  <a:lnTo>
                    <a:pt x="417" y="439"/>
                  </a:lnTo>
                  <a:lnTo>
                    <a:pt x="405" y="439"/>
                  </a:lnTo>
                  <a:lnTo>
                    <a:pt x="399" y="447"/>
                  </a:lnTo>
                  <a:lnTo>
                    <a:pt x="388" y="447"/>
                  </a:lnTo>
                  <a:lnTo>
                    <a:pt x="378" y="449"/>
                  </a:lnTo>
                  <a:lnTo>
                    <a:pt x="365" y="452"/>
                  </a:lnTo>
                  <a:lnTo>
                    <a:pt x="359" y="458"/>
                  </a:lnTo>
                  <a:lnTo>
                    <a:pt x="346" y="458"/>
                  </a:lnTo>
                  <a:lnTo>
                    <a:pt x="338" y="458"/>
                  </a:lnTo>
                  <a:lnTo>
                    <a:pt x="328" y="458"/>
                  </a:lnTo>
                  <a:lnTo>
                    <a:pt x="317" y="452"/>
                  </a:lnTo>
                  <a:lnTo>
                    <a:pt x="309" y="452"/>
                  </a:lnTo>
                  <a:lnTo>
                    <a:pt x="300" y="452"/>
                  </a:lnTo>
                  <a:lnTo>
                    <a:pt x="290" y="449"/>
                  </a:lnTo>
                  <a:lnTo>
                    <a:pt x="282" y="447"/>
                  </a:lnTo>
                  <a:lnTo>
                    <a:pt x="273" y="443"/>
                  </a:lnTo>
                  <a:lnTo>
                    <a:pt x="265" y="439"/>
                  </a:lnTo>
                  <a:lnTo>
                    <a:pt x="259" y="433"/>
                  </a:lnTo>
                  <a:lnTo>
                    <a:pt x="246" y="433"/>
                  </a:lnTo>
                  <a:lnTo>
                    <a:pt x="234" y="433"/>
                  </a:lnTo>
                  <a:lnTo>
                    <a:pt x="223" y="433"/>
                  </a:lnTo>
                  <a:lnTo>
                    <a:pt x="211" y="433"/>
                  </a:lnTo>
                  <a:lnTo>
                    <a:pt x="204" y="433"/>
                  </a:lnTo>
                  <a:lnTo>
                    <a:pt x="194" y="433"/>
                  </a:lnTo>
                  <a:lnTo>
                    <a:pt x="188" y="427"/>
                  </a:lnTo>
                  <a:lnTo>
                    <a:pt x="177" y="427"/>
                  </a:lnTo>
                  <a:lnTo>
                    <a:pt x="171" y="433"/>
                  </a:lnTo>
                  <a:lnTo>
                    <a:pt x="159" y="433"/>
                  </a:lnTo>
                  <a:lnTo>
                    <a:pt x="148" y="433"/>
                  </a:lnTo>
                  <a:lnTo>
                    <a:pt x="135" y="433"/>
                  </a:lnTo>
                  <a:lnTo>
                    <a:pt x="129" y="439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3" y="435"/>
                  </a:lnTo>
                  <a:lnTo>
                    <a:pt x="110" y="433"/>
                  </a:lnTo>
                  <a:lnTo>
                    <a:pt x="106" y="433"/>
                  </a:lnTo>
                  <a:lnTo>
                    <a:pt x="100" y="422"/>
                  </a:lnTo>
                  <a:lnTo>
                    <a:pt x="92" y="420"/>
                  </a:lnTo>
                  <a:lnTo>
                    <a:pt x="83" y="416"/>
                  </a:lnTo>
                  <a:lnTo>
                    <a:pt x="79" y="410"/>
                  </a:lnTo>
                  <a:lnTo>
                    <a:pt x="77" y="404"/>
                  </a:lnTo>
                  <a:lnTo>
                    <a:pt x="65" y="404"/>
                  </a:lnTo>
                  <a:lnTo>
                    <a:pt x="54" y="404"/>
                  </a:lnTo>
                  <a:lnTo>
                    <a:pt x="48" y="410"/>
                  </a:lnTo>
                  <a:lnTo>
                    <a:pt x="42" y="416"/>
                  </a:lnTo>
                  <a:lnTo>
                    <a:pt x="29" y="410"/>
                  </a:lnTo>
                  <a:lnTo>
                    <a:pt x="21" y="410"/>
                  </a:lnTo>
                  <a:lnTo>
                    <a:pt x="12" y="410"/>
                  </a:lnTo>
                  <a:lnTo>
                    <a:pt x="0" y="4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4" name="Freeform 10"/>
            <p:cNvSpPr>
              <a:spLocks/>
            </p:cNvSpPr>
            <p:nvPr/>
          </p:nvSpPr>
          <p:spPr bwMode="auto">
            <a:xfrm>
              <a:off x="1578" y="2532"/>
              <a:ext cx="465" cy="458"/>
            </a:xfrm>
            <a:custGeom>
              <a:avLst/>
              <a:gdLst/>
              <a:ahLst/>
              <a:cxnLst>
                <a:cxn ang="0">
                  <a:pos x="6" y="370"/>
                </a:cxn>
                <a:cxn ang="0">
                  <a:pos x="29" y="341"/>
                </a:cxn>
                <a:cxn ang="0">
                  <a:pos x="29" y="293"/>
                </a:cxn>
                <a:cxn ang="0">
                  <a:pos x="18" y="259"/>
                </a:cxn>
                <a:cxn ang="0">
                  <a:pos x="23" y="247"/>
                </a:cxn>
                <a:cxn ang="0">
                  <a:pos x="29" y="236"/>
                </a:cxn>
                <a:cxn ang="0">
                  <a:pos x="54" y="211"/>
                </a:cxn>
                <a:cxn ang="0">
                  <a:pos x="83" y="193"/>
                </a:cxn>
                <a:cxn ang="0">
                  <a:pos x="62" y="161"/>
                </a:cxn>
                <a:cxn ang="0">
                  <a:pos x="54" y="124"/>
                </a:cxn>
                <a:cxn ang="0">
                  <a:pos x="65" y="94"/>
                </a:cxn>
                <a:cxn ang="0">
                  <a:pos x="60" y="61"/>
                </a:cxn>
                <a:cxn ang="0">
                  <a:pos x="54" y="42"/>
                </a:cxn>
                <a:cxn ang="0">
                  <a:pos x="48" y="24"/>
                </a:cxn>
                <a:cxn ang="0">
                  <a:pos x="83" y="9"/>
                </a:cxn>
                <a:cxn ang="0">
                  <a:pos x="117" y="0"/>
                </a:cxn>
                <a:cxn ang="0">
                  <a:pos x="159" y="5"/>
                </a:cxn>
                <a:cxn ang="0">
                  <a:pos x="188" y="24"/>
                </a:cxn>
                <a:cxn ang="0">
                  <a:pos x="211" y="53"/>
                </a:cxn>
                <a:cxn ang="0">
                  <a:pos x="229" y="74"/>
                </a:cxn>
                <a:cxn ang="0">
                  <a:pos x="259" y="94"/>
                </a:cxn>
                <a:cxn ang="0">
                  <a:pos x="294" y="82"/>
                </a:cxn>
                <a:cxn ang="0">
                  <a:pos x="317" y="65"/>
                </a:cxn>
                <a:cxn ang="0">
                  <a:pos x="346" y="53"/>
                </a:cxn>
                <a:cxn ang="0">
                  <a:pos x="380" y="71"/>
                </a:cxn>
                <a:cxn ang="0">
                  <a:pos x="382" y="99"/>
                </a:cxn>
                <a:cxn ang="0">
                  <a:pos x="388" y="138"/>
                </a:cxn>
                <a:cxn ang="0">
                  <a:pos x="403" y="165"/>
                </a:cxn>
                <a:cxn ang="0">
                  <a:pos x="411" y="182"/>
                </a:cxn>
                <a:cxn ang="0">
                  <a:pos x="405" y="193"/>
                </a:cxn>
                <a:cxn ang="0">
                  <a:pos x="440" y="188"/>
                </a:cxn>
                <a:cxn ang="0">
                  <a:pos x="457" y="216"/>
                </a:cxn>
                <a:cxn ang="0">
                  <a:pos x="457" y="255"/>
                </a:cxn>
                <a:cxn ang="0">
                  <a:pos x="457" y="282"/>
                </a:cxn>
                <a:cxn ang="0">
                  <a:pos x="411" y="282"/>
                </a:cxn>
                <a:cxn ang="0">
                  <a:pos x="388" y="305"/>
                </a:cxn>
                <a:cxn ang="0">
                  <a:pos x="394" y="347"/>
                </a:cxn>
                <a:cxn ang="0">
                  <a:pos x="399" y="379"/>
                </a:cxn>
                <a:cxn ang="0">
                  <a:pos x="395" y="393"/>
                </a:cxn>
                <a:cxn ang="0">
                  <a:pos x="422" y="410"/>
                </a:cxn>
                <a:cxn ang="0">
                  <a:pos x="440" y="439"/>
                </a:cxn>
                <a:cxn ang="0">
                  <a:pos x="399" y="447"/>
                </a:cxn>
                <a:cxn ang="0">
                  <a:pos x="359" y="458"/>
                </a:cxn>
                <a:cxn ang="0">
                  <a:pos x="317" y="452"/>
                </a:cxn>
                <a:cxn ang="0">
                  <a:pos x="282" y="447"/>
                </a:cxn>
                <a:cxn ang="0">
                  <a:pos x="246" y="433"/>
                </a:cxn>
                <a:cxn ang="0">
                  <a:pos x="204" y="433"/>
                </a:cxn>
                <a:cxn ang="0">
                  <a:pos x="171" y="433"/>
                </a:cxn>
                <a:cxn ang="0">
                  <a:pos x="129" y="439"/>
                </a:cxn>
                <a:cxn ang="0">
                  <a:pos x="110" y="433"/>
                </a:cxn>
                <a:cxn ang="0">
                  <a:pos x="83" y="416"/>
                </a:cxn>
                <a:cxn ang="0">
                  <a:pos x="54" y="404"/>
                </a:cxn>
                <a:cxn ang="0">
                  <a:pos x="21" y="410"/>
                </a:cxn>
              </a:cxnLst>
              <a:rect l="0" t="0" r="r" b="b"/>
              <a:pathLst>
                <a:path w="465" h="458">
                  <a:moveTo>
                    <a:pt x="0" y="410"/>
                  </a:moveTo>
                  <a:lnTo>
                    <a:pt x="4" y="397"/>
                  </a:lnTo>
                  <a:lnTo>
                    <a:pt x="6" y="381"/>
                  </a:lnTo>
                  <a:lnTo>
                    <a:pt x="6" y="370"/>
                  </a:lnTo>
                  <a:lnTo>
                    <a:pt x="12" y="364"/>
                  </a:lnTo>
                  <a:lnTo>
                    <a:pt x="23" y="358"/>
                  </a:lnTo>
                  <a:lnTo>
                    <a:pt x="29" y="353"/>
                  </a:lnTo>
                  <a:lnTo>
                    <a:pt x="29" y="341"/>
                  </a:lnTo>
                  <a:lnTo>
                    <a:pt x="29" y="328"/>
                  </a:lnTo>
                  <a:lnTo>
                    <a:pt x="29" y="316"/>
                  </a:lnTo>
                  <a:lnTo>
                    <a:pt x="29" y="305"/>
                  </a:lnTo>
                  <a:lnTo>
                    <a:pt x="29" y="293"/>
                  </a:lnTo>
                  <a:lnTo>
                    <a:pt x="27" y="285"/>
                  </a:lnTo>
                  <a:lnTo>
                    <a:pt x="23" y="276"/>
                  </a:lnTo>
                  <a:lnTo>
                    <a:pt x="21" y="266"/>
                  </a:lnTo>
                  <a:lnTo>
                    <a:pt x="18" y="259"/>
                  </a:lnTo>
                  <a:lnTo>
                    <a:pt x="21" y="257"/>
                  </a:lnTo>
                  <a:lnTo>
                    <a:pt x="23" y="255"/>
                  </a:lnTo>
                  <a:lnTo>
                    <a:pt x="23" y="251"/>
                  </a:lnTo>
                  <a:lnTo>
                    <a:pt x="23" y="247"/>
                  </a:lnTo>
                  <a:lnTo>
                    <a:pt x="27" y="245"/>
                  </a:lnTo>
                  <a:lnTo>
                    <a:pt x="29" y="243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35" y="228"/>
                  </a:lnTo>
                  <a:lnTo>
                    <a:pt x="42" y="222"/>
                  </a:lnTo>
                  <a:lnTo>
                    <a:pt x="48" y="216"/>
                  </a:lnTo>
                  <a:lnTo>
                    <a:pt x="54" y="211"/>
                  </a:lnTo>
                  <a:lnTo>
                    <a:pt x="65" y="211"/>
                  </a:lnTo>
                  <a:lnTo>
                    <a:pt x="71" y="205"/>
                  </a:lnTo>
                  <a:lnTo>
                    <a:pt x="77" y="199"/>
                  </a:lnTo>
                  <a:lnTo>
                    <a:pt x="83" y="193"/>
                  </a:lnTo>
                  <a:lnTo>
                    <a:pt x="88" y="188"/>
                  </a:lnTo>
                  <a:lnTo>
                    <a:pt x="83" y="176"/>
                  </a:lnTo>
                  <a:lnTo>
                    <a:pt x="71" y="165"/>
                  </a:lnTo>
                  <a:lnTo>
                    <a:pt x="62" y="161"/>
                  </a:lnTo>
                  <a:lnTo>
                    <a:pt x="54" y="159"/>
                  </a:lnTo>
                  <a:lnTo>
                    <a:pt x="54" y="147"/>
                  </a:lnTo>
                  <a:lnTo>
                    <a:pt x="54" y="136"/>
                  </a:lnTo>
                  <a:lnTo>
                    <a:pt x="54" y="124"/>
                  </a:lnTo>
                  <a:lnTo>
                    <a:pt x="60" y="120"/>
                  </a:lnTo>
                  <a:lnTo>
                    <a:pt x="65" y="117"/>
                  </a:lnTo>
                  <a:lnTo>
                    <a:pt x="65" y="105"/>
                  </a:lnTo>
                  <a:lnTo>
                    <a:pt x="65" y="94"/>
                  </a:lnTo>
                  <a:lnTo>
                    <a:pt x="65" y="86"/>
                  </a:lnTo>
                  <a:lnTo>
                    <a:pt x="65" y="76"/>
                  </a:lnTo>
                  <a:lnTo>
                    <a:pt x="60" y="71"/>
                  </a:lnTo>
                  <a:lnTo>
                    <a:pt x="60" y="61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54" y="44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2" y="30"/>
                  </a:lnTo>
                  <a:lnTo>
                    <a:pt x="50" y="26"/>
                  </a:lnTo>
                  <a:lnTo>
                    <a:pt x="48" y="24"/>
                  </a:lnTo>
                  <a:lnTo>
                    <a:pt x="60" y="19"/>
                  </a:lnTo>
                  <a:lnTo>
                    <a:pt x="71" y="11"/>
                  </a:lnTo>
                  <a:lnTo>
                    <a:pt x="77" y="11"/>
                  </a:lnTo>
                  <a:lnTo>
                    <a:pt x="83" y="9"/>
                  </a:lnTo>
                  <a:lnTo>
                    <a:pt x="88" y="5"/>
                  </a:lnTo>
                  <a:lnTo>
                    <a:pt x="94" y="0"/>
                  </a:lnTo>
                  <a:lnTo>
                    <a:pt x="106" y="0"/>
                  </a:lnTo>
                  <a:lnTo>
                    <a:pt x="117" y="0"/>
                  </a:lnTo>
                  <a:lnTo>
                    <a:pt x="129" y="0"/>
                  </a:lnTo>
                  <a:lnTo>
                    <a:pt x="135" y="5"/>
                  </a:lnTo>
                  <a:lnTo>
                    <a:pt x="148" y="5"/>
                  </a:lnTo>
                  <a:lnTo>
                    <a:pt x="159" y="5"/>
                  </a:lnTo>
                  <a:lnTo>
                    <a:pt x="171" y="5"/>
                  </a:lnTo>
                  <a:lnTo>
                    <a:pt x="183" y="5"/>
                  </a:lnTo>
                  <a:lnTo>
                    <a:pt x="184" y="15"/>
                  </a:lnTo>
                  <a:lnTo>
                    <a:pt x="188" y="24"/>
                  </a:lnTo>
                  <a:lnTo>
                    <a:pt x="194" y="30"/>
                  </a:lnTo>
                  <a:lnTo>
                    <a:pt x="200" y="36"/>
                  </a:lnTo>
                  <a:lnTo>
                    <a:pt x="207" y="44"/>
                  </a:lnTo>
                  <a:lnTo>
                    <a:pt x="211" y="53"/>
                  </a:lnTo>
                  <a:lnTo>
                    <a:pt x="217" y="55"/>
                  </a:lnTo>
                  <a:lnTo>
                    <a:pt x="223" y="59"/>
                  </a:lnTo>
                  <a:lnTo>
                    <a:pt x="223" y="71"/>
                  </a:lnTo>
                  <a:lnTo>
                    <a:pt x="229" y="74"/>
                  </a:lnTo>
                  <a:lnTo>
                    <a:pt x="234" y="76"/>
                  </a:lnTo>
                  <a:lnTo>
                    <a:pt x="234" y="88"/>
                  </a:lnTo>
                  <a:lnTo>
                    <a:pt x="246" y="94"/>
                  </a:lnTo>
                  <a:lnTo>
                    <a:pt x="259" y="94"/>
                  </a:lnTo>
                  <a:lnTo>
                    <a:pt x="271" y="94"/>
                  </a:lnTo>
                  <a:lnTo>
                    <a:pt x="277" y="86"/>
                  </a:lnTo>
                  <a:lnTo>
                    <a:pt x="282" y="82"/>
                  </a:lnTo>
                  <a:lnTo>
                    <a:pt x="294" y="82"/>
                  </a:lnTo>
                  <a:lnTo>
                    <a:pt x="303" y="82"/>
                  </a:lnTo>
                  <a:lnTo>
                    <a:pt x="311" y="82"/>
                  </a:lnTo>
                  <a:lnTo>
                    <a:pt x="311" y="71"/>
                  </a:lnTo>
                  <a:lnTo>
                    <a:pt x="317" y="65"/>
                  </a:lnTo>
                  <a:lnTo>
                    <a:pt x="317" y="53"/>
                  </a:lnTo>
                  <a:lnTo>
                    <a:pt x="328" y="53"/>
                  </a:lnTo>
                  <a:lnTo>
                    <a:pt x="338" y="53"/>
                  </a:lnTo>
                  <a:lnTo>
                    <a:pt x="346" y="53"/>
                  </a:lnTo>
                  <a:lnTo>
                    <a:pt x="351" y="65"/>
                  </a:lnTo>
                  <a:lnTo>
                    <a:pt x="365" y="65"/>
                  </a:lnTo>
                  <a:lnTo>
                    <a:pt x="376" y="65"/>
                  </a:lnTo>
                  <a:lnTo>
                    <a:pt x="380" y="71"/>
                  </a:lnTo>
                  <a:lnTo>
                    <a:pt x="388" y="76"/>
                  </a:lnTo>
                  <a:lnTo>
                    <a:pt x="388" y="86"/>
                  </a:lnTo>
                  <a:lnTo>
                    <a:pt x="388" y="94"/>
                  </a:lnTo>
                  <a:lnTo>
                    <a:pt x="382" y="99"/>
                  </a:lnTo>
                  <a:lnTo>
                    <a:pt x="382" y="111"/>
                  </a:lnTo>
                  <a:lnTo>
                    <a:pt x="382" y="124"/>
                  </a:lnTo>
                  <a:lnTo>
                    <a:pt x="382" y="136"/>
                  </a:lnTo>
                  <a:lnTo>
                    <a:pt x="388" y="138"/>
                  </a:lnTo>
                  <a:lnTo>
                    <a:pt x="394" y="142"/>
                  </a:lnTo>
                  <a:lnTo>
                    <a:pt x="399" y="153"/>
                  </a:lnTo>
                  <a:lnTo>
                    <a:pt x="399" y="165"/>
                  </a:lnTo>
                  <a:lnTo>
                    <a:pt x="403" y="165"/>
                  </a:lnTo>
                  <a:lnTo>
                    <a:pt x="405" y="168"/>
                  </a:lnTo>
                  <a:lnTo>
                    <a:pt x="405" y="172"/>
                  </a:lnTo>
                  <a:lnTo>
                    <a:pt x="405" y="176"/>
                  </a:lnTo>
                  <a:lnTo>
                    <a:pt x="411" y="182"/>
                  </a:lnTo>
                  <a:lnTo>
                    <a:pt x="411" y="186"/>
                  </a:lnTo>
                  <a:lnTo>
                    <a:pt x="411" y="189"/>
                  </a:lnTo>
                  <a:lnTo>
                    <a:pt x="409" y="193"/>
                  </a:lnTo>
                  <a:lnTo>
                    <a:pt x="405" y="193"/>
                  </a:lnTo>
                  <a:lnTo>
                    <a:pt x="415" y="193"/>
                  </a:lnTo>
                  <a:lnTo>
                    <a:pt x="422" y="193"/>
                  </a:lnTo>
                  <a:lnTo>
                    <a:pt x="428" y="188"/>
                  </a:lnTo>
                  <a:lnTo>
                    <a:pt x="440" y="188"/>
                  </a:lnTo>
                  <a:lnTo>
                    <a:pt x="451" y="188"/>
                  </a:lnTo>
                  <a:lnTo>
                    <a:pt x="457" y="193"/>
                  </a:lnTo>
                  <a:lnTo>
                    <a:pt x="465" y="205"/>
                  </a:lnTo>
                  <a:lnTo>
                    <a:pt x="457" y="216"/>
                  </a:lnTo>
                  <a:lnTo>
                    <a:pt x="457" y="228"/>
                  </a:lnTo>
                  <a:lnTo>
                    <a:pt x="457" y="241"/>
                  </a:lnTo>
                  <a:lnTo>
                    <a:pt x="457" y="253"/>
                  </a:lnTo>
                  <a:lnTo>
                    <a:pt x="457" y="255"/>
                  </a:lnTo>
                  <a:lnTo>
                    <a:pt x="457" y="259"/>
                  </a:lnTo>
                  <a:lnTo>
                    <a:pt x="461" y="276"/>
                  </a:lnTo>
                  <a:lnTo>
                    <a:pt x="465" y="287"/>
                  </a:lnTo>
                  <a:lnTo>
                    <a:pt x="457" y="282"/>
                  </a:lnTo>
                  <a:lnTo>
                    <a:pt x="445" y="282"/>
                  </a:lnTo>
                  <a:lnTo>
                    <a:pt x="434" y="282"/>
                  </a:lnTo>
                  <a:lnTo>
                    <a:pt x="422" y="282"/>
                  </a:lnTo>
                  <a:lnTo>
                    <a:pt x="411" y="282"/>
                  </a:lnTo>
                  <a:lnTo>
                    <a:pt x="399" y="282"/>
                  </a:lnTo>
                  <a:lnTo>
                    <a:pt x="388" y="282"/>
                  </a:lnTo>
                  <a:lnTo>
                    <a:pt x="388" y="293"/>
                  </a:lnTo>
                  <a:lnTo>
                    <a:pt x="388" y="305"/>
                  </a:lnTo>
                  <a:lnTo>
                    <a:pt x="388" y="316"/>
                  </a:lnTo>
                  <a:lnTo>
                    <a:pt x="388" y="328"/>
                  </a:lnTo>
                  <a:lnTo>
                    <a:pt x="394" y="333"/>
                  </a:lnTo>
                  <a:lnTo>
                    <a:pt x="394" y="347"/>
                  </a:lnTo>
                  <a:lnTo>
                    <a:pt x="394" y="358"/>
                  </a:lnTo>
                  <a:lnTo>
                    <a:pt x="394" y="370"/>
                  </a:lnTo>
                  <a:lnTo>
                    <a:pt x="399" y="376"/>
                  </a:lnTo>
                  <a:lnTo>
                    <a:pt x="399" y="379"/>
                  </a:lnTo>
                  <a:lnTo>
                    <a:pt x="399" y="383"/>
                  </a:lnTo>
                  <a:lnTo>
                    <a:pt x="397" y="385"/>
                  </a:lnTo>
                  <a:lnTo>
                    <a:pt x="394" y="387"/>
                  </a:lnTo>
                  <a:lnTo>
                    <a:pt x="395" y="393"/>
                  </a:lnTo>
                  <a:lnTo>
                    <a:pt x="399" y="399"/>
                  </a:lnTo>
                  <a:lnTo>
                    <a:pt x="411" y="399"/>
                  </a:lnTo>
                  <a:lnTo>
                    <a:pt x="417" y="404"/>
                  </a:lnTo>
                  <a:lnTo>
                    <a:pt x="422" y="410"/>
                  </a:lnTo>
                  <a:lnTo>
                    <a:pt x="428" y="422"/>
                  </a:lnTo>
                  <a:lnTo>
                    <a:pt x="428" y="433"/>
                  </a:lnTo>
                  <a:lnTo>
                    <a:pt x="434" y="437"/>
                  </a:lnTo>
                  <a:lnTo>
                    <a:pt x="440" y="439"/>
                  </a:lnTo>
                  <a:lnTo>
                    <a:pt x="428" y="439"/>
                  </a:lnTo>
                  <a:lnTo>
                    <a:pt x="417" y="439"/>
                  </a:lnTo>
                  <a:lnTo>
                    <a:pt x="405" y="439"/>
                  </a:lnTo>
                  <a:lnTo>
                    <a:pt x="399" y="447"/>
                  </a:lnTo>
                  <a:lnTo>
                    <a:pt x="388" y="447"/>
                  </a:lnTo>
                  <a:lnTo>
                    <a:pt x="378" y="449"/>
                  </a:lnTo>
                  <a:lnTo>
                    <a:pt x="365" y="452"/>
                  </a:lnTo>
                  <a:lnTo>
                    <a:pt x="359" y="458"/>
                  </a:lnTo>
                  <a:lnTo>
                    <a:pt x="346" y="458"/>
                  </a:lnTo>
                  <a:lnTo>
                    <a:pt x="338" y="458"/>
                  </a:lnTo>
                  <a:lnTo>
                    <a:pt x="328" y="458"/>
                  </a:lnTo>
                  <a:lnTo>
                    <a:pt x="317" y="452"/>
                  </a:lnTo>
                  <a:lnTo>
                    <a:pt x="309" y="452"/>
                  </a:lnTo>
                  <a:lnTo>
                    <a:pt x="300" y="452"/>
                  </a:lnTo>
                  <a:lnTo>
                    <a:pt x="290" y="449"/>
                  </a:lnTo>
                  <a:lnTo>
                    <a:pt x="282" y="447"/>
                  </a:lnTo>
                  <a:lnTo>
                    <a:pt x="273" y="443"/>
                  </a:lnTo>
                  <a:lnTo>
                    <a:pt x="265" y="439"/>
                  </a:lnTo>
                  <a:lnTo>
                    <a:pt x="259" y="433"/>
                  </a:lnTo>
                  <a:lnTo>
                    <a:pt x="246" y="433"/>
                  </a:lnTo>
                  <a:lnTo>
                    <a:pt x="234" y="433"/>
                  </a:lnTo>
                  <a:lnTo>
                    <a:pt x="223" y="433"/>
                  </a:lnTo>
                  <a:lnTo>
                    <a:pt x="211" y="433"/>
                  </a:lnTo>
                  <a:lnTo>
                    <a:pt x="204" y="433"/>
                  </a:lnTo>
                  <a:lnTo>
                    <a:pt x="194" y="433"/>
                  </a:lnTo>
                  <a:lnTo>
                    <a:pt x="188" y="427"/>
                  </a:lnTo>
                  <a:lnTo>
                    <a:pt x="177" y="427"/>
                  </a:lnTo>
                  <a:lnTo>
                    <a:pt x="171" y="433"/>
                  </a:lnTo>
                  <a:lnTo>
                    <a:pt x="159" y="433"/>
                  </a:lnTo>
                  <a:lnTo>
                    <a:pt x="148" y="433"/>
                  </a:lnTo>
                  <a:lnTo>
                    <a:pt x="135" y="433"/>
                  </a:lnTo>
                  <a:lnTo>
                    <a:pt x="129" y="439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3" y="435"/>
                  </a:lnTo>
                  <a:lnTo>
                    <a:pt x="110" y="433"/>
                  </a:lnTo>
                  <a:lnTo>
                    <a:pt x="106" y="433"/>
                  </a:lnTo>
                  <a:lnTo>
                    <a:pt x="100" y="422"/>
                  </a:lnTo>
                  <a:lnTo>
                    <a:pt x="92" y="420"/>
                  </a:lnTo>
                  <a:lnTo>
                    <a:pt x="83" y="416"/>
                  </a:lnTo>
                  <a:lnTo>
                    <a:pt x="79" y="410"/>
                  </a:lnTo>
                  <a:lnTo>
                    <a:pt x="77" y="404"/>
                  </a:lnTo>
                  <a:lnTo>
                    <a:pt x="65" y="404"/>
                  </a:lnTo>
                  <a:lnTo>
                    <a:pt x="54" y="404"/>
                  </a:lnTo>
                  <a:lnTo>
                    <a:pt x="48" y="410"/>
                  </a:lnTo>
                  <a:lnTo>
                    <a:pt x="42" y="416"/>
                  </a:lnTo>
                  <a:lnTo>
                    <a:pt x="29" y="410"/>
                  </a:lnTo>
                  <a:lnTo>
                    <a:pt x="21" y="410"/>
                  </a:lnTo>
                  <a:lnTo>
                    <a:pt x="12" y="410"/>
                  </a:lnTo>
                  <a:lnTo>
                    <a:pt x="0" y="41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5" name="Freeform 11"/>
            <p:cNvSpPr>
              <a:spLocks/>
            </p:cNvSpPr>
            <p:nvPr/>
          </p:nvSpPr>
          <p:spPr bwMode="auto">
            <a:xfrm>
              <a:off x="1966" y="2631"/>
              <a:ext cx="432" cy="340"/>
            </a:xfrm>
            <a:custGeom>
              <a:avLst/>
              <a:gdLst/>
              <a:ahLst/>
              <a:cxnLst>
                <a:cxn ang="0">
                  <a:pos x="111" y="98"/>
                </a:cxn>
                <a:cxn ang="0">
                  <a:pos x="134" y="127"/>
                </a:cxn>
                <a:cxn ang="0">
                  <a:pos x="178" y="131"/>
                </a:cxn>
                <a:cxn ang="0">
                  <a:pos x="224" y="137"/>
                </a:cxn>
                <a:cxn ang="0">
                  <a:pos x="242" y="160"/>
                </a:cxn>
                <a:cxn ang="0">
                  <a:pos x="257" y="175"/>
                </a:cxn>
                <a:cxn ang="0">
                  <a:pos x="291" y="188"/>
                </a:cxn>
                <a:cxn ang="0">
                  <a:pos x="324" y="185"/>
                </a:cxn>
                <a:cxn ang="0">
                  <a:pos x="330" y="138"/>
                </a:cxn>
                <a:cxn ang="0">
                  <a:pos x="303" y="131"/>
                </a:cxn>
                <a:cxn ang="0">
                  <a:pos x="265" y="140"/>
                </a:cxn>
                <a:cxn ang="0">
                  <a:pos x="240" y="123"/>
                </a:cxn>
                <a:cxn ang="0">
                  <a:pos x="238" y="115"/>
                </a:cxn>
                <a:cxn ang="0">
                  <a:pos x="244" y="92"/>
                </a:cxn>
                <a:cxn ang="0">
                  <a:pos x="249" y="81"/>
                </a:cxn>
                <a:cxn ang="0">
                  <a:pos x="249" y="48"/>
                </a:cxn>
                <a:cxn ang="0">
                  <a:pos x="257" y="16"/>
                </a:cxn>
                <a:cxn ang="0">
                  <a:pos x="297" y="6"/>
                </a:cxn>
                <a:cxn ang="0">
                  <a:pos x="336" y="0"/>
                </a:cxn>
                <a:cxn ang="0">
                  <a:pos x="357" y="21"/>
                </a:cxn>
                <a:cxn ang="0">
                  <a:pos x="387" y="27"/>
                </a:cxn>
                <a:cxn ang="0">
                  <a:pos x="410" y="43"/>
                </a:cxn>
                <a:cxn ang="0">
                  <a:pos x="422" y="75"/>
                </a:cxn>
                <a:cxn ang="0">
                  <a:pos x="432" y="108"/>
                </a:cxn>
                <a:cxn ang="0">
                  <a:pos x="416" y="140"/>
                </a:cxn>
                <a:cxn ang="0">
                  <a:pos x="416" y="181"/>
                </a:cxn>
                <a:cxn ang="0">
                  <a:pos x="397" y="208"/>
                </a:cxn>
                <a:cxn ang="0">
                  <a:pos x="401" y="211"/>
                </a:cxn>
                <a:cxn ang="0">
                  <a:pos x="368" y="217"/>
                </a:cxn>
                <a:cxn ang="0">
                  <a:pos x="341" y="229"/>
                </a:cxn>
                <a:cxn ang="0">
                  <a:pos x="314" y="248"/>
                </a:cxn>
                <a:cxn ang="0">
                  <a:pos x="297" y="265"/>
                </a:cxn>
                <a:cxn ang="0">
                  <a:pos x="265" y="259"/>
                </a:cxn>
                <a:cxn ang="0">
                  <a:pos x="238" y="286"/>
                </a:cxn>
                <a:cxn ang="0">
                  <a:pos x="222" y="307"/>
                </a:cxn>
                <a:cxn ang="0">
                  <a:pos x="201" y="311"/>
                </a:cxn>
                <a:cxn ang="0">
                  <a:pos x="192" y="315"/>
                </a:cxn>
                <a:cxn ang="0">
                  <a:pos x="186" y="325"/>
                </a:cxn>
                <a:cxn ang="0">
                  <a:pos x="173" y="336"/>
                </a:cxn>
                <a:cxn ang="0">
                  <a:pos x="136" y="336"/>
                </a:cxn>
                <a:cxn ang="0">
                  <a:pos x="98" y="336"/>
                </a:cxn>
                <a:cxn ang="0">
                  <a:pos x="57" y="336"/>
                </a:cxn>
                <a:cxn ang="0">
                  <a:pos x="40" y="315"/>
                </a:cxn>
                <a:cxn ang="0">
                  <a:pos x="6" y="286"/>
                </a:cxn>
                <a:cxn ang="0">
                  <a:pos x="6" y="248"/>
                </a:cxn>
                <a:cxn ang="0">
                  <a:pos x="6" y="206"/>
                </a:cxn>
                <a:cxn ang="0">
                  <a:pos x="0" y="188"/>
                </a:cxn>
                <a:cxn ang="0">
                  <a:pos x="13" y="185"/>
                </a:cxn>
                <a:cxn ang="0">
                  <a:pos x="50" y="179"/>
                </a:cxn>
                <a:cxn ang="0">
                  <a:pos x="73" y="156"/>
                </a:cxn>
                <a:cxn ang="0">
                  <a:pos x="77" y="114"/>
                </a:cxn>
              </a:cxnLst>
              <a:rect l="0" t="0" r="r" b="b"/>
              <a:pathLst>
                <a:path w="432" h="340">
                  <a:moveTo>
                    <a:pt x="77" y="102"/>
                  </a:moveTo>
                  <a:lnTo>
                    <a:pt x="90" y="100"/>
                  </a:lnTo>
                  <a:lnTo>
                    <a:pt x="103" y="98"/>
                  </a:lnTo>
                  <a:lnTo>
                    <a:pt x="111" y="98"/>
                  </a:lnTo>
                  <a:lnTo>
                    <a:pt x="119" y="98"/>
                  </a:lnTo>
                  <a:lnTo>
                    <a:pt x="119" y="108"/>
                  </a:lnTo>
                  <a:lnTo>
                    <a:pt x="125" y="119"/>
                  </a:lnTo>
                  <a:lnTo>
                    <a:pt x="134" y="127"/>
                  </a:lnTo>
                  <a:lnTo>
                    <a:pt x="140" y="135"/>
                  </a:lnTo>
                  <a:lnTo>
                    <a:pt x="157" y="135"/>
                  </a:lnTo>
                  <a:lnTo>
                    <a:pt x="167" y="131"/>
                  </a:lnTo>
                  <a:lnTo>
                    <a:pt x="178" y="131"/>
                  </a:lnTo>
                  <a:lnTo>
                    <a:pt x="190" y="131"/>
                  </a:lnTo>
                  <a:lnTo>
                    <a:pt x="203" y="131"/>
                  </a:lnTo>
                  <a:lnTo>
                    <a:pt x="217" y="131"/>
                  </a:lnTo>
                  <a:lnTo>
                    <a:pt x="224" y="137"/>
                  </a:lnTo>
                  <a:lnTo>
                    <a:pt x="232" y="140"/>
                  </a:lnTo>
                  <a:lnTo>
                    <a:pt x="238" y="146"/>
                  </a:lnTo>
                  <a:lnTo>
                    <a:pt x="238" y="158"/>
                  </a:lnTo>
                  <a:lnTo>
                    <a:pt x="242" y="160"/>
                  </a:lnTo>
                  <a:lnTo>
                    <a:pt x="245" y="163"/>
                  </a:lnTo>
                  <a:lnTo>
                    <a:pt x="247" y="169"/>
                  </a:lnTo>
                  <a:lnTo>
                    <a:pt x="249" y="173"/>
                  </a:lnTo>
                  <a:lnTo>
                    <a:pt x="257" y="175"/>
                  </a:lnTo>
                  <a:lnTo>
                    <a:pt x="267" y="179"/>
                  </a:lnTo>
                  <a:lnTo>
                    <a:pt x="276" y="185"/>
                  </a:lnTo>
                  <a:lnTo>
                    <a:pt x="282" y="188"/>
                  </a:lnTo>
                  <a:lnTo>
                    <a:pt x="291" y="188"/>
                  </a:lnTo>
                  <a:lnTo>
                    <a:pt x="299" y="188"/>
                  </a:lnTo>
                  <a:lnTo>
                    <a:pt x="309" y="188"/>
                  </a:lnTo>
                  <a:lnTo>
                    <a:pt x="316" y="186"/>
                  </a:lnTo>
                  <a:lnTo>
                    <a:pt x="324" y="185"/>
                  </a:lnTo>
                  <a:lnTo>
                    <a:pt x="330" y="173"/>
                  </a:lnTo>
                  <a:lnTo>
                    <a:pt x="330" y="158"/>
                  </a:lnTo>
                  <a:lnTo>
                    <a:pt x="330" y="146"/>
                  </a:lnTo>
                  <a:lnTo>
                    <a:pt x="330" y="138"/>
                  </a:lnTo>
                  <a:lnTo>
                    <a:pt x="330" y="131"/>
                  </a:lnTo>
                  <a:lnTo>
                    <a:pt x="318" y="131"/>
                  </a:lnTo>
                  <a:lnTo>
                    <a:pt x="311" y="131"/>
                  </a:lnTo>
                  <a:lnTo>
                    <a:pt x="303" y="131"/>
                  </a:lnTo>
                  <a:lnTo>
                    <a:pt x="297" y="135"/>
                  </a:lnTo>
                  <a:lnTo>
                    <a:pt x="286" y="135"/>
                  </a:lnTo>
                  <a:lnTo>
                    <a:pt x="274" y="138"/>
                  </a:lnTo>
                  <a:lnTo>
                    <a:pt x="265" y="140"/>
                  </a:lnTo>
                  <a:lnTo>
                    <a:pt x="257" y="135"/>
                  </a:lnTo>
                  <a:lnTo>
                    <a:pt x="244" y="131"/>
                  </a:lnTo>
                  <a:lnTo>
                    <a:pt x="242" y="125"/>
                  </a:lnTo>
                  <a:lnTo>
                    <a:pt x="240" y="123"/>
                  </a:lnTo>
                  <a:lnTo>
                    <a:pt x="236" y="119"/>
                  </a:lnTo>
                  <a:lnTo>
                    <a:pt x="232" y="119"/>
                  </a:lnTo>
                  <a:lnTo>
                    <a:pt x="236" y="117"/>
                  </a:lnTo>
                  <a:lnTo>
                    <a:pt x="238" y="115"/>
                  </a:lnTo>
                  <a:lnTo>
                    <a:pt x="238" y="112"/>
                  </a:lnTo>
                  <a:lnTo>
                    <a:pt x="238" y="108"/>
                  </a:lnTo>
                  <a:lnTo>
                    <a:pt x="242" y="100"/>
                  </a:lnTo>
                  <a:lnTo>
                    <a:pt x="244" y="92"/>
                  </a:lnTo>
                  <a:lnTo>
                    <a:pt x="247" y="90"/>
                  </a:lnTo>
                  <a:lnTo>
                    <a:pt x="247" y="89"/>
                  </a:lnTo>
                  <a:lnTo>
                    <a:pt x="249" y="85"/>
                  </a:lnTo>
                  <a:lnTo>
                    <a:pt x="249" y="81"/>
                  </a:lnTo>
                  <a:lnTo>
                    <a:pt x="255" y="75"/>
                  </a:lnTo>
                  <a:lnTo>
                    <a:pt x="255" y="66"/>
                  </a:lnTo>
                  <a:lnTo>
                    <a:pt x="249" y="60"/>
                  </a:lnTo>
                  <a:lnTo>
                    <a:pt x="249" y="48"/>
                  </a:lnTo>
                  <a:lnTo>
                    <a:pt x="249" y="39"/>
                  </a:lnTo>
                  <a:lnTo>
                    <a:pt x="249" y="27"/>
                  </a:lnTo>
                  <a:lnTo>
                    <a:pt x="249" y="16"/>
                  </a:lnTo>
                  <a:lnTo>
                    <a:pt x="257" y="16"/>
                  </a:lnTo>
                  <a:lnTo>
                    <a:pt x="265" y="16"/>
                  </a:lnTo>
                  <a:lnTo>
                    <a:pt x="276" y="12"/>
                  </a:lnTo>
                  <a:lnTo>
                    <a:pt x="286" y="12"/>
                  </a:lnTo>
                  <a:lnTo>
                    <a:pt x="297" y="6"/>
                  </a:lnTo>
                  <a:lnTo>
                    <a:pt x="309" y="6"/>
                  </a:lnTo>
                  <a:lnTo>
                    <a:pt x="318" y="6"/>
                  </a:lnTo>
                  <a:lnTo>
                    <a:pt x="324" y="0"/>
                  </a:lnTo>
                  <a:lnTo>
                    <a:pt x="336" y="0"/>
                  </a:lnTo>
                  <a:lnTo>
                    <a:pt x="341" y="2"/>
                  </a:lnTo>
                  <a:lnTo>
                    <a:pt x="347" y="6"/>
                  </a:lnTo>
                  <a:lnTo>
                    <a:pt x="355" y="14"/>
                  </a:lnTo>
                  <a:lnTo>
                    <a:pt x="357" y="21"/>
                  </a:lnTo>
                  <a:lnTo>
                    <a:pt x="364" y="21"/>
                  </a:lnTo>
                  <a:lnTo>
                    <a:pt x="374" y="21"/>
                  </a:lnTo>
                  <a:lnTo>
                    <a:pt x="378" y="27"/>
                  </a:lnTo>
                  <a:lnTo>
                    <a:pt x="387" y="27"/>
                  </a:lnTo>
                  <a:lnTo>
                    <a:pt x="395" y="27"/>
                  </a:lnTo>
                  <a:lnTo>
                    <a:pt x="397" y="33"/>
                  </a:lnTo>
                  <a:lnTo>
                    <a:pt x="403" y="37"/>
                  </a:lnTo>
                  <a:lnTo>
                    <a:pt x="410" y="43"/>
                  </a:lnTo>
                  <a:lnTo>
                    <a:pt x="416" y="43"/>
                  </a:lnTo>
                  <a:lnTo>
                    <a:pt x="416" y="54"/>
                  </a:lnTo>
                  <a:lnTo>
                    <a:pt x="422" y="66"/>
                  </a:lnTo>
                  <a:lnTo>
                    <a:pt x="422" y="75"/>
                  </a:lnTo>
                  <a:lnTo>
                    <a:pt x="426" y="81"/>
                  </a:lnTo>
                  <a:lnTo>
                    <a:pt x="432" y="87"/>
                  </a:lnTo>
                  <a:lnTo>
                    <a:pt x="432" y="98"/>
                  </a:lnTo>
                  <a:lnTo>
                    <a:pt x="432" y="108"/>
                  </a:lnTo>
                  <a:lnTo>
                    <a:pt x="432" y="119"/>
                  </a:lnTo>
                  <a:lnTo>
                    <a:pt x="428" y="125"/>
                  </a:lnTo>
                  <a:lnTo>
                    <a:pt x="416" y="131"/>
                  </a:lnTo>
                  <a:lnTo>
                    <a:pt x="416" y="140"/>
                  </a:lnTo>
                  <a:lnTo>
                    <a:pt x="416" y="152"/>
                  </a:lnTo>
                  <a:lnTo>
                    <a:pt x="416" y="161"/>
                  </a:lnTo>
                  <a:lnTo>
                    <a:pt x="416" y="173"/>
                  </a:lnTo>
                  <a:lnTo>
                    <a:pt x="416" y="181"/>
                  </a:lnTo>
                  <a:lnTo>
                    <a:pt x="416" y="188"/>
                  </a:lnTo>
                  <a:lnTo>
                    <a:pt x="410" y="200"/>
                  </a:lnTo>
                  <a:lnTo>
                    <a:pt x="403" y="204"/>
                  </a:lnTo>
                  <a:lnTo>
                    <a:pt x="397" y="208"/>
                  </a:lnTo>
                  <a:lnTo>
                    <a:pt x="395" y="209"/>
                  </a:lnTo>
                  <a:lnTo>
                    <a:pt x="395" y="209"/>
                  </a:lnTo>
                  <a:lnTo>
                    <a:pt x="397" y="211"/>
                  </a:lnTo>
                  <a:lnTo>
                    <a:pt x="401" y="211"/>
                  </a:lnTo>
                  <a:lnTo>
                    <a:pt x="391" y="211"/>
                  </a:lnTo>
                  <a:lnTo>
                    <a:pt x="384" y="211"/>
                  </a:lnTo>
                  <a:lnTo>
                    <a:pt x="378" y="217"/>
                  </a:lnTo>
                  <a:lnTo>
                    <a:pt x="368" y="217"/>
                  </a:lnTo>
                  <a:lnTo>
                    <a:pt x="362" y="221"/>
                  </a:lnTo>
                  <a:lnTo>
                    <a:pt x="355" y="221"/>
                  </a:lnTo>
                  <a:lnTo>
                    <a:pt x="345" y="221"/>
                  </a:lnTo>
                  <a:lnTo>
                    <a:pt x="341" y="229"/>
                  </a:lnTo>
                  <a:lnTo>
                    <a:pt x="336" y="232"/>
                  </a:lnTo>
                  <a:lnTo>
                    <a:pt x="324" y="232"/>
                  </a:lnTo>
                  <a:lnTo>
                    <a:pt x="318" y="240"/>
                  </a:lnTo>
                  <a:lnTo>
                    <a:pt x="314" y="248"/>
                  </a:lnTo>
                  <a:lnTo>
                    <a:pt x="314" y="257"/>
                  </a:lnTo>
                  <a:lnTo>
                    <a:pt x="314" y="265"/>
                  </a:lnTo>
                  <a:lnTo>
                    <a:pt x="309" y="265"/>
                  </a:lnTo>
                  <a:lnTo>
                    <a:pt x="297" y="265"/>
                  </a:lnTo>
                  <a:lnTo>
                    <a:pt x="295" y="265"/>
                  </a:lnTo>
                  <a:lnTo>
                    <a:pt x="291" y="265"/>
                  </a:lnTo>
                  <a:lnTo>
                    <a:pt x="276" y="263"/>
                  </a:lnTo>
                  <a:lnTo>
                    <a:pt x="265" y="259"/>
                  </a:lnTo>
                  <a:lnTo>
                    <a:pt x="255" y="265"/>
                  </a:lnTo>
                  <a:lnTo>
                    <a:pt x="249" y="277"/>
                  </a:lnTo>
                  <a:lnTo>
                    <a:pt x="242" y="280"/>
                  </a:lnTo>
                  <a:lnTo>
                    <a:pt x="238" y="286"/>
                  </a:lnTo>
                  <a:lnTo>
                    <a:pt x="238" y="298"/>
                  </a:lnTo>
                  <a:lnTo>
                    <a:pt x="226" y="307"/>
                  </a:lnTo>
                  <a:lnTo>
                    <a:pt x="224" y="307"/>
                  </a:lnTo>
                  <a:lnTo>
                    <a:pt x="222" y="307"/>
                  </a:lnTo>
                  <a:lnTo>
                    <a:pt x="217" y="307"/>
                  </a:lnTo>
                  <a:lnTo>
                    <a:pt x="211" y="307"/>
                  </a:lnTo>
                  <a:lnTo>
                    <a:pt x="205" y="311"/>
                  </a:lnTo>
                  <a:lnTo>
                    <a:pt x="201" y="311"/>
                  </a:lnTo>
                  <a:lnTo>
                    <a:pt x="197" y="309"/>
                  </a:lnTo>
                  <a:lnTo>
                    <a:pt x="196" y="303"/>
                  </a:lnTo>
                  <a:lnTo>
                    <a:pt x="196" y="313"/>
                  </a:lnTo>
                  <a:lnTo>
                    <a:pt x="192" y="315"/>
                  </a:lnTo>
                  <a:lnTo>
                    <a:pt x="190" y="317"/>
                  </a:lnTo>
                  <a:lnTo>
                    <a:pt x="190" y="321"/>
                  </a:lnTo>
                  <a:lnTo>
                    <a:pt x="190" y="325"/>
                  </a:lnTo>
                  <a:lnTo>
                    <a:pt x="186" y="325"/>
                  </a:lnTo>
                  <a:lnTo>
                    <a:pt x="184" y="328"/>
                  </a:lnTo>
                  <a:lnTo>
                    <a:pt x="184" y="330"/>
                  </a:lnTo>
                  <a:lnTo>
                    <a:pt x="184" y="336"/>
                  </a:lnTo>
                  <a:lnTo>
                    <a:pt x="173" y="336"/>
                  </a:lnTo>
                  <a:lnTo>
                    <a:pt x="163" y="336"/>
                  </a:lnTo>
                  <a:lnTo>
                    <a:pt x="151" y="336"/>
                  </a:lnTo>
                  <a:lnTo>
                    <a:pt x="144" y="336"/>
                  </a:lnTo>
                  <a:lnTo>
                    <a:pt x="136" y="336"/>
                  </a:lnTo>
                  <a:lnTo>
                    <a:pt x="130" y="340"/>
                  </a:lnTo>
                  <a:lnTo>
                    <a:pt x="119" y="340"/>
                  </a:lnTo>
                  <a:lnTo>
                    <a:pt x="107" y="340"/>
                  </a:lnTo>
                  <a:lnTo>
                    <a:pt x="98" y="336"/>
                  </a:lnTo>
                  <a:lnTo>
                    <a:pt x="86" y="336"/>
                  </a:lnTo>
                  <a:lnTo>
                    <a:pt x="77" y="336"/>
                  </a:lnTo>
                  <a:lnTo>
                    <a:pt x="65" y="336"/>
                  </a:lnTo>
                  <a:lnTo>
                    <a:pt x="57" y="336"/>
                  </a:lnTo>
                  <a:lnTo>
                    <a:pt x="50" y="336"/>
                  </a:lnTo>
                  <a:lnTo>
                    <a:pt x="50" y="327"/>
                  </a:lnTo>
                  <a:lnTo>
                    <a:pt x="50" y="319"/>
                  </a:lnTo>
                  <a:lnTo>
                    <a:pt x="40" y="315"/>
                  </a:lnTo>
                  <a:lnTo>
                    <a:pt x="32" y="307"/>
                  </a:lnTo>
                  <a:lnTo>
                    <a:pt x="23" y="303"/>
                  </a:lnTo>
                  <a:lnTo>
                    <a:pt x="11" y="298"/>
                  </a:lnTo>
                  <a:lnTo>
                    <a:pt x="6" y="286"/>
                  </a:lnTo>
                  <a:lnTo>
                    <a:pt x="6" y="279"/>
                  </a:lnTo>
                  <a:lnTo>
                    <a:pt x="6" y="271"/>
                  </a:lnTo>
                  <a:lnTo>
                    <a:pt x="11" y="265"/>
                  </a:lnTo>
                  <a:lnTo>
                    <a:pt x="6" y="248"/>
                  </a:lnTo>
                  <a:lnTo>
                    <a:pt x="6" y="238"/>
                  </a:lnTo>
                  <a:lnTo>
                    <a:pt x="6" y="227"/>
                  </a:lnTo>
                  <a:lnTo>
                    <a:pt x="6" y="217"/>
                  </a:lnTo>
                  <a:lnTo>
                    <a:pt x="6" y="206"/>
                  </a:lnTo>
                  <a:lnTo>
                    <a:pt x="6" y="200"/>
                  </a:lnTo>
                  <a:lnTo>
                    <a:pt x="6" y="196"/>
                  </a:lnTo>
                  <a:lnTo>
                    <a:pt x="4" y="190"/>
                  </a:lnTo>
                  <a:lnTo>
                    <a:pt x="0" y="188"/>
                  </a:lnTo>
                  <a:lnTo>
                    <a:pt x="6" y="179"/>
                  </a:lnTo>
                  <a:lnTo>
                    <a:pt x="6" y="177"/>
                  </a:lnTo>
                  <a:lnTo>
                    <a:pt x="6" y="185"/>
                  </a:lnTo>
                  <a:lnTo>
                    <a:pt x="13" y="185"/>
                  </a:lnTo>
                  <a:lnTo>
                    <a:pt x="21" y="185"/>
                  </a:lnTo>
                  <a:lnTo>
                    <a:pt x="27" y="179"/>
                  </a:lnTo>
                  <a:lnTo>
                    <a:pt x="38" y="179"/>
                  </a:lnTo>
                  <a:lnTo>
                    <a:pt x="50" y="179"/>
                  </a:lnTo>
                  <a:lnTo>
                    <a:pt x="59" y="179"/>
                  </a:lnTo>
                  <a:lnTo>
                    <a:pt x="71" y="179"/>
                  </a:lnTo>
                  <a:lnTo>
                    <a:pt x="71" y="167"/>
                  </a:lnTo>
                  <a:lnTo>
                    <a:pt x="73" y="156"/>
                  </a:lnTo>
                  <a:lnTo>
                    <a:pt x="77" y="146"/>
                  </a:lnTo>
                  <a:lnTo>
                    <a:pt x="77" y="131"/>
                  </a:lnTo>
                  <a:lnTo>
                    <a:pt x="77" y="121"/>
                  </a:lnTo>
                  <a:lnTo>
                    <a:pt x="77" y="114"/>
                  </a:lnTo>
                  <a:lnTo>
                    <a:pt x="77" y="1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6" name="Freeform 12"/>
            <p:cNvSpPr>
              <a:spLocks/>
            </p:cNvSpPr>
            <p:nvPr/>
          </p:nvSpPr>
          <p:spPr bwMode="auto">
            <a:xfrm>
              <a:off x="1966" y="2631"/>
              <a:ext cx="432" cy="340"/>
            </a:xfrm>
            <a:custGeom>
              <a:avLst/>
              <a:gdLst/>
              <a:ahLst/>
              <a:cxnLst>
                <a:cxn ang="0">
                  <a:pos x="111" y="98"/>
                </a:cxn>
                <a:cxn ang="0">
                  <a:pos x="134" y="127"/>
                </a:cxn>
                <a:cxn ang="0">
                  <a:pos x="178" y="131"/>
                </a:cxn>
                <a:cxn ang="0">
                  <a:pos x="224" y="137"/>
                </a:cxn>
                <a:cxn ang="0">
                  <a:pos x="242" y="160"/>
                </a:cxn>
                <a:cxn ang="0">
                  <a:pos x="257" y="175"/>
                </a:cxn>
                <a:cxn ang="0">
                  <a:pos x="291" y="188"/>
                </a:cxn>
                <a:cxn ang="0">
                  <a:pos x="324" y="185"/>
                </a:cxn>
                <a:cxn ang="0">
                  <a:pos x="330" y="138"/>
                </a:cxn>
                <a:cxn ang="0">
                  <a:pos x="303" y="131"/>
                </a:cxn>
                <a:cxn ang="0">
                  <a:pos x="265" y="140"/>
                </a:cxn>
                <a:cxn ang="0">
                  <a:pos x="240" y="123"/>
                </a:cxn>
                <a:cxn ang="0">
                  <a:pos x="238" y="115"/>
                </a:cxn>
                <a:cxn ang="0">
                  <a:pos x="244" y="92"/>
                </a:cxn>
                <a:cxn ang="0">
                  <a:pos x="249" y="81"/>
                </a:cxn>
                <a:cxn ang="0">
                  <a:pos x="249" y="48"/>
                </a:cxn>
                <a:cxn ang="0">
                  <a:pos x="257" y="16"/>
                </a:cxn>
                <a:cxn ang="0">
                  <a:pos x="297" y="6"/>
                </a:cxn>
                <a:cxn ang="0">
                  <a:pos x="336" y="0"/>
                </a:cxn>
                <a:cxn ang="0">
                  <a:pos x="357" y="21"/>
                </a:cxn>
                <a:cxn ang="0">
                  <a:pos x="387" y="27"/>
                </a:cxn>
                <a:cxn ang="0">
                  <a:pos x="410" y="43"/>
                </a:cxn>
                <a:cxn ang="0">
                  <a:pos x="422" y="75"/>
                </a:cxn>
                <a:cxn ang="0">
                  <a:pos x="432" y="108"/>
                </a:cxn>
                <a:cxn ang="0">
                  <a:pos x="416" y="140"/>
                </a:cxn>
                <a:cxn ang="0">
                  <a:pos x="416" y="181"/>
                </a:cxn>
                <a:cxn ang="0">
                  <a:pos x="397" y="208"/>
                </a:cxn>
                <a:cxn ang="0">
                  <a:pos x="401" y="211"/>
                </a:cxn>
                <a:cxn ang="0">
                  <a:pos x="368" y="217"/>
                </a:cxn>
                <a:cxn ang="0">
                  <a:pos x="341" y="229"/>
                </a:cxn>
                <a:cxn ang="0">
                  <a:pos x="314" y="248"/>
                </a:cxn>
                <a:cxn ang="0">
                  <a:pos x="297" y="265"/>
                </a:cxn>
                <a:cxn ang="0">
                  <a:pos x="265" y="259"/>
                </a:cxn>
                <a:cxn ang="0">
                  <a:pos x="238" y="286"/>
                </a:cxn>
                <a:cxn ang="0">
                  <a:pos x="222" y="307"/>
                </a:cxn>
                <a:cxn ang="0">
                  <a:pos x="201" y="311"/>
                </a:cxn>
                <a:cxn ang="0">
                  <a:pos x="192" y="315"/>
                </a:cxn>
                <a:cxn ang="0">
                  <a:pos x="186" y="325"/>
                </a:cxn>
                <a:cxn ang="0">
                  <a:pos x="173" y="336"/>
                </a:cxn>
                <a:cxn ang="0">
                  <a:pos x="136" y="336"/>
                </a:cxn>
                <a:cxn ang="0">
                  <a:pos x="98" y="336"/>
                </a:cxn>
                <a:cxn ang="0">
                  <a:pos x="57" y="336"/>
                </a:cxn>
                <a:cxn ang="0">
                  <a:pos x="40" y="315"/>
                </a:cxn>
                <a:cxn ang="0">
                  <a:pos x="6" y="286"/>
                </a:cxn>
                <a:cxn ang="0">
                  <a:pos x="6" y="248"/>
                </a:cxn>
                <a:cxn ang="0">
                  <a:pos x="6" y="206"/>
                </a:cxn>
                <a:cxn ang="0">
                  <a:pos x="0" y="188"/>
                </a:cxn>
                <a:cxn ang="0">
                  <a:pos x="13" y="185"/>
                </a:cxn>
                <a:cxn ang="0">
                  <a:pos x="50" y="179"/>
                </a:cxn>
                <a:cxn ang="0">
                  <a:pos x="73" y="156"/>
                </a:cxn>
                <a:cxn ang="0">
                  <a:pos x="77" y="114"/>
                </a:cxn>
              </a:cxnLst>
              <a:rect l="0" t="0" r="r" b="b"/>
              <a:pathLst>
                <a:path w="432" h="340">
                  <a:moveTo>
                    <a:pt x="77" y="102"/>
                  </a:moveTo>
                  <a:lnTo>
                    <a:pt x="90" y="100"/>
                  </a:lnTo>
                  <a:lnTo>
                    <a:pt x="103" y="98"/>
                  </a:lnTo>
                  <a:lnTo>
                    <a:pt x="111" y="98"/>
                  </a:lnTo>
                  <a:lnTo>
                    <a:pt x="119" y="98"/>
                  </a:lnTo>
                  <a:lnTo>
                    <a:pt x="119" y="108"/>
                  </a:lnTo>
                  <a:lnTo>
                    <a:pt x="125" y="119"/>
                  </a:lnTo>
                  <a:lnTo>
                    <a:pt x="134" y="127"/>
                  </a:lnTo>
                  <a:lnTo>
                    <a:pt x="140" y="135"/>
                  </a:lnTo>
                  <a:lnTo>
                    <a:pt x="157" y="135"/>
                  </a:lnTo>
                  <a:lnTo>
                    <a:pt x="167" y="131"/>
                  </a:lnTo>
                  <a:lnTo>
                    <a:pt x="178" y="131"/>
                  </a:lnTo>
                  <a:lnTo>
                    <a:pt x="190" y="131"/>
                  </a:lnTo>
                  <a:lnTo>
                    <a:pt x="203" y="131"/>
                  </a:lnTo>
                  <a:lnTo>
                    <a:pt x="217" y="131"/>
                  </a:lnTo>
                  <a:lnTo>
                    <a:pt x="224" y="137"/>
                  </a:lnTo>
                  <a:lnTo>
                    <a:pt x="232" y="140"/>
                  </a:lnTo>
                  <a:lnTo>
                    <a:pt x="238" y="146"/>
                  </a:lnTo>
                  <a:lnTo>
                    <a:pt x="238" y="158"/>
                  </a:lnTo>
                  <a:lnTo>
                    <a:pt x="242" y="160"/>
                  </a:lnTo>
                  <a:lnTo>
                    <a:pt x="245" y="163"/>
                  </a:lnTo>
                  <a:lnTo>
                    <a:pt x="247" y="169"/>
                  </a:lnTo>
                  <a:lnTo>
                    <a:pt x="249" y="173"/>
                  </a:lnTo>
                  <a:lnTo>
                    <a:pt x="257" y="175"/>
                  </a:lnTo>
                  <a:lnTo>
                    <a:pt x="267" y="179"/>
                  </a:lnTo>
                  <a:lnTo>
                    <a:pt x="276" y="185"/>
                  </a:lnTo>
                  <a:lnTo>
                    <a:pt x="282" y="188"/>
                  </a:lnTo>
                  <a:lnTo>
                    <a:pt x="291" y="188"/>
                  </a:lnTo>
                  <a:lnTo>
                    <a:pt x="299" y="188"/>
                  </a:lnTo>
                  <a:lnTo>
                    <a:pt x="309" y="188"/>
                  </a:lnTo>
                  <a:lnTo>
                    <a:pt x="316" y="186"/>
                  </a:lnTo>
                  <a:lnTo>
                    <a:pt x="324" y="185"/>
                  </a:lnTo>
                  <a:lnTo>
                    <a:pt x="330" y="173"/>
                  </a:lnTo>
                  <a:lnTo>
                    <a:pt x="330" y="158"/>
                  </a:lnTo>
                  <a:lnTo>
                    <a:pt x="330" y="146"/>
                  </a:lnTo>
                  <a:lnTo>
                    <a:pt x="330" y="138"/>
                  </a:lnTo>
                  <a:lnTo>
                    <a:pt x="330" y="131"/>
                  </a:lnTo>
                  <a:lnTo>
                    <a:pt x="318" y="131"/>
                  </a:lnTo>
                  <a:lnTo>
                    <a:pt x="311" y="131"/>
                  </a:lnTo>
                  <a:lnTo>
                    <a:pt x="303" y="131"/>
                  </a:lnTo>
                  <a:lnTo>
                    <a:pt x="297" y="135"/>
                  </a:lnTo>
                  <a:lnTo>
                    <a:pt x="286" y="135"/>
                  </a:lnTo>
                  <a:lnTo>
                    <a:pt x="274" y="138"/>
                  </a:lnTo>
                  <a:lnTo>
                    <a:pt x="265" y="140"/>
                  </a:lnTo>
                  <a:lnTo>
                    <a:pt x="257" y="135"/>
                  </a:lnTo>
                  <a:lnTo>
                    <a:pt x="244" y="131"/>
                  </a:lnTo>
                  <a:lnTo>
                    <a:pt x="242" y="125"/>
                  </a:lnTo>
                  <a:lnTo>
                    <a:pt x="240" y="123"/>
                  </a:lnTo>
                  <a:lnTo>
                    <a:pt x="236" y="119"/>
                  </a:lnTo>
                  <a:lnTo>
                    <a:pt x="232" y="119"/>
                  </a:lnTo>
                  <a:lnTo>
                    <a:pt x="236" y="117"/>
                  </a:lnTo>
                  <a:lnTo>
                    <a:pt x="238" y="115"/>
                  </a:lnTo>
                  <a:lnTo>
                    <a:pt x="238" y="112"/>
                  </a:lnTo>
                  <a:lnTo>
                    <a:pt x="238" y="108"/>
                  </a:lnTo>
                  <a:lnTo>
                    <a:pt x="242" y="100"/>
                  </a:lnTo>
                  <a:lnTo>
                    <a:pt x="244" y="92"/>
                  </a:lnTo>
                  <a:lnTo>
                    <a:pt x="247" y="90"/>
                  </a:lnTo>
                  <a:lnTo>
                    <a:pt x="247" y="89"/>
                  </a:lnTo>
                  <a:lnTo>
                    <a:pt x="249" y="85"/>
                  </a:lnTo>
                  <a:lnTo>
                    <a:pt x="249" y="81"/>
                  </a:lnTo>
                  <a:lnTo>
                    <a:pt x="255" y="75"/>
                  </a:lnTo>
                  <a:lnTo>
                    <a:pt x="255" y="66"/>
                  </a:lnTo>
                  <a:lnTo>
                    <a:pt x="249" y="60"/>
                  </a:lnTo>
                  <a:lnTo>
                    <a:pt x="249" y="48"/>
                  </a:lnTo>
                  <a:lnTo>
                    <a:pt x="249" y="39"/>
                  </a:lnTo>
                  <a:lnTo>
                    <a:pt x="249" y="27"/>
                  </a:lnTo>
                  <a:lnTo>
                    <a:pt x="249" y="16"/>
                  </a:lnTo>
                  <a:lnTo>
                    <a:pt x="257" y="16"/>
                  </a:lnTo>
                  <a:lnTo>
                    <a:pt x="265" y="16"/>
                  </a:lnTo>
                  <a:lnTo>
                    <a:pt x="276" y="12"/>
                  </a:lnTo>
                  <a:lnTo>
                    <a:pt x="286" y="12"/>
                  </a:lnTo>
                  <a:lnTo>
                    <a:pt x="297" y="6"/>
                  </a:lnTo>
                  <a:lnTo>
                    <a:pt x="309" y="6"/>
                  </a:lnTo>
                  <a:lnTo>
                    <a:pt x="318" y="6"/>
                  </a:lnTo>
                  <a:lnTo>
                    <a:pt x="324" y="0"/>
                  </a:lnTo>
                  <a:lnTo>
                    <a:pt x="336" y="0"/>
                  </a:lnTo>
                  <a:lnTo>
                    <a:pt x="341" y="2"/>
                  </a:lnTo>
                  <a:lnTo>
                    <a:pt x="347" y="6"/>
                  </a:lnTo>
                  <a:lnTo>
                    <a:pt x="355" y="14"/>
                  </a:lnTo>
                  <a:lnTo>
                    <a:pt x="357" y="21"/>
                  </a:lnTo>
                  <a:lnTo>
                    <a:pt x="364" y="21"/>
                  </a:lnTo>
                  <a:lnTo>
                    <a:pt x="374" y="21"/>
                  </a:lnTo>
                  <a:lnTo>
                    <a:pt x="378" y="27"/>
                  </a:lnTo>
                  <a:lnTo>
                    <a:pt x="387" y="27"/>
                  </a:lnTo>
                  <a:lnTo>
                    <a:pt x="395" y="27"/>
                  </a:lnTo>
                  <a:lnTo>
                    <a:pt x="397" y="33"/>
                  </a:lnTo>
                  <a:lnTo>
                    <a:pt x="403" y="37"/>
                  </a:lnTo>
                  <a:lnTo>
                    <a:pt x="410" y="43"/>
                  </a:lnTo>
                  <a:lnTo>
                    <a:pt x="416" y="43"/>
                  </a:lnTo>
                  <a:lnTo>
                    <a:pt x="416" y="54"/>
                  </a:lnTo>
                  <a:lnTo>
                    <a:pt x="422" y="66"/>
                  </a:lnTo>
                  <a:lnTo>
                    <a:pt x="422" y="75"/>
                  </a:lnTo>
                  <a:lnTo>
                    <a:pt x="426" y="81"/>
                  </a:lnTo>
                  <a:lnTo>
                    <a:pt x="432" y="87"/>
                  </a:lnTo>
                  <a:lnTo>
                    <a:pt x="432" y="98"/>
                  </a:lnTo>
                  <a:lnTo>
                    <a:pt x="432" y="108"/>
                  </a:lnTo>
                  <a:lnTo>
                    <a:pt x="432" y="119"/>
                  </a:lnTo>
                  <a:lnTo>
                    <a:pt x="428" y="125"/>
                  </a:lnTo>
                  <a:lnTo>
                    <a:pt x="416" y="131"/>
                  </a:lnTo>
                  <a:lnTo>
                    <a:pt x="416" y="140"/>
                  </a:lnTo>
                  <a:lnTo>
                    <a:pt x="416" y="152"/>
                  </a:lnTo>
                  <a:lnTo>
                    <a:pt x="416" y="161"/>
                  </a:lnTo>
                  <a:lnTo>
                    <a:pt x="416" y="173"/>
                  </a:lnTo>
                  <a:lnTo>
                    <a:pt x="416" y="181"/>
                  </a:lnTo>
                  <a:lnTo>
                    <a:pt x="416" y="188"/>
                  </a:lnTo>
                  <a:lnTo>
                    <a:pt x="410" y="200"/>
                  </a:lnTo>
                  <a:lnTo>
                    <a:pt x="403" y="204"/>
                  </a:lnTo>
                  <a:lnTo>
                    <a:pt x="397" y="208"/>
                  </a:lnTo>
                  <a:lnTo>
                    <a:pt x="395" y="209"/>
                  </a:lnTo>
                  <a:lnTo>
                    <a:pt x="395" y="209"/>
                  </a:lnTo>
                  <a:lnTo>
                    <a:pt x="397" y="211"/>
                  </a:lnTo>
                  <a:lnTo>
                    <a:pt x="401" y="211"/>
                  </a:lnTo>
                  <a:lnTo>
                    <a:pt x="391" y="211"/>
                  </a:lnTo>
                  <a:lnTo>
                    <a:pt x="384" y="211"/>
                  </a:lnTo>
                  <a:lnTo>
                    <a:pt x="378" y="217"/>
                  </a:lnTo>
                  <a:lnTo>
                    <a:pt x="368" y="217"/>
                  </a:lnTo>
                  <a:lnTo>
                    <a:pt x="362" y="221"/>
                  </a:lnTo>
                  <a:lnTo>
                    <a:pt x="355" y="221"/>
                  </a:lnTo>
                  <a:lnTo>
                    <a:pt x="345" y="221"/>
                  </a:lnTo>
                  <a:lnTo>
                    <a:pt x="341" y="229"/>
                  </a:lnTo>
                  <a:lnTo>
                    <a:pt x="336" y="232"/>
                  </a:lnTo>
                  <a:lnTo>
                    <a:pt x="324" y="232"/>
                  </a:lnTo>
                  <a:lnTo>
                    <a:pt x="318" y="240"/>
                  </a:lnTo>
                  <a:lnTo>
                    <a:pt x="314" y="248"/>
                  </a:lnTo>
                  <a:lnTo>
                    <a:pt x="314" y="257"/>
                  </a:lnTo>
                  <a:lnTo>
                    <a:pt x="314" y="265"/>
                  </a:lnTo>
                  <a:lnTo>
                    <a:pt x="309" y="265"/>
                  </a:lnTo>
                  <a:lnTo>
                    <a:pt x="297" y="265"/>
                  </a:lnTo>
                  <a:lnTo>
                    <a:pt x="295" y="265"/>
                  </a:lnTo>
                  <a:lnTo>
                    <a:pt x="291" y="265"/>
                  </a:lnTo>
                  <a:lnTo>
                    <a:pt x="276" y="263"/>
                  </a:lnTo>
                  <a:lnTo>
                    <a:pt x="265" y="259"/>
                  </a:lnTo>
                  <a:lnTo>
                    <a:pt x="255" y="265"/>
                  </a:lnTo>
                  <a:lnTo>
                    <a:pt x="249" y="277"/>
                  </a:lnTo>
                  <a:lnTo>
                    <a:pt x="242" y="280"/>
                  </a:lnTo>
                  <a:lnTo>
                    <a:pt x="238" y="286"/>
                  </a:lnTo>
                  <a:lnTo>
                    <a:pt x="238" y="298"/>
                  </a:lnTo>
                  <a:lnTo>
                    <a:pt x="226" y="307"/>
                  </a:lnTo>
                  <a:lnTo>
                    <a:pt x="224" y="307"/>
                  </a:lnTo>
                  <a:lnTo>
                    <a:pt x="222" y="307"/>
                  </a:lnTo>
                  <a:lnTo>
                    <a:pt x="217" y="307"/>
                  </a:lnTo>
                  <a:lnTo>
                    <a:pt x="211" y="307"/>
                  </a:lnTo>
                  <a:lnTo>
                    <a:pt x="205" y="311"/>
                  </a:lnTo>
                  <a:lnTo>
                    <a:pt x="201" y="311"/>
                  </a:lnTo>
                  <a:lnTo>
                    <a:pt x="197" y="309"/>
                  </a:lnTo>
                  <a:lnTo>
                    <a:pt x="196" y="303"/>
                  </a:lnTo>
                  <a:lnTo>
                    <a:pt x="196" y="313"/>
                  </a:lnTo>
                  <a:lnTo>
                    <a:pt x="192" y="315"/>
                  </a:lnTo>
                  <a:lnTo>
                    <a:pt x="190" y="317"/>
                  </a:lnTo>
                  <a:lnTo>
                    <a:pt x="190" y="321"/>
                  </a:lnTo>
                  <a:lnTo>
                    <a:pt x="190" y="325"/>
                  </a:lnTo>
                  <a:lnTo>
                    <a:pt x="186" y="325"/>
                  </a:lnTo>
                  <a:lnTo>
                    <a:pt x="184" y="328"/>
                  </a:lnTo>
                  <a:lnTo>
                    <a:pt x="184" y="330"/>
                  </a:lnTo>
                  <a:lnTo>
                    <a:pt x="184" y="336"/>
                  </a:lnTo>
                  <a:lnTo>
                    <a:pt x="173" y="336"/>
                  </a:lnTo>
                  <a:lnTo>
                    <a:pt x="163" y="336"/>
                  </a:lnTo>
                  <a:lnTo>
                    <a:pt x="151" y="336"/>
                  </a:lnTo>
                  <a:lnTo>
                    <a:pt x="144" y="336"/>
                  </a:lnTo>
                  <a:lnTo>
                    <a:pt x="136" y="336"/>
                  </a:lnTo>
                  <a:lnTo>
                    <a:pt x="130" y="340"/>
                  </a:lnTo>
                  <a:lnTo>
                    <a:pt x="119" y="340"/>
                  </a:lnTo>
                  <a:lnTo>
                    <a:pt x="107" y="340"/>
                  </a:lnTo>
                  <a:lnTo>
                    <a:pt x="98" y="336"/>
                  </a:lnTo>
                  <a:lnTo>
                    <a:pt x="86" y="336"/>
                  </a:lnTo>
                  <a:lnTo>
                    <a:pt x="77" y="336"/>
                  </a:lnTo>
                  <a:lnTo>
                    <a:pt x="65" y="336"/>
                  </a:lnTo>
                  <a:lnTo>
                    <a:pt x="57" y="336"/>
                  </a:lnTo>
                  <a:lnTo>
                    <a:pt x="50" y="336"/>
                  </a:lnTo>
                  <a:lnTo>
                    <a:pt x="50" y="327"/>
                  </a:lnTo>
                  <a:lnTo>
                    <a:pt x="50" y="319"/>
                  </a:lnTo>
                  <a:lnTo>
                    <a:pt x="40" y="315"/>
                  </a:lnTo>
                  <a:lnTo>
                    <a:pt x="32" y="307"/>
                  </a:lnTo>
                  <a:lnTo>
                    <a:pt x="23" y="303"/>
                  </a:lnTo>
                  <a:lnTo>
                    <a:pt x="11" y="298"/>
                  </a:lnTo>
                  <a:lnTo>
                    <a:pt x="6" y="286"/>
                  </a:lnTo>
                  <a:lnTo>
                    <a:pt x="6" y="279"/>
                  </a:lnTo>
                  <a:lnTo>
                    <a:pt x="6" y="271"/>
                  </a:lnTo>
                  <a:lnTo>
                    <a:pt x="11" y="265"/>
                  </a:lnTo>
                  <a:lnTo>
                    <a:pt x="6" y="248"/>
                  </a:lnTo>
                  <a:lnTo>
                    <a:pt x="6" y="238"/>
                  </a:lnTo>
                  <a:lnTo>
                    <a:pt x="6" y="227"/>
                  </a:lnTo>
                  <a:lnTo>
                    <a:pt x="6" y="217"/>
                  </a:lnTo>
                  <a:lnTo>
                    <a:pt x="6" y="206"/>
                  </a:lnTo>
                  <a:lnTo>
                    <a:pt x="6" y="200"/>
                  </a:lnTo>
                  <a:lnTo>
                    <a:pt x="6" y="196"/>
                  </a:lnTo>
                  <a:lnTo>
                    <a:pt x="4" y="190"/>
                  </a:lnTo>
                  <a:lnTo>
                    <a:pt x="0" y="188"/>
                  </a:lnTo>
                  <a:lnTo>
                    <a:pt x="6" y="179"/>
                  </a:lnTo>
                  <a:lnTo>
                    <a:pt x="6" y="177"/>
                  </a:lnTo>
                  <a:lnTo>
                    <a:pt x="6" y="185"/>
                  </a:lnTo>
                  <a:lnTo>
                    <a:pt x="13" y="185"/>
                  </a:lnTo>
                  <a:lnTo>
                    <a:pt x="21" y="185"/>
                  </a:lnTo>
                  <a:lnTo>
                    <a:pt x="27" y="179"/>
                  </a:lnTo>
                  <a:lnTo>
                    <a:pt x="38" y="179"/>
                  </a:lnTo>
                  <a:lnTo>
                    <a:pt x="50" y="179"/>
                  </a:lnTo>
                  <a:lnTo>
                    <a:pt x="59" y="179"/>
                  </a:lnTo>
                  <a:lnTo>
                    <a:pt x="71" y="179"/>
                  </a:lnTo>
                  <a:lnTo>
                    <a:pt x="71" y="167"/>
                  </a:lnTo>
                  <a:lnTo>
                    <a:pt x="73" y="156"/>
                  </a:lnTo>
                  <a:lnTo>
                    <a:pt x="77" y="146"/>
                  </a:lnTo>
                  <a:lnTo>
                    <a:pt x="77" y="131"/>
                  </a:lnTo>
                  <a:lnTo>
                    <a:pt x="77" y="121"/>
                  </a:lnTo>
                  <a:lnTo>
                    <a:pt x="77" y="114"/>
                  </a:lnTo>
                  <a:lnTo>
                    <a:pt x="77" y="10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7" name="Freeform 13"/>
            <p:cNvSpPr>
              <a:spLocks/>
            </p:cNvSpPr>
            <p:nvPr/>
          </p:nvSpPr>
          <p:spPr bwMode="auto">
            <a:xfrm>
              <a:off x="2269" y="3280"/>
              <a:ext cx="59" cy="3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54" y="13"/>
                </a:cxn>
                <a:cxn ang="0">
                  <a:pos x="59" y="27"/>
                </a:cxn>
                <a:cxn ang="0">
                  <a:pos x="52" y="27"/>
                </a:cxn>
                <a:cxn ang="0">
                  <a:pos x="42" y="27"/>
                </a:cxn>
                <a:cxn ang="0">
                  <a:pos x="38" y="34"/>
                </a:cxn>
                <a:cxn ang="0">
                  <a:pos x="33" y="38"/>
                </a:cxn>
                <a:cxn ang="0">
                  <a:pos x="21" y="38"/>
                </a:cxn>
                <a:cxn ang="0">
                  <a:pos x="11" y="38"/>
                </a:cxn>
                <a:cxn ang="0">
                  <a:pos x="6" y="33"/>
                </a:cxn>
                <a:cxn ang="0">
                  <a:pos x="0" y="27"/>
                </a:cxn>
                <a:cxn ang="0">
                  <a:pos x="6" y="21"/>
                </a:cxn>
                <a:cxn ang="0">
                  <a:pos x="6" y="9"/>
                </a:cxn>
                <a:cxn ang="0">
                  <a:pos x="15" y="6"/>
                </a:cxn>
                <a:cxn ang="0">
                  <a:pos x="19" y="6"/>
                </a:cxn>
                <a:cxn ang="0">
                  <a:pos x="21" y="6"/>
                </a:cxn>
                <a:cxn ang="0">
                  <a:pos x="27" y="6"/>
                </a:cxn>
                <a:cxn ang="0">
                  <a:pos x="38" y="6"/>
                </a:cxn>
                <a:cxn ang="0">
                  <a:pos x="48" y="6"/>
                </a:cxn>
                <a:cxn ang="0">
                  <a:pos x="48" y="0"/>
                </a:cxn>
              </a:cxnLst>
              <a:rect l="0" t="0" r="r" b="b"/>
              <a:pathLst>
                <a:path w="59" h="38">
                  <a:moveTo>
                    <a:pt x="48" y="0"/>
                  </a:moveTo>
                  <a:lnTo>
                    <a:pt x="54" y="13"/>
                  </a:lnTo>
                  <a:lnTo>
                    <a:pt x="59" y="27"/>
                  </a:lnTo>
                  <a:lnTo>
                    <a:pt x="52" y="27"/>
                  </a:lnTo>
                  <a:lnTo>
                    <a:pt x="42" y="27"/>
                  </a:lnTo>
                  <a:lnTo>
                    <a:pt x="38" y="34"/>
                  </a:lnTo>
                  <a:lnTo>
                    <a:pt x="33" y="38"/>
                  </a:lnTo>
                  <a:lnTo>
                    <a:pt x="21" y="38"/>
                  </a:lnTo>
                  <a:lnTo>
                    <a:pt x="11" y="38"/>
                  </a:lnTo>
                  <a:lnTo>
                    <a:pt x="6" y="33"/>
                  </a:lnTo>
                  <a:lnTo>
                    <a:pt x="0" y="27"/>
                  </a:lnTo>
                  <a:lnTo>
                    <a:pt x="6" y="21"/>
                  </a:lnTo>
                  <a:lnTo>
                    <a:pt x="6" y="9"/>
                  </a:lnTo>
                  <a:lnTo>
                    <a:pt x="15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38" y="6"/>
                  </a:lnTo>
                  <a:lnTo>
                    <a:pt x="48" y="6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8" name="Freeform 14"/>
            <p:cNvSpPr>
              <a:spLocks/>
            </p:cNvSpPr>
            <p:nvPr/>
          </p:nvSpPr>
          <p:spPr bwMode="auto">
            <a:xfrm>
              <a:off x="2269" y="3280"/>
              <a:ext cx="59" cy="3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54" y="13"/>
                </a:cxn>
                <a:cxn ang="0">
                  <a:pos x="59" y="27"/>
                </a:cxn>
                <a:cxn ang="0">
                  <a:pos x="52" y="27"/>
                </a:cxn>
                <a:cxn ang="0">
                  <a:pos x="42" y="27"/>
                </a:cxn>
                <a:cxn ang="0">
                  <a:pos x="38" y="34"/>
                </a:cxn>
                <a:cxn ang="0">
                  <a:pos x="33" y="38"/>
                </a:cxn>
                <a:cxn ang="0">
                  <a:pos x="21" y="38"/>
                </a:cxn>
                <a:cxn ang="0">
                  <a:pos x="11" y="38"/>
                </a:cxn>
                <a:cxn ang="0">
                  <a:pos x="6" y="33"/>
                </a:cxn>
                <a:cxn ang="0">
                  <a:pos x="0" y="27"/>
                </a:cxn>
                <a:cxn ang="0">
                  <a:pos x="6" y="21"/>
                </a:cxn>
                <a:cxn ang="0">
                  <a:pos x="6" y="9"/>
                </a:cxn>
                <a:cxn ang="0">
                  <a:pos x="15" y="6"/>
                </a:cxn>
                <a:cxn ang="0">
                  <a:pos x="19" y="6"/>
                </a:cxn>
                <a:cxn ang="0">
                  <a:pos x="21" y="6"/>
                </a:cxn>
                <a:cxn ang="0">
                  <a:pos x="27" y="6"/>
                </a:cxn>
                <a:cxn ang="0">
                  <a:pos x="38" y="6"/>
                </a:cxn>
                <a:cxn ang="0">
                  <a:pos x="48" y="6"/>
                </a:cxn>
                <a:cxn ang="0">
                  <a:pos x="48" y="0"/>
                </a:cxn>
              </a:cxnLst>
              <a:rect l="0" t="0" r="r" b="b"/>
              <a:pathLst>
                <a:path w="59" h="38">
                  <a:moveTo>
                    <a:pt x="48" y="0"/>
                  </a:moveTo>
                  <a:lnTo>
                    <a:pt x="54" y="13"/>
                  </a:lnTo>
                  <a:lnTo>
                    <a:pt x="59" y="27"/>
                  </a:lnTo>
                  <a:lnTo>
                    <a:pt x="52" y="27"/>
                  </a:lnTo>
                  <a:lnTo>
                    <a:pt x="42" y="27"/>
                  </a:lnTo>
                  <a:lnTo>
                    <a:pt x="38" y="34"/>
                  </a:lnTo>
                  <a:lnTo>
                    <a:pt x="33" y="38"/>
                  </a:lnTo>
                  <a:lnTo>
                    <a:pt x="21" y="38"/>
                  </a:lnTo>
                  <a:lnTo>
                    <a:pt x="11" y="38"/>
                  </a:lnTo>
                  <a:lnTo>
                    <a:pt x="6" y="33"/>
                  </a:lnTo>
                  <a:lnTo>
                    <a:pt x="0" y="27"/>
                  </a:lnTo>
                  <a:lnTo>
                    <a:pt x="6" y="21"/>
                  </a:lnTo>
                  <a:lnTo>
                    <a:pt x="6" y="9"/>
                  </a:lnTo>
                  <a:lnTo>
                    <a:pt x="15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38" y="6"/>
                  </a:lnTo>
                  <a:lnTo>
                    <a:pt x="48" y="6"/>
                  </a:lnTo>
                  <a:lnTo>
                    <a:pt x="48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39" name="Freeform 15"/>
            <p:cNvSpPr>
              <a:spLocks/>
            </p:cNvSpPr>
            <p:nvPr/>
          </p:nvSpPr>
          <p:spPr bwMode="auto">
            <a:xfrm>
              <a:off x="2280" y="2702"/>
              <a:ext cx="375" cy="641"/>
            </a:xfrm>
            <a:custGeom>
              <a:avLst/>
              <a:gdLst/>
              <a:ahLst/>
              <a:cxnLst>
                <a:cxn ang="0">
                  <a:pos x="68" y="614"/>
                </a:cxn>
                <a:cxn ang="0">
                  <a:pos x="70" y="587"/>
                </a:cxn>
                <a:cxn ang="0">
                  <a:pos x="77" y="561"/>
                </a:cxn>
                <a:cxn ang="0">
                  <a:pos x="106" y="549"/>
                </a:cxn>
                <a:cxn ang="0">
                  <a:pos x="144" y="541"/>
                </a:cxn>
                <a:cxn ang="0">
                  <a:pos x="162" y="522"/>
                </a:cxn>
                <a:cxn ang="0">
                  <a:pos x="171" y="455"/>
                </a:cxn>
                <a:cxn ang="0">
                  <a:pos x="166" y="396"/>
                </a:cxn>
                <a:cxn ang="0">
                  <a:pos x="146" y="378"/>
                </a:cxn>
                <a:cxn ang="0">
                  <a:pos x="167" y="353"/>
                </a:cxn>
                <a:cxn ang="0">
                  <a:pos x="200" y="323"/>
                </a:cxn>
                <a:cxn ang="0">
                  <a:pos x="225" y="303"/>
                </a:cxn>
                <a:cxn ang="0">
                  <a:pos x="238" y="286"/>
                </a:cxn>
                <a:cxn ang="0">
                  <a:pos x="265" y="269"/>
                </a:cxn>
                <a:cxn ang="0">
                  <a:pos x="294" y="254"/>
                </a:cxn>
                <a:cxn ang="0">
                  <a:pos x="331" y="242"/>
                </a:cxn>
                <a:cxn ang="0">
                  <a:pos x="348" y="221"/>
                </a:cxn>
                <a:cxn ang="0">
                  <a:pos x="359" y="196"/>
                </a:cxn>
                <a:cxn ang="0">
                  <a:pos x="373" y="177"/>
                </a:cxn>
                <a:cxn ang="0">
                  <a:pos x="375" y="135"/>
                </a:cxn>
                <a:cxn ang="0">
                  <a:pos x="363" y="44"/>
                </a:cxn>
                <a:cxn ang="0">
                  <a:pos x="367" y="10"/>
                </a:cxn>
                <a:cxn ang="0">
                  <a:pos x="359" y="6"/>
                </a:cxn>
                <a:cxn ang="0">
                  <a:pos x="332" y="27"/>
                </a:cxn>
                <a:cxn ang="0">
                  <a:pos x="290" y="41"/>
                </a:cxn>
                <a:cxn ang="0">
                  <a:pos x="229" y="50"/>
                </a:cxn>
                <a:cxn ang="0">
                  <a:pos x="169" y="48"/>
                </a:cxn>
                <a:cxn ang="0">
                  <a:pos x="156" y="69"/>
                </a:cxn>
                <a:cxn ang="0">
                  <a:pos x="150" y="102"/>
                </a:cxn>
                <a:cxn ang="0">
                  <a:pos x="166" y="131"/>
                </a:cxn>
                <a:cxn ang="0">
                  <a:pos x="183" y="165"/>
                </a:cxn>
                <a:cxn ang="0">
                  <a:pos x="196" y="204"/>
                </a:cxn>
                <a:cxn ang="0">
                  <a:pos x="183" y="225"/>
                </a:cxn>
                <a:cxn ang="0">
                  <a:pos x="164" y="250"/>
                </a:cxn>
                <a:cxn ang="0">
                  <a:pos x="154" y="225"/>
                </a:cxn>
                <a:cxn ang="0">
                  <a:pos x="137" y="194"/>
                </a:cxn>
                <a:cxn ang="0">
                  <a:pos x="142" y="163"/>
                </a:cxn>
                <a:cxn ang="0">
                  <a:pos x="108" y="154"/>
                </a:cxn>
                <a:cxn ang="0">
                  <a:pos x="77" y="140"/>
                </a:cxn>
                <a:cxn ang="0">
                  <a:pos x="45" y="150"/>
                </a:cxn>
                <a:cxn ang="0">
                  <a:pos x="18" y="163"/>
                </a:cxn>
                <a:cxn ang="0">
                  <a:pos x="0" y="183"/>
                </a:cxn>
                <a:cxn ang="0">
                  <a:pos x="24" y="215"/>
                </a:cxn>
                <a:cxn ang="0">
                  <a:pos x="56" y="227"/>
                </a:cxn>
                <a:cxn ang="0">
                  <a:pos x="81" y="238"/>
                </a:cxn>
                <a:cxn ang="0">
                  <a:pos x="98" y="252"/>
                </a:cxn>
                <a:cxn ang="0">
                  <a:pos x="102" y="294"/>
                </a:cxn>
                <a:cxn ang="0">
                  <a:pos x="93" y="321"/>
                </a:cxn>
                <a:cxn ang="0">
                  <a:pos x="85" y="348"/>
                </a:cxn>
                <a:cxn ang="0">
                  <a:pos x="81" y="374"/>
                </a:cxn>
                <a:cxn ang="0">
                  <a:pos x="70" y="407"/>
                </a:cxn>
                <a:cxn ang="0">
                  <a:pos x="54" y="426"/>
                </a:cxn>
                <a:cxn ang="0">
                  <a:pos x="31" y="440"/>
                </a:cxn>
                <a:cxn ang="0">
                  <a:pos x="24" y="472"/>
                </a:cxn>
                <a:cxn ang="0">
                  <a:pos x="33" y="499"/>
                </a:cxn>
                <a:cxn ang="0">
                  <a:pos x="50" y="528"/>
                </a:cxn>
                <a:cxn ang="0">
                  <a:pos x="45" y="570"/>
                </a:cxn>
                <a:cxn ang="0">
                  <a:pos x="47" y="599"/>
                </a:cxn>
              </a:cxnLst>
              <a:rect l="0" t="0" r="r" b="b"/>
              <a:pathLst>
                <a:path w="375" h="641">
                  <a:moveTo>
                    <a:pt x="52" y="641"/>
                  </a:moveTo>
                  <a:lnTo>
                    <a:pt x="54" y="637"/>
                  </a:lnTo>
                  <a:lnTo>
                    <a:pt x="56" y="634"/>
                  </a:lnTo>
                  <a:lnTo>
                    <a:pt x="56" y="630"/>
                  </a:lnTo>
                  <a:lnTo>
                    <a:pt x="56" y="630"/>
                  </a:lnTo>
                  <a:lnTo>
                    <a:pt x="58" y="626"/>
                  </a:lnTo>
                  <a:lnTo>
                    <a:pt x="60" y="626"/>
                  </a:lnTo>
                  <a:lnTo>
                    <a:pt x="62" y="624"/>
                  </a:lnTo>
                  <a:lnTo>
                    <a:pt x="66" y="620"/>
                  </a:lnTo>
                  <a:lnTo>
                    <a:pt x="68" y="614"/>
                  </a:lnTo>
                  <a:lnTo>
                    <a:pt x="70" y="612"/>
                  </a:lnTo>
                  <a:lnTo>
                    <a:pt x="73" y="611"/>
                  </a:lnTo>
                  <a:lnTo>
                    <a:pt x="73" y="607"/>
                  </a:lnTo>
                  <a:lnTo>
                    <a:pt x="75" y="605"/>
                  </a:lnTo>
                  <a:lnTo>
                    <a:pt x="75" y="597"/>
                  </a:lnTo>
                  <a:lnTo>
                    <a:pt x="75" y="591"/>
                  </a:lnTo>
                  <a:lnTo>
                    <a:pt x="75" y="589"/>
                  </a:lnTo>
                  <a:lnTo>
                    <a:pt x="73" y="587"/>
                  </a:lnTo>
                  <a:lnTo>
                    <a:pt x="70" y="587"/>
                  </a:lnTo>
                  <a:lnTo>
                    <a:pt x="70" y="587"/>
                  </a:lnTo>
                  <a:lnTo>
                    <a:pt x="66" y="586"/>
                  </a:lnTo>
                  <a:lnTo>
                    <a:pt x="66" y="578"/>
                  </a:lnTo>
                  <a:lnTo>
                    <a:pt x="68" y="574"/>
                  </a:lnTo>
                  <a:lnTo>
                    <a:pt x="68" y="570"/>
                  </a:lnTo>
                  <a:lnTo>
                    <a:pt x="70" y="570"/>
                  </a:lnTo>
                  <a:lnTo>
                    <a:pt x="70" y="568"/>
                  </a:lnTo>
                  <a:lnTo>
                    <a:pt x="71" y="566"/>
                  </a:lnTo>
                  <a:lnTo>
                    <a:pt x="75" y="566"/>
                  </a:lnTo>
                  <a:lnTo>
                    <a:pt x="75" y="564"/>
                  </a:lnTo>
                  <a:lnTo>
                    <a:pt x="77" y="561"/>
                  </a:lnTo>
                  <a:lnTo>
                    <a:pt x="81" y="561"/>
                  </a:lnTo>
                  <a:lnTo>
                    <a:pt x="83" y="557"/>
                  </a:lnTo>
                  <a:lnTo>
                    <a:pt x="83" y="557"/>
                  </a:lnTo>
                  <a:lnTo>
                    <a:pt x="87" y="555"/>
                  </a:lnTo>
                  <a:lnTo>
                    <a:pt x="91" y="553"/>
                  </a:lnTo>
                  <a:lnTo>
                    <a:pt x="93" y="551"/>
                  </a:lnTo>
                  <a:lnTo>
                    <a:pt x="96" y="551"/>
                  </a:lnTo>
                  <a:lnTo>
                    <a:pt x="100" y="551"/>
                  </a:lnTo>
                  <a:lnTo>
                    <a:pt x="102" y="551"/>
                  </a:lnTo>
                  <a:lnTo>
                    <a:pt x="106" y="549"/>
                  </a:lnTo>
                  <a:lnTo>
                    <a:pt x="108" y="547"/>
                  </a:lnTo>
                  <a:lnTo>
                    <a:pt x="110" y="547"/>
                  </a:lnTo>
                  <a:lnTo>
                    <a:pt x="118" y="547"/>
                  </a:lnTo>
                  <a:lnTo>
                    <a:pt x="119" y="545"/>
                  </a:lnTo>
                  <a:lnTo>
                    <a:pt x="127" y="545"/>
                  </a:lnTo>
                  <a:lnTo>
                    <a:pt x="133" y="545"/>
                  </a:lnTo>
                  <a:lnTo>
                    <a:pt x="135" y="545"/>
                  </a:lnTo>
                  <a:lnTo>
                    <a:pt x="137" y="543"/>
                  </a:lnTo>
                  <a:lnTo>
                    <a:pt x="141" y="541"/>
                  </a:lnTo>
                  <a:lnTo>
                    <a:pt x="144" y="541"/>
                  </a:lnTo>
                  <a:lnTo>
                    <a:pt x="146" y="538"/>
                  </a:lnTo>
                  <a:lnTo>
                    <a:pt x="150" y="536"/>
                  </a:lnTo>
                  <a:lnTo>
                    <a:pt x="152" y="534"/>
                  </a:lnTo>
                  <a:lnTo>
                    <a:pt x="154" y="532"/>
                  </a:lnTo>
                  <a:lnTo>
                    <a:pt x="154" y="530"/>
                  </a:lnTo>
                  <a:lnTo>
                    <a:pt x="156" y="530"/>
                  </a:lnTo>
                  <a:lnTo>
                    <a:pt x="158" y="528"/>
                  </a:lnTo>
                  <a:lnTo>
                    <a:pt x="160" y="526"/>
                  </a:lnTo>
                  <a:lnTo>
                    <a:pt x="160" y="524"/>
                  </a:lnTo>
                  <a:lnTo>
                    <a:pt x="162" y="522"/>
                  </a:lnTo>
                  <a:lnTo>
                    <a:pt x="164" y="522"/>
                  </a:lnTo>
                  <a:lnTo>
                    <a:pt x="164" y="516"/>
                  </a:lnTo>
                  <a:lnTo>
                    <a:pt x="164" y="516"/>
                  </a:lnTo>
                  <a:lnTo>
                    <a:pt x="164" y="513"/>
                  </a:lnTo>
                  <a:lnTo>
                    <a:pt x="166" y="507"/>
                  </a:lnTo>
                  <a:lnTo>
                    <a:pt x="167" y="503"/>
                  </a:lnTo>
                  <a:lnTo>
                    <a:pt x="167" y="499"/>
                  </a:lnTo>
                  <a:lnTo>
                    <a:pt x="169" y="497"/>
                  </a:lnTo>
                  <a:lnTo>
                    <a:pt x="169" y="459"/>
                  </a:lnTo>
                  <a:lnTo>
                    <a:pt x="171" y="455"/>
                  </a:lnTo>
                  <a:lnTo>
                    <a:pt x="171" y="453"/>
                  </a:lnTo>
                  <a:lnTo>
                    <a:pt x="171" y="449"/>
                  </a:lnTo>
                  <a:lnTo>
                    <a:pt x="171" y="445"/>
                  </a:lnTo>
                  <a:lnTo>
                    <a:pt x="171" y="430"/>
                  </a:lnTo>
                  <a:lnTo>
                    <a:pt x="171" y="413"/>
                  </a:lnTo>
                  <a:lnTo>
                    <a:pt x="171" y="411"/>
                  </a:lnTo>
                  <a:lnTo>
                    <a:pt x="171" y="409"/>
                  </a:lnTo>
                  <a:lnTo>
                    <a:pt x="167" y="403"/>
                  </a:lnTo>
                  <a:lnTo>
                    <a:pt x="166" y="399"/>
                  </a:lnTo>
                  <a:lnTo>
                    <a:pt x="166" y="396"/>
                  </a:lnTo>
                  <a:lnTo>
                    <a:pt x="164" y="392"/>
                  </a:lnTo>
                  <a:lnTo>
                    <a:pt x="162" y="392"/>
                  </a:lnTo>
                  <a:lnTo>
                    <a:pt x="162" y="388"/>
                  </a:lnTo>
                  <a:lnTo>
                    <a:pt x="158" y="388"/>
                  </a:lnTo>
                  <a:lnTo>
                    <a:pt x="156" y="386"/>
                  </a:lnTo>
                  <a:lnTo>
                    <a:pt x="154" y="384"/>
                  </a:lnTo>
                  <a:lnTo>
                    <a:pt x="154" y="382"/>
                  </a:lnTo>
                  <a:lnTo>
                    <a:pt x="152" y="380"/>
                  </a:lnTo>
                  <a:lnTo>
                    <a:pt x="150" y="378"/>
                  </a:lnTo>
                  <a:lnTo>
                    <a:pt x="146" y="378"/>
                  </a:lnTo>
                  <a:lnTo>
                    <a:pt x="146" y="374"/>
                  </a:lnTo>
                  <a:lnTo>
                    <a:pt x="148" y="371"/>
                  </a:lnTo>
                  <a:lnTo>
                    <a:pt x="148" y="367"/>
                  </a:lnTo>
                  <a:lnTo>
                    <a:pt x="150" y="365"/>
                  </a:lnTo>
                  <a:lnTo>
                    <a:pt x="150" y="361"/>
                  </a:lnTo>
                  <a:lnTo>
                    <a:pt x="152" y="359"/>
                  </a:lnTo>
                  <a:lnTo>
                    <a:pt x="152" y="357"/>
                  </a:lnTo>
                  <a:lnTo>
                    <a:pt x="152" y="355"/>
                  </a:lnTo>
                  <a:lnTo>
                    <a:pt x="154" y="353"/>
                  </a:lnTo>
                  <a:lnTo>
                    <a:pt x="167" y="353"/>
                  </a:lnTo>
                  <a:lnTo>
                    <a:pt x="167" y="351"/>
                  </a:lnTo>
                  <a:lnTo>
                    <a:pt x="169" y="350"/>
                  </a:lnTo>
                  <a:lnTo>
                    <a:pt x="173" y="348"/>
                  </a:lnTo>
                  <a:lnTo>
                    <a:pt x="175" y="344"/>
                  </a:lnTo>
                  <a:lnTo>
                    <a:pt x="179" y="342"/>
                  </a:lnTo>
                  <a:lnTo>
                    <a:pt x="181" y="340"/>
                  </a:lnTo>
                  <a:lnTo>
                    <a:pt x="189" y="336"/>
                  </a:lnTo>
                  <a:lnTo>
                    <a:pt x="194" y="330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6" y="319"/>
                  </a:lnTo>
                  <a:lnTo>
                    <a:pt x="208" y="315"/>
                  </a:lnTo>
                  <a:lnTo>
                    <a:pt x="213" y="315"/>
                  </a:lnTo>
                  <a:lnTo>
                    <a:pt x="215" y="313"/>
                  </a:lnTo>
                  <a:lnTo>
                    <a:pt x="219" y="311"/>
                  </a:lnTo>
                  <a:lnTo>
                    <a:pt x="221" y="311"/>
                  </a:lnTo>
                  <a:lnTo>
                    <a:pt x="223" y="309"/>
                  </a:lnTo>
                  <a:lnTo>
                    <a:pt x="225" y="307"/>
                  </a:lnTo>
                  <a:lnTo>
                    <a:pt x="225" y="305"/>
                  </a:lnTo>
                  <a:lnTo>
                    <a:pt x="225" y="303"/>
                  </a:lnTo>
                  <a:lnTo>
                    <a:pt x="227" y="302"/>
                  </a:lnTo>
                  <a:lnTo>
                    <a:pt x="229" y="300"/>
                  </a:lnTo>
                  <a:lnTo>
                    <a:pt x="231" y="300"/>
                  </a:lnTo>
                  <a:lnTo>
                    <a:pt x="233" y="298"/>
                  </a:lnTo>
                  <a:lnTo>
                    <a:pt x="233" y="296"/>
                  </a:lnTo>
                  <a:lnTo>
                    <a:pt x="233" y="294"/>
                  </a:lnTo>
                  <a:lnTo>
                    <a:pt x="235" y="292"/>
                  </a:lnTo>
                  <a:lnTo>
                    <a:pt x="237" y="290"/>
                  </a:lnTo>
                  <a:lnTo>
                    <a:pt x="238" y="290"/>
                  </a:lnTo>
                  <a:lnTo>
                    <a:pt x="238" y="286"/>
                  </a:lnTo>
                  <a:lnTo>
                    <a:pt x="240" y="286"/>
                  </a:lnTo>
                  <a:lnTo>
                    <a:pt x="242" y="282"/>
                  </a:lnTo>
                  <a:lnTo>
                    <a:pt x="246" y="279"/>
                  </a:lnTo>
                  <a:lnTo>
                    <a:pt x="248" y="279"/>
                  </a:lnTo>
                  <a:lnTo>
                    <a:pt x="252" y="277"/>
                  </a:lnTo>
                  <a:lnTo>
                    <a:pt x="254" y="275"/>
                  </a:lnTo>
                  <a:lnTo>
                    <a:pt x="258" y="273"/>
                  </a:lnTo>
                  <a:lnTo>
                    <a:pt x="260" y="273"/>
                  </a:lnTo>
                  <a:lnTo>
                    <a:pt x="263" y="269"/>
                  </a:lnTo>
                  <a:lnTo>
                    <a:pt x="265" y="269"/>
                  </a:lnTo>
                  <a:lnTo>
                    <a:pt x="267" y="269"/>
                  </a:lnTo>
                  <a:lnTo>
                    <a:pt x="271" y="269"/>
                  </a:lnTo>
                  <a:lnTo>
                    <a:pt x="275" y="267"/>
                  </a:lnTo>
                  <a:lnTo>
                    <a:pt x="277" y="265"/>
                  </a:lnTo>
                  <a:lnTo>
                    <a:pt x="279" y="259"/>
                  </a:lnTo>
                  <a:lnTo>
                    <a:pt x="283" y="259"/>
                  </a:lnTo>
                  <a:lnTo>
                    <a:pt x="284" y="259"/>
                  </a:lnTo>
                  <a:lnTo>
                    <a:pt x="286" y="257"/>
                  </a:lnTo>
                  <a:lnTo>
                    <a:pt x="290" y="254"/>
                  </a:lnTo>
                  <a:lnTo>
                    <a:pt x="294" y="254"/>
                  </a:lnTo>
                  <a:lnTo>
                    <a:pt x="298" y="252"/>
                  </a:lnTo>
                  <a:lnTo>
                    <a:pt x="306" y="252"/>
                  </a:lnTo>
                  <a:lnTo>
                    <a:pt x="309" y="252"/>
                  </a:lnTo>
                  <a:lnTo>
                    <a:pt x="311" y="252"/>
                  </a:lnTo>
                  <a:lnTo>
                    <a:pt x="313" y="250"/>
                  </a:lnTo>
                  <a:lnTo>
                    <a:pt x="317" y="248"/>
                  </a:lnTo>
                  <a:lnTo>
                    <a:pt x="321" y="246"/>
                  </a:lnTo>
                  <a:lnTo>
                    <a:pt x="321" y="242"/>
                  </a:lnTo>
                  <a:lnTo>
                    <a:pt x="329" y="242"/>
                  </a:lnTo>
                  <a:lnTo>
                    <a:pt x="331" y="242"/>
                  </a:lnTo>
                  <a:lnTo>
                    <a:pt x="332" y="242"/>
                  </a:lnTo>
                  <a:lnTo>
                    <a:pt x="334" y="240"/>
                  </a:lnTo>
                  <a:lnTo>
                    <a:pt x="336" y="238"/>
                  </a:lnTo>
                  <a:lnTo>
                    <a:pt x="338" y="236"/>
                  </a:lnTo>
                  <a:lnTo>
                    <a:pt x="338" y="234"/>
                  </a:lnTo>
                  <a:lnTo>
                    <a:pt x="340" y="232"/>
                  </a:lnTo>
                  <a:lnTo>
                    <a:pt x="342" y="229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1"/>
                  </a:lnTo>
                  <a:lnTo>
                    <a:pt x="348" y="217"/>
                  </a:lnTo>
                  <a:lnTo>
                    <a:pt x="350" y="217"/>
                  </a:lnTo>
                  <a:lnTo>
                    <a:pt x="352" y="215"/>
                  </a:lnTo>
                  <a:lnTo>
                    <a:pt x="352" y="209"/>
                  </a:lnTo>
                  <a:lnTo>
                    <a:pt x="354" y="208"/>
                  </a:lnTo>
                  <a:lnTo>
                    <a:pt x="354" y="206"/>
                  </a:lnTo>
                  <a:lnTo>
                    <a:pt x="355" y="202"/>
                  </a:lnTo>
                  <a:lnTo>
                    <a:pt x="357" y="200"/>
                  </a:lnTo>
                  <a:lnTo>
                    <a:pt x="359" y="198"/>
                  </a:lnTo>
                  <a:lnTo>
                    <a:pt x="359" y="196"/>
                  </a:lnTo>
                  <a:lnTo>
                    <a:pt x="361" y="194"/>
                  </a:lnTo>
                  <a:lnTo>
                    <a:pt x="363" y="194"/>
                  </a:lnTo>
                  <a:lnTo>
                    <a:pt x="363" y="192"/>
                  </a:lnTo>
                  <a:lnTo>
                    <a:pt x="365" y="190"/>
                  </a:lnTo>
                  <a:lnTo>
                    <a:pt x="367" y="186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1"/>
                  </a:lnTo>
                  <a:lnTo>
                    <a:pt x="371" y="179"/>
                  </a:lnTo>
                  <a:lnTo>
                    <a:pt x="373" y="177"/>
                  </a:lnTo>
                  <a:lnTo>
                    <a:pt x="373" y="175"/>
                  </a:lnTo>
                  <a:lnTo>
                    <a:pt x="375" y="171"/>
                  </a:lnTo>
                  <a:lnTo>
                    <a:pt x="375" y="165"/>
                  </a:lnTo>
                  <a:lnTo>
                    <a:pt x="375" y="158"/>
                  </a:lnTo>
                  <a:lnTo>
                    <a:pt x="375" y="156"/>
                  </a:lnTo>
                  <a:lnTo>
                    <a:pt x="375" y="152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5" y="140"/>
                  </a:lnTo>
                  <a:lnTo>
                    <a:pt x="375" y="135"/>
                  </a:lnTo>
                  <a:lnTo>
                    <a:pt x="373" y="131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1" y="123"/>
                  </a:lnTo>
                  <a:lnTo>
                    <a:pt x="367" y="119"/>
                  </a:lnTo>
                  <a:lnTo>
                    <a:pt x="365" y="117"/>
                  </a:lnTo>
                  <a:lnTo>
                    <a:pt x="365" y="114"/>
                  </a:lnTo>
                  <a:lnTo>
                    <a:pt x="365" y="110"/>
                  </a:lnTo>
                  <a:lnTo>
                    <a:pt x="363" y="104"/>
                  </a:lnTo>
                  <a:lnTo>
                    <a:pt x="363" y="44"/>
                  </a:lnTo>
                  <a:lnTo>
                    <a:pt x="365" y="41"/>
                  </a:lnTo>
                  <a:lnTo>
                    <a:pt x="365" y="37"/>
                  </a:lnTo>
                  <a:lnTo>
                    <a:pt x="365" y="33"/>
                  </a:lnTo>
                  <a:lnTo>
                    <a:pt x="365" y="31"/>
                  </a:lnTo>
                  <a:lnTo>
                    <a:pt x="365" y="27"/>
                  </a:lnTo>
                  <a:lnTo>
                    <a:pt x="365" y="23"/>
                  </a:lnTo>
                  <a:lnTo>
                    <a:pt x="367" y="21"/>
                  </a:lnTo>
                  <a:lnTo>
                    <a:pt x="367" y="16"/>
                  </a:lnTo>
                  <a:lnTo>
                    <a:pt x="367" y="12"/>
                  </a:lnTo>
                  <a:lnTo>
                    <a:pt x="367" y="10"/>
                  </a:lnTo>
                  <a:lnTo>
                    <a:pt x="365" y="6"/>
                  </a:lnTo>
                  <a:lnTo>
                    <a:pt x="365" y="4"/>
                  </a:lnTo>
                  <a:lnTo>
                    <a:pt x="363" y="2"/>
                  </a:lnTo>
                  <a:lnTo>
                    <a:pt x="361" y="2"/>
                  </a:lnTo>
                  <a:lnTo>
                    <a:pt x="361" y="0"/>
                  </a:lnTo>
                  <a:lnTo>
                    <a:pt x="361" y="0"/>
                  </a:lnTo>
                  <a:lnTo>
                    <a:pt x="361" y="0"/>
                  </a:lnTo>
                  <a:lnTo>
                    <a:pt x="363" y="2"/>
                  </a:lnTo>
                  <a:lnTo>
                    <a:pt x="361" y="4"/>
                  </a:lnTo>
                  <a:lnTo>
                    <a:pt x="359" y="6"/>
                  </a:lnTo>
                  <a:lnTo>
                    <a:pt x="357" y="8"/>
                  </a:lnTo>
                  <a:lnTo>
                    <a:pt x="355" y="10"/>
                  </a:lnTo>
                  <a:lnTo>
                    <a:pt x="355" y="12"/>
                  </a:lnTo>
                  <a:lnTo>
                    <a:pt x="354" y="12"/>
                  </a:lnTo>
                  <a:lnTo>
                    <a:pt x="352" y="14"/>
                  </a:lnTo>
                  <a:lnTo>
                    <a:pt x="348" y="18"/>
                  </a:lnTo>
                  <a:lnTo>
                    <a:pt x="344" y="21"/>
                  </a:lnTo>
                  <a:lnTo>
                    <a:pt x="340" y="21"/>
                  </a:lnTo>
                  <a:lnTo>
                    <a:pt x="336" y="23"/>
                  </a:lnTo>
                  <a:lnTo>
                    <a:pt x="332" y="27"/>
                  </a:lnTo>
                  <a:lnTo>
                    <a:pt x="331" y="29"/>
                  </a:lnTo>
                  <a:lnTo>
                    <a:pt x="327" y="29"/>
                  </a:lnTo>
                  <a:lnTo>
                    <a:pt x="321" y="31"/>
                  </a:lnTo>
                  <a:lnTo>
                    <a:pt x="317" y="33"/>
                  </a:lnTo>
                  <a:lnTo>
                    <a:pt x="313" y="35"/>
                  </a:lnTo>
                  <a:lnTo>
                    <a:pt x="309" y="37"/>
                  </a:lnTo>
                  <a:lnTo>
                    <a:pt x="306" y="39"/>
                  </a:lnTo>
                  <a:lnTo>
                    <a:pt x="300" y="41"/>
                  </a:lnTo>
                  <a:lnTo>
                    <a:pt x="296" y="41"/>
                  </a:lnTo>
                  <a:lnTo>
                    <a:pt x="290" y="41"/>
                  </a:lnTo>
                  <a:lnTo>
                    <a:pt x="283" y="41"/>
                  </a:lnTo>
                  <a:lnTo>
                    <a:pt x="275" y="41"/>
                  </a:lnTo>
                  <a:lnTo>
                    <a:pt x="271" y="43"/>
                  </a:lnTo>
                  <a:lnTo>
                    <a:pt x="258" y="43"/>
                  </a:lnTo>
                  <a:lnTo>
                    <a:pt x="244" y="43"/>
                  </a:lnTo>
                  <a:lnTo>
                    <a:pt x="242" y="44"/>
                  </a:lnTo>
                  <a:lnTo>
                    <a:pt x="238" y="44"/>
                  </a:lnTo>
                  <a:lnTo>
                    <a:pt x="237" y="46"/>
                  </a:lnTo>
                  <a:lnTo>
                    <a:pt x="233" y="48"/>
                  </a:lnTo>
                  <a:lnTo>
                    <a:pt x="229" y="50"/>
                  </a:lnTo>
                  <a:lnTo>
                    <a:pt x="225" y="52"/>
                  </a:lnTo>
                  <a:lnTo>
                    <a:pt x="221" y="54"/>
                  </a:lnTo>
                  <a:lnTo>
                    <a:pt x="206" y="54"/>
                  </a:lnTo>
                  <a:lnTo>
                    <a:pt x="189" y="54"/>
                  </a:lnTo>
                  <a:lnTo>
                    <a:pt x="187" y="52"/>
                  </a:lnTo>
                  <a:lnTo>
                    <a:pt x="181" y="52"/>
                  </a:lnTo>
                  <a:lnTo>
                    <a:pt x="179" y="50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9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4" y="50"/>
                  </a:lnTo>
                  <a:lnTo>
                    <a:pt x="164" y="54"/>
                  </a:lnTo>
                  <a:lnTo>
                    <a:pt x="160" y="56"/>
                  </a:lnTo>
                  <a:lnTo>
                    <a:pt x="160" y="58"/>
                  </a:lnTo>
                  <a:lnTo>
                    <a:pt x="160" y="60"/>
                  </a:lnTo>
                  <a:lnTo>
                    <a:pt x="158" y="64"/>
                  </a:lnTo>
                  <a:lnTo>
                    <a:pt x="156" y="66"/>
                  </a:lnTo>
                  <a:lnTo>
                    <a:pt x="156" y="69"/>
                  </a:lnTo>
                  <a:lnTo>
                    <a:pt x="154" y="71"/>
                  </a:lnTo>
                  <a:lnTo>
                    <a:pt x="154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9"/>
                  </a:lnTo>
                  <a:lnTo>
                    <a:pt x="150" y="94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2" y="104"/>
                  </a:lnTo>
                  <a:lnTo>
                    <a:pt x="152" y="106"/>
                  </a:lnTo>
                  <a:lnTo>
                    <a:pt x="154" y="110"/>
                  </a:lnTo>
                  <a:lnTo>
                    <a:pt x="156" y="110"/>
                  </a:lnTo>
                  <a:lnTo>
                    <a:pt x="158" y="114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3"/>
                  </a:lnTo>
                  <a:lnTo>
                    <a:pt x="166" y="127"/>
                  </a:lnTo>
                  <a:lnTo>
                    <a:pt x="166" y="131"/>
                  </a:lnTo>
                  <a:lnTo>
                    <a:pt x="166" y="137"/>
                  </a:lnTo>
                  <a:lnTo>
                    <a:pt x="167" y="140"/>
                  </a:lnTo>
                  <a:lnTo>
                    <a:pt x="169" y="144"/>
                  </a:lnTo>
                  <a:lnTo>
                    <a:pt x="171" y="146"/>
                  </a:lnTo>
                  <a:lnTo>
                    <a:pt x="173" y="150"/>
                  </a:lnTo>
                  <a:lnTo>
                    <a:pt x="175" y="154"/>
                  </a:lnTo>
                  <a:lnTo>
                    <a:pt x="177" y="156"/>
                  </a:lnTo>
                  <a:lnTo>
                    <a:pt x="177" y="158"/>
                  </a:lnTo>
                  <a:lnTo>
                    <a:pt x="181" y="163"/>
                  </a:lnTo>
                  <a:lnTo>
                    <a:pt x="183" y="165"/>
                  </a:lnTo>
                  <a:lnTo>
                    <a:pt x="183" y="167"/>
                  </a:lnTo>
                  <a:lnTo>
                    <a:pt x="185" y="167"/>
                  </a:lnTo>
                  <a:lnTo>
                    <a:pt x="189" y="169"/>
                  </a:lnTo>
                  <a:lnTo>
                    <a:pt x="192" y="173"/>
                  </a:lnTo>
                  <a:lnTo>
                    <a:pt x="192" y="177"/>
                  </a:lnTo>
                  <a:lnTo>
                    <a:pt x="194" y="181"/>
                  </a:lnTo>
                  <a:lnTo>
                    <a:pt x="196" y="185"/>
                  </a:lnTo>
                  <a:lnTo>
                    <a:pt x="196" y="194"/>
                  </a:lnTo>
                  <a:lnTo>
                    <a:pt x="198" y="202"/>
                  </a:lnTo>
                  <a:lnTo>
                    <a:pt x="196" y="204"/>
                  </a:lnTo>
                  <a:lnTo>
                    <a:pt x="196" y="206"/>
                  </a:lnTo>
                  <a:lnTo>
                    <a:pt x="196" y="208"/>
                  </a:lnTo>
                  <a:lnTo>
                    <a:pt x="194" y="209"/>
                  </a:lnTo>
                  <a:lnTo>
                    <a:pt x="194" y="211"/>
                  </a:lnTo>
                  <a:lnTo>
                    <a:pt x="192" y="213"/>
                  </a:lnTo>
                  <a:lnTo>
                    <a:pt x="190" y="215"/>
                  </a:lnTo>
                  <a:lnTo>
                    <a:pt x="189" y="219"/>
                  </a:lnTo>
                  <a:lnTo>
                    <a:pt x="185" y="221"/>
                  </a:lnTo>
                  <a:lnTo>
                    <a:pt x="185" y="223"/>
                  </a:lnTo>
                  <a:lnTo>
                    <a:pt x="183" y="225"/>
                  </a:lnTo>
                  <a:lnTo>
                    <a:pt x="179" y="227"/>
                  </a:lnTo>
                  <a:lnTo>
                    <a:pt x="175" y="229"/>
                  </a:lnTo>
                  <a:lnTo>
                    <a:pt x="173" y="231"/>
                  </a:lnTo>
                  <a:lnTo>
                    <a:pt x="171" y="234"/>
                  </a:lnTo>
                  <a:lnTo>
                    <a:pt x="169" y="236"/>
                  </a:lnTo>
                  <a:lnTo>
                    <a:pt x="169" y="244"/>
                  </a:lnTo>
                  <a:lnTo>
                    <a:pt x="169" y="252"/>
                  </a:lnTo>
                  <a:lnTo>
                    <a:pt x="167" y="256"/>
                  </a:lnTo>
                  <a:lnTo>
                    <a:pt x="164" y="256"/>
                  </a:lnTo>
                  <a:lnTo>
                    <a:pt x="164" y="250"/>
                  </a:lnTo>
                  <a:lnTo>
                    <a:pt x="164" y="242"/>
                  </a:lnTo>
                  <a:lnTo>
                    <a:pt x="164" y="242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60" y="236"/>
                  </a:lnTo>
                  <a:lnTo>
                    <a:pt x="160" y="232"/>
                  </a:lnTo>
                  <a:lnTo>
                    <a:pt x="158" y="229"/>
                  </a:lnTo>
                  <a:lnTo>
                    <a:pt x="158" y="227"/>
                  </a:lnTo>
                  <a:lnTo>
                    <a:pt x="156" y="225"/>
                  </a:lnTo>
                  <a:lnTo>
                    <a:pt x="154" y="225"/>
                  </a:lnTo>
                  <a:lnTo>
                    <a:pt x="152" y="225"/>
                  </a:lnTo>
                  <a:lnTo>
                    <a:pt x="150" y="223"/>
                  </a:lnTo>
                  <a:lnTo>
                    <a:pt x="148" y="221"/>
                  </a:lnTo>
                  <a:lnTo>
                    <a:pt x="144" y="221"/>
                  </a:lnTo>
                  <a:lnTo>
                    <a:pt x="144" y="219"/>
                  </a:lnTo>
                  <a:lnTo>
                    <a:pt x="142" y="217"/>
                  </a:lnTo>
                  <a:lnTo>
                    <a:pt x="141" y="215"/>
                  </a:lnTo>
                  <a:lnTo>
                    <a:pt x="139" y="211"/>
                  </a:lnTo>
                  <a:lnTo>
                    <a:pt x="137" y="208"/>
                  </a:lnTo>
                  <a:lnTo>
                    <a:pt x="137" y="194"/>
                  </a:lnTo>
                  <a:lnTo>
                    <a:pt x="139" y="190"/>
                  </a:lnTo>
                  <a:lnTo>
                    <a:pt x="139" y="185"/>
                  </a:lnTo>
                  <a:lnTo>
                    <a:pt x="142" y="181"/>
                  </a:lnTo>
                  <a:lnTo>
                    <a:pt x="142" y="177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6" y="169"/>
                  </a:lnTo>
                  <a:lnTo>
                    <a:pt x="146" y="163"/>
                  </a:lnTo>
                  <a:lnTo>
                    <a:pt x="144" y="163"/>
                  </a:lnTo>
                  <a:lnTo>
                    <a:pt x="142" y="163"/>
                  </a:lnTo>
                  <a:lnTo>
                    <a:pt x="139" y="163"/>
                  </a:lnTo>
                  <a:lnTo>
                    <a:pt x="137" y="161"/>
                  </a:lnTo>
                  <a:lnTo>
                    <a:pt x="133" y="161"/>
                  </a:lnTo>
                  <a:lnTo>
                    <a:pt x="127" y="161"/>
                  </a:lnTo>
                  <a:lnTo>
                    <a:pt x="123" y="161"/>
                  </a:lnTo>
                  <a:lnTo>
                    <a:pt x="121" y="163"/>
                  </a:lnTo>
                  <a:lnTo>
                    <a:pt x="118" y="160"/>
                  </a:lnTo>
                  <a:lnTo>
                    <a:pt x="114" y="160"/>
                  </a:lnTo>
                  <a:lnTo>
                    <a:pt x="110" y="158"/>
                  </a:lnTo>
                  <a:lnTo>
                    <a:pt x="108" y="154"/>
                  </a:lnTo>
                  <a:lnTo>
                    <a:pt x="106" y="152"/>
                  </a:lnTo>
                  <a:lnTo>
                    <a:pt x="104" y="150"/>
                  </a:lnTo>
                  <a:lnTo>
                    <a:pt x="100" y="148"/>
                  </a:lnTo>
                  <a:lnTo>
                    <a:pt x="100" y="146"/>
                  </a:lnTo>
                  <a:lnTo>
                    <a:pt x="100" y="144"/>
                  </a:lnTo>
                  <a:lnTo>
                    <a:pt x="98" y="142"/>
                  </a:lnTo>
                  <a:lnTo>
                    <a:pt x="95" y="140"/>
                  </a:lnTo>
                  <a:lnTo>
                    <a:pt x="93" y="138"/>
                  </a:lnTo>
                  <a:lnTo>
                    <a:pt x="79" y="138"/>
                  </a:lnTo>
                  <a:lnTo>
                    <a:pt x="77" y="140"/>
                  </a:lnTo>
                  <a:lnTo>
                    <a:pt x="73" y="140"/>
                  </a:lnTo>
                  <a:lnTo>
                    <a:pt x="71" y="142"/>
                  </a:lnTo>
                  <a:lnTo>
                    <a:pt x="70" y="142"/>
                  </a:lnTo>
                  <a:lnTo>
                    <a:pt x="66" y="144"/>
                  </a:lnTo>
                  <a:lnTo>
                    <a:pt x="64" y="146"/>
                  </a:lnTo>
                  <a:lnTo>
                    <a:pt x="62" y="146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0" y="150"/>
                  </a:lnTo>
                  <a:lnTo>
                    <a:pt x="45" y="150"/>
                  </a:lnTo>
                  <a:lnTo>
                    <a:pt x="37" y="150"/>
                  </a:lnTo>
                  <a:lnTo>
                    <a:pt x="35" y="150"/>
                  </a:lnTo>
                  <a:lnTo>
                    <a:pt x="31" y="152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4" y="158"/>
                  </a:lnTo>
                  <a:lnTo>
                    <a:pt x="22" y="160"/>
                  </a:lnTo>
                  <a:lnTo>
                    <a:pt x="20" y="161"/>
                  </a:lnTo>
                  <a:lnTo>
                    <a:pt x="18" y="163"/>
                  </a:lnTo>
                  <a:lnTo>
                    <a:pt x="14" y="163"/>
                  </a:lnTo>
                  <a:lnTo>
                    <a:pt x="12" y="165"/>
                  </a:lnTo>
                  <a:lnTo>
                    <a:pt x="12" y="167"/>
                  </a:lnTo>
                  <a:lnTo>
                    <a:pt x="12" y="169"/>
                  </a:lnTo>
                  <a:lnTo>
                    <a:pt x="10" y="169"/>
                  </a:lnTo>
                  <a:lnTo>
                    <a:pt x="8" y="171"/>
                  </a:lnTo>
                  <a:lnTo>
                    <a:pt x="4" y="173"/>
                  </a:lnTo>
                  <a:lnTo>
                    <a:pt x="4" y="175"/>
                  </a:lnTo>
                  <a:lnTo>
                    <a:pt x="2" y="179"/>
                  </a:lnTo>
                  <a:lnTo>
                    <a:pt x="0" y="183"/>
                  </a:lnTo>
                  <a:lnTo>
                    <a:pt x="0" y="194"/>
                  </a:lnTo>
                  <a:lnTo>
                    <a:pt x="2" y="206"/>
                  </a:lnTo>
                  <a:lnTo>
                    <a:pt x="2" y="211"/>
                  </a:lnTo>
                  <a:lnTo>
                    <a:pt x="6" y="211"/>
                  </a:lnTo>
                  <a:lnTo>
                    <a:pt x="10" y="211"/>
                  </a:lnTo>
                  <a:lnTo>
                    <a:pt x="12" y="211"/>
                  </a:lnTo>
                  <a:lnTo>
                    <a:pt x="14" y="213"/>
                  </a:lnTo>
                  <a:lnTo>
                    <a:pt x="20" y="215"/>
                  </a:lnTo>
                  <a:lnTo>
                    <a:pt x="22" y="215"/>
                  </a:lnTo>
                  <a:lnTo>
                    <a:pt x="24" y="215"/>
                  </a:lnTo>
                  <a:lnTo>
                    <a:pt x="25" y="217"/>
                  </a:lnTo>
                  <a:lnTo>
                    <a:pt x="29" y="219"/>
                  </a:lnTo>
                  <a:lnTo>
                    <a:pt x="31" y="221"/>
                  </a:lnTo>
                  <a:lnTo>
                    <a:pt x="33" y="223"/>
                  </a:lnTo>
                  <a:lnTo>
                    <a:pt x="37" y="225"/>
                  </a:lnTo>
                  <a:lnTo>
                    <a:pt x="39" y="225"/>
                  </a:lnTo>
                  <a:lnTo>
                    <a:pt x="43" y="225"/>
                  </a:lnTo>
                  <a:lnTo>
                    <a:pt x="48" y="225"/>
                  </a:lnTo>
                  <a:lnTo>
                    <a:pt x="52" y="225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2" y="229"/>
                  </a:lnTo>
                  <a:lnTo>
                    <a:pt x="64" y="229"/>
                  </a:lnTo>
                  <a:lnTo>
                    <a:pt x="66" y="231"/>
                  </a:lnTo>
                  <a:lnTo>
                    <a:pt x="70" y="231"/>
                  </a:lnTo>
                  <a:lnTo>
                    <a:pt x="71" y="231"/>
                  </a:lnTo>
                  <a:lnTo>
                    <a:pt x="75" y="232"/>
                  </a:lnTo>
                  <a:lnTo>
                    <a:pt x="77" y="234"/>
                  </a:lnTo>
                  <a:lnTo>
                    <a:pt x="79" y="236"/>
                  </a:lnTo>
                  <a:lnTo>
                    <a:pt x="81" y="238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7" y="242"/>
                  </a:lnTo>
                  <a:lnTo>
                    <a:pt x="89" y="242"/>
                  </a:lnTo>
                  <a:lnTo>
                    <a:pt x="89" y="244"/>
                  </a:lnTo>
                  <a:lnTo>
                    <a:pt x="91" y="246"/>
                  </a:lnTo>
                  <a:lnTo>
                    <a:pt x="93" y="248"/>
                  </a:lnTo>
                  <a:lnTo>
                    <a:pt x="95" y="248"/>
                  </a:lnTo>
                  <a:lnTo>
                    <a:pt x="96" y="250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100" y="256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0" y="265"/>
                  </a:lnTo>
                  <a:lnTo>
                    <a:pt x="100" y="275"/>
                  </a:lnTo>
                  <a:lnTo>
                    <a:pt x="100" y="286"/>
                  </a:lnTo>
                  <a:lnTo>
                    <a:pt x="102" y="286"/>
                  </a:lnTo>
                  <a:lnTo>
                    <a:pt x="102" y="290"/>
                  </a:lnTo>
                  <a:lnTo>
                    <a:pt x="102" y="294"/>
                  </a:lnTo>
                  <a:lnTo>
                    <a:pt x="100" y="296"/>
                  </a:lnTo>
                  <a:lnTo>
                    <a:pt x="100" y="300"/>
                  </a:lnTo>
                  <a:lnTo>
                    <a:pt x="100" y="302"/>
                  </a:lnTo>
                  <a:lnTo>
                    <a:pt x="100" y="305"/>
                  </a:lnTo>
                  <a:lnTo>
                    <a:pt x="98" y="307"/>
                  </a:lnTo>
                  <a:lnTo>
                    <a:pt x="98" y="311"/>
                  </a:lnTo>
                  <a:lnTo>
                    <a:pt x="96" y="311"/>
                  </a:lnTo>
                  <a:lnTo>
                    <a:pt x="96" y="313"/>
                  </a:lnTo>
                  <a:lnTo>
                    <a:pt x="93" y="319"/>
                  </a:lnTo>
                  <a:lnTo>
                    <a:pt x="93" y="321"/>
                  </a:lnTo>
                  <a:lnTo>
                    <a:pt x="93" y="323"/>
                  </a:lnTo>
                  <a:lnTo>
                    <a:pt x="91" y="325"/>
                  </a:lnTo>
                  <a:lnTo>
                    <a:pt x="89" y="325"/>
                  </a:lnTo>
                  <a:lnTo>
                    <a:pt x="89" y="328"/>
                  </a:lnTo>
                  <a:lnTo>
                    <a:pt x="87" y="330"/>
                  </a:lnTo>
                  <a:lnTo>
                    <a:pt x="83" y="332"/>
                  </a:lnTo>
                  <a:lnTo>
                    <a:pt x="83" y="338"/>
                  </a:lnTo>
                  <a:lnTo>
                    <a:pt x="83" y="340"/>
                  </a:lnTo>
                  <a:lnTo>
                    <a:pt x="83" y="342"/>
                  </a:lnTo>
                  <a:lnTo>
                    <a:pt x="85" y="348"/>
                  </a:lnTo>
                  <a:lnTo>
                    <a:pt x="85" y="350"/>
                  </a:lnTo>
                  <a:lnTo>
                    <a:pt x="85" y="351"/>
                  </a:lnTo>
                  <a:lnTo>
                    <a:pt x="87" y="353"/>
                  </a:lnTo>
                  <a:lnTo>
                    <a:pt x="89" y="355"/>
                  </a:lnTo>
                  <a:lnTo>
                    <a:pt x="87" y="357"/>
                  </a:lnTo>
                  <a:lnTo>
                    <a:pt x="85" y="359"/>
                  </a:lnTo>
                  <a:lnTo>
                    <a:pt x="85" y="365"/>
                  </a:lnTo>
                  <a:lnTo>
                    <a:pt x="85" y="367"/>
                  </a:lnTo>
                  <a:lnTo>
                    <a:pt x="83" y="369"/>
                  </a:lnTo>
                  <a:lnTo>
                    <a:pt x="81" y="374"/>
                  </a:lnTo>
                  <a:lnTo>
                    <a:pt x="81" y="382"/>
                  </a:lnTo>
                  <a:lnTo>
                    <a:pt x="81" y="390"/>
                  </a:lnTo>
                  <a:lnTo>
                    <a:pt x="79" y="392"/>
                  </a:lnTo>
                  <a:lnTo>
                    <a:pt x="77" y="392"/>
                  </a:lnTo>
                  <a:lnTo>
                    <a:pt x="75" y="396"/>
                  </a:lnTo>
                  <a:lnTo>
                    <a:pt x="75" y="399"/>
                  </a:lnTo>
                  <a:lnTo>
                    <a:pt x="75" y="399"/>
                  </a:lnTo>
                  <a:lnTo>
                    <a:pt x="75" y="401"/>
                  </a:lnTo>
                  <a:lnTo>
                    <a:pt x="73" y="403"/>
                  </a:lnTo>
                  <a:lnTo>
                    <a:pt x="70" y="407"/>
                  </a:lnTo>
                  <a:lnTo>
                    <a:pt x="68" y="409"/>
                  </a:lnTo>
                  <a:lnTo>
                    <a:pt x="66" y="409"/>
                  </a:lnTo>
                  <a:lnTo>
                    <a:pt x="64" y="411"/>
                  </a:lnTo>
                  <a:lnTo>
                    <a:pt x="62" y="413"/>
                  </a:lnTo>
                  <a:lnTo>
                    <a:pt x="62" y="417"/>
                  </a:lnTo>
                  <a:lnTo>
                    <a:pt x="62" y="419"/>
                  </a:lnTo>
                  <a:lnTo>
                    <a:pt x="60" y="421"/>
                  </a:lnTo>
                  <a:lnTo>
                    <a:pt x="58" y="424"/>
                  </a:lnTo>
                  <a:lnTo>
                    <a:pt x="56" y="424"/>
                  </a:lnTo>
                  <a:lnTo>
                    <a:pt x="54" y="426"/>
                  </a:lnTo>
                  <a:lnTo>
                    <a:pt x="52" y="428"/>
                  </a:lnTo>
                  <a:lnTo>
                    <a:pt x="50" y="430"/>
                  </a:lnTo>
                  <a:lnTo>
                    <a:pt x="48" y="432"/>
                  </a:lnTo>
                  <a:lnTo>
                    <a:pt x="45" y="434"/>
                  </a:lnTo>
                  <a:lnTo>
                    <a:pt x="41" y="436"/>
                  </a:lnTo>
                  <a:lnTo>
                    <a:pt x="39" y="436"/>
                  </a:lnTo>
                  <a:lnTo>
                    <a:pt x="37" y="436"/>
                  </a:lnTo>
                  <a:lnTo>
                    <a:pt x="35" y="436"/>
                  </a:lnTo>
                  <a:lnTo>
                    <a:pt x="33" y="438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5" y="442"/>
                  </a:lnTo>
                  <a:lnTo>
                    <a:pt x="24" y="442"/>
                  </a:lnTo>
                  <a:lnTo>
                    <a:pt x="24" y="445"/>
                  </a:lnTo>
                  <a:lnTo>
                    <a:pt x="22" y="447"/>
                  </a:lnTo>
                  <a:lnTo>
                    <a:pt x="22" y="457"/>
                  </a:lnTo>
                  <a:lnTo>
                    <a:pt x="22" y="465"/>
                  </a:lnTo>
                  <a:lnTo>
                    <a:pt x="24" y="467"/>
                  </a:lnTo>
                  <a:lnTo>
                    <a:pt x="24" y="470"/>
                  </a:lnTo>
                  <a:lnTo>
                    <a:pt x="24" y="472"/>
                  </a:lnTo>
                  <a:lnTo>
                    <a:pt x="25" y="476"/>
                  </a:lnTo>
                  <a:lnTo>
                    <a:pt x="25" y="478"/>
                  </a:lnTo>
                  <a:lnTo>
                    <a:pt x="25" y="480"/>
                  </a:lnTo>
                  <a:lnTo>
                    <a:pt x="27" y="484"/>
                  </a:lnTo>
                  <a:lnTo>
                    <a:pt x="29" y="486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95"/>
                  </a:lnTo>
                  <a:lnTo>
                    <a:pt x="35" y="497"/>
                  </a:lnTo>
                  <a:lnTo>
                    <a:pt x="33" y="499"/>
                  </a:lnTo>
                  <a:lnTo>
                    <a:pt x="33" y="505"/>
                  </a:lnTo>
                  <a:lnTo>
                    <a:pt x="33" y="511"/>
                  </a:lnTo>
                  <a:lnTo>
                    <a:pt x="35" y="513"/>
                  </a:lnTo>
                  <a:lnTo>
                    <a:pt x="39" y="516"/>
                  </a:lnTo>
                  <a:lnTo>
                    <a:pt x="39" y="518"/>
                  </a:lnTo>
                  <a:lnTo>
                    <a:pt x="41" y="520"/>
                  </a:lnTo>
                  <a:lnTo>
                    <a:pt x="43" y="522"/>
                  </a:lnTo>
                  <a:lnTo>
                    <a:pt x="48" y="522"/>
                  </a:lnTo>
                  <a:lnTo>
                    <a:pt x="48" y="524"/>
                  </a:lnTo>
                  <a:lnTo>
                    <a:pt x="50" y="528"/>
                  </a:lnTo>
                  <a:lnTo>
                    <a:pt x="50" y="538"/>
                  </a:lnTo>
                  <a:lnTo>
                    <a:pt x="50" y="545"/>
                  </a:lnTo>
                  <a:lnTo>
                    <a:pt x="48" y="549"/>
                  </a:lnTo>
                  <a:lnTo>
                    <a:pt x="48" y="551"/>
                  </a:lnTo>
                  <a:lnTo>
                    <a:pt x="48" y="555"/>
                  </a:lnTo>
                  <a:lnTo>
                    <a:pt x="48" y="559"/>
                  </a:lnTo>
                  <a:lnTo>
                    <a:pt x="48" y="561"/>
                  </a:lnTo>
                  <a:lnTo>
                    <a:pt x="47" y="564"/>
                  </a:lnTo>
                  <a:lnTo>
                    <a:pt x="47" y="568"/>
                  </a:lnTo>
                  <a:lnTo>
                    <a:pt x="45" y="570"/>
                  </a:lnTo>
                  <a:lnTo>
                    <a:pt x="41" y="572"/>
                  </a:lnTo>
                  <a:lnTo>
                    <a:pt x="41" y="576"/>
                  </a:lnTo>
                  <a:lnTo>
                    <a:pt x="39" y="578"/>
                  </a:lnTo>
                  <a:lnTo>
                    <a:pt x="39" y="584"/>
                  </a:lnTo>
                  <a:lnTo>
                    <a:pt x="39" y="586"/>
                  </a:lnTo>
                  <a:lnTo>
                    <a:pt x="39" y="587"/>
                  </a:lnTo>
                  <a:lnTo>
                    <a:pt x="41" y="589"/>
                  </a:lnTo>
                  <a:lnTo>
                    <a:pt x="45" y="593"/>
                  </a:lnTo>
                  <a:lnTo>
                    <a:pt x="47" y="595"/>
                  </a:lnTo>
                  <a:lnTo>
                    <a:pt x="47" y="599"/>
                  </a:lnTo>
                  <a:lnTo>
                    <a:pt x="48" y="603"/>
                  </a:lnTo>
                  <a:lnTo>
                    <a:pt x="48" y="605"/>
                  </a:lnTo>
                  <a:lnTo>
                    <a:pt x="48" y="609"/>
                  </a:lnTo>
                  <a:lnTo>
                    <a:pt x="48" y="624"/>
                  </a:lnTo>
                  <a:lnTo>
                    <a:pt x="48" y="639"/>
                  </a:lnTo>
                  <a:lnTo>
                    <a:pt x="52" y="6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0" name="Freeform 16"/>
            <p:cNvSpPr>
              <a:spLocks/>
            </p:cNvSpPr>
            <p:nvPr/>
          </p:nvSpPr>
          <p:spPr bwMode="auto">
            <a:xfrm>
              <a:off x="2280" y="2702"/>
              <a:ext cx="375" cy="641"/>
            </a:xfrm>
            <a:custGeom>
              <a:avLst/>
              <a:gdLst/>
              <a:ahLst/>
              <a:cxnLst>
                <a:cxn ang="0">
                  <a:pos x="68" y="614"/>
                </a:cxn>
                <a:cxn ang="0">
                  <a:pos x="70" y="587"/>
                </a:cxn>
                <a:cxn ang="0">
                  <a:pos x="77" y="561"/>
                </a:cxn>
                <a:cxn ang="0">
                  <a:pos x="106" y="549"/>
                </a:cxn>
                <a:cxn ang="0">
                  <a:pos x="144" y="541"/>
                </a:cxn>
                <a:cxn ang="0">
                  <a:pos x="162" y="522"/>
                </a:cxn>
                <a:cxn ang="0">
                  <a:pos x="171" y="455"/>
                </a:cxn>
                <a:cxn ang="0">
                  <a:pos x="166" y="396"/>
                </a:cxn>
                <a:cxn ang="0">
                  <a:pos x="146" y="378"/>
                </a:cxn>
                <a:cxn ang="0">
                  <a:pos x="167" y="353"/>
                </a:cxn>
                <a:cxn ang="0">
                  <a:pos x="200" y="323"/>
                </a:cxn>
                <a:cxn ang="0">
                  <a:pos x="225" y="303"/>
                </a:cxn>
                <a:cxn ang="0">
                  <a:pos x="238" y="286"/>
                </a:cxn>
                <a:cxn ang="0">
                  <a:pos x="265" y="269"/>
                </a:cxn>
                <a:cxn ang="0">
                  <a:pos x="294" y="254"/>
                </a:cxn>
                <a:cxn ang="0">
                  <a:pos x="331" y="242"/>
                </a:cxn>
                <a:cxn ang="0">
                  <a:pos x="348" y="221"/>
                </a:cxn>
                <a:cxn ang="0">
                  <a:pos x="359" y="196"/>
                </a:cxn>
                <a:cxn ang="0">
                  <a:pos x="373" y="177"/>
                </a:cxn>
                <a:cxn ang="0">
                  <a:pos x="375" y="135"/>
                </a:cxn>
                <a:cxn ang="0">
                  <a:pos x="363" y="44"/>
                </a:cxn>
                <a:cxn ang="0">
                  <a:pos x="367" y="10"/>
                </a:cxn>
                <a:cxn ang="0">
                  <a:pos x="359" y="6"/>
                </a:cxn>
                <a:cxn ang="0">
                  <a:pos x="332" y="27"/>
                </a:cxn>
                <a:cxn ang="0">
                  <a:pos x="290" y="41"/>
                </a:cxn>
                <a:cxn ang="0">
                  <a:pos x="229" y="50"/>
                </a:cxn>
                <a:cxn ang="0">
                  <a:pos x="169" y="48"/>
                </a:cxn>
                <a:cxn ang="0">
                  <a:pos x="156" y="69"/>
                </a:cxn>
                <a:cxn ang="0">
                  <a:pos x="150" y="102"/>
                </a:cxn>
                <a:cxn ang="0">
                  <a:pos x="166" y="131"/>
                </a:cxn>
                <a:cxn ang="0">
                  <a:pos x="183" y="165"/>
                </a:cxn>
                <a:cxn ang="0">
                  <a:pos x="196" y="204"/>
                </a:cxn>
                <a:cxn ang="0">
                  <a:pos x="183" y="225"/>
                </a:cxn>
                <a:cxn ang="0">
                  <a:pos x="164" y="250"/>
                </a:cxn>
                <a:cxn ang="0">
                  <a:pos x="154" y="225"/>
                </a:cxn>
                <a:cxn ang="0">
                  <a:pos x="137" y="194"/>
                </a:cxn>
                <a:cxn ang="0">
                  <a:pos x="142" y="163"/>
                </a:cxn>
                <a:cxn ang="0">
                  <a:pos x="108" y="154"/>
                </a:cxn>
                <a:cxn ang="0">
                  <a:pos x="77" y="140"/>
                </a:cxn>
                <a:cxn ang="0">
                  <a:pos x="45" y="150"/>
                </a:cxn>
                <a:cxn ang="0">
                  <a:pos x="18" y="163"/>
                </a:cxn>
                <a:cxn ang="0">
                  <a:pos x="0" y="183"/>
                </a:cxn>
                <a:cxn ang="0">
                  <a:pos x="24" y="215"/>
                </a:cxn>
                <a:cxn ang="0">
                  <a:pos x="56" y="227"/>
                </a:cxn>
                <a:cxn ang="0">
                  <a:pos x="81" y="238"/>
                </a:cxn>
                <a:cxn ang="0">
                  <a:pos x="98" y="252"/>
                </a:cxn>
                <a:cxn ang="0">
                  <a:pos x="102" y="294"/>
                </a:cxn>
                <a:cxn ang="0">
                  <a:pos x="93" y="321"/>
                </a:cxn>
                <a:cxn ang="0">
                  <a:pos x="85" y="348"/>
                </a:cxn>
                <a:cxn ang="0">
                  <a:pos x="81" y="374"/>
                </a:cxn>
                <a:cxn ang="0">
                  <a:pos x="70" y="407"/>
                </a:cxn>
                <a:cxn ang="0">
                  <a:pos x="54" y="426"/>
                </a:cxn>
                <a:cxn ang="0">
                  <a:pos x="31" y="440"/>
                </a:cxn>
                <a:cxn ang="0">
                  <a:pos x="24" y="472"/>
                </a:cxn>
                <a:cxn ang="0">
                  <a:pos x="33" y="499"/>
                </a:cxn>
                <a:cxn ang="0">
                  <a:pos x="50" y="528"/>
                </a:cxn>
                <a:cxn ang="0">
                  <a:pos x="45" y="570"/>
                </a:cxn>
                <a:cxn ang="0">
                  <a:pos x="47" y="599"/>
                </a:cxn>
              </a:cxnLst>
              <a:rect l="0" t="0" r="r" b="b"/>
              <a:pathLst>
                <a:path w="375" h="641">
                  <a:moveTo>
                    <a:pt x="52" y="641"/>
                  </a:moveTo>
                  <a:lnTo>
                    <a:pt x="54" y="637"/>
                  </a:lnTo>
                  <a:lnTo>
                    <a:pt x="56" y="634"/>
                  </a:lnTo>
                  <a:lnTo>
                    <a:pt x="56" y="630"/>
                  </a:lnTo>
                  <a:lnTo>
                    <a:pt x="56" y="630"/>
                  </a:lnTo>
                  <a:lnTo>
                    <a:pt x="58" y="626"/>
                  </a:lnTo>
                  <a:lnTo>
                    <a:pt x="60" y="626"/>
                  </a:lnTo>
                  <a:lnTo>
                    <a:pt x="62" y="624"/>
                  </a:lnTo>
                  <a:lnTo>
                    <a:pt x="66" y="620"/>
                  </a:lnTo>
                  <a:lnTo>
                    <a:pt x="68" y="614"/>
                  </a:lnTo>
                  <a:lnTo>
                    <a:pt x="70" y="612"/>
                  </a:lnTo>
                  <a:lnTo>
                    <a:pt x="73" y="611"/>
                  </a:lnTo>
                  <a:lnTo>
                    <a:pt x="73" y="607"/>
                  </a:lnTo>
                  <a:lnTo>
                    <a:pt x="75" y="605"/>
                  </a:lnTo>
                  <a:lnTo>
                    <a:pt x="75" y="597"/>
                  </a:lnTo>
                  <a:lnTo>
                    <a:pt x="75" y="591"/>
                  </a:lnTo>
                  <a:lnTo>
                    <a:pt x="75" y="589"/>
                  </a:lnTo>
                  <a:lnTo>
                    <a:pt x="73" y="587"/>
                  </a:lnTo>
                  <a:lnTo>
                    <a:pt x="70" y="587"/>
                  </a:lnTo>
                  <a:lnTo>
                    <a:pt x="70" y="587"/>
                  </a:lnTo>
                  <a:lnTo>
                    <a:pt x="66" y="586"/>
                  </a:lnTo>
                  <a:lnTo>
                    <a:pt x="66" y="578"/>
                  </a:lnTo>
                  <a:lnTo>
                    <a:pt x="68" y="574"/>
                  </a:lnTo>
                  <a:lnTo>
                    <a:pt x="68" y="570"/>
                  </a:lnTo>
                  <a:lnTo>
                    <a:pt x="70" y="570"/>
                  </a:lnTo>
                  <a:lnTo>
                    <a:pt x="70" y="568"/>
                  </a:lnTo>
                  <a:lnTo>
                    <a:pt x="71" y="566"/>
                  </a:lnTo>
                  <a:lnTo>
                    <a:pt x="75" y="566"/>
                  </a:lnTo>
                  <a:lnTo>
                    <a:pt x="75" y="564"/>
                  </a:lnTo>
                  <a:lnTo>
                    <a:pt x="77" y="561"/>
                  </a:lnTo>
                  <a:lnTo>
                    <a:pt x="81" y="561"/>
                  </a:lnTo>
                  <a:lnTo>
                    <a:pt x="83" y="557"/>
                  </a:lnTo>
                  <a:lnTo>
                    <a:pt x="83" y="557"/>
                  </a:lnTo>
                  <a:lnTo>
                    <a:pt x="87" y="555"/>
                  </a:lnTo>
                  <a:lnTo>
                    <a:pt x="91" y="553"/>
                  </a:lnTo>
                  <a:lnTo>
                    <a:pt x="93" y="551"/>
                  </a:lnTo>
                  <a:lnTo>
                    <a:pt x="96" y="551"/>
                  </a:lnTo>
                  <a:lnTo>
                    <a:pt x="100" y="551"/>
                  </a:lnTo>
                  <a:lnTo>
                    <a:pt x="102" y="551"/>
                  </a:lnTo>
                  <a:lnTo>
                    <a:pt x="106" y="549"/>
                  </a:lnTo>
                  <a:lnTo>
                    <a:pt x="108" y="547"/>
                  </a:lnTo>
                  <a:lnTo>
                    <a:pt x="110" y="547"/>
                  </a:lnTo>
                  <a:lnTo>
                    <a:pt x="118" y="547"/>
                  </a:lnTo>
                  <a:lnTo>
                    <a:pt x="119" y="545"/>
                  </a:lnTo>
                  <a:lnTo>
                    <a:pt x="127" y="545"/>
                  </a:lnTo>
                  <a:lnTo>
                    <a:pt x="133" y="545"/>
                  </a:lnTo>
                  <a:lnTo>
                    <a:pt x="135" y="545"/>
                  </a:lnTo>
                  <a:lnTo>
                    <a:pt x="137" y="543"/>
                  </a:lnTo>
                  <a:lnTo>
                    <a:pt x="141" y="541"/>
                  </a:lnTo>
                  <a:lnTo>
                    <a:pt x="144" y="541"/>
                  </a:lnTo>
                  <a:lnTo>
                    <a:pt x="146" y="538"/>
                  </a:lnTo>
                  <a:lnTo>
                    <a:pt x="150" y="536"/>
                  </a:lnTo>
                  <a:lnTo>
                    <a:pt x="152" y="534"/>
                  </a:lnTo>
                  <a:lnTo>
                    <a:pt x="154" y="532"/>
                  </a:lnTo>
                  <a:lnTo>
                    <a:pt x="154" y="530"/>
                  </a:lnTo>
                  <a:lnTo>
                    <a:pt x="156" y="530"/>
                  </a:lnTo>
                  <a:lnTo>
                    <a:pt x="158" y="528"/>
                  </a:lnTo>
                  <a:lnTo>
                    <a:pt x="160" y="526"/>
                  </a:lnTo>
                  <a:lnTo>
                    <a:pt x="160" y="524"/>
                  </a:lnTo>
                  <a:lnTo>
                    <a:pt x="162" y="522"/>
                  </a:lnTo>
                  <a:lnTo>
                    <a:pt x="164" y="522"/>
                  </a:lnTo>
                  <a:lnTo>
                    <a:pt x="164" y="516"/>
                  </a:lnTo>
                  <a:lnTo>
                    <a:pt x="164" y="516"/>
                  </a:lnTo>
                  <a:lnTo>
                    <a:pt x="164" y="513"/>
                  </a:lnTo>
                  <a:lnTo>
                    <a:pt x="166" y="507"/>
                  </a:lnTo>
                  <a:lnTo>
                    <a:pt x="167" y="503"/>
                  </a:lnTo>
                  <a:lnTo>
                    <a:pt x="167" y="499"/>
                  </a:lnTo>
                  <a:lnTo>
                    <a:pt x="169" y="497"/>
                  </a:lnTo>
                  <a:lnTo>
                    <a:pt x="169" y="459"/>
                  </a:lnTo>
                  <a:lnTo>
                    <a:pt x="171" y="455"/>
                  </a:lnTo>
                  <a:lnTo>
                    <a:pt x="171" y="453"/>
                  </a:lnTo>
                  <a:lnTo>
                    <a:pt x="171" y="449"/>
                  </a:lnTo>
                  <a:lnTo>
                    <a:pt x="171" y="445"/>
                  </a:lnTo>
                  <a:lnTo>
                    <a:pt x="171" y="430"/>
                  </a:lnTo>
                  <a:lnTo>
                    <a:pt x="171" y="413"/>
                  </a:lnTo>
                  <a:lnTo>
                    <a:pt x="171" y="411"/>
                  </a:lnTo>
                  <a:lnTo>
                    <a:pt x="171" y="409"/>
                  </a:lnTo>
                  <a:lnTo>
                    <a:pt x="167" y="403"/>
                  </a:lnTo>
                  <a:lnTo>
                    <a:pt x="166" y="399"/>
                  </a:lnTo>
                  <a:lnTo>
                    <a:pt x="166" y="396"/>
                  </a:lnTo>
                  <a:lnTo>
                    <a:pt x="164" y="392"/>
                  </a:lnTo>
                  <a:lnTo>
                    <a:pt x="162" y="392"/>
                  </a:lnTo>
                  <a:lnTo>
                    <a:pt x="162" y="388"/>
                  </a:lnTo>
                  <a:lnTo>
                    <a:pt x="158" y="388"/>
                  </a:lnTo>
                  <a:lnTo>
                    <a:pt x="156" y="386"/>
                  </a:lnTo>
                  <a:lnTo>
                    <a:pt x="154" y="384"/>
                  </a:lnTo>
                  <a:lnTo>
                    <a:pt x="154" y="382"/>
                  </a:lnTo>
                  <a:lnTo>
                    <a:pt x="152" y="380"/>
                  </a:lnTo>
                  <a:lnTo>
                    <a:pt x="150" y="378"/>
                  </a:lnTo>
                  <a:lnTo>
                    <a:pt x="146" y="378"/>
                  </a:lnTo>
                  <a:lnTo>
                    <a:pt x="146" y="374"/>
                  </a:lnTo>
                  <a:lnTo>
                    <a:pt x="148" y="371"/>
                  </a:lnTo>
                  <a:lnTo>
                    <a:pt x="148" y="367"/>
                  </a:lnTo>
                  <a:lnTo>
                    <a:pt x="150" y="365"/>
                  </a:lnTo>
                  <a:lnTo>
                    <a:pt x="150" y="361"/>
                  </a:lnTo>
                  <a:lnTo>
                    <a:pt x="152" y="359"/>
                  </a:lnTo>
                  <a:lnTo>
                    <a:pt x="152" y="357"/>
                  </a:lnTo>
                  <a:lnTo>
                    <a:pt x="152" y="355"/>
                  </a:lnTo>
                  <a:lnTo>
                    <a:pt x="154" y="353"/>
                  </a:lnTo>
                  <a:lnTo>
                    <a:pt x="167" y="353"/>
                  </a:lnTo>
                  <a:lnTo>
                    <a:pt x="167" y="351"/>
                  </a:lnTo>
                  <a:lnTo>
                    <a:pt x="169" y="350"/>
                  </a:lnTo>
                  <a:lnTo>
                    <a:pt x="173" y="348"/>
                  </a:lnTo>
                  <a:lnTo>
                    <a:pt x="175" y="344"/>
                  </a:lnTo>
                  <a:lnTo>
                    <a:pt x="179" y="342"/>
                  </a:lnTo>
                  <a:lnTo>
                    <a:pt x="181" y="340"/>
                  </a:lnTo>
                  <a:lnTo>
                    <a:pt x="189" y="336"/>
                  </a:lnTo>
                  <a:lnTo>
                    <a:pt x="194" y="330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6" y="319"/>
                  </a:lnTo>
                  <a:lnTo>
                    <a:pt x="208" y="315"/>
                  </a:lnTo>
                  <a:lnTo>
                    <a:pt x="213" y="315"/>
                  </a:lnTo>
                  <a:lnTo>
                    <a:pt x="215" y="313"/>
                  </a:lnTo>
                  <a:lnTo>
                    <a:pt x="219" y="311"/>
                  </a:lnTo>
                  <a:lnTo>
                    <a:pt x="221" y="311"/>
                  </a:lnTo>
                  <a:lnTo>
                    <a:pt x="223" y="309"/>
                  </a:lnTo>
                  <a:lnTo>
                    <a:pt x="225" y="307"/>
                  </a:lnTo>
                  <a:lnTo>
                    <a:pt x="225" y="305"/>
                  </a:lnTo>
                  <a:lnTo>
                    <a:pt x="225" y="303"/>
                  </a:lnTo>
                  <a:lnTo>
                    <a:pt x="227" y="302"/>
                  </a:lnTo>
                  <a:lnTo>
                    <a:pt x="229" y="300"/>
                  </a:lnTo>
                  <a:lnTo>
                    <a:pt x="231" y="300"/>
                  </a:lnTo>
                  <a:lnTo>
                    <a:pt x="233" y="298"/>
                  </a:lnTo>
                  <a:lnTo>
                    <a:pt x="233" y="296"/>
                  </a:lnTo>
                  <a:lnTo>
                    <a:pt x="233" y="294"/>
                  </a:lnTo>
                  <a:lnTo>
                    <a:pt x="235" y="292"/>
                  </a:lnTo>
                  <a:lnTo>
                    <a:pt x="237" y="290"/>
                  </a:lnTo>
                  <a:lnTo>
                    <a:pt x="238" y="290"/>
                  </a:lnTo>
                  <a:lnTo>
                    <a:pt x="238" y="286"/>
                  </a:lnTo>
                  <a:lnTo>
                    <a:pt x="240" y="286"/>
                  </a:lnTo>
                  <a:lnTo>
                    <a:pt x="242" y="282"/>
                  </a:lnTo>
                  <a:lnTo>
                    <a:pt x="246" y="279"/>
                  </a:lnTo>
                  <a:lnTo>
                    <a:pt x="248" y="279"/>
                  </a:lnTo>
                  <a:lnTo>
                    <a:pt x="252" y="277"/>
                  </a:lnTo>
                  <a:lnTo>
                    <a:pt x="254" y="275"/>
                  </a:lnTo>
                  <a:lnTo>
                    <a:pt x="258" y="273"/>
                  </a:lnTo>
                  <a:lnTo>
                    <a:pt x="260" y="273"/>
                  </a:lnTo>
                  <a:lnTo>
                    <a:pt x="263" y="269"/>
                  </a:lnTo>
                  <a:lnTo>
                    <a:pt x="265" y="269"/>
                  </a:lnTo>
                  <a:lnTo>
                    <a:pt x="267" y="269"/>
                  </a:lnTo>
                  <a:lnTo>
                    <a:pt x="271" y="269"/>
                  </a:lnTo>
                  <a:lnTo>
                    <a:pt x="275" y="267"/>
                  </a:lnTo>
                  <a:lnTo>
                    <a:pt x="277" y="265"/>
                  </a:lnTo>
                  <a:lnTo>
                    <a:pt x="279" y="259"/>
                  </a:lnTo>
                  <a:lnTo>
                    <a:pt x="283" y="259"/>
                  </a:lnTo>
                  <a:lnTo>
                    <a:pt x="284" y="259"/>
                  </a:lnTo>
                  <a:lnTo>
                    <a:pt x="286" y="257"/>
                  </a:lnTo>
                  <a:lnTo>
                    <a:pt x="290" y="254"/>
                  </a:lnTo>
                  <a:lnTo>
                    <a:pt x="294" y="254"/>
                  </a:lnTo>
                  <a:lnTo>
                    <a:pt x="298" y="252"/>
                  </a:lnTo>
                  <a:lnTo>
                    <a:pt x="306" y="252"/>
                  </a:lnTo>
                  <a:lnTo>
                    <a:pt x="309" y="252"/>
                  </a:lnTo>
                  <a:lnTo>
                    <a:pt x="311" y="252"/>
                  </a:lnTo>
                  <a:lnTo>
                    <a:pt x="313" y="250"/>
                  </a:lnTo>
                  <a:lnTo>
                    <a:pt x="317" y="248"/>
                  </a:lnTo>
                  <a:lnTo>
                    <a:pt x="321" y="246"/>
                  </a:lnTo>
                  <a:lnTo>
                    <a:pt x="321" y="242"/>
                  </a:lnTo>
                  <a:lnTo>
                    <a:pt x="329" y="242"/>
                  </a:lnTo>
                  <a:lnTo>
                    <a:pt x="331" y="242"/>
                  </a:lnTo>
                  <a:lnTo>
                    <a:pt x="332" y="242"/>
                  </a:lnTo>
                  <a:lnTo>
                    <a:pt x="334" y="240"/>
                  </a:lnTo>
                  <a:lnTo>
                    <a:pt x="336" y="238"/>
                  </a:lnTo>
                  <a:lnTo>
                    <a:pt x="338" y="236"/>
                  </a:lnTo>
                  <a:lnTo>
                    <a:pt x="338" y="234"/>
                  </a:lnTo>
                  <a:lnTo>
                    <a:pt x="340" y="232"/>
                  </a:lnTo>
                  <a:lnTo>
                    <a:pt x="342" y="229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1"/>
                  </a:lnTo>
                  <a:lnTo>
                    <a:pt x="348" y="217"/>
                  </a:lnTo>
                  <a:lnTo>
                    <a:pt x="350" y="217"/>
                  </a:lnTo>
                  <a:lnTo>
                    <a:pt x="352" y="215"/>
                  </a:lnTo>
                  <a:lnTo>
                    <a:pt x="352" y="209"/>
                  </a:lnTo>
                  <a:lnTo>
                    <a:pt x="354" y="208"/>
                  </a:lnTo>
                  <a:lnTo>
                    <a:pt x="354" y="206"/>
                  </a:lnTo>
                  <a:lnTo>
                    <a:pt x="355" y="202"/>
                  </a:lnTo>
                  <a:lnTo>
                    <a:pt x="357" y="200"/>
                  </a:lnTo>
                  <a:lnTo>
                    <a:pt x="359" y="198"/>
                  </a:lnTo>
                  <a:lnTo>
                    <a:pt x="359" y="196"/>
                  </a:lnTo>
                  <a:lnTo>
                    <a:pt x="361" y="194"/>
                  </a:lnTo>
                  <a:lnTo>
                    <a:pt x="363" y="194"/>
                  </a:lnTo>
                  <a:lnTo>
                    <a:pt x="363" y="192"/>
                  </a:lnTo>
                  <a:lnTo>
                    <a:pt x="365" y="190"/>
                  </a:lnTo>
                  <a:lnTo>
                    <a:pt x="367" y="186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1"/>
                  </a:lnTo>
                  <a:lnTo>
                    <a:pt x="371" y="179"/>
                  </a:lnTo>
                  <a:lnTo>
                    <a:pt x="373" y="177"/>
                  </a:lnTo>
                  <a:lnTo>
                    <a:pt x="373" y="175"/>
                  </a:lnTo>
                  <a:lnTo>
                    <a:pt x="375" y="171"/>
                  </a:lnTo>
                  <a:lnTo>
                    <a:pt x="375" y="165"/>
                  </a:lnTo>
                  <a:lnTo>
                    <a:pt x="375" y="158"/>
                  </a:lnTo>
                  <a:lnTo>
                    <a:pt x="375" y="156"/>
                  </a:lnTo>
                  <a:lnTo>
                    <a:pt x="375" y="152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5" y="140"/>
                  </a:lnTo>
                  <a:lnTo>
                    <a:pt x="375" y="135"/>
                  </a:lnTo>
                  <a:lnTo>
                    <a:pt x="373" y="131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1" y="123"/>
                  </a:lnTo>
                  <a:lnTo>
                    <a:pt x="367" y="119"/>
                  </a:lnTo>
                  <a:lnTo>
                    <a:pt x="365" y="117"/>
                  </a:lnTo>
                  <a:lnTo>
                    <a:pt x="365" y="114"/>
                  </a:lnTo>
                  <a:lnTo>
                    <a:pt x="365" y="110"/>
                  </a:lnTo>
                  <a:lnTo>
                    <a:pt x="363" y="104"/>
                  </a:lnTo>
                  <a:lnTo>
                    <a:pt x="363" y="44"/>
                  </a:lnTo>
                  <a:lnTo>
                    <a:pt x="365" y="41"/>
                  </a:lnTo>
                  <a:lnTo>
                    <a:pt x="365" y="37"/>
                  </a:lnTo>
                  <a:lnTo>
                    <a:pt x="365" y="33"/>
                  </a:lnTo>
                  <a:lnTo>
                    <a:pt x="365" y="31"/>
                  </a:lnTo>
                  <a:lnTo>
                    <a:pt x="365" y="27"/>
                  </a:lnTo>
                  <a:lnTo>
                    <a:pt x="365" y="23"/>
                  </a:lnTo>
                  <a:lnTo>
                    <a:pt x="367" y="21"/>
                  </a:lnTo>
                  <a:lnTo>
                    <a:pt x="367" y="16"/>
                  </a:lnTo>
                  <a:lnTo>
                    <a:pt x="367" y="12"/>
                  </a:lnTo>
                  <a:lnTo>
                    <a:pt x="367" y="10"/>
                  </a:lnTo>
                  <a:lnTo>
                    <a:pt x="365" y="6"/>
                  </a:lnTo>
                  <a:lnTo>
                    <a:pt x="365" y="4"/>
                  </a:lnTo>
                  <a:lnTo>
                    <a:pt x="363" y="2"/>
                  </a:lnTo>
                  <a:lnTo>
                    <a:pt x="361" y="2"/>
                  </a:lnTo>
                  <a:lnTo>
                    <a:pt x="361" y="0"/>
                  </a:lnTo>
                  <a:lnTo>
                    <a:pt x="361" y="0"/>
                  </a:lnTo>
                  <a:lnTo>
                    <a:pt x="361" y="0"/>
                  </a:lnTo>
                  <a:lnTo>
                    <a:pt x="363" y="2"/>
                  </a:lnTo>
                  <a:lnTo>
                    <a:pt x="361" y="4"/>
                  </a:lnTo>
                  <a:lnTo>
                    <a:pt x="359" y="6"/>
                  </a:lnTo>
                  <a:lnTo>
                    <a:pt x="357" y="8"/>
                  </a:lnTo>
                  <a:lnTo>
                    <a:pt x="355" y="10"/>
                  </a:lnTo>
                  <a:lnTo>
                    <a:pt x="355" y="12"/>
                  </a:lnTo>
                  <a:lnTo>
                    <a:pt x="354" y="12"/>
                  </a:lnTo>
                  <a:lnTo>
                    <a:pt x="352" y="14"/>
                  </a:lnTo>
                  <a:lnTo>
                    <a:pt x="348" y="18"/>
                  </a:lnTo>
                  <a:lnTo>
                    <a:pt x="344" y="21"/>
                  </a:lnTo>
                  <a:lnTo>
                    <a:pt x="340" y="21"/>
                  </a:lnTo>
                  <a:lnTo>
                    <a:pt x="336" y="23"/>
                  </a:lnTo>
                  <a:lnTo>
                    <a:pt x="332" y="27"/>
                  </a:lnTo>
                  <a:lnTo>
                    <a:pt x="331" y="29"/>
                  </a:lnTo>
                  <a:lnTo>
                    <a:pt x="327" y="29"/>
                  </a:lnTo>
                  <a:lnTo>
                    <a:pt x="321" y="31"/>
                  </a:lnTo>
                  <a:lnTo>
                    <a:pt x="317" y="33"/>
                  </a:lnTo>
                  <a:lnTo>
                    <a:pt x="313" y="35"/>
                  </a:lnTo>
                  <a:lnTo>
                    <a:pt x="309" y="37"/>
                  </a:lnTo>
                  <a:lnTo>
                    <a:pt x="306" y="39"/>
                  </a:lnTo>
                  <a:lnTo>
                    <a:pt x="300" y="41"/>
                  </a:lnTo>
                  <a:lnTo>
                    <a:pt x="296" y="41"/>
                  </a:lnTo>
                  <a:lnTo>
                    <a:pt x="290" y="41"/>
                  </a:lnTo>
                  <a:lnTo>
                    <a:pt x="283" y="41"/>
                  </a:lnTo>
                  <a:lnTo>
                    <a:pt x="275" y="41"/>
                  </a:lnTo>
                  <a:lnTo>
                    <a:pt x="271" y="43"/>
                  </a:lnTo>
                  <a:lnTo>
                    <a:pt x="258" y="43"/>
                  </a:lnTo>
                  <a:lnTo>
                    <a:pt x="244" y="43"/>
                  </a:lnTo>
                  <a:lnTo>
                    <a:pt x="242" y="44"/>
                  </a:lnTo>
                  <a:lnTo>
                    <a:pt x="238" y="44"/>
                  </a:lnTo>
                  <a:lnTo>
                    <a:pt x="237" y="46"/>
                  </a:lnTo>
                  <a:lnTo>
                    <a:pt x="233" y="48"/>
                  </a:lnTo>
                  <a:lnTo>
                    <a:pt x="229" y="50"/>
                  </a:lnTo>
                  <a:lnTo>
                    <a:pt x="225" y="52"/>
                  </a:lnTo>
                  <a:lnTo>
                    <a:pt x="221" y="54"/>
                  </a:lnTo>
                  <a:lnTo>
                    <a:pt x="206" y="54"/>
                  </a:lnTo>
                  <a:lnTo>
                    <a:pt x="189" y="54"/>
                  </a:lnTo>
                  <a:lnTo>
                    <a:pt x="187" y="52"/>
                  </a:lnTo>
                  <a:lnTo>
                    <a:pt x="181" y="52"/>
                  </a:lnTo>
                  <a:lnTo>
                    <a:pt x="179" y="50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9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4" y="50"/>
                  </a:lnTo>
                  <a:lnTo>
                    <a:pt x="164" y="54"/>
                  </a:lnTo>
                  <a:lnTo>
                    <a:pt x="160" y="56"/>
                  </a:lnTo>
                  <a:lnTo>
                    <a:pt x="160" y="58"/>
                  </a:lnTo>
                  <a:lnTo>
                    <a:pt x="160" y="60"/>
                  </a:lnTo>
                  <a:lnTo>
                    <a:pt x="158" y="64"/>
                  </a:lnTo>
                  <a:lnTo>
                    <a:pt x="156" y="66"/>
                  </a:lnTo>
                  <a:lnTo>
                    <a:pt x="156" y="69"/>
                  </a:lnTo>
                  <a:lnTo>
                    <a:pt x="154" y="71"/>
                  </a:lnTo>
                  <a:lnTo>
                    <a:pt x="154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9"/>
                  </a:lnTo>
                  <a:lnTo>
                    <a:pt x="150" y="94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2" y="104"/>
                  </a:lnTo>
                  <a:lnTo>
                    <a:pt x="152" y="106"/>
                  </a:lnTo>
                  <a:lnTo>
                    <a:pt x="154" y="110"/>
                  </a:lnTo>
                  <a:lnTo>
                    <a:pt x="156" y="110"/>
                  </a:lnTo>
                  <a:lnTo>
                    <a:pt x="158" y="114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3"/>
                  </a:lnTo>
                  <a:lnTo>
                    <a:pt x="166" y="127"/>
                  </a:lnTo>
                  <a:lnTo>
                    <a:pt x="166" y="131"/>
                  </a:lnTo>
                  <a:lnTo>
                    <a:pt x="166" y="137"/>
                  </a:lnTo>
                  <a:lnTo>
                    <a:pt x="167" y="140"/>
                  </a:lnTo>
                  <a:lnTo>
                    <a:pt x="169" y="144"/>
                  </a:lnTo>
                  <a:lnTo>
                    <a:pt x="171" y="146"/>
                  </a:lnTo>
                  <a:lnTo>
                    <a:pt x="173" y="150"/>
                  </a:lnTo>
                  <a:lnTo>
                    <a:pt x="175" y="154"/>
                  </a:lnTo>
                  <a:lnTo>
                    <a:pt x="177" y="156"/>
                  </a:lnTo>
                  <a:lnTo>
                    <a:pt x="177" y="158"/>
                  </a:lnTo>
                  <a:lnTo>
                    <a:pt x="181" y="163"/>
                  </a:lnTo>
                  <a:lnTo>
                    <a:pt x="183" y="165"/>
                  </a:lnTo>
                  <a:lnTo>
                    <a:pt x="183" y="167"/>
                  </a:lnTo>
                  <a:lnTo>
                    <a:pt x="185" y="167"/>
                  </a:lnTo>
                  <a:lnTo>
                    <a:pt x="189" y="169"/>
                  </a:lnTo>
                  <a:lnTo>
                    <a:pt x="192" y="173"/>
                  </a:lnTo>
                  <a:lnTo>
                    <a:pt x="192" y="177"/>
                  </a:lnTo>
                  <a:lnTo>
                    <a:pt x="194" y="181"/>
                  </a:lnTo>
                  <a:lnTo>
                    <a:pt x="196" y="185"/>
                  </a:lnTo>
                  <a:lnTo>
                    <a:pt x="196" y="194"/>
                  </a:lnTo>
                  <a:lnTo>
                    <a:pt x="198" y="202"/>
                  </a:lnTo>
                  <a:lnTo>
                    <a:pt x="196" y="204"/>
                  </a:lnTo>
                  <a:lnTo>
                    <a:pt x="196" y="206"/>
                  </a:lnTo>
                  <a:lnTo>
                    <a:pt x="196" y="208"/>
                  </a:lnTo>
                  <a:lnTo>
                    <a:pt x="194" y="209"/>
                  </a:lnTo>
                  <a:lnTo>
                    <a:pt x="194" y="211"/>
                  </a:lnTo>
                  <a:lnTo>
                    <a:pt x="192" y="213"/>
                  </a:lnTo>
                  <a:lnTo>
                    <a:pt x="190" y="215"/>
                  </a:lnTo>
                  <a:lnTo>
                    <a:pt x="189" y="219"/>
                  </a:lnTo>
                  <a:lnTo>
                    <a:pt x="185" y="221"/>
                  </a:lnTo>
                  <a:lnTo>
                    <a:pt x="185" y="223"/>
                  </a:lnTo>
                  <a:lnTo>
                    <a:pt x="183" y="225"/>
                  </a:lnTo>
                  <a:lnTo>
                    <a:pt x="179" y="227"/>
                  </a:lnTo>
                  <a:lnTo>
                    <a:pt x="175" y="229"/>
                  </a:lnTo>
                  <a:lnTo>
                    <a:pt x="173" y="231"/>
                  </a:lnTo>
                  <a:lnTo>
                    <a:pt x="171" y="234"/>
                  </a:lnTo>
                  <a:lnTo>
                    <a:pt x="169" y="236"/>
                  </a:lnTo>
                  <a:lnTo>
                    <a:pt x="169" y="244"/>
                  </a:lnTo>
                  <a:lnTo>
                    <a:pt x="169" y="252"/>
                  </a:lnTo>
                  <a:lnTo>
                    <a:pt x="167" y="256"/>
                  </a:lnTo>
                  <a:lnTo>
                    <a:pt x="164" y="256"/>
                  </a:lnTo>
                  <a:lnTo>
                    <a:pt x="164" y="250"/>
                  </a:lnTo>
                  <a:lnTo>
                    <a:pt x="164" y="242"/>
                  </a:lnTo>
                  <a:lnTo>
                    <a:pt x="164" y="242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60" y="236"/>
                  </a:lnTo>
                  <a:lnTo>
                    <a:pt x="160" y="232"/>
                  </a:lnTo>
                  <a:lnTo>
                    <a:pt x="158" y="229"/>
                  </a:lnTo>
                  <a:lnTo>
                    <a:pt x="158" y="227"/>
                  </a:lnTo>
                  <a:lnTo>
                    <a:pt x="156" y="225"/>
                  </a:lnTo>
                  <a:lnTo>
                    <a:pt x="154" y="225"/>
                  </a:lnTo>
                  <a:lnTo>
                    <a:pt x="152" y="225"/>
                  </a:lnTo>
                  <a:lnTo>
                    <a:pt x="150" y="223"/>
                  </a:lnTo>
                  <a:lnTo>
                    <a:pt x="148" y="221"/>
                  </a:lnTo>
                  <a:lnTo>
                    <a:pt x="144" y="221"/>
                  </a:lnTo>
                  <a:lnTo>
                    <a:pt x="144" y="219"/>
                  </a:lnTo>
                  <a:lnTo>
                    <a:pt x="142" y="217"/>
                  </a:lnTo>
                  <a:lnTo>
                    <a:pt x="141" y="215"/>
                  </a:lnTo>
                  <a:lnTo>
                    <a:pt x="139" y="211"/>
                  </a:lnTo>
                  <a:lnTo>
                    <a:pt x="137" y="208"/>
                  </a:lnTo>
                  <a:lnTo>
                    <a:pt x="137" y="194"/>
                  </a:lnTo>
                  <a:lnTo>
                    <a:pt x="139" y="190"/>
                  </a:lnTo>
                  <a:lnTo>
                    <a:pt x="139" y="185"/>
                  </a:lnTo>
                  <a:lnTo>
                    <a:pt x="142" y="181"/>
                  </a:lnTo>
                  <a:lnTo>
                    <a:pt x="142" y="177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6" y="169"/>
                  </a:lnTo>
                  <a:lnTo>
                    <a:pt x="146" y="163"/>
                  </a:lnTo>
                  <a:lnTo>
                    <a:pt x="144" y="163"/>
                  </a:lnTo>
                  <a:lnTo>
                    <a:pt x="142" y="163"/>
                  </a:lnTo>
                  <a:lnTo>
                    <a:pt x="139" y="163"/>
                  </a:lnTo>
                  <a:lnTo>
                    <a:pt x="137" y="161"/>
                  </a:lnTo>
                  <a:lnTo>
                    <a:pt x="133" y="161"/>
                  </a:lnTo>
                  <a:lnTo>
                    <a:pt x="127" y="161"/>
                  </a:lnTo>
                  <a:lnTo>
                    <a:pt x="123" y="161"/>
                  </a:lnTo>
                  <a:lnTo>
                    <a:pt x="121" y="163"/>
                  </a:lnTo>
                  <a:lnTo>
                    <a:pt x="118" y="160"/>
                  </a:lnTo>
                  <a:lnTo>
                    <a:pt x="114" y="160"/>
                  </a:lnTo>
                  <a:lnTo>
                    <a:pt x="110" y="158"/>
                  </a:lnTo>
                  <a:lnTo>
                    <a:pt x="108" y="154"/>
                  </a:lnTo>
                  <a:lnTo>
                    <a:pt x="106" y="152"/>
                  </a:lnTo>
                  <a:lnTo>
                    <a:pt x="104" y="150"/>
                  </a:lnTo>
                  <a:lnTo>
                    <a:pt x="100" y="148"/>
                  </a:lnTo>
                  <a:lnTo>
                    <a:pt x="100" y="146"/>
                  </a:lnTo>
                  <a:lnTo>
                    <a:pt x="100" y="144"/>
                  </a:lnTo>
                  <a:lnTo>
                    <a:pt x="98" y="142"/>
                  </a:lnTo>
                  <a:lnTo>
                    <a:pt x="95" y="140"/>
                  </a:lnTo>
                  <a:lnTo>
                    <a:pt x="93" y="138"/>
                  </a:lnTo>
                  <a:lnTo>
                    <a:pt x="79" y="138"/>
                  </a:lnTo>
                  <a:lnTo>
                    <a:pt x="77" y="140"/>
                  </a:lnTo>
                  <a:lnTo>
                    <a:pt x="73" y="140"/>
                  </a:lnTo>
                  <a:lnTo>
                    <a:pt x="71" y="142"/>
                  </a:lnTo>
                  <a:lnTo>
                    <a:pt x="70" y="142"/>
                  </a:lnTo>
                  <a:lnTo>
                    <a:pt x="66" y="144"/>
                  </a:lnTo>
                  <a:lnTo>
                    <a:pt x="64" y="146"/>
                  </a:lnTo>
                  <a:lnTo>
                    <a:pt x="62" y="146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0" y="150"/>
                  </a:lnTo>
                  <a:lnTo>
                    <a:pt x="45" y="150"/>
                  </a:lnTo>
                  <a:lnTo>
                    <a:pt x="37" y="150"/>
                  </a:lnTo>
                  <a:lnTo>
                    <a:pt x="35" y="150"/>
                  </a:lnTo>
                  <a:lnTo>
                    <a:pt x="31" y="152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4" y="158"/>
                  </a:lnTo>
                  <a:lnTo>
                    <a:pt x="22" y="160"/>
                  </a:lnTo>
                  <a:lnTo>
                    <a:pt x="20" y="161"/>
                  </a:lnTo>
                  <a:lnTo>
                    <a:pt x="18" y="163"/>
                  </a:lnTo>
                  <a:lnTo>
                    <a:pt x="14" y="163"/>
                  </a:lnTo>
                  <a:lnTo>
                    <a:pt x="12" y="165"/>
                  </a:lnTo>
                  <a:lnTo>
                    <a:pt x="12" y="167"/>
                  </a:lnTo>
                  <a:lnTo>
                    <a:pt x="12" y="169"/>
                  </a:lnTo>
                  <a:lnTo>
                    <a:pt x="10" y="169"/>
                  </a:lnTo>
                  <a:lnTo>
                    <a:pt x="8" y="171"/>
                  </a:lnTo>
                  <a:lnTo>
                    <a:pt x="4" y="173"/>
                  </a:lnTo>
                  <a:lnTo>
                    <a:pt x="4" y="175"/>
                  </a:lnTo>
                  <a:lnTo>
                    <a:pt x="2" y="179"/>
                  </a:lnTo>
                  <a:lnTo>
                    <a:pt x="0" y="183"/>
                  </a:lnTo>
                  <a:lnTo>
                    <a:pt x="0" y="194"/>
                  </a:lnTo>
                  <a:lnTo>
                    <a:pt x="2" y="206"/>
                  </a:lnTo>
                  <a:lnTo>
                    <a:pt x="2" y="211"/>
                  </a:lnTo>
                  <a:lnTo>
                    <a:pt x="6" y="211"/>
                  </a:lnTo>
                  <a:lnTo>
                    <a:pt x="10" y="211"/>
                  </a:lnTo>
                  <a:lnTo>
                    <a:pt x="12" y="211"/>
                  </a:lnTo>
                  <a:lnTo>
                    <a:pt x="14" y="213"/>
                  </a:lnTo>
                  <a:lnTo>
                    <a:pt x="20" y="215"/>
                  </a:lnTo>
                  <a:lnTo>
                    <a:pt x="22" y="215"/>
                  </a:lnTo>
                  <a:lnTo>
                    <a:pt x="24" y="215"/>
                  </a:lnTo>
                  <a:lnTo>
                    <a:pt x="25" y="217"/>
                  </a:lnTo>
                  <a:lnTo>
                    <a:pt x="29" y="219"/>
                  </a:lnTo>
                  <a:lnTo>
                    <a:pt x="31" y="221"/>
                  </a:lnTo>
                  <a:lnTo>
                    <a:pt x="33" y="223"/>
                  </a:lnTo>
                  <a:lnTo>
                    <a:pt x="37" y="225"/>
                  </a:lnTo>
                  <a:lnTo>
                    <a:pt x="39" y="225"/>
                  </a:lnTo>
                  <a:lnTo>
                    <a:pt x="43" y="225"/>
                  </a:lnTo>
                  <a:lnTo>
                    <a:pt x="48" y="225"/>
                  </a:lnTo>
                  <a:lnTo>
                    <a:pt x="52" y="225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2" y="229"/>
                  </a:lnTo>
                  <a:lnTo>
                    <a:pt x="64" y="229"/>
                  </a:lnTo>
                  <a:lnTo>
                    <a:pt x="66" y="231"/>
                  </a:lnTo>
                  <a:lnTo>
                    <a:pt x="70" y="231"/>
                  </a:lnTo>
                  <a:lnTo>
                    <a:pt x="71" y="231"/>
                  </a:lnTo>
                  <a:lnTo>
                    <a:pt x="75" y="232"/>
                  </a:lnTo>
                  <a:lnTo>
                    <a:pt x="77" y="234"/>
                  </a:lnTo>
                  <a:lnTo>
                    <a:pt x="79" y="236"/>
                  </a:lnTo>
                  <a:lnTo>
                    <a:pt x="81" y="238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7" y="242"/>
                  </a:lnTo>
                  <a:lnTo>
                    <a:pt x="89" y="242"/>
                  </a:lnTo>
                  <a:lnTo>
                    <a:pt x="89" y="244"/>
                  </a:lnTo>
                  <a:lnTo>
                    <a:pt x="91" y="246"/>
                  </a:lnTo>
                  <a:lnTo>
                    <a:pt x="93" y="248"/>
                  </a:lnTo>
                  <a:lnTo>
                    <a:pt x="95" y="248"/>
                  </a:lnTo>
                  <a:lnTo>
                    <a:pt x="96" y="250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100" y="256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0" y="265"/>
                  </a:lnTo>
                  <a:lnTo>
                    <a:pt x="100" y="275"/>
                  </a:lnTo>
                  <a:lnTo>
                    <a:pt x="100" y="286"/>
                  </a:lnTo>
                  <a:lnTo>
                    <a:pt x="102" y="286"/>
                  </a:lnTo>
                  <a:lnTo>
                    <a:pt x="102" y="290"/>
                  </a:lnTo>
                  <a:lnTo>
                    <a:pt x="102" y="294"/>
                  </a:lnTo>
                  <a:lnTo>
                    <a:pt x="100" y="296"/>
                  </a:lnTo>
                  <a:lnTo>
                    <a:pt x="100" y="300"/>
                  </a:lnTo>
                  <a:lnTo>
                    <a:pt x="100" y="302"/>
                  </a:lnTo>
                  <a:lnTo>
                    <a:pt x="100" y="305"/>
                  </a:lnTo>
                  <a:lnTo>
                    <a:pt x="98" y="307"/>
                  </a:lnTo>
                  <a:lnTo>
                    <a:pt x="98" y="311"/>
                  </a:lnTo>
                  <a:lnTo>
                    <a:pt x="96" y="311"/>
                  </a:lnTo>
                  <a:lnTo>
                    <a:pt x="96" y="313"/>
                  </a:lnTo>
                  <a:lnTo>
                    <a:pt x="93" y="319"/>
                  </a:lnTo>
                  <a:lnTo>
                    <a:pt x="93" y="321"/>
                  </a:lnTo>
                  <a:lnTo>
                    <a:pt x="93" y="323"/>
                  </a:lnTo>
                  <a:lnTo>
                    <a:pt x="91" y="325"/>
                  </a:lnTo>
                  <a:lnTo>
                    <a:pt x="89" y="325"/>
                  </a:lnTo>
                  <a:lnTo>
                    <a:pt x="89" y="328"/>
                  </a:lnTo>
                  <a:lnTo>
                    <a:pt x="87" y="330"/>
                  </a:lnTo>
                  <a:lnTo>
                    <a:pt x="83" y="332"/>
                  </a:lnTo>
                  <a:lnTo>
                    <a:pt x="83" y="338"/>
                  </a:lnTo>
                  <a:lnTo>
                    <a:pt x="83" y="340"/>
                  </a:lnTo>
                  <a:lnTo>
                    <a:pt x="83" y="342"/>
                  </a:lnTo>
                  <a:lnTo>
                    <a:pt x="85" y="348"/>
                  </a:lnTo>
                  <a:lnTo>
                    <a:pt x="85" y="350"/>
                  </a:lnTo>
                  <a:lnTo>
                    <a:pt x="85" y="351"/>
                  </a:lnTo>
                  <a:lnTo>
                    <a:pt x="87" y="353"/>
                  </a:lnTo>
                  <a:lnTo>
                    <a:pt x="89" y="355"/>
                  </a:lnTo>
                  <a:lnTo>
                    <a:pt x="87" y="357"/>
                  </a:lnTo>
                  <a:lnTo>
                    <a:pt x="85" y="359"/>
                  </a:lnTo>
                  <a:lnTo>
                    <a:pt x="85" y="365"/>
                  </a:lnTo>
                  <a:lnTo>
                    <a:pt x="85" y="367"/>
                  </a:lnTo>
                  <a:lnTo>
                    <a:pt x="83" y="369"/>
                  </a:lnTo>
                  <a:lnTo>
                    <a:pt x="81" y="374"/>
                  </a:lnTo>
                  <a:lnTo>
                    <a:pt x="81" y="382"/>
                  </a:lnTo>
                  <a:lnTo>
                    <a:pt x="81" y="390"/>
                  </a:lnTo>
                  <a:lnTo>
                    <a:pt x="79" y="392"/>
                  </a:lnTo>
                  <a:lnTo>
                    <a:pt x="77" y="392"/>
                  </a:lnTo>
                  <a:lnTo>
                    <a:pt x="75" y="396"/>
                  </a:lnTo>
                  <a:lnTo>
                    <a:pt x="75" y="399"/>
                  </a:lnTo>
                  <a:lnTo>
                    <a:pt x="75" y="399"/>
                  </a:lnTo>
                  <a:lnTo>
                    <a:pt x="75" y="401"/>
                  </a:lnTo>
                  <a:lnTo>
                    <a:pt x="73" y="403"/>
                  </a:lnTo>
                  <a:lnTo>
                    <a:pt x="70" y="407"/>
                  </a:lnTo>
                  <a:lnTo>
                    <a:pt x="68" y="409"/>
                  </a:lnTo>
                  <a:lnTo>
                    <a:pt x="66" y="409"/>
                  </a:lnTo>
                  <a:lnTo>
                    <a:pt x="64" y="411"/>
                  </a:lnTo>
                  <a:lnTo>
                    <a:pt x="62" y="413"/>
                  </a:lnTo>
                  <a:lnTo>
                    <a:pt x="62" y="417"/>
                  </a:lnTo>
                  <a:lnTo>
                    <a:pt x="62" y="419"/>
                  </a:lnTo>
                  <a:lnTo>
                    <a:pt x="60" y="421"/>
                  </a:lnTo>
                  <a:lnTo>
                    <a:pt x="58" y="424"/>
                  </a:lnTo>
                  <a:lnTo>
                    <a:pt x="56" y="424"/>
                  </a:lnTo>
                  <a:lnTo>
                    <a:pt x="54" y="426"/>
                  </a:lnTo>
                  <a:lnTo>
                    <a:pt x="52" y="428"/>
                  </a:lnTo>
                  <a:lnTo>
                    <a:pt x="50" y="430"/>
                  </a:lnTo>
                  <a:lnTo>
                    <a:pt x="48" y="432"/>
                  </a:lnTo>
                  <a:lnTo>
                    <a:pt x="45" y="434"/>
                  </a:lnTo>
                  <a:lnTo>
                    <a:pt x="41" y="436"/>
                  </a:lnTo>
                  <a:lnTo>
                    <a:pt x="39" y="436"/>
                  </a:lnTo>
                  <a:lnTo>
                    <a:pt x="37" y="436"/>
                  </a:lnTo>
                  <a:lnTo>
                    <a:pt x="35" y="436"/>
                  </a:lnTo>
                  <a:lnTo>
                    <a:pt x="33" y="438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5" y="442"/>
                  </a:lnTo>
                  <a:lnTo>
                    <a:pt x="24" y="442"/>
                  </a:lnTo>
                  <a:lnTo>
                    <a:pt x="24" y="445"/>
                  </a:lnTo>
                  <a:lnTo>
                    <a:pt x="22" y="447"/>
                  </a:lnTo>
                  <a:lnTo>
                    <a:pt x="22" y="457"/>
                  </a:lnTo>
                  <a:lnTo>
                    <a:pt x="22" y="465"/>
                  </a:lnTo>
                  <a:lnTo>
                    <a:pt x="24" y="467"/>
                  </a:lnTo>
                  <a:lnTo>
                    <a:pt x="24" y="470"/>
                  </a:lnTo>
                  <a:lnTo>
                    <a:pt x="24" y="472"/>
                  </a:lnTo>
                  <a:lnTo>
                    <a:pt x="25" y="476"/>
                  </a:lnTo>
                  <a:lnTo>
                    <a:pt x="25" y="478"/>
                  </a:lnTo>
                  <a:lnTo>
                    <a:pt x="25" y="480"/>
                  </a:lnTo>
                  <a:lnTo>
                    <a:pt x="27" y="484"/>
                  </a:lnTo>
                  <a:lnTo>
                    <a:pt x="29" y="486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95"/>
                  </a:lnTo>
                  <a:lnTo>
                    <a:pt x="35" y="497"/>
                  </a:lnTo>
                  <a:lnTo>
                    <a:pt x="33" y="499"/>
                  </a:lnTo>
                  <a:lnTo>
                    <a:pt x="33" y="505"/>
                  </a:lnTo>
                  <a:lnTo>
                    <a:pt x="33" y="511"/>
                  </a:lnTo>
                  <a:lnTo>
                    <a:pt x="35" y="513"/>
                  </a:lnTo>
                  <a:lnTo>
                    <a:pt x="39" y="516"/>
                  </a:lnTo>
                  <a:lnTo>
                    <a:pt x="39" y="518"/>
                  </a:lnTo>
                  <a:lnTo>
                    <a:pt x="41" y="520"/>
                  </a:lnTo>
                  <a:lnTo>
                    <a:pt x="43" y="522"/>
                  </a:lnTo>
                  <a:lnTo>
                    <a:pt x="48" y="522"/>
                  </a:lnTo>
                  <a:lnTo>
                    <a:pt x="48" y="524"/>
                  </a:lnTo>
                  <a:lnTo>
                    <a:pt x="50" y="528"/>
                  </a:lnTo>
                  <a:lnTo>
                    <a:pt x="50" y="538"/>
                  </a:lnTo>
                  <a:lnTo>
                    <a:pt x="50" y="545"/>
                  </a:lnTo>
                  <a:lnTo>
                    <a:pt x="48" y="549"/>
                  </a:lnTo>
                  <a:lnTo>
                    <a:pt x="48" y="551"/>
                  </a:lnTo>
                  <a:lnTo>
                    <a:pt x="48" y="555"/>
                  </a:lnTo>
                  <a:lnTo>
                    <a:pt x="48" y="559"/>
                  </a:lnTo>
                  <a:lnTo>
                    <a:pt x="48" y="561"/>
                  </a:lnTo>
                  <a:lnTo>
                    <a:pt x="47" y="564"/>
                  </a:lnTo>
                  <a:lnTo>
                    <a:pt x="47" y="568"/>
                  </a:lnTo>
                  <a:lnTo>
                    <a:pt x="45" y="570"/>
                  </a:lnTo>
                  <a:lnTo>
                    <a:pt x="41" y="572"/>
                  </a:lnTo>
                  <a:lnTo>
                    <a:pt x="41" y="576"/>
                  </a:lnTo>
                  <a:lnTo>
                    <a:pt x="39" y="578"/>
                  </a:lnTo>
                  <a:lnTo>
                    <a:pt x="39" y="584"/>
                  </a:lnTo>
                  <a:lnTo>
                    <a:pt x="39" y="586"/>
                  </a:lnTo>
                  <a:lnTo>
                    <a:pt x="39" y="587"/>
                  </a:lnTo>
                  <a:lnTo>
                    <a:pt x="41" y="589"/>
                  </a:lnTo>
                  <a:lnTo>
                    <a:pt x="45" y="593"/>
                  </a:lnTo>
                  <a:lnTo>
                    <a:pt x="47" y="595"/>
                  </a:lnTo>
                  <a:lnTo>
                    <a:pt x="47" y="599"/>
                  </a:lnTo>
                  <a:lnTo>
                    <a:pt x="48" y="603"/>
                  </a:lnTo>
                  <a:lnTo>
                    <a:pt x="48" y="605"/>
                  </a:lnTo>
                  <a:lnTo>
                    <a:pt x="48" y="609"/>
                  </a:lnTo>
                  <a:lnTo>
                    <a:pt x="48" y="624"/>
                  </a:lnTo>
                  <a:lnTo>
                    <a:pt x="48" y="639"/>
                  </a:lnTo>
                  <a:lnTo>
                    <a:pt x="52" y="641"/>
                  </a:lnTo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1" name="Freeform 17"/>
            <p:cNvSpPr>
              <a:spLocks/>
            </p:cNvSpPr>
            <p:nvPr/>
          </p:nvSpPr>
          <p:spPr bwMode="auto">
            <a:xfrm>
              <a:off x="2369" y="2674"/>
              <a:ext cx="109" cy="287"/>
            </a:xfrm>
            <a:custGeom>
              <a:avLst/>
              <a:gdLst/>
              <a:ahLst/>
              <a:cxnLst>
                <a:cxn ang="0">
                  <a:pos x="82" y="270"/>
                </a:cxn>
                <a:cxn ang="0">
                  <a:pos x="82" y="259"/>
                </a:cxn>
                <a:cxn ang="0">
                  <a:pos x="92" y="253"/>
                </a:cxn>
                <a:cxn ang="0">
                  <a:pos x="100" y="243"/>
                </a:cxn>
                <a:cxn ang="0">
                  <a:pos x="105" y="232"/>
                </a:cxn>
                <a:cxn ang="0">
                  <a:pos x="109" y="222"/>
                </a:cxn>
                <a:cxn ang="0">
                  <a:pos x="105" y="213"/>
                </a:cxn>
                <a:cxn ang="0">
                  <a:pos x="100" y="201"/>
                </a:cxn>
                <a:cxn ang="0">
                  <a:pos x="98" y="191"/>
                </a:cxn>
                <a:cxn ang="0">
                  <a:pos x="92" y="186"/>
                </a:cxn>
                <a:cxn ang="0">
                  <a:pos x="86" y="178"/>
                </a:cxn>
                <a:cxn ang="0">
                  <a:pos x="80" y="168"/>
                </a:cxn>
                <a:cxn ang="0">
                  <a:pos x="78" y="157"/>
                </a:cxn>
                <a:cxn ang="0">
                  <a:pos x="77" y="149"/>
                </a:cxn>
                <a:cxn ang="0">
                  <a:pos x="71" y="142"/>
                </a:cxn>
                <a:cxn ang="0">
                  <a:pos x="67" y="132"/>
                </a:cxn>
                <a:cxn ang="0">
                  <a:pos x="61" y="124"/>
                </a:cxn>
                <a:cxn ang="0">
                  <a:pos x="65" y="94"/>
                </a:cxn>
                <a:cxn ang="0">
                  <a:pos x="69" y="84"/>
                </a:cxn>
                <a:cxn ang="0">
                  <a:pos x="75" y="76"/>
                </a:cxn>
                <a:cxn ang="0">
                  <a:pos x="75" y="69"/>
                </a:cxn>
                <a:cxn ang="0">
                  <a:pos x="73" y="59"/>
                </a:cxn>
                <a:cxn ang="0">
                  <a:pos x="71" y="46"/>
                </a:cxn>
                <a:cxn ang="0">
                  <a:pos x="73" y="28"/>
                </a:cxn>
                <a:cxn ang="0">
                  <a:pos x="65" y="17"/>
                </a:cxn>
                <a:cxn ang="0">
                  <a:pos x="61" y="9"/>
                </a:cxn>
                <a:cxn ang="0">
                  <a:pos x="55" y="1"/>
                </a:cxn>
                <a:cxn ang="0">
                  <a:pos x="13" y="13"/>
                </a:cxn>
                <a:cxn ang="0">
                  <a:pos x="19" y="19"/>
                </a:cxn>
                <a:cxn ang="0">
                  <a:pos x="21" y="32"/>
                </a:cxn>
                <a:cxn ang="0">
                  <a:pos x="30" y="44"/>
                </a:cxn>
                <a:cxn ang="0">
                  <a:pos x="30" y="69"/>
                </a:cxn>
                <a:cxn ang="0">
                  <a:pos x="25" y="80"/>
                </a:cxn>
                <a:cxn ang="0">
                  <a:pos x="15" y="86"/>
                </a:cxn>
                <a:cxn ang="0">
                  <a:pos x="13" y="101"/>
                </a:cxn>
                <a:cxn ang="0">
                  <a:pos x="11" y="138"/>
                </a:cxn>
                <a:cxn ang="0">
                  <a:pos x="4" y="161"/>
                </a:cxn>
                <a:cxn ang="0">
                  <a:pos x="0" y="165"/>
                </a:cxn>
                <a:cxn ang="0">
                  <a:pos x="13" y="170"/>
                </a:cxn>
                <a:cxn ang="0">
                  <a:pos x="17" y="180"/>
                </a:cxn>
                <a:cxn ang="0">
                  <a:pos x="23" y="188"/>
                </a:cxn>
                <a:cxn ang="0">
                  <a:pos x="55" y="189"/>
                </a:cxn>
                <a:cxn ang="0">
                  <a:pos x="57" y="197"/>
                </a:cxn>
                <a:cxn ang="0">
                  <a:pos x="55" y="205"/>
                </a:cxn>
                <a:cxn ang="0">
                  <a:pos x="50" y="213"/>
                </a:cxn>
                <a:cxn ang="0">
                  <a:pos x="48" y="232"/>
                </a:cxn>
                <a:cxn ang="0">
                  <a:pos x="52" y="241"/>
                </a:cxn>
                <a:cxn ang="0">
                  <a:pos x="55" y="251"/>
                </a:cxn>
                <a:cxn ang="0">
                  <a:pos x="67" y="255"/>
                </a:cxn>
                <a:cxn ang="0">
                  <a:pos x="73" y="264"/>
                </a:cxn>
                <a:cxn ang="0">
                  <a:pos x="75" y="276"/>
                </a:cxn>
                <a:cxn ang="0">
                  <a:pos x="78" y="285"/>
                </a:cxn>
              </a:cxnLst>
              <a:rect l="0" t="0" r="r" b="b"/>
              <a:pathLst>
                <a:path w="109" h="287">
                  <a:moveTo>
                    <a:pt x="78" y="287"/>
                  </a:moveTo>
                  <a:lnTo>
                    <a:pt x="82" y="284"/>
                  </a:lnTo>
                  <a:lnTo>
                    <a:pt x="82" y="280"/>
                  </a:lnTo>
                  <a:lnTo>
                    <a:pt x="82" y="270"/>
                  </a:lnTo>
                  <a:lnTo>
                    <a:pt x="82" y="268"/>
                  </a:lnTo>
                  <a:lnTo>
                    <a:pt x="82" y="264"/>
                  </a:lnTo>
                  <a:lnTo>
                    <a:pt x="82" y="260"/>
                  </a:lnTo>
                  <a:lnTo>
                    <a:pt x="82" y="259"/>
                  </a:lnTo>
                  <a:lnTo>
                    <a:pt x="84" y="259"/>
                  </a:lnTo>
                  <a:lnTo>
                    <a:pt x="86" y="255"/>
                  </a:lnTo>
                  <a:lnTo>
                    <a:pt x="88" y="255"/>
                  </a:lnTo>
                  <a:lnTo>
                    <a:pt x="92" y="253"/>
                  </a:lnTo>
                  <a:lnTo>
                    <a:pt x="94" y="251"/>
                  </a:lnTo>
                  <a:lnTo>
                    <a:pt x="96" y="251"/>
                  </a:lnTo>
                  <a:lnTo>
                    <a:pt x="100" y="245"/>
                  </a:lnTo>
                  <a:lnTo>
                    <a:pt x="100" y="243"/>
                  </a:lnTo>
                  <a:lnTo>
                    <a:pt x="101" y="239"/>
                  </a:lnTo>
                  <a:lnTo>
                    <a:pt x="103" y="236"/>
                  </a:lnTo>
                  <a:lnTo>
                    <a:pt x="105" y="234"/>
                  </a:lnTo>
                  <a:lnTo>
                    <a:pt x="105" y="232"/>
                  </a:lnTo>
                  <a:lnTo>
                    <a:pt x="107" y="230"/>
                  </a:lnTo>
                  <a:lnTo>
                    <a:pt x="109" y="228"/>
                  </a:lnTo>
                  <a:lnTo>
                    <a:pt x="109" y="226"/>
                  </a:lnTo>
                  <a:lnTo>
                    <a:pt x="109" y="222"/>
                  </a:lnTo>
                  <a:lnTo>
                    <a:pt x="109" y="218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05" y="213"/>
                  </a:lnTo>
                  <a:lnTo>
                    <a:pt x="105" y="211"/>
                  </a:lnTo>
                  <a:lnTo>
                    <a:pt x="103" y="209"/>
                  </a:lnTo>
                  <a:lnTo>
                    <a:pt x="100" y="207"/>
                  </a:lnTo>
                  <a:lnTo>
                    <a:pt x="100" y="201"/>
                  </a:lnTo>
                  <a:lnTo>
                    <a:pt x="100" y="199"/>
                  </a:lnTo>
                  <a:lnTo>
                    <a:pt x="100" y="197"/>
                  </a:lnTo>
                  <a:lnTo>
                    <a:pt x="98" y="195"/>
                  </a:lnTo>
                  <a:lnTo>
                    <a:pt x="98" y="191"/>
                  </a:lnTo>
                  <a:lnTo>
                    <a:pt x="96" y="189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2" y="186"/>
                  </a:lnTo>
                  <a:lnTo>
                    <a:pt x="92" y="182"/>
                  </a:lnTo>
                  <a:lnTo>
                    <a:pt x="90" y="182"/>
                  </a:lnTo>
                  <a:lnTo>
                    <a:pt x="88" y="178"/>
                  </a:lnTo>
                  <a:lnTo>
                    <a:pt x="86" y="178"/>
                  </a:lnTo>
                  <a:lnTo>
                    <a:pt x="82" y="176"/>
                  </a:lnTo>
                  <a:lnTo>
                    <a:pt x="82" y="174"/>
                  </a:lnTo>
                  <a:lnTo>
                    <a:pt x="80" y="172"/>
                  </a:lnTo>
                  <a:lnTo>
                    <a:pt x="80" y="168"/>
                  </a:lnTo>
                  <a:lnTo>
                    <a:pt x="80" y="166"/>
                  </a:lnTo>
                  <a:lnTo>
                    <a:pt x="78" y="163"/>
                  </a:lnTo>
                  <a:lnTo>
                    <a:pt x="78" y="161"/>
                  </a:lnTo>
                  <a:lnTo>
                    <a:pt x="78" y="157"/>
                  </a:lnTo>
                  <a:lnTo>
                    <a:pt x="77" y="157"/>
                  </a:lnTo>
                  <a:lnTo>
                    <a:pt x="77" y="153"/>
                  </a:lnTo>
                  <a:lnTo>
                    <a:pt x="77" y="151"/>
                  </a:lnTo>
                  <a:lnTo>
                    <a:pt x="77" y="149"/>
                  </a:lnTo>
                  <a:lnTo>
                    <a:pt x="75" y="145"/>
                  </a:lnTo>
                  <a:lnTo>
                    <a:pt x="75" y="143"/>
                  </a:lnTo>
                  <a:lnTo>
                    <a:pt x="73" y="143"/>
                  </a:lnTo>
                  <a:lnTo>
                    <a:pt x="71" y="142"/>
                  </a:lnTo>
                  <a:lnTo>
                    <a:pt x="71" y="138"/>
                  </a:lnTo>
                  <a:lnTo>
                    <a:pt x="69" y="138"/>
                  </a:lnTo>
                  <a:lnTo>
                    <a:pt x="67" y="136"/>
                  </a:lnTo>
                  <a:lnTo>
                    <a:pt x="67" y="132"/>
                  </a:lnTo>
                  <a:lnTo>
                    <a:pt x="65" y="132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4"/>
                  </a:lnTo>
                  <a:lnTo>
                    <a:pt x="61" y="113"/>
                  </a:lnTo>
                  <a:lnTo>
                    <a:pt x="61" y="99"/>
                  </a:lnTo>
                  <a:lnTo>
                    <a:pt x="63" y="95"/>
                  </a:lnTo>
                  <a:lnTo>
                    <a:pt x="65" y="94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6"/>
                  </a:lnTo>
                  <a:lnTo>
                    <a:pt x="69" y="84"/>
                  </a:lnTo>
                  <a:lnTo>
                    <a:pt x="69" y="82"/>
                  </a:lnTo>
                  <a:lnTo>
                    <a:pt x="71" y="80"/>
                  </a:lnTo>
                  <a:lnTo>
                    <a:pt x="75" y="78"/>
                  </a:lnTo>
                  <a:lnTo>
                    <a:pt x="75" y="76"/>
                  </a:lnTo>
                  <a:lnTo>
                    <a:pt x="77" y="76"/>
                  </a:lnTo>
                  <a:lnTo>
                    <a:pt x="77" y="72"/>
                  </a:lnTo>
                  <a:lnTo>
                    <a:pt x="75" y="71"/>
                  </a:lnTo>
                  <a:lnTo>
                    <a:pt x="75" y="69"/>
                  </a:lnTo>
                  <a:lnTo>
                    <a:pt x="75" y="67"/>
                  </a:lnTo>
                  <a:lnTo>
                    <a:pt x="75" y="63"/>
                  </a:lnTo>
                  <a:lnTo>
                    <a:pt x="75" y="61"/>
                  </a:lnTo>
                  <a:lnTo>
                    <a:pt x="73" y="59"/>
                  </a:lnTo>
                  <a:lnTo>
                    <a:pt x="73" y="55"/>
                  </a:lnTo>
                  <a:lnTo>
                    <a:pt x="73" y="51"/>
                  </a:lnTo>
                  <a:lnTo>
                    <a:pt x="71" y="49"/>
                  </a:lnTo>
                  <a:lnTo>
                    <a:pt x="71" y="46"/>
                  </a:lnTo>
                  <a:lnTo>
                    <a:pt x="71" y="40"/>
                  </a:lnTo>
                  <a:lnTo>
                    <a:pt x="73" y="38"/>
                  </a:lnTo>
                  <a:lnTo>
                    <a:pt x="73" y="32"/>
                  </a:lnTo>
                  <a:lnTo>
                    <a:pt x="73" y="28"/>
                  </a:lnTo>
                  <a:lnTo>
                    <a:pt x="71" y="24"/>
                  </a:lnTo>
                  <a:lnTo>
                    <a:pt x="69" y="21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3" y="13"/>
                  </a:lnTo>
                  <a:lnTo>
                    <a:pt x="61" y="13"/>
                  </a:lnTo>
                  <a:lnTo>
                    <a:pt x="61" y="9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5" y="3"/>
                  </a:lnTo>
                  <a:lnTo>
                    <a:pt x="55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13" y="0"/>
                  </a:lnTo>
                  <a:lnTo>
                    <a:pt x="13" y="13"/>
                  </a:lnTo>
                  <a:lnTo>
                    <a:pt x="15" y="13"/>
                  </a:lnTo>
                  <a:lnTo>
                    <a:pt x="15" y="15"/>
                  </a:lnTo>
                  <a:lnTo>
                    <a:pt x="17" y="17"/>
                  </a:lnTo>
                  <a:lnTo>
                    <a:pt x="19" y="19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8"/>
                  </a:lnTo>
                  <a:lnTo>
                    <a:pt x="21" y="32"/>
                  </a:lnTo>
                  <a:lnTo>
                    <a:pt x="23" y="34"/>
                  </a:lnTo>
                  <a:lnTo>
                    <a:pt x="23" y="38"/>
                  </a:lnTo>
                  <a:lnTo>
                    <a:pt x="27" y="42"/>
                  </a:lnTo>
                  <a:lnTo>
                    <a:pt x="30" y="44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9"/>
                  </a:lnTo>
                  <a:lnTo>
                    <a:pt x="29" y="71"/>
                  </a:lnTo>
                  <a:lnTo>
                    <a:pt x="29" y="74"/>
                  </a:lnTo>
                  <a:lnTo>
                    <a:pt x="27" y="78"/>
                  </a:lnTo>
                  <a:lnTo>
                    <a:pt x="25" y="80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1" y="90"/>
                  </a:lnTo>
                  <a:lnTo>
                    <a:pt x="11" y="94"/>
                  </a:lnTo>
                  <a:lnTo>
                    <a:pt x="11" y="97"/>
                  </a:lnTo>
                  <a:lnTo>
                    <a:pt x="13" y="101"/>
                  </a:lnTo>
                  <a:lnTo>
                    <a:pt x="13" y="111"/>
                  </a:lnTo>
                  <a:lnTo>
                    <a:pt x="13" y="120"/>
                  </a:lnTo>
                  <a:lnTo>
                    <a:pt x="11" y="120"/>
                  </a:lnTo>
                  <a:lnTo>
                    <a:pt x="11" y="138"/>
                  </a:lnTo>
                  <a:lnTo>
                    <a:pt x="11" y="153"/>
                  </a:lnTo>
                  <a:lnTo>
                    <a:pt x="11" y="157"/>
                  </a:lnTo>
                  <a:lnTo>
                    <a:pt x="7" y="159"/>
                  </a:lnTo>
                  <a:lnTo>
                    <a:pt x="4" y="161"/>
                  </a:lnTo>
                  <a:lnTo>
                    <a:pt x="4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7" y="165"/>
                  </a:lnTo>
                  <a:lnTo>
                    <a:pt x="9" y="166"/>
                  </a:lnTo>
                  <a:lnTo>
                    <a:pt x="11" y="168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3" y="174"/>
                  </a:lnTo>
                  <a:lnTo>
                    <a:pt x="15" y="178"/>
                  </a:lnTo>
                  <a:lnTo>
                    <a:pt x="17" y="180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1" y="186"/>
                  </a:lnTo>
                  <a:lnTo>
                    <a:pt x="23" y="188"/>
                  </a:lnTo>
                  <a:lnTo>
                    <a:pt x="30" y="188"/>
                  </a:lnTo>
                  <a:lnTo>
                    <a:pt x="34" y="189"/>
                  </a:lnTo>
                  <a:lnTo>
                    <a:pt x="46" y="189"/>
                  </a:lnTo>
                  <a:lnTo>
                    <a:pt x="55" y="189"/>
                  </a:lnTo>
                  <a:lnTo>
                    <a:pt x="61" y="191"/>
                  </a:lnTo>
                  <a:lnTo>
                    <a:pt x="59" y="193"/>
                  </a:lnTo>
                  <a:lnTo>
                    <a:pt x="59" y="195"/>
                  </a:lnTo>
                  <a:lnTo>
                    <a:pt x="57" y="197"/>
                  </a:lnTo>
                  <a:lnTo>
                    <a:pt x="57" y="199"/>
                  </a:lnTo>
                  <a:lnTo>
                    <a:pt x="57" y="199"/>
                  </a:lnTo>
                  <a:lnTo>
                    <a:pt x="55" y="201"/>
                  </a:lnTo>
                  <a:lnTo>
                    <a:pt x="55" y="205"/>
                  </a:lnTo>
                  <a:lnTo>
                    <a:pt x="53" y="205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0" y="213"/>
                  </a:lnTo>
                  <a:lnTo>
                    <a:pt x="50" y="214"/>
                  </a:lnTo>
                  <a:lnTo>
                    <a:pt x="48" y="218"/>
                  </a:lnTo>
                  <a:lnTo>
                    <a:pt x="48" y="226"/>
                  </a:lnTo>
                  <a:lnTo>
                    <a:pt x="48" y="232"/>
                  </a:lnTo>
                  <a:lnTo>
                    <a:pt x="50" y="234"/>
                  </a:lnTo>
                  <a:lnTo>
                    <a:pt x="50" y="236"/>
                  </a:lnTo>
                  <a:lnTo>
                    <a:pt x="50" y="239"/>
                  </a:lnTo>
                  <a:lnTo>
                    <a:pt x="52" y="241"/>
                  </a:lnTo>
                  <a:lnTo>
                    <a:pt x="52" y="243"/>
                  </a:lnTo>
                  <a:lnTo>
                    <a:pt x="52" y="245"/>
                  </a:lnTo>
                  <a:lnTo>
                    <a:pt x="53" y="247"/>
                  </a:lnTo>
                  <a:lnTo>
                    <a:pt x="55" y="251"/>
                  </a:lnTo>
                  <a:lnTo>
                    <a:pt x="59" y="251"/>
                  </a:lnTo>
                  <a:lnTo>
                    <a:pt x="65" y="251"/>
                  </a:lnTo>
                  <a:lnTo>
                    <a:pt x="67" y="253"/>
                  </a:lnTo>
                  <a:lnTo>
                    <a:pt x="67" y="255"/>
                  </a:lnTo>
                  <a:lnTo>
                    <a:pt x="69" y="257"/>
                  </a:lnTo>
                  <a:lnTo>
                    <a:pt x="69" y="260"/>
                  </a:lnTo>
                  <a:lnTo>
                    <a:pt x="71" y="262"/>
                  </a:lnTo>
                  <a:lnTo>
                    <a:pt x="73" y="264"/>
                  </a:lnTo>
                  <a:lnTo>
                    <a:pt x="73" y="268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5" y="276"/>
                  </a:lnTo>
                  <a:lnTo>
                    <a:pt x="77" y="280"/>
                  </a:lnTo>
                  <a:lnTo>
                    <a:pt x="77" y="282"/>
                  </a:lnTo>
                  <a:lnTo>
                    <a:pt x="77" y="284"/>
                  </a:lnTo>
                  <a:lnTo>
                    <a:pt x="78" y="285"/>
                  </a:lnTo>
                  <a:lnTo>
                    <a:pt x="78" y="28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2" name="Freeform 18"/>
            <p:cNvSpPr>
              <a:spLocks/>
            </p:cNvSpPr>
            <p:nvPr/>
          </p:nvSpPr>
          <p:spPr bwMode="auto">
            <a:xfrm>
              <a:off x="2369" y="2674"/>
              <a:ext cx="109" cy="287"/>
            </a:xfrm>
            <a:custGeom>
              <a:avLst/>
              <a:gdLst/>
              <a:ahLst/>
              <a:cxnLst>
                <a:cxn ang="0">
                  <a:pos x="82" y="270"/>
                </a:cxn>
                <a:cxn ang="0">
                  <a:pos x="82" y="259"/>
                </a:cxn>
                <a:cxn ang="0">
                  <a:pos x="92" y="253"/>
                </a:cxn>
                <a:cxn ang="0">
                  <a:pos x="100" y="243"/>
                </a:cxn>
                <a:cxn ang="0">
                  <a:pos x="105" y="232"/>
                </a:cxn>
                <a:cxn ang="0">
                  <a:pos x="109" y="222"/>
                </a:cxn>
                <a:cxn ang="0">
                  <a:pos x="105" y="213"/>
                </a:cxn>
                <a:cxn ang="0">
                  <a:pos x="100" y="201"/>
                </a:cxn>
                <a:cxn ang="0">
                  <a:pos x="98" y="191"/>
                </a:cxn>
                <a:cxn ang="0">
                  <a:pos x="92" y="186"/>
                </a:cxn>
                <a:cxn ang="0">
                  <a:pos x="86" y="178"/>
                </a:cxn>
                <a:cxn ang="0">
                  <a:pos x="80" y="168"/>
                </a:cxn>
                <a:cxn ang="0">
                  <a:pos x="78" y="157"/>
                </a:cxn>
                <a:cxn ang="0">
                  <a:pos x="77" y="149"/>
                </a:cxn>
                <a:cxn ang="0">
                  <a:pos x="71" y="142"/>
                </a:cxn>
                <a:cxn ang="0">
                  <a:pos x="67" y="132"/>
                </a:cxn>
                <a:cxn ang="0">
                  <a:pos x="61" y="124"/>
                </a:cxn>
                <a:cxn ang="0">
                  <a:pos x="65" y="94"/>
                </a:cxn>
                <a:cxn ang="0">
                  <a:pos x="69" y="84"/>
                </a:cxn>
                <a:cxn ang="0">
                  <a:pos x="75" y="76"/>
                </a:cxn>
                <a:cxn ang="0">
                  <a:pos x="75" y="69"/>
                </a:cxn>
                <a:cxn ang="0">
                  <a:pos x="73" y="59"/>
                </a:cxn>
                <a:cxn ang="0">
                  <a:pos x="71" y="46"/>
                </a:cxn>
                <a:cxn ang="0">
                  <a:pos x="73" y="28"/>
                </a:cxn>
                <a:cxn ang="0">
                  <a:pos x="65" y="17"/>
                </a:cxn>
                <a:cxn ang="0">
                  <a:pos x="61" y="9"/>
                </a:cxn>
                <a:cxn ang="0">
                  <a:pos x="55" y="1"/>
                </a:cxn>
                <a:cxn ang="0">
                  <a:pos x="13" y="13"/>
                </a:cxn>
                <a:cxn ang="0">
                  <a:pos x="19" y="19"/>
                </a:cxn>
                <a:cxn ang="0">
                  <a:pos x="21" y="32"/>
                </a:cxn>
                <a:cxn ang="0">
                  <a:pos x="30" y="44"/>
                </a:cxn>
                <a:cxn ang="0">
                  <a:pos x="30" y="69"/>
                </a:cxn>
                <a:cxn ang="0">
                  <a:pos x="25" y="80"/>
                </a:cxn>
                <a:cxn ang="0">
                  <a:pos x="15" y="86"/>
                </a:cxn>
                <a:cxn ang="0">
                  <a:pos x="13" y="101"/>
                </a:cxn>
                <a:cxn ang="0">
                  <a:pos x="11" y="138"/>
                </a:cxn>
                <a:cxn ang="0">
                  <a:pos x="4" y="161"/>
                </a:cxn>
                <a:cxn ang="0">
                  <a:pos x="0" y="165"/>
                </a:cxn>
                <a:cxn ang="0">
                  <a:pos x="13" y="170"/>
                </a:cxn>
                <a:cxn ang="0">
                  <a:pos x="17" y="180"/>
                </a:cxn>
                <a:cxn ang="0">
                  <a:pos x="23" y="188"/>
                </a:cxn>
                <a:cxn ang="0">
                  <a:pos x="55" y="189"/>
                </a:cxn>
                <a:cxn ang="0">
                  <a:pos x="57" y="197"/>
                </a:cxn>
                <a:cxn ang="0">
                  <a:pos x="55" y="205"/>
                </a:cxn>
                <a:cxn ang="0">
                  <a:pos x="50" y="213"/>
                </a:cxn>
                <a:cxn ang="0">
                  <a:pos x="48" y="232"/>
                </a:cxn>
                <a:cxn ang="0">
                  <a:pos x="52" y="241"/>
                </a:cxn>
                <a:cxn ang="0">
                  <a:pos x="55" y="251"/>
                </a:cxn>
                <a:cxn ang="0">
                  <a:pos x="67" y="255"/>
                </a:cxn>
                <a:cxn ang="0">
                  <a:pos x="73" y="264"/>
                </a:cxn>
                <a:cxn ang="0">
                  <a:pos x="75" y="276"/>
                </a:cxn>
                <a:cxn ang="0">
                  <a:pos x="78" y="285"/>
                </a:cxn>
              </a:cxnLst>
              <a:rect l="0" t="0" r="r" b="b"/>
              <a:pathLst>
                <a:path w="109" h="287">
                  <a:moveTo>
                    <a:pt x="78" y="287"/>
                  </a:moveTo>
                  <a:lnTo>
                    <a:pt x="82" y="284"/>
                  </a:lnTo>
                  <a:lnTo>
                    <a:pt x="82" y="280"/>
                  </a:lnTo>
                  <a:lnTo>
                    <a:pt x="82" y="270"/>
                  </a:lnTo>
                  <a:lnTo>
                    <a:pt x="82" y="268"/>
                  </a:lnTo>
                  <a:lnTo>
                    <a:pt x="82" y="264"/>
                  </a:lnTo>
                  <a:lnTo>
                    <a:pt x="82" y="260"/>
                  </a:lnTo>
                  <a:lnTo>
                    <a:pt x="82" y="259"/>
                  </a:lnTo>
                  <a:lnTo>
                    <a:pt x="84" y="259"/>
                  </a:lnTo>
                  <a:lnTo>
                    <a:pt x="86" y="255"/>
                  </a:lnTo>
                  <a:lnTo>
                    <a:pt x="88" y="255"/>
                  </a:lnTo>
                  <a:lnTo>
                    <a:pt x="92" y="253"/>
                  </a:lnTo>
                  <a:lnTo>
                    <a:pt x="94" y="251"/>
                  </a:lnTo>
                  <a:lnTo>
                    <a:pt x="96" y="251"/>
                  </a:lnTo>
                  <a:lnTo>
                    <a:pt x="100" y="245"/>
                  </a:lnTo>
                  <a:lnTo>
                    <a:pt x="100" y="243"/>
                  </a:lnTo>
                  <a:lnTo>
                    <a:pt x="101" y="239"/>
                  </a:lnTo>
                  <a:lnTo>
                    <a:pt x="103" y="236"/>
                  </a:lnTo>
                  <a:lnTo>
                    <a:pt x="105" y="234"/>
                  </a:lnTo>
                  <a:lnTo>
                    <a:pt x="105" y="232"/>
                  </a:lnTo>
                  <a:lnTo>
                    <a:pt x="107" y="230"/>
                  </a:lnTo>
                  <a:lnTo>
                    <a:pt x="109" y="228"/>
                  </a:lnTo>
                  <a:lnTo>
                    <a:pt x="109" y="226"/>
                  </a:lnTo>
                  <a:lnTo>
                    <a:pt x="109" y="222"/>
                  </a:lnTo>
                  <a:lnTo>
                    <a:pt x="109" y="218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05" y="213"/>
                  </a:lnTo>
                  <a:lnTo>
                    <a:pt x="105" y="211"/>
                  </a:lnTo>
                  <a:lnTo>
                    <a:pt x="103" y="209"/>
                  </a:lnTo>
                  <a:lnTo>
                    <a:pt x="100" y="207"/>
                  </a:lnTo>
                  <a:lnTo>
                    <a:pt x="100" y="201"/>
                  </a:lnTo>
                  <a:lnTo>
                    <a:pt x="100" y="199"/>
                  </a:lnTo>
                  <a:lnTo>
                    <a:pt x="100" y="197"/>
                  </a:lnTo>
                  <a:lnTo>
                    <a:pt x="98" y="195"/>
                  </a:lnTo>
                  <a:lnTo>
                    <a:pt x="98" y="191"/>
                  </a:lnTo>
                  <a:lnTo>
                    <a:pt x="96" y="189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2" y="186"/>
                  </a:lnTo>
                  <a:lnTo>
                    <a:pt x="92" y="182"/>
                  </a:lnTo>
                  <a:lnTo>
                    <a:pt x="90" y="182"/>
                  </a:lnTo>
                  <a:lnTo>
                    <a:pt x="88" y="178"/>
                  </a:lnTo>
                  <a:lnTo>
                    <a:pt x="86" y="178"/>
                  </a:lnTo>
                  <a:lnTo>
                    <a:pt x="82" y="176"/>
                  </a:lnTo>
                  <a:lnTo>
                    <a:pt x="82" y="174"/>
                  </a:lnTo>
                  <a:lnTo>
                    <a:pt x="80" y="172"/>
                  </a:lnTo>
                  <a:lnTo>
                    <a:pt x="80" y="168"/>
                  </a:lnTo>
                  <a:lnTo>
                    <a:pt x="80" y="166"/>
                  </a:lnTo>
                  <a:lnTo>
                    <a:pt x="78" y="163"/>
                  </a:lnTo>
                  <a:lnTo>
                    <a:pt x="78" y="161"/>
                  </a:lnTo>
                  <a:lnTo>
                    <a:pt x="78" y="157"/>
                  </a:lnTo>
                  <a:lnTo>
                    <a:pt x="77" y="157"/>
                  </a:lnTo>
                  <a:lnTo>
                    <a:pt x="77" y="153"/>
                  </a:lnTo>
                  <a:lnTo>
                    <a:pt x="77" y="151"/>
                  </a:lnTo>
                  <a:lnTo>
                    <a:pt x="77" y="149"/>
                  </a:lnTo>
                  <a:lnTo>
                    <a:pt x="75" y="145"/>
                  </a:lnTo>
                  <a:lnTo>
                    <a:pt x="75" y="143"/>
                  </a:lnTo>
                  <a:lnTo>
                    <a:pt x="73" y="143"/>
                  </a:lnTo>
                  <a:lnTo>
                    <a:pt x="71" y="142"/>
                  </a:lnTo>
                  <a:lnTo>
                    <a:pt x="71" y="138"/>
                  </a:lnTo>
                  <a:lnTo>
                    <a:pt x="69" y="138"/>
                  </a:lnTo>
                  <a:lnTo>
                    <a:pt x="67" y="136"/>
                  </a:lnTo>
                  <a:lnTo>
                    <a:pt x="67" y="132"/>
                  </a:lnTo>
                  <a:lnTo>
                    <a:pt x="65" y="132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4"/>
                  </a:lnTo>
                  <a:lnTo>
                    <a:pt x="61" y="113"/>
                  </a:lnTo>
                  <a:lnTo>
                    <a:pt x="61" y="99"/>
                  </a:lnTo>
                  <a:lnTo>
                    <a:pt x="63" y="95"/>
                  </a:lnTo>
                  <a:lnTo>
                    <a:pt x="65" y="94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6"/>
                  </a:lnTo>
                  <a:lnTo>
                    <a:pt x="69" y="84"/>
                  </a:lnTo>
                  <a:lnTo>
                    <a:pt x="69" y="82"/>
                  </a:lnTo>
                  <a:lnTo>
                    <a:pt x="71" y="80"/>
                  </a:lnTo>
                  <a:lnTo>
                    <a:pt x="75" y="78"/>
                  </a:lnTo>
                  <a:lnTo>
                    <a:pt x="75" y="76"/>
                  </a:lnTo>
                  <a:lnTo>
                    <a:pt x="77" y="76"/>
                  </a:lnTo>
                  <a:lnTo>
                    <a:pt x="77" y="72"/>
                  </a:lnTo>
                  <a:lnTo>
                    <a:pt x="75" y="71"/>
                  </a:lnTo>
                  <a:lnTo>
                    <a:pt x="75" y="69"/>
                  </a:lnTo>
                  <a:lnTo>
                    <a:pt x="75" y="67"/>
                  </a:lnTo>
                  <a:lnTo>
                    <a:pt x="75" y="63"/>
                  </a:lnTo>
                  <a:lnTo>
                    <a:pt x="75" y="61"/>
                  </a:lnTo>
                  <a:lnTo>
                    <a:pt x="73" y="59"/>
                  </a:lnTo>
                  <a:lnTo>
                    <a:pt x="73" y="55"/>
                  </a:lnTo>
                  <a:lnTo>
                    <a:pt x="73" y="51"/>
                  </a:lnTo>
                  <a:lnTo>
                    <a:pt x="71" y="49"/>
                  </a:lnTo>
                  <a:lnTo>
                    <a:pt x="71" y="46"/>
                  </a:lnTo>
                  <a:lnTo>
                    <a:pt x="71" y="40"/>
                  </a:lnTo>
                  <a:lnTo>
                    <a:pt x="73" y="38"/>
                  </a:lnTo>
                  <a:lnTo>
                    <a:pt x="73" y="32"/>
                  </a:lnTo>
                  <a:lnTo>
                    <a:pt x="73" y="28"/>
                  </a:lnTo>
                  <a:lnTo>
                    <a:pt x="71" y="24"/>
                  </a:lnTo>
                  <a:lnTo>
                    <a:pt x="69" y="21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3" y="13"/>
                  </a:lnTo>
                  <a:lnTo>
                    <a:pt x="61" y="13"/>
                  </a:lnTo>
                  <a:lnTo>
                    <a:pt x="61" y="9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5" y="3"/>
                  </a:lnTo>
                  <a:lnTo>
                    <a:pt x="55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13" y="0"/>
                  </a:lnTo>
                  <a:lnTo>
                    <a:pt x="13" y="13"/>
                  </a:lnTo>
                  <a:lnTo>
                    <a:pt x="15" y="13"/>
                  </a:lnTo>
                  <a:lnTo>
                    <a:pt x="15" y="15"/>
                  </a:lnTo>
                  <a:lnTo>
                    <a:pt x="17" y="17"/>
                  </a:lnTo>
                  <a:lnTo>
                    <a:pt x="19" y="19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8"/>
                  </a:lnTo>
                  <a:lnTo>
                    <a:pt x="21" y="32"/>
                  </a:lnTo>
                  <a:lnTo>
                    <a:pt x="23" y="34"/>
                  </a:lnTo>
                  <a:lnTo>
                    <a:pt x="23" y="38"/>
                  </a:lnTo>
                  <a:lnTo>
                    <a:pt x="27" y="42"/>
                  </a:lnTo>
                  <a:lnTo>
                    <a:pt x="30" y="44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9"/>
                  </a:lnTo>
                  <a:lnTo>
                    <a:pt x="29" y="71"/>
                  </a:lnTo>
                  <a:lnTo>
                    <a:pt x="29" y="74"/>
                  </a:lnTo>
                  <a:lnTo>
                    <a:pt x="27" y="78"/>
                  </a:lnTo>
                  <a:lnTo>
                    <a:pt x="25" y="80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1" y="90"/>
                  </a:lnTo>
                  <a:lnTo>
                    <a:pt x="11" y="94"/>
                  </a:lnTo>
                  <a:lnTo>
                    <a:pt x="11" y="97"/>
                  </a:lnTo>
                  <a:lnTo>
                    <a:pt x="13" y="101"/>
                  </a:lnTo>
                  <a:lnTo>
                    <a:pt x="13" y="111"/>
                  </a:lnTo>
                  <a:lnTo>
                    <a:pt x="13" y="120"/>
                  </a:lnTo>
                  <a:lnTo>
                    <a:pt x="11" y="120"/>
                  </a:lnTo>
                  <a:lnTo>
                    <a:pt x="11" y="138"/>
                  </a:lnTo>
                  <a:lnTo>
                    <a:pt x="11" y="153"/>
                  </a:lnTo>
                  <a:lnTo>
                    <a:pt x="11" y="157"/>
                  </a:lnTo>
                  <a:lnTo>
                    <a:pt x="7" y="159"/>
                  </a:lnTo>
                  <a:lnTo>
                    <a:pt x="4" y="161"/>
                  </a:lnTo>
                  <a:lnTo>
                    <a:pt x="4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7" y="165"/>
                  </a:lnTo>
                  <a:lnTo>
                    <a:pt x="9" y="166"/>
                  </a:lnTo>
                  <a:lnTo>
                    <a:pt x="11" y="168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3" y="174"/>
                  </a:lnTo>
                  <a:lnTo>
                    <a:pt x="15" y="178"/>
                  </a:lnTo>
                  <a:lnTo>
                    <a:pt x="17" y="180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1" y="186"/>
                  </a:lnTo>
                  <a:lnTo>
                    <a:pt x="23" y="188"/>
                  </a:lnTo>
                  <a:lnTo>
                    <a:pt x="30" y="188"/>
                  </a:lnTo>
                  <a:lnTo>
                    <a:pt x="34" y="189"/>
                  </a:lnTo>
                  <a:lnTo>
                    <a:pt x="46" y="189"/>
                  </a:lnTo>
                  <a:lnTo>
                    <a:pt x="55" y="189"/>
                  </a:lnTo>
                  <a:lnTo>
                    <a:pt x="61" y="191"/>
                  </a:lnTo>
                  <a:lnTo>
                    <a:pt x="59" y="193"/>
                  </a:lnTo>
                  <a:lnTo>
                    <a:pt x="59" y="195"/>
                  </a:lnTo>
                  <a:lnTo>
                    <a:pt x="57" y="197"/>
                  </a:lnTo>
                  <a:lnTo>
                    <a:pt x="57" y="199"/>
                  </a:lnTo>
                  <a:lnTo>
                    <a:pt x="57" y="199"/>
                  </a:lnTo>
                  <a:lnTo>
                    <a:pt x="55" y="201"/>
                  </a:lnTo>
                  <a:lnTo>
                    <a:pt x="55" y="205"/>
                  </a:lnTo>
                  <a:lnTo>
                    <a:pt x="53" y="205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0" y="213"/>
                  </a:lnTo>
                  <a:lnTo>
                    <a:pt x="50" y="214"/>
                  </a:lnTo>
                  <a:lnTo>
                    <a:pt x="48" y="218"/>
                  </a:lnTo>
                  <a:lnTo>
                    <a:pt x="48" y="226"/>
                  </a:lnTo>
                  <a:lnTo>
                    <a:pt x="48" y="232"/>
                  </a:lnTo>
                  <a:lnTo>
                    <a:pt x="50" y="234"/>
                  </a:lnTo>
                  <a:lnTo>
                    <a:pt x="50" y="236"/>
                  </a:lnTo>
                  <a:lnTo>
                    <a:pt x="50" y="239"/>
                  </a:lnTo>
                  <a:lnTo>
                    <a:pt x="52" y="241"/>
                  </a:lnTo>
                  <a:lnTo>
                    <a:pt x="52" y="243"/>
                  </a:lnTo>
                  <a:lnTo>
                    <a:pt x="52" y="245"/>
                  </a:lnTo>
                  <a:lnTo>
                    <a:pt x="53" y="247"/>
                  </a:lnTo>
                  <a:lnTo>
                    <a:pt x="55" y="251"/>
                  </a:lnTo>
                  <a:lnTo>
                    <a:pt x="59" y="251"/>
                  </a:lnTo>
                  <a:lnTo>
                    <a:pt x="65" y="251"/>
                  </a:lnTo>
                  <a:lnTo>
                    <a:pt x="67" y="253"/>
                  </a:lnTo>
                  <a:lnTo>
                    <a:pt x="67" y="255"/>
                  </a:lnTo>
                  <a:lnTo>
                    <a:pt x="69" y="257"/>
                  </a:lnTo>
                  <a:lnTo>
                    <a:pt x="69" y="260"/>
                  </a:lnTo>
                  <a:lnTo>
                    <a:pt x="71" y="262"/>
                  </a:lnTo>
                  <a:lnTo>
                    <a:pt x="73" y="264"/>
                  </a:lnTo>
                  <a:lnTo>
                    <a:pt x="73" y="268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5" y="276"/>
                  </a:lnTo>
                  <a:lnTo>
                    <a:pt x="77" y="280"/>
                  </a:lnTo>
                  <a:lnTo>
                    <a:pt x="77" y="282"/>
                  </a:lnTo>
                  <a:lnTo>
                    <a:pt x="77" y="284"/>
                  </a:lnTo>
                  <a:lnTo>
                    <a:pt x="78" y="285"/>
                  </a:lnTo>
                  <a:lnTo>
                    <a:pt x="78" y="287"/>
                  </a:lnTo>
                </a:path>
              </a:pathLst>
            </a:custGeom>
            <a:no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3" name="Freeform 19"/>
            <p:cNvSpPr>
              <a:spLocks/>
            </p:cNvSpPr>
            <p:nvPr/>
          </p:nvSpPr>
          <p:spPr bwMode="auto">
            <a:xfrm>
              <a:off x="2256" y="2355"/>
              <a:ext cx="389" cy="401"/>
            </a:xfrm>
            <a:custGeom>
              <a:avLst/>
              <a:gdLst/>
              <a:ahLst/>
              <a:cxnLst>
                <a:cxn ang="0">
                  <a:pos x="372" y="332"/>
                </a:cxn>
                <a:cxn ang="0">
                  <a:pos x="355" y="317"/>
                </a:cxn>
                <a:cxn ang="0">
                  <a:pos x="345" y="290"/>
                </a:cxn>
                <a:cxn ang="0">
                  <a:pos x="355" y="272"/>
                </a:cxn>
                <a:cxn ang="0">
                  <a:pos x="351" y="255"/>
                </a:cxn>
                <a:cxn ang="0">
                  <a:pos x="360" y="240"/>
                </a:cxn>
                <a:cxn ang="0">
                  <a:pos x="356" y="221"/>
                </a:cxn>
                <a:cxn ang="0">
                  <a:pos x="343" y="209"/>
                </a:cxn>
                <a:cxn ang="0">
                  <a:pos x="341" y="188"/>
                </a:cxn>
                <a:cxn ang="0">
                  <a:pos x="347" y="167"/>
                </a:cxn>
                <a:cxn ang="0">
                  <a:pos x="356" y="148"/>
                </a:cxn>
                <a:cxn ang="0">
                  <a:pos x="349" y="136"/>
                </a:cxn>
                <a:cxn ang="0">
                  <a:pos x="331" y="123"/>
                </a:cxn>
                <a:cxn ang="0">
                  <a:pos x="314" y="113"/>
                </a:cxn>
                <a:cxn ang="0">
                  <a:pos x="308" y="94"/>
                </a:cxn>
                <a:cxn ang="0">
                  <a:pos x="287" y="79"/>
                </a:cxn>
                <a:cxn ang="0">
                  <a:pos x="266" y="67"/>
                </a:cxn>
                <a:cxn ang="0">
                  <a:pos x="245" y="61"/>
                </a:cxn>
                <a:cxn ang="0">
                  <a:pos x="224" y="42"/>
                </a:cxn>
                <a:cxn ang="0">
                  <a:pos x="201" y="29"/>
                </a:cxn>
                <a:cxn ang="0">
                  <a:pos x="186" y="21"/>
                </a:cxn>
                <a:cxn ang="0">
                  <a:pos x="168" y="6"/>
                </a:cxn>
                <a:cxn ang="0">
                  <a:pos x="134" y="2"/>
                </a:cxn>
                <a:cxn ang="0">
                  <a:pos x="99" y="6"/>
                </a:cxn>
                <a:cxn ang="0">
                  <a:pos x="71" y="6"/>
                </a:cxn>
                <a:cxn ang="0">
                  <a:pos x="44" y="6"/>
                </a:cxn>
                <a:cxn ang="0">
                  <a:pos x="42" y="11"/>
                </a:cxn>
                <a:cxn ang="0">
                  <a:pos x="57" y="36"/>
                </a:cxn>
                <a:cxn ang="0">
                  <a:pos x="63" y="59"/>
                </a:cxn>
                <a:cxn ang="0">
                  <a:pos x="48" y="69"/>
                </a:cxn>
                <a:cxn ang="0">
                  <a:pos x="55" y="90"/>
                </a:cxn>
                <a:cxn ang="0">
                  <a:pos x="53" y="113"/>
                </a:cxn>
                <a:cxn ang="0">
                  <a:pos x="44" y="136"/>
                </a:cxn>
                <a:cxn ang="0">
                  <a:pos x="24" y="153"/>
                </a:cxn>
                <a:cxn ang="0">
                  <a:pos x="1" y="167"/>
                </a:cxn>
                <a:cxn ang="0">
                  <a:pos x="1" y="194"/>
                </a:cxn>
                <a:cxn ang="0">
                  <a:pos x="9" y="219"/>
                </a:cxn>
                <a:cxn ang="0">
                  <a:pos x="21" y="242"/>
                </a:cxn>
                <a:cxn ang="0">
                  <a:pos x="42" y="263"/>
                </a:cxn>
                <a:cxn ang="0">
                  <a:pos x="48" y="272"/>
                </a:cxn>
                <a:cxn ang="0">
                  <a:pos x="61" y="286"/>
                </a:cxn>
                <a:cxn ang="0">
                  <a:pos x="76" y="299"/>
                </a:cxn>
                <a:cxn ang="0">
                  <a:pos x="92" y="303"/>
                </a:cxn>
                <a:cxn ang="0">
                  <a:pos x="111" y="311"/>
                </a:cxn>
                <a:cxn ang="0">
                  <a:pos x="134" y="319"/>
                </a:cxn>
                <a:cxn ang="0">
                  <a:pos x="165" y="319"/>
                </a:cxn>
                <a:cxn ang="0">
                  <a:pos x="180" y="338"/>
                </a:cxn>
                <a:cxn ang="0">
                  <a:pos x="188" y="355"/>
                </a:cxn>
                <a:cxn ang="0">
                  <a:pos x="186" y="382"/>
                </a:cxn>
                <a:cxn ang="0">
                  <a:pos x="195" y="395"/>
                </a:cxn>
                <a:cxn ang="0">
                  <a:pos x="216" y="401"/>
                </a:cxn>
                <a:cxn ang="0">
                  <a:pos x="241" y="399"/>
                </a:cxn>
                <a:cxn ang="0">
                  <a:pos x="257" y="390"/>
                </a:cxn>
                <a:cxn ang="0">
                  <a:pos x="282" y="388"/>
                </a:cxn>
                <a:cxn ang="0">
                  <a:pos x="301" y="388"/>
                </a:cxn>
                <a:cxn ang="0">
                  <a:pos x="330" y="388"/>
                </a:cxn>
                <a:cxn ang="0">
                  <a:pos x="355" y="376"/>
                </a:cxn>
                <a:cxn ang="0">
                  <a:pos x="370" y="363"/>
                </a:cxn>
                <a:cxn ang="0">
                  <a:pos x="387" y="349"/>
                </a:cxn>
              </a:cxnLst>
              <a:rect l="0" t="0" r="r" b="b"/>
              <a:pathLst>
                <a:path w="389" h="401">
                  <a:moveTo>
                    <a:pt x="389" y="349"/>
                  </a:moveTo>
                  <a:lnTo>
                    <a:pt x="385" y="345"/>
                  </a:lnTo>
                  <a:lnTo>
                    <a:pt x="379" y="342"/>
                  </a:lnTo>
                  <a:lnTo>
                    <a:pt x="379" y="338"/>
                  </a:lnTo>
                  <a:lnTo>
                    <a:pt x="378" y="336"/>
                  </a:lnTo>
                  <a:lnTo>
                    <a:pt x="376" y="334"/>
                  </a:lnTo>
                  <a:lnTo>
                    <a:pt x="374" y="334"/>
                  </a:lnTo>
                  <a:lnTo>
                    <a:pt x="372" y="332"/>
                  </a:lnTo>
                  <a:lnTo>
                    <a:pt x="370" y="332"/>
                  </a:lnTo>
                  <a:lnTo>
                    <a:pt x="368" y="332"/>
                  </a:lnTo>
                  <a:lnTo>
                    <a:pt x="366" y="328"/>
                  </a:lnTo>
                  <a:lnTo>
                    <a:pt x="364" y="326"/>
                  </a:lnTo>
                  <a:lnTo>
                    <a:pt x="362" y="324"/>
                  </a:lnTo>
                  <a:lnTo>
                    <a:pt x="358" y="322"/>
                  </a:lnTo>
                  <a:lnTo>
                    <a:pt x="355" y="319"/>
                  </a:lnTo>
                  <a:lnTo>
                    <a:pt x="355" y="317"/>
                  </a:lnTo>
                  <a:lnTo>
                    <a:pt x="355" y="311"/>
                  </a:lnTo>
                  <a:lnTo>
                    <a:pt x="353" y="307"/>
                  </a:lnTo>
                  <a:lnTo>
                    <a:pt x="351" y="303"/>
                  </a:lnTo>
                  <a:lnTo>
                    <a:pt x="351" y="299"/>
                  </a:lnTo>
                  <a:lnTo>
                    <a:pt x="349" y="299"/>
                  </a:lnTo>
                  <a:lnTo>
                    <a:pt x="347" y="297"/>
                  </a:lnTo>
                  <a:lnTo>
                    <a:pt x="345" y="294"/>
                  </a:lnTo>
                  <a:lnTo>
                    <a:pt x="345" y="290"/>
                  </a:lnTo>
                  <a:lnTo>
                    <a:pt x="345" y="288"/>
                  </a:lnTo>
                  <a:lnTo>
                    <a:pt x="345" y="284"/>
                  </a:lnTo>
                  <a:lnTo>
                    <a:pt x="347" y="282"/>
                  </a:lnTo>
                  <a:lnTo>
                    <a:pt x="349" y="280"/>
                  </a:lnTo>
                  <a:lnTo>
                    <a:pt x="351" y="280"/>
                  </a:lnTo>
                  <a:lnTo>
                    <a:pt x="351" y="276"/>
                  </a:lnTo>
                  <a:lnTo>
                    <a:pt x="355" y="274"/>
                  </a:lnTo>
                  <a:lnTo>
                    <a:pt x="355" y="272"/>
                  </a:lnTo>
                  <a:lnTo>
                    <a:pt x="355" y="271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3" y="259"/>
                  </a:lnTo>
                  <a:lnTo>
                    <a:pt x="353" y="257"/>
                  </a:lnTo>
                  <a:lnTo>
                    <a:pt x="351" y="255"/>
                  </a:lnTo>
                  <a:lnTo>
                    <a:pt x="351" y="255"/>
                  </a:lnTo>
                  <a:lnTo>
                    <a:pt x="351" y="255"/>
                  </a:lnTo>
                  <a:lnTo>
                    <a:pt x="353" y="255"/>
                  </a:lnTo>
                  <a:lnTo>
                    <a:pt x="353" y="251"/>
                  </a:lnTo>
                  <a:lnTo>
                    <a:pt x="353" y="249"/>
                  </a:lnTo>
                  <a:lnTo>
                    <a:pt x="355" y="248"/>
                  </a:lnTo>
                  <a:lnTo>
                    <a:pt x="355" y="248"/>
                  </a:lnTo>
                  <a:lnTo>
                    <a:pt x="356" y="246"/>
                  </a:lnTo>
                  <a:lnTo>
                    <a:pt x="358" y="244"/>
                  </a:lnTo>
                  <a:lnTo>
                    <a:pt x="360" y="240"/>
                  </a:lnTo>
                  <a:lnTo>
                    <a:pt x="362" y="238"/>
                  </a:lnTo>
                  <a:lnTo>
                    <a:pt x="362" y="236"/>
                  </a:lnTo>
                  <a:lnTo>
                    <a:pt x="364" y="232"/>
                  </a:lnTo>
                  <a:lnTo>
                    <a:pt x="364" y="228"/>
                  </a:lnTo>
                  <a:lnTo>
                    <a:pt x="362" y="226"/>
                  </a:lnTo>
                  <a:lnTo>
                    <a:pt x="362" y="223"/>
                  </a:lnTo>
                  <a:lnTo>
                    <a:pt x="358" y="223"/>
                  </a:lnTo>
                  <a:lnTo>
                    <a:pt x="356" y="221"/>
                  </a:lnTo>
                  <a:lnTo>
                    <a:pt x="356" y="219"/>
                  </a:lnTo>
                  <a:lnTo>
                    <a:pt x="355" y="219"/>
                  </a:lnTo>
                  <a:lnTo>
                    <a:pt x="351" y="217"/>
                  </a:lnTo>
                  <a:lnTo>
                    <a:pt x="349" y="215"/>
                  </a:lnTo>
                  <a:lnTo>
                    <a:pt x="347" y="213"/>
                  </a:lnTo>
                  <a:lnTo>
                    <a:pt x="347" y="211"/>
                  </a:lnTo>
                  <a:lnTo>
                    <a:pt x="345" y="211"/>
                  </a:lnTo>
                  <a:lnTo>
                    <a:pt x="343" y="209"/>
                  </a:lnTo>
                  <a:lnTo>
                    <a:pt x="341" y="207"/>
                  </a:lnTo>
                  <a:lnTo>
                    <a:pt x="339" y="203"/>
                  </a:lnTo>
                  <a:lnTo>
                    <a:pt x="337" y="201"/>
                  </a:lnTo>
                  <a:lnTo>
                    <a:pt x="337" y="198"/>
                  </a:lnTo>
                  <a:lnTo>
                    <a:pt x="337" y="194"/>
                  </a:lnTo>
                  <a:lnTo>
                    <a:pt x="339" y="194"/>
                  </a:lnTo>
                  <a:lnTo>
                    <a:pt x="341" y="192"/>
                  </a:lnTo>
                  <a:lnTo>
                    <a:pt x="341" y="188"/>
                  </a:lnTo>
                  <a:lnTo>
                    <a:pt x="343" y="186"/>
                  </a:lnTo>
                  <a:lnTo>
                    <a:pt x="345" y="184"/>
                  </a:lnTo>
                  <a:lnTo>
                    <a:pt x="345" y="182"/>
                  </a:lnTo>
                  <a:lnTo>
                    <a:pt x="345" y="178"/>
                  </a:lnTo>
                  <a:lnTo>
                    <a:pt x="345" y="175"/>
                  </a:lnTo>
                  <a:lnTo>
                    <a:pt x="345" y="173"/>
                  </a:lnTo>
                  <a:lnTo>
                    <a:pt x="347" y="169"/>
                  </a:lnTo>
                  <a:lnTo>
                    <a:pt x="347" y="167"/>
                  </a:lnTo>
                  <a:lnTo>
                    <a:pt x="347" y="163"/>
                  </a:lnTo>
                  <a:lnTo>
                    <a:pt x="347" y="161"/>
                  </a:lnTo>
                  <a:lnTo>
                    <a:pt x="349" y="157"/>
                  </a:lnTo>
                  <a:lnTo>
                    <a:pt x="351" y="155"/>
                  </a:lnTo>
                  <a:lnTo>
                    <a:pt x="353" y="153"/>
                  </a:lnTo>
                  <a:lnTo>
                    <a:pt x="355" y="152"/>
                  </a:lnTo>
                  <a:lnTo>
                    <a:pt x="355" y="150"/>
                  </a:lnTo>
                  <a:lnTo>
                    <a:pt x="356" y="148"/>
                  </a:lnTo>
                  <a:lnTo>
                    <a:pt x="358" y="146"/>
                  </a:lnTo>
                  <a:lnTo>
                    <a:pt x="360" y="146"/>
                  </a:lnTo>
                  <a:lnTo>
                    <a:pt x="360" y="142"/>
                  </a:lnTo>
                  <a:lnTo>
                    <a:pt x="356" y="142"/>
                  </a:lnTo>
                  <a:lnTo>
                    <a:pt x="355" y="140"/>
                  </a:lnTo>
                  <a:lnTo>
                    <a:pt x="353" y="140"/>
                  </a:lnTo>
                  <a:lnTo>
                    <a:pt x="351" y="136"/>
                  </a:lnTo>
                  <a:lnTo>
                    <a:pt x="349" y="136"/>
                  </a:lnTo>
                  <a:lnTo>
                    <a:pt x="345" y="136"/>
                  </a:lnTo>
                  <a:lnTo>
                    <a:pt x="343" y="134"/>
                  </a:lnTo>
                  <a:lnTo>
                    <a:pt x="339" y="132"/>
                  </a:lnTo>
                  <a:lnTo>
                    <a:pt x="339" y="130"/>
                  </a:lnTo>
                  <a:lnTo>
                    <a:pt x="337" y="130"/>
                  </a:lnTo>
                  <a:lnTo>
                    <a:pt x="335" y="129"/>
                  </a:lnTo>
                  <a:lnTo>
                    <a:pt x="333" y="125"/>
                  </a:lnTo>
                  <a:lnTo>
                    <a:pt x="331" y="123"/>
                  </a:lnTo>
                  <a:lnTo>
                    <a:pt x="330" y="123"/>
                  </a:lnTo>
                  <a:lnTo>
                    <a:pt x="328" y="123"/>
                  </a:lnTo>
                  <a:lnTo>
                    <a:pt x="324" y="123"/>
                  </a:lnTo>
                  <a:lnTo>
                    <a:pt x="320" y="121"/>
                  </a:lnTo>
                  <a:lnTo>
                    <a:pt x="318" y="119"/>
                  </a:lnTo>
                  <a:lnTo>
                    <a:pt x="316" y="117"/>
                  </a:lnTo>
                  <a:lnTo>
                    <a:pt x="314" y="115"/>
                  </a:lnTo>
                  <a:lnTo>
                    <a:pt x="314" y="113"/>
                  </a:lnTo>
                  <a:lnTo>
                    <a:pt x="310" y="113"/>
                  </a:lnTo>
                  <a:lnTo>
                    <a:pt x="308" y="111"/>
                  </a:lnTo>
                  <a:lnTo>
                    <a:pt x="308" y="107"/>
                  </a:lnTo>
                  <a:lnTo>
                    <a:pt x="308" y="106"/>
                  </a:lnTo>
                  <a:lnTo>
                    <a:pt x="308" y="102"/>
                  </a:lnTo>
                  <a:lnTo>
                    <a:pt x="308" y="98"/>
                  </a:lnTo>
                  <a:lnTo>
                    <a:pt x="308" y="96"/>
                  </a:lnTo>
                  <a:lnTo>
                    <a:pt x="308" y="94"/>
                  </a:lnTo>
                  <a:lnTo>
                    <a:pt x="307" y="90"/>
                  </a:lnTo>
                  <a:lnTo>
                    <a:pt x="305" y="88"/>
                  </a:lnTo>
                  <a:lnTo>
                    <a:pt x="303" y="88"/>
                  </a:lnTo>
                  <a:lnTo>
                    <a:pt x="301" y="88"/>
                  </a:lnTo>
                  <a:lnTo>
                    <a:pt x="295" y="84"/>
                  </a:lnTo>
                  <a:lnTo>
                    <a:pt x="293" y="82"/>
                  </a:lnTo>
                  <a:lnTo>
                    <a:pt x="291" y="79"/>
                  </a:lnTo>
                  <a:lnTo>
                    <a:pt x="287" y="79"/>
                  </a:lnTo>
                  <a:lnTo>
                    <a:pt x="284" y="77"/>
                  </a:lnTo>
                  <a:lnTo>
                    <a:pt x="284" y="75"/>
                  </a:lnTo>
                  <a:lnTo>
                    <a:pt x="280" y="73"/>
                  </a:lnTo>
                  <a:lnTo>
                    <a:pt x="276" y="71"/>
                  </a:lnTo>
                  <a:lnTo>
                    <a:pt x="274" y="69"/>
                  </a:lnTo>
                  <a:lnTo>
                    <a:pt x="272" y="67"/>
                  </a:lnTo>
                  <a:lnTo>
                    <a:pt x="270" y="67"/>
                  </a:lnTo>
                  <a:lnTo>
                    <a:pt x="266" y="67"/>
                  </a:lnTo>
                  <a:lnTo>
                    <a:pt x="264" y="65"/>
                  </a:lnTo>
                  <a:lnTo>
                    <a:pt x="261" y="65"/>
                  </a:lnTo>
                  <a:lnTo>
                    <a:pt x="257" y="65"/>
                  </a:lnTo>
                  <a:lnTo>
                    <a:pt x="255" y="65"/>
                  </a:lnTo>
                  <a:lnTo>
                    <a:pt x="253" y="65"/>
                  </a:lnTo>
                  <a:lnTo>
                    <a:pt x="249" y="63"/>
                  </a:lnTo>
                  <a:lnTo>
                    <a:pt x="249" y="61"/>
                  </a:lnTo>
                  <a:lnTo>
                    <a:pt x="245" y="61"/>
                  </a:lnTo>
                  <a:lnTo>
                    <a:pt x="243" y="59"/>
                  </a:lnTo>
                  <a:lnTo>
                    <a:pt x="241" y="58"/>
                  </a:lnTo>
                  <a:lnTo>
                    <a:pt x="239" y="56"/>
                  </a:lnTo>
                  <a:lnTo>
                    <a:pt x="237" y="54"/>
                  </a:lnTo>
                  <a:lnTo>
                    <a:pt x="234" y="52"/>
                  </a:lnTo>
                  <a:lnTo>
                    <a:pt x="230" y="48"/>
                  </a:lnTo>
                  <a:lnTo>
                    <a:pt x="226" y="44"/>
                  </a:lnTo>
                  <a:lnTo>
                    <a:pt x="224" y="42"/>
                  </a:lnTo>
                  <a:lnTo>
                    <a:pt x="222" y="40"/>
                  </a:lnTo>
                  <a:lnTo>
                    <a:pt x="218" y="38"/>
                  </a:lnTo>
                  <a:lnTo>
                    <a:pt x="214" y="38"/>
                  </a:lnTo>
                  <a:lnTo>
                    <a:pt x="213" y="35"/>
                  </a:lnTo>
                  <a:lnTo>
                    <a:pt x="209" y="35"/>
                  </a:lnTo>
                  <a:lnTo>
                    <a:pt x="205" y="33"/>
                  </a:lnTo>
                  <a:lnTo>
                    <a:pt x="203" y="31"/>
                  </a:lnTo>
                  <a:lnTo>
                    <a:pt x="201" y="29"/>
                  </a:lnTo>
                  <a:lnTo>
                    <a:pt x="197" y="29"/>
                  </a:lnTo>
                  <a:lnTo>
                    <a:pt x="197" y="27"/>
                  </a:lnTo>
                  <a:lnTo>
                    <a:pt x="195" y="27"/>
                  </a:lnTo>
                  <a:lnTo>
                    <a:pt x="193" y="25"/>
                  </a:lnTo>
                  <a:lnTo>
                    <a:pt x="190" y="25"/>
                  </a:lnTo>
                  <a:lnTo>
                    <a:pt x="190" y="23"/>
                  </a:lnTo>
                  <a:lnTo>
                    <a:pt x="188" y="21"/>
                  </a:lnTo>
                  <a:lnTo>
                    <a:pt x="186" y="21"/>
                  </a:lnTo>
                  <a:lnTo>
                    <a:pt x="184" y="19"/>
                  </a:lnTo>
                  <a:lnTo>
                    <a:pt x="182" y="17"/>
                  </a:lnTo>
                  <a:lnTo>
                    <a:pt x="178" y="17"/>
                  </a:lnTo>
                  <a:lnTo>
                    <a:pt x="178" y="13"/>
                  </a:lnTo>
                  <a:lnTo>
                    <a:pt x="174" y="11"/>
                  </a:lnTo>
                  <a:lnTo>
                    <a:pt x="172" y="10"/>
                  </a:lnTo>
                  <a:lnTo>
                    <a:pt x="170" y="8"/>
                  </a:lnTo>
                  <a:lnTo>
                    <a:pt x="168" y="6"/>
                  </a:lnTo>
                  <a:lnTo>
                    <a:pt x="165" y="4"/>
                  </a:lnTo>
                  <a:lnTo>
                    <a:pt x="161" y="4"/>
                  </a:lnTo>
                  <a:lnTo>
                    <a:pt x="157" y="2"/>
                  </a:lnTo>
                  <a:lnTo>
                    <a:pt x="151" y="2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128" y="2"/>
                  </a:lnTo>
                  <a:lnTo>
                    <a:pt x="126" y="2"/>
                  </a:lnTo>
                  <a:lnTo>
                    <a:pt x="124" y="2"/>
                  </a:lnTo>
                  <a:lnTo>
                    <a:pt x="11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3" y="4"/>
                  </a:lnTo>
                  <a:lnTo>
                    <a:pt x="99" y="6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2" y="6"/>
                  </a:lnTo>
                  <a:lnTo>
                    <a:pt x="71" y="6"/>
                  </a:lnTo>
                  <a:lnTo>
                    <a:pt x="67" y="6"/>
                  </a:lnTo>
                  <a:lnTo>
                    <a:pt x="63" y="6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2" y="11"/>
                  </a:lnTo>
                  <a:lnTo>
                    <a:pt x="42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21"/>
                  </a:lnTo>
                  <a:lnTo>
                    <a:pt x="49" y="25"/>
                  </a:lnTo>
                  <a:lnTo>
                    <a:pt x="53" y="29"/>
                  </a:lnTo>
                  <a:lnTo>
                    <a:pt x="57" y="33"/>
                  </a:lnTo>
                  <a:lnTo>
                    <a:pt x="57" y="36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8"/>
                  </a:lnTo>
                  <a:lnTo>
                    <a:pt x="63" y="52"/>
                  </a:lnTo>
                  <a:lnTo>
                    <a:pt x="63" y="54"/>
                  </a:lnTo>
                  <a:lnTo>
                    <a:pt x="63" y="56"/>
                  </a:lnTo>
                  <a:lnTo>
                    <a:pt x="63" y="59"/>
                  </a:lnTo>
                  <a:lnTo>
                    <a:pt x="61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5" y="63"/>
                  </a:lnTo>
                  <a:lnTo>
                    <a:pt x="53" y="65"/>
                  </a:lnTo>
                  <a:lnTo>
                    <a:pt x="51" y="65"/>
                  </a:lnTo>
                  <a:lnTo>
                    <a:pt x="49" y="67"/>
                  </a:lnTo>
                  <a:lnTo>
                    <a:pt x="48" y="69"/>
                  </a:lnTo>
                  <a:lnTo>
                    <a:pt x="48" y="71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8" y="79"/>
                  </a:lnTo>
                  <a:lnTo>
                    <a:pt x="51" y="81"/>
                  </a:lnTo>
                  <a:lnTo>
                    <a:pt x="55" y="84"/>
                  </a:lnTo>
                  <a:lnTo>
                    <a:pt x="55" y="86"/>
                  </a:lnTo>
                  <a:lnTo>
                    <a:pt x="55" y="90"/>
                  </a:lnTo>
                  <a:lnTo>
                    <a:pt x="55" y="94"/>
                  </a:lnTo>
                  <a:lnTo>
                    <a:pt x="55" y="96"/>
                  </a:lnTo>
                  <a:lnTo>
                    <a:pt x="55" y="100"/>
                  </a:lnTo>
                  <a:lnTo>
                    <a:pt x="55" y="102"/>
                  </a:lnTo>
                  <a:lnTo>
                    <a:pt x="55" y="106"/>
                  </a:lnTo>
                  <a:lnTo>
                    <a:pt x="55" y="106"/>
                  </a:lnTo>
                  <a:lnTo>
                    <a:pt x="55" y="109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21"/>
                  </a:lnTo>
                  <a:lnTo>
                    <a:pt x="51" y="123"/>
                  </a:lnTo>
                  <a:lnTo>
                    <a:pt x="51" y="125"/>
                  </a:lnTo>
                  <a:lnTo>
                    <a:pt x="49" y="127"/>
                  </a:lnTo>
                  <a:lnTo>
                    <a:pt x="49" y="129"/>
                  </a:lnTo>
                  <a:lnTo>
                    <a:pt x="48" y="130"/>
                  </a:lnTo>
                  <a:lnTo>
                    <a:pt x="44" y="136"/>
                  </a:lnTo>
                  <a:lnTo>
                    <a:pt x="42" y="140"/>
                  </a:lnTo>
                  <a:lnTo>
                    <a:pt x="38" y="140"/>
                  </a:lnTo>
                  <a:lnTo>
                    <a:pt x="36" y="144"/>
                  </a:lnTo>
                  <a:lnTo>
                    <a:pt x="36" y="146"/>
                  </a:lnTo>
                  <a:lnTo>
                    <a:pt x="32" y="146"/>
                  </a:lnTo>
                  <a:lnTo>
                    <a:pt x="30" y="150"/>
                  </a:lnTo>
                  <a:lnTo>
                    <a:pt x="28" y="152"/>
                  </a:lnTo>
                  <a:lnTo>
                    <a:pt x="24" y="153"/>
                  </a:lnTo>
                  <a:lnTo>
                    <a:pt x="23" y="153"/>
                  </a:lnTo>
                  <a:lnTo>
                    <a:pt x="21" y="155"/>
                  </a:lnTo>
                  <a:lnTo>
                    <a:pt x="19" y="157"/>
                  </a:lnTo>
                  <a:lnTo>
                    <a:pt x="15" y="159"/>
                  </a:lnTo>
                  <a:lnTo>
                    <a:pt x="11" y="159"/>
                  </a:lnTo>
                  <a:lnTo>
                    <a:pt x="7" y="165"/>
                  </a:lnTo>
                  <a:lnTo>
                    <a:pt x="3" y="167"/>
                  </a:lnTo>
                  <a:lnTo>
                    <a:pt x="1" y="167"/>
                  </a:lnTo>
                  <a:lnTo>
                    <a:pt x="0" y="167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1" y="184"/>
                  </a:lnTo>
                  <a:lnTo>
                    <a:pt x="1" y="190"/>
                  </a:lnTo>
                  <a:lnTo>
                    <a:pt x="1" y="194"/>
                  </a:lnTo>
                  <a:lnTo>
                    <a:pt x="3" y="198"/>
                  </a:lnTo>
                  <a:lnTo>
                    <a:pt x="5" y="201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7" y="211"/>
                  </a:lnTo>
                  <a:lnTo>
                    <a:pt x="7" y="213"/>
                  </a:lnTo>
                  <a:lnTo>
                    <a:pt x="7" y="217"/>
                  </a:lnTo>
                  <a:lnTo>
                    <a:pt x="9" y="219"/>
                  </a:lnTo>
                  <a:lnTo>
                    <a:pt x="9" y="221"/>
                  </a:lnTo>
                  <a:lnTo>
                    <a:pt x="9" y="224"/>
                  </a:lnTo>
                  <a:lnTo>
                    <a:pt x="9" y="224"/>
                  </a:lnTo>
                  <a:lnTo>
                    <a:pt x="11" y="228"/>
                  </a:lnTo>
                  <a:lnTo>
                    <a:pt x="11" y="230"/>
                  </a:lnTo>
                  <a:lnTo>
                    <a:pt x="13" y="234"/>
                  </a:lnTo>
                  <a:lnTo>
                    <a:pt x="19" y="238"/>
                  </a:lnTo>
                  <a:lnTo>
                    <a:pt x="21" y="242"/>
                  </a:lnTo>
                  <a:lnTo>
                    <a:pt x="23" y="246"/>
                  </a:lnTo>
                  <a:lnTo>
                    <a:pt x="26" y="248"/>
                  </a:lnTo>
                  <a:lnTo>
                    <a:pt x="28" y="253"/>
                  </a:lnTo>
                  <a:lnTo>
                    <a:pt x="30" y="255"/>
                  </a:lnTo>
                  <a:lnTo>
                    <a:pt x="36" y="255"/>
                  </a:lnTo>
                  <a:lnTo>
                    <a:pt x="36" y="259"/>
                  </a:lnTo>
                  <a:lnTo>
                    <a:pt x="40" y="261"/>
                  </a:lnTo>
                  <a:lnTo>
                    <a:pt x="42" y="263"/>
                  </a:lnTo>
                  <a:lnTo>
                    <a:pt x="42" y="267"/>
                  </a:lnTo>
                  <a:lnTo>
                    <a:pt x="44" y="269"/>
                  </a:lnTo>
                  <a:lnTo>
                    <a:pt x="44" y="271"/>
                  </a:lnTo>
                  <a:lnTo>
                    <a:pt x="44" y="272"/>
                  </a:lnTo>
                  <a:lnTo>
                    <a:pt x="46" y="274"/>
                  </a:lnTo>
                  <a:lnTo>
                    <a:pt x="48" y="274"/>
                  </a:lnTo>
                  <a:lnTo>
                    <a:pt x="46" y="274"/>
                  </a:lnTo>
                  <a:lnTo>
                    <a:pt x="48" y="272"/>
                  </a:lnTo>
                  <a:lnTo>
                    <a:pt x="49" y="274"/>
                  </a:lnTo>
                  <a:lnTo>
                    <a:pt x="49" y="274"/>
                  </a:lnTo>
                  <a:lnTo>
                    <a:pt x="51" y="274"/>
                  </a:lnTo>
                  <a:lnTo>
                    <a:pt x="53" y="278"/>
                  </a:lnTo>
                  <a:lnTo>
                    <a:pt x="53" y="280"/>
                  </a:lnTo>
                  <a:lnTo>
                    <a:pt x="55" y="280"/>
                  </a:lnTo>
                  <a:lnTo>
                    <a:pt x="57" y="282"/>
                  </a:lnTo>
                  <a:lnTo>
                    <a:pt x="61" y="286"/>
                  </a:lnTo>
                  <a:lnTo>
                    <a:pt x="63" y="288"/>
                  </a:lnTo>
                  <a:lnTo>
                    <a:pt x="65" y="290"/>
                  </a:lnTo>
                  <a:lnTo>
                    <a:pt x="67" y="290"/>
                  </a:lnTo>
                  <a:lnTo>
                    <a:pt x="69" y="294"/>
                  </a:lnTo>
                  <a:lnTo>
                    <a:pt x="69" y="295"/>
                  </a:lnTo>
                  <a:lnTo>
                    <a:pt x="71" y="297"/>
                  </a:lnTo>
                  <a:lnTo>
                    <a:pt x="72" y="299"/>
                  </a:lnTo>
                  <a:lnTo>
                    <a:pt x="76" y="299"/>
                  </a:lnTo>
                  <a:lnTo>
                    <a:pt x="78" y="297"/>
                  </a:lnTo>
                  <a:lnTo>
                    <a:pt x="80" y="297"/>
                  </a:lnTo>
                  <a:lnTo>
                    <a:pt x="84" y="297"/>
                  </a:lnTo>
                  <a:lnTo>
                    <a:pt x="86" y="297"/>
                  </a:lnTo>
                  <a:lnTo>
                    <a:pt x="88" y="299"/>
                  </a:lnTo>
                  <a:lnTo>
                    <a:pt x="88" y="299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5"/>
                  </a:lnTo>
                  <a:lnTo>
                    <a:pt x="97" y="305"/>
                  </a:lnTo>
                  <a:lnTo>
                    <a:pt x="99" y="303"/>
                  </a:lnTo>
                  <a:lnTo>
                    <a:pt x="101" y="303"/>
                  </a:lnTo>
                  <a:lnTo>
                    <a:pt x="105" y="305"/>
                  </a:lnTo>
                  <a:lnTo>
                    <a:pt x="107" y="307"/>
                  </a:lnTo>
                  <a:lnTo>
                    <a:pt x="109" y="311"/>
                  </a:lnTo>
                  <a:lnTo>
                    <a:pt x="111" y="311"/>
                  </a:lnTo>
                  <a:lnTo>
                    <a:pt x="113" y="313"/>
                  </a:lnTo>
                  <a:lnTo>
                    <a:pt x="113" y="315"/>
                  </a:lnTo>
                  <a:lnTo>
                    <a:pt x="117" y="317"/>
                  </a:lnTo>
                  <a:lnTo>
                    <a:pt x="119" y="317"/>
                  </a:lnTo>
                  <a:lnTo>
                    <a:pt x="122" y="317"/>
                  </a:lnTo>
                  <a:lnTo>
                    <a:pt x="124" y="317"/>
                  </a:lnTo>
                  <a:lnTo>
                    <a:pt x="130" y="319"/>
                  </a:lnTo>
                  <a:lnTo>
                    <a:pt x="134" y="319"/>
                  </a:lnTo>
                  <a:lnTo>
                    <a:pt x="140" y="319"/>
                  </a:lnTo>
                  <a:lnTo>
                    <a:pt x="143" y="319"/>
                  </a:lnTo>
                  <a:lnTo>
                    <a:pt x="147" y="319"/>
                  </a:lnTo>
                  <a:lnTo>
                    <a:pt x="151" y="319"/>
                  </a:lnTo>
                  <a:lnTo>
                    <a:pt x="157" y="319"/>
                  </a:lnTo>
                  <a:lnTo>
                    <a:pt x="161" y="319"/>
                  </a:lnTo>
                  <a:lnTo>
                    <a:pt x="163" y="319"/>
                  </a:lnTo>
                  <a:lnTo>
                    <a:pt x="165" y="319"/>
                  </a:lnTo>
                  <a:lnTo>
                    <a:pt x="168" y="319"/>
                  </a:lnTo>
                  <a:lnTo>
                    <a:pt x="170" y="322"/>
                  </a:lnTo>
                  <a:lnTo>
                    <a:pt x="174" y="324"/>
                  </a:lnTo>
                  <a:lnTo>
                    <a:pt x="174" y="328"/>
                  </a:lnTo>
                  <a:lnTo>
                    <a:pt x="176" y="330"/>
                  </a:lnTo>
                  <a:lnTo>
                    <a:pt x="178" y="334"/>
                  </a:lnTo>
                  <a:lnTo>
                    <a:pt x="180" y="336"/>
                  </a:lnTo>
                  <a:lnTo>
                    <a:pt x="180" y="338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90" y="343"/>
                  </a:lnTo>
                  <a:lnTo>
                    <a:pt x="188" y="347"/>
                  </a:lnTo>
                  <a:lnTo>
                    <a:pt x="188" y="351"/>
                  </a:lnTo>
                  <a:lnTo>
                    <a:pt x="188" y="353"/>
                  </a:lnTo>
                  <a:lnTo>
                    <a:pt x="188" y="355"/>
                  </a:lnTo>
                  <a:lnTo>
                    <a:pt x="188" y="359"/>
                  </a:lnTo>
                  <a:lnTo>
                    <a:pt x="188" y="361"/>
                  </a:lnTo>
                  <a:lnTo>
                    <a:pt x="188" y="365"/>
                  </a:lnTo>
                  <a:lnTo>
                    <a:pt x="186" y="368"/>
                  </a:lnTo>
                  <a:lnTo>
                    <a:pt x="186" y="370"/>
                  </a:lnTo>
                  <a:lnTo>
                    <a:pt x="184" y="376"/>
                  </a:lnTo>
                  <a:lnTo>
                    <a:pt x="184" y="382"/>
                  </a:lnTo>
                  <a:lnTo>
                    <a:pt x="186" y="382"/>
                  </a:lnTo>
                  <a:lnTo>
                    <a:pt x="188" y="384"/>
                  </a:lnTo>
                  <a:lnTo>
                    <a:pt x="188" y="388"/>
                  </a:lnTo>
                  <a:lnTo>
                    <a:pt x="188" y="390"/>
                  </a:lnTo>
                  <a:lnTo>
                    <a:pt x="188" y="391"/>
                  </a:lnTo>
                  <a:lnTo>
                    <a:pt x="190" y="393"/>
                  </a:lnTo>
                  <a:lnTo>
                    <a:pt x="191" y="395"/>
                  </a:lnTo>
                  <a:lnTo>
                    <a:pt x="193" y="395"/>
                  </a:lnTo>
                  <a:lnTo>
                    <a:pt x="195" y="395"/>
                  </a:lnTo>
                  <a:lnTo>
                    <a:pt x="199" y="395"/>
                  </a:lnTo>
                  <a:lnTo>
                    <a:pt x="201" y="395"/>
                  </a:lnTo>
                  <a:lnTo>
                    <a:pt x="205" y="395"/>
                  </a:lnTo>
                  <a:lnTo>
                    <a:pt x="205" y="397"/>
                  </a:lnTo>
                  <a:lnTo>
                    <a:pt x="209" y="399"/>
                  </a:lnTo>
                  <a:lnTo>
                    <a:pt x="211" y="399"/>
                  </a:lnTo>
                  <a:lnTo>
                    <a:pt x="214" y="399"/>
                  </a:lnTo>
                  <a:lnTo>
                    <a:pt x="216" y="401"/>
                  </a:lnTo>
                  <a:lnTo>
                    <a:pt x="220" y="401"/>
                  </a:lnTo>
                  <a:lnTo>
                    <a:pt x="222" y="401"/>
                  </a:lnTo>
                  <a:lnTo>
                    <a:pt x="226" y="401"/>
                  </a:lnTo>
                  <a:lnTo>
                    <a:pt x="230" y="399"/>
                  </a:lnTo>
                  <a:lnTo>
                    <a:pt x="232" y="399"/>
                  </a:lnTo>
                  <a:lnTo>
                    <a:pt x="236" y="399"/>
                  </a:lnTo>
                  <a:lnTo>
                    <a:pt x="239" y="399"/>
                  </a:lnTo>
                  <a:lnTo>
                    <a:pt x="241" y="399"/>
                  </a:lnTo>
                  <a:lnTo>
                    <a:pt x="243" y="397"/>
                  </a:lnTo>
                  <a:lnTo>
                    <a:pt x="245" y="397"/>
                  </a:lnTo>
                  <a:lnTo>
                    <a:pt x="249" y="397"/>
                  </a:lnTo>
                  <a:lnTo>
                    <a:pt x="251" y="395"/>
                  </a:lnTo>
                  <a:lnTo>
                    <a:pt x="253" y="395"/>
                  </a:lnTo>
                  <a:lnTo>
                    <a:pt x="253" y="39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61" y="388"/>
                  </a:lnTo>
                  <a:lnTo>
                    <a:pt x="264" y="388"/>
                  </a:lnTo>
                  <a:lnTo>
                    <a:pt x="266" y="388"/>
                  </a:lnTo>
                  <a:lnTo>
                    <a:pt x="270" y="388"/>
                  </a:lnTo>
                  <a:lnTo>
                    <a:pt x="272" y="388"/>
                  </a:lnTo>
                  <a:lnTo>
                    <a:pt x="276" y="388"/>
                  </a:lnTo>
                  <a:lnTo>
                    <a:pt x="278" y="388"/>
                  </a:lnTo>
                  <a:lnTo>
                    <a:pt x="282" y="388"/>
                  </a:lnTo>
                  <a:lnTo>
                    <a:pt x="284" y="388"/>
                  </a:lnTo>
                  <a:lnTo>
                    <a:pt x="285" y="388"/>
                  </a:lnTo>
                  <a:lnTo>
                    <a:pt x="289" y="390"/>
                  </a:lnTo>
                  <a:lnTo>
                    <a:pt x="293" y="390"/>
                  </a:lnTo>
                  <a:lnTo>
                    <a:pt x="295" y="390"/>
                  </a:lnTo>
                  <a:lnTo>
                    <a:pt x="299" y="388"/>
                  </a:lnTo>
                  <a:lnTo>
                    <a:pt x="301" y="388"/>
                  </a:lnTo>
                  <a:lnTo>
                    <a:pt x="301" y="388"/>
                  </a:lnTo>
                  <a:lnTo>
                    <a:pt x="305" y="388"/>
                  </a:lnTo>
                  <a:lnTo>
                    <a:pt x="308" y="388"/>
                  </a:lnTo>
                  <a:lnTo>
                    <a:pt x="312" y="388"/>
                  </a:lnTo>
                  <a:lnTo>
                    <a:pt x="316" y="388"/>
                  </a:lnTo>
                  <a:lnTo>
                    <a:pt x="320" y="388"/>
                  </a:lnTo>
                  <a:lnTo>
                    <a:pt x="324" y="388"/>
                  </a:lnTo>
                  <a:lnTo>
                    <a:pt x="328" y="388"/>
                  </a:lnTo>
                  <a:lnTo>
                    <a:pt x="330" y="388"/>
                  </a:lnTo>
                  <a:lnTo>
                    <a:pt x="331" y="388"/>
                  </a:lnTo>
                  <a:lnTo>
                    <a:pt x="335" y="386"/>
                  </a:lnTo>
                  <a:lnTo>
                    <a:pt x="337" y="382"/>
                  </a:lnTo>
                  <a:lnTo>
                    <a:pt x="343" y="380"/>
                  </a:lnTo>
                  <a:lnTo>
                    <a:pt x="345" y="380"/>
                  </a:lnTo>
                  <a:lnTo>
                    <a:pt x="349" y="378"/>
                  </a:lnTo>
                  <a:lnTo>
                    <a:pt x="353" y="376"/>
                  </a:lnTo>
                  <a:lnTo>
                    <a:pt x="355" y="376"/>
                  </a:lnTo>
                  <a:lnTo>
                    <a:pt x="360" y="374"/>
                  </a:lnTo>
                  <a:lnTo>
                    <a:pt x="364" y="372"/>
                  </a:lnTo>
                  <a:lnTo>
                    <a:pt x="364" y="370"/>
                  </a:lnTo>
                  <a:lnTo>
                    <a:pt x="366" y="370"/>
                  </a:lnTo>
                  <a:lnTo>
                    <a:pt x="366" y="368"/>
                  </a:lnTo>
                  <a:lnTo>
                    <a:pt x="370" y="368"/>
                  </a:lnTo>
                  <a:lnTo>
                    <a:pt x="370" y="365"/>
                  </a:lnTo>
                  <a:lnTo>
                    <a:pt x="370" y="363"/>
                  </a:lnTo>
                  <a:lnTo>
                    <a:pt x="372" y="361"/>
                  </a:lnTo>
                  <a:lnTo>
                    <a:pt x="376" y="361"/>
                  </a:lnTo>
                  <a:lnTo>
                    <a:pt x="378" y="357"/>
                  </a:lnTo>
                  <a:lnTo>
                    <a:pt x="379" y="355"/>
                  </a:lnTo>
                  <a:lnTo>
                    <a:pt x="381" y="353"/>
                  </a:lnTo>
                  <a:lnTo>
                    <a:pt x="383" y="351"/>
                  </a:lnTo>
                  <a:lnTo>
                    <a:pt x="383" y="351"/>
                  </a:lnTo>
                  <a:lnTo>
                    <a:pt x="387" y="349"/>
                  </a:lnTo>
                  <a:lnTo>
                    <a:pt x="389" y="34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4" name="Freeform 20"/>
            <p:cNvSpPr>
              <a:spLocks/>
            </p:cNvSpPr>
            <p:nvPr/>
          </p:nvSpPr>
          <p:spPr bwMode="auto">
            <a:xfrm>
              <a:off x="2256" y="2355"/>
              <a:ext cx="389" cy="401"/>
            </a:xfrm>
            <a:custGeom>
              <a:avLst/>
              <a:gdLst/>
              <a:ahLst/>
              <a:cxnLst>
                <a:cxn ang="0">
                  <a:pos x="372" y="332"/>
                </a:cxn>
                <a:cxn ang="0">
                  <a:pos x="355" y="317"/>
                </a:cxn>
                <a:cxn ang="0">
                  <a:pos x="345" y="290"/>
                </a:cxn>
                <a:cxn ang="0">
                  <a:pos x="355" y="272"/>
                </a:cxn>
                <a:cxn ang="0">
                  <a:pos x="351" y="255"/>
                </a:cxn>
                <a:cxn ang="0">
                  <a:pos x="360" y="240"/>
                </a:cxn>
                <a:cxn ang="0">
                  <a:pos x="356" y="221"/>
                </a:cxn>
                <a:cxn ang="0">
                  <a:pos x="343" y="209"/>
                </a:cxn>
                <a:cxn ang="0">
                  <a:pos x="341" y="188"/>
                </a:cxn>
                <a:cxn ang="0">
                  <a:pos x="347" y="167"/>
                </a:cxn>
                <a:cxn ang="0">
                  <a:pos x="356" y="148"/>
                </a:cxn>
                <a:cxn ang="0">
                  <a:pos x="349" y="136"/>
                </a:cxn>
                <a:cxn ang="0">
                  <a:pos x="331" y="123"/>
                </a:cxn>
                <a:cxn ang="0">
                  <a:pos x="314" y="113"/>
                </a:cxn>
                <a:cxn ang="0">
                  <a:pos x="308" y="94"/>
                </a:cxn>
                <a:cxn ang="0">
                  <a:pos x="287" y="79"/>
                </a:cxn>
                <a:cxn ang="0">
                  <a:pos x="266" y="67"/>
                </a:cxn>
                <a:cxn ang="0">
                  <a:pos x="245" y="61"/>
                </a:cxn>
                <a:cxn ang="0">
                  <a:pos x="224" y="42"/>
                </a:cxn>
                <a:cxn ang="0">
                  <a:pos x="201" y="29"/>
                </a:cxn>
                <a:cxn ang="0">
                  <a:pos x="186" y="21"/>
                </a:cxn>
                <a:cxn ang="0">
                  <a:pos x="168" y="6"/>
                </a:cxn>
                <a:cxn ang="0">
                  <a:pos x="134" y="2"/>
                </a:cxn>
                <a:cxn ang="0">
                  <a:pos x="99" y="6"/>
                </a:cxn>
                <a:cxn ang="0">
                  <a:pos x="71" y="6"/>
                </a:cxn>
                <a:cxn ang="0">
                  <a:pos x="44" y="6"/>
                </a:cxn>
                <a:cxn ang="0">
                  <a:pos x="42" y="11"/>
                </a:cxn>
                <a:cxn ang="0">
                  <a:pos x="57" y="36"/>
                </a:cxn>
                <a:cxn ang="0">
                  <a:pos x="63" y="59"/>
                </a:cxn>
                <a:cxn ang="0">
                  <a:pos x="48" y="69"/>
                </a:cxn>
                <a:cxn ang="0">
                  <a:pos x="55" y="90"/>
                </a:cxn>
                <a:cxn ang="0">
                  <a:pos x="53" y="113"/>
                </a:cxn>
                <a:cxn ang="0">
                  <a:pos x="44" y="136"/>
                </a:cxn>
                <a:cxn ang="0">
                  <a:pos x="24" y="153"/>
                </a:cxn>
                <a:cxn ang="0">
                  <a:pos x="1" y="167"/>
                </a:cxn>
                <a:cxn ang="0">
                  <a:pos x="1" y="194"/>
                </a:cxn>
                <a:cxn ang="0">
                  <a:pos x="9" y="219"/>
                </a:cxn>
                <a:cxn ang="0">
                  <a:pos x="21" y="242"/>
                </a:cxn>
                <a:cxn ang="0">
                  <a:pos x="42" y="263"/>
                </a:cxn>
                <a:cxn ang="0">
                  <a:pos x="48" y="272"/>
                </a:cxn>
                <a:cxn ang="0">
                  <a:pos x="61" y="286"/>
                </a:cxn>
                <a:cxn ang="0">
                  <a:pos x="76" y="299"/>
                </a:cxn>
                <a:cxn ang="0">
                  <a:pos x="92" y="303"/>
                </a:cxn>
                <a:cxn ang="0">
                  <a:pos x="111" y="311"/>
                </a:cxn>
                <a:cxn ang="0">
                  <a:pos x="134" y="319"/>
                </a:cxn>
                <a:cxn ang="0">
                  <a:pos x="165" y="319"/>
                </a:cxn>
                <a:cxn ang="0">
                  <a:pos x="180" y="338"/>
                </a:cxn>
                <a:cxn ang="0">
                  <a:pos x="188" y="355"/>
                </a:cxn>
                <a:cxn ang="0">
                  <a:pos x="186" y="382"/>
                </a:cxn>
                <a:cxn ang="0">
                  <a:pos x="195" y="395"/>
                </a:cxn>
                <a:cxn ang="0">
                  <a:pos x="216" y="401"/>
                </a:cxn>
                <a:cxn ang="0">
                  <a:pos x="241" y="399"/>
                </a:cxn>
                <a:cxn ang="0">
                  <a:pos x="257" y="390"/>
                </a:cxn>
                <a:cxn ang="0">
                  <a:pos x="282" y="388"/>
                </a:cxn>
                <a:cxn ang="0">
                  <a:pos x="301" y="388"/>
                </a:cxn>
                <a:cxn ang="0">
                  <a:pos x="330" y="388"/>
                </a:cxn>
                <a:cxn ang="0">
                  <a:pos x="355" y="376"/>
                </a:cxn>
                <a:cxn ang="0">
                  <a:pos x="370" y="363"/>
                </a:cxn>
                <a:cxn ang="0">
                  <a:pos x="387" y="349"/>
                </a:cxn>
              </a:cxnLst>
              <a:rect l="0" t="0" r="r" b="b"/>
              <a:pathLst>
                <a:path w="389" h="401">
                  <a:moveTo>
                    <a:pt x="389" y="349"/>
                  </a:moveTo>
                  <a:lnTo>
                    <a:pt x="385" y="345"/>
                  </a:lnTo>
                  <a:lnTo>
                    <a:pt x="379" y="342"/>
                  </a:lnTo>
                  <a:lnTo>
                    <a:pt x="379" y="338"/>
                  </a:lnTo>
                  <a:lnTo>
                    <a:pt x="378" y="336"/>
                  </a:lnTo>
                  <a:lnTo>
                    <a:pt x="376" y="334"/>
                  </a:lnTo>
                  <a:lnTo>
                    <a:pt x="374" y="334"/>
                  </a:lnTo>
                  <a:lnTo>
                    <a:pt x="372" y="332"/>
                  </a:lnTo>
                  <a:lnTo>
                    <a:pt x="370" y="332"/>
                  </a:lnTo>
                  <a:lnTo>
                    <a:pt x="368" y="332"/>
                  </a:lnTo>
                  <a:lnTo>
                    <a:pt x="366" y="328"/>
                  </a:lnTo>
                  <a:lnTo>
                    <a:pt x="364" y="326"/>
                  </a:lnTo>
                  <a:lnTo>
                    <a:pt x="362" y="324"/>
                  </a:lnTo>
                  <a:lnTo>
                    <a:pt x="358" y="322"/>
                  </a:lnTo>
                  <a:lnTo>
                    <a:pt x="355" y="319"/>
                  </a:lnTo>
                  <a:lnTo>
                    <a:pt x="355" y="317"/>
                  </a:lnTo>
                  <a:lnTo>
                    <a:pt x="355" y="311"/>
                  </a:lnTo>
                  <a:lnTo>
                    <a:pt x="353" y="307"/>
                  </a:lnTo>
                  <a:lnTo>
                    <a:pt x="351" y="303"/>
                  </a:lnTo>
                  <a:lnTo>
                    <a:pt x="351" y="299"/>
                  </a:lnTo>
                  <a:lnTo>
                    <a:pt x="349" y="299"/>
                  </a:lnTo>
                  <a:lnTo>
                    <a:pt x="347" y="297"/>
                  </a:lnTo>
                  <a:lnTo>
                    <a:pt x="345" y="294"/>
                  </a:lnTo>
                  <a:lnTo>
                    <a:pt x="345" y="290"/>
                  </a:lnTo>
                  <a:lnTo>
                    <a:pt x="345" y="288"/>
                  </a:lnTo>
                  <a:lnTo>
                    <a:pt x="345" y="284"/>
                  </a:lnTo>
                  <a:lnTo>
                    <a:pt x="347" y="282"/>
                  </a:lnTo>
                  <a:lnTo>
                    <a:pt x="349" y="280"/>
                  </a:lnTo>
                  <a:lnTo>
                    <a:pt x="351" y="280"/>
                  </a:lnTo>
                  <a:lnTo>
                    <a:pt x="351" y="276"/>
                  </a:lnTo>
                  <a:lnTo>
                    <a:pt x="355" y="274"/>
                  </a:lnTo>
                  <a:lnTo>
                    <a:pt x="355" y="272"/>
                  </a:lnTo>
                  <a:lnTo>
                    <a:pt x="355" y="271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3" y="259"/>
                  </a:lnTo>
                  <a:lnTo>
                    <a:pt x="353" y="257"/>
                  </a:lnTo>
                  <a:lnTo>
                    <a:pt x="351" y="255"/>
                  </a:lnTo>
                  <a:lnTo>
                    <a:pt x="351" y="255"/>
                  </a:lnTo>
                  <a:lnTo>
                    <a:pt x="351" y="255"/>
                  </a:lnTo>
                  <a:lnTo>
                    <a:pt x="353" y="255"/>
                  </a:lnTo>
                  <a:lnTo>
                    <a:pt x="353" y="251"/>
                  </a:lnTo>
                  <a:lnTo>
                    <a:pt x="353" y="249"/>
                  </a:lnTo>
                  <a:lnTo>
                    <a:pt x="355" y="248"/>
                  </a:lnTo>
                  <a:lnTo>
                    <a:pt x="355" y="248"/>
                  </a:lnTo>
                  <a:lnTo>
                    <a:pt x="356" y="246"/>
                  </a:lnTo>
                  <a:lnTo>
                    <a:pt x="358" y="244"/>
                  </a:lnTo>
                  <a:lnTo>
                    <a:pt x="360" y="240"/>
                  </a:lnTo>
                  <a:lnTo>
                    <a:pt x="362" y="238"/>
                  </a:lnTo>
                  <a:lnTo>
                    <a:pt x="362" y="236"/>
                  </a:lnTo>
                  <a:lnTo>
                    <a:pt x="364" y="232"/>
                  </a:lnTo>
                  <a:lnTo>
                    <a:pt x="364" y="228"/>
                  </a:lnTo>
                  <a:lnTo>
                    <a:pt x="362" y="226"/>
                  </a:lnTo>
                  <a:lnTo>
                    <a:pt x="362" y="223"/>
                  </a:lnTo>
                  <a:lnTo>
                    <a:pt x="358" y="223"/>
                  </a:lnTo>
                  <a:lnTo>
                    <a:pt x="356" y="221"/>
                  </a:lnTo>
                  <a:lnTo>
                    <a:pt x="356" y="219"/>
                  </a:lnTo>
                  <a:lnTo>
                    <a:pt x="355" y="219"/>
                  </a:lnTo>
                  <a:lnTo>
                    <a:pt x="351" y="217"/>
                  </a:lnTo>
                  <a:lnTo>
                    <a:pt x="349" y="215"/>
                  </a:lnTo>
                  <a:lnTo>
                    <a:pt x="347" y="213"/>
                  </a:lnTo>
                  <a:lnTo>
                    <a:pt x="347" y="211"/>
                  </a:lnTo>
                  <a:lnTo>
                    <a:pt x="345" y="211"/>
                  </a:lnTo>
                  <a:lnTo>
                    <a:pt x="343" y="209"/>
                  </a:lnTo>
                  <a:lnTo>
                    <a:pt x="341" y="207"/>
                  </a:lnTo>
                  <a:lnTo>
                    <a:pt x="339" y="203"/>
                  </a:lnTo>
                  <a:lnTo>
                    <a:pt x="337" y="201"/>
                  </a:lnTo>
                  <a:lnTo>
                    <a:pt x="337" y="198"/>
                  </a:lnTo>
                  <a:lnTo>
                    <a:pt x="337" y="194"/>
                  </a:lnTo>
                  <a:lnTo>
                    <a:pt x="339" y="194"/>
                  </a:lnTo>
                  <a:lnTo>
                    <a:pt x="341" y="192"/>
                  </a:lnTo>
                  <a:lnTo>
                    <a:pt x="341" y="188"/>
                  </a:lnTo>
                  <a:lnTo>
                    <a:pt x="343" y="186"/>
                  </a:lnTo>
                  <a:lnTo>
                    <a:pt x="345" y="184"/>
                  </a:lnTo>
                  <a:lnTo>
                    <a:pt x="345" y="182"/>
                  </a:lnTo>
                  <a:lnTo>
                    <a:pt x="345" y="178"/>
                  </a:lnTo>
                  <a:lnTo>
                    <a:pt x="345" y="175"/>
                  </a:lnTo>
                  <a:lnTo>
                    <a:pt x="345" y="173"/>
                  </a:lnTo>
                  <a:lnTo>
                    <a:pt x="347" y="169"/>
                  </a:lnTo>
                  <a:lnTo>
                    <a:pt x="347" y="167"/>
                  </a:lnTo>
                  <a:lnTo>
                    <a:pt x="347" y="163"/>
                  </a:lnTo>
                  <a:lnTo>
                    <a:pt x="347" y="161"/>
                  </a:lnTo>
                  <a:lnTo>
                    <a:pt x="349" y="157"/>
                  </a:lnTo>
                  <a:lnTo>
                    <a:pt x="351" y="155"/>
                  </a:lnTo>
                  <a:lnTo>
                    <a:pt x="353" y="153"/>
                  </a:lnTo>
                  <a:lnTo>
                    <a:pt x="355" y="152"/>
                  </a:lnTo>
                  <a:lnTo>
                    <a:pt x="355" y="150"/>
                  </a:lnTo>
                  <a:lnTo>
                    <a:pt x="356" y="148"/>
                  </a:lnTo>
                  <a:lnTo>
                    <a:pt x="358" y="146"/>
                  </a:lnTo>
                  <a:lnTo>
                    <a:pt x="360" y="146"/>
                  </a:lnTo>
                  <a:lnTo>
                    <a:pt x="360" y="142"/>
                  </a:lnTo>
                  <a:lnTo>
                    <a:pt x="356" y="142"/>
                  </a:lnTo>
                  <a:lnTo>
                    <a:pt x="355" y="140"/>
                  </a:lnTo>
                  <a:lnTo>
                    <a:pt x="353" y="140"/>
                  </a:lnTo>
                  <a:lnTo>
                    <a:pt x="351" y="136"/>
                  </a:lnTo>
                  <a:lnTo>
                    <a:pt x="349" y="136"/>
                  </a:lnTo>
                  <a:lnTo>
                    <a:pt x="345" y="136"/>
                  </a:lnTo>
                  <a:lnTo>
                    <a:pt x="343" y="134"/>
                  </a:lnTo>
                  <a:lnTo>
                    <a:pt x="339" y="132"/>
                  </a:lnTo>
                  <a:lnTo>
                    <a:pt x="339" y="130"/>
                  </a:lnTo>
                  <a:lnTo>
                    <a:pt x="337" y="130"/>
                  </a:lnTo>
                  <a:lnTo>
                    <a:pt x="335" y="129"/>
                  </a:lnTo>
                  <a:lnTo>
                    <a:pt x="333" y="125"/>
                  </a:lnTo>
                  <a:lnTo>
                    <a:pt x="331" y="123"/>
                  </a:lnTo>
                  <a:lnTo>
                    <a:pt x="330" y="123"/>
                  </a:lnTo>
                  <a:lnTo>
                    <a:pt x="328" y="123"/>
                  </a:lnTo>
                  <a:lnTo>
                    <a:pt x="324" y="123"/>
                  </a:lnTo>
                  <a:lnTo>
                    <a:pt x="320" y="121"/>
                  </a:lnTo>
                  <a:lnTo>
                    <a:pt x="318" y="119"/>
                  </a:lnTo>
                  <a:lnTo>
                    <a:pt x="316" y="117"/>
                  </a:lnTo>
                  <a:lnTo>
                    <a:pt x="314" y="115"/>
                  </a:lnTo>
                  <a:lnTo>
                    <a:pt x="314" y="113"/>
                  </a:lnTo>
                  <a:lnTo>
                    <a:pt x="310" y="113"/>
                  </a:lnTo>
                  <a:lnTo>
                    <a:pt x="308" y="111"/>
                  </a:lnTo>
                  <a:lnTo>
                    <a:pt x="308" y="107"/>
                  </a:lnTo>
                  <a:lnTo>
                    <a:pt x="308" y="106"/>
                  </a:lnTo>
                  <a:lnTo>
                    <a:pt x="308" y="102"/>
                  </a:lnTo>
                  <a:lnTo>
                    <a:pt x="308" y="98"/>
                  </a:lnTo>
                  <a:lnTo>
                    <a:pt x="308" y="96"/>
                  </a:lnTo>
                  <a:lnTo>
                    <a:pt x="308" y="94"/>
                  </a:lnTo>
                  <a:lnTo>
                    <a:pt x="307" y="90"/>
                  </a:lnTo>
                  <a:lnTo>
                    <a:pt x="305" y="88"/>
                  </a:lnTo>
                  <a:lnTo>
                    <a:pt x="303" y="88"/>
                  </a:lnTo>
                  <a:lnTo>
                    <a:pt x="301" y="88"/>
                  </a:lnTo>
                  <a:lnTo>
                    <a:pt x="295" y="84"/>
                  </a:lnTo>
                  <a:lnTo>
                    <a:pt x="293" y="82"/>
                  </a:lnTo>
                  <a:lnTo>
                    <a:pt x="291" y="79"/>
                  </a:lnTo>
                  <a:lnTo>
                    <a:pt x="287" y="79"/>
                  </a:lnTo>
                  <a:lnTo>
                    <a:pt x="284" y="77"/>
                  </a:lnTo>
                  <a:lnTo>
                    <a:pt x="284" y="75"/>
                  </a:lnTo>
                  <a:lnTo>
                    <a:pt x="280" y="73"/>
                  </a:lnTo>
                  <a:lnTo>
                    <a:pt x="276" y="71"/>
                  </a:lnTo>
                  <a:lnTo>
                    <a:pt x="274" y="69"/>
                  </a:lnTo>
                  <a:lnTo>
                    <a:pt x="272" y="67"/>
                  </a:lnTo>
                  <a:lnTo>
                    <a:pt x="270" y="67"/>
                  </a:lnTo>
                  <a:lnTo>
                    <a:pt x="266" y="67"/>
                  </a:lnTo>
                  <a:lnTo>
                    <a:pt x="264" y="65"/>
                  </a:lnTo>
                  <a:lnTo>
                    <a:pt x="261" y="65"/>
                  </a:lnTo>
                  <a:lnTo>
                    <a:pt x="257" y="65"/>
                  </a:lnTo>
                  <a:lnTo>
                    <a:pt x="255" y="65"/>
                  </a:lnTo>
                  <a:lnTo>
                    <a:pt x="253" y="65"/>
                  </a:lnTo>
                  <a:lnTo>
                    <a:pt x="249" y="63"/>
                  </a:lnTo>
                  <a:lnTo>
                    <a:pt x="249" y="61"/>
                  </a:lnTo>
                  <a:lnTo>
                    <a:pt x="245" y="61"/>
                  </a:lnTo>
                  <a:lnTo>
                    <a:pt x="243" y="59"/>
                  </a:lnTo>
                  <a:lnTo>
                    <a:pt x="241" y="58"/>
                  </a:lnTo>
                  <a:lnTo>
                    <a:pt x="239" y="56"/>
                  </a:lnTo>
                  <a:lnTo>
                    <a:pt x="237" y="54"/>
                  </a:lnTo>
                  <a:lnTo>
                    <a:pt x="234" y="52"/>
                  </a:lnTo>
                  <a:lnTo>
                    <a:pt x="230" y="48"/>
                  </a:lnTo>
                  <a:lnTo>
                    <a:pt x="226" y="44"/>
                  </a:lnTo>
                  <a:lnTo>
                    <a:pt x="224" y="42"/>
                  </a:lnTo>
                  <a:lnTo>
                    <a:pt x="222" y="40"/>
                  </a:lnTo>
                  <a:lnTo>
                    <a:pt x="218" y="38"/>
                  </a:lnTo>
                  <a:lnTo>
                    <a:pt x="214" y="38"/>
                  </a:lnTo>
                  <a:lnTo>
                    <a:pt x="213" y="35"/>
                  </a:lnTo>
                  <a:lnTo>
                    <a:pt x="209" y="35"/>
                  </a:lnTo>
                  <a:lnTo>
                    <a:pt x="205" y="33"/>
                  </a:lnTo>
                  <a:lnTo>
                    <a:pt x="203" y="31"/>
                  </a:lnTo>
                  <a:lnTo>
                    <a:pt x="201" y="29"/>
                  </a:lnTo>
                  <a:lnTo>
                    <a:pt x="197" y="29"/>
                  </a:lnTo>
                  <a:lnTo>
                    <a:pt x="197" y="27"/>
                  </a:lnTo>
                  <a:lnTo>
                    <a:pt x="195" y="27"/>
                  </a:lnTo>
                  <a:lnTo>
                    <a:pt x="193" y="25"/>
                  </a:lnTo>
                  <a:lnTo>
                    <a:pt x="190" y="25"/>
                  </a:lnTo>
                  <a:lnTo>
                    <a:pt x="190" y="23"/>
                  </a:lnTo>
                  <a:lnTo>
                    <a:pt x="188" y="21"/>
                  </a:lnTo>
                  <a:lnTo>
                    <a:pt x="186" y="21"/>
                  </a:lnTo>
                  <a:lnTo>
                    <a:pt x="184" y="19"/>
                  </a:lnTo>
                  <a:lnTo>
                    <a:pt x="182" y="17"/>
                  </a:lnTo>
                  <a:lnTo>
                    <a:pt x="178" y="17"/>
                  </a:lnTo>
                  <a:lnTo>
                    <a:pt x="178" y="13"/>
                  </a:lnTo>
                  <a:lnTo>
                    <a:pt x="174" y="11"/>
                  </a:lnTo>
                  <a:lnTo>
                    <a:pt x="172" y="10"/>
                  </a:lnTo>
                  <a:lnTo>
                    <a:pt x="170" y="8"/>
                  </a:lnTo>
                  <a:lnTo>
                    <a:pt x="168" y="6"/>
                  </a:lnTo>
                  <a:lnTo>
                    <a:pt x="165" y="4"/>
                  </a:lnTo>
                  <a:lnTo>
                    <a:pt x="161" y="4"/>
                  </a:lnTo>
                  <a:lnTo>
                    <a:pt x="157" y="2"/>
                  </a:lnTo>
                  <a:lnTo>
                    <a:pt x="151" y="2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128" y="2"/>
                  </a:lnTo>
                  <a:lnTo>
                    <a:pt x="126" y="2"/>
                  </a:lnTo>
                  <a:lnTo>
                    <a:pt x="124" y="2"/>
                  </a:lnTo>
                  <a:lnTo>
                    <a:pt x="11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3" y="4"/>
                  </a:lnTo>
                  <a:lnTo>
                    <a:pt x="99" y="6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2" y="6"/>
                  </a:lnTo>
                  <a:lnTo>
                    <a:pt x="71" y="6"/>
                  </a:lnTo>
                  <a:lnTo>
                    <a:pt x="67" y="6"/>
                  </a:lnTo>
                  <a:lnTo>
                    <a:pt x="63" y="6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2" y="11"/>
                  </a:lnTo>
                  <a:lnTo>
                    <a:pt x="42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21"/>
                  </a:lnTo>
                  <a:lnTo>
                    <a:pt x="49" y="25"/>
                  </a:lnTo>
                  <a:lnTo>
                    <a:pt x="53" y="29"/>
                  </a:lnTo>
                  <a:lnTo>
                    <a:pt x="57" y="33"/>
                  </a:lnTo>
                  <a:lnTo>
                    <a:pt x="57" y="36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8"/>
                  </a:lnTo>
                  <a:lnTo>
                    <a:pt x="63" y="52"/>
                  </a:lnTo>
                  <a:lnTo>
                    <a:pt x="63" y="54"/>
                  </a:lnTo>
                  <a:lnTo>
                    <a:pt x="63" y="56"/>
                  </a:lnTo>
                  <a:lnTo>
                    <a:pt x="63" y="59"/>
                  </a:lnTo>
                  <a:lnTo>
                    <a:pt x="61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5" y="63"/>
                  </a:lnTo>
                  <a:lnTo>
                    <a:pt x="53" y="65"/>
                  </a:lnTo>
                  <a:lnTo>
                    <a:pt x="51" y="65"/>
                  </a:lnTo>
                  <a:lnTo>
                    <a:pt x="49" y="67"/>
                  </a:lnTo>
                  <a:lnTo>
                    <a:pt x="48" y="69"/>
                  </a:lnTo>
                  <a:lnTo>
                    <a:pt x="48" y="71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8" y="79"/>
                  </a:lnTo>
                  <a:lnTo>
                    <a:pt x="51" y="81"/>
                  </a:lnTo>
                  <a:lnTo>
                    <a:pt x="55" y="84"/>
                  </a:lnTo>
                  <a:lnTo>
                    <a:pt x="55" y="86"/>
                  </a:lnTo>
                  <a:lnTo>
                    <a:pt x="55" y="90"/>
                  </a:lnTo>
                  <a:lnTo>
                    <a:pt x="55" y="94"/>
                  </a:lnTo>
                  <a:lnTo>
                    <a:pt x="55" y="96"/>
                  </a:lnTo>
                  <a:lnTo>
                    <a:pt x="55" y="100"/>
                  </a:lnTo>
                  <a:lnTo>
                    <a:pt x="55" y="102"/>
                  </a:lnTo>
                  <a:lnTo>
                    <a:pt x="55" y="106"/>
                  </a:lnTo>
                  <a:lnTo>
                    <a:pt x="55" y="106"/>
                  </a:lnTo>
                  <a:lnTo>
                    <a:pt x="55" y="109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21"/>
                  </a:lnTo>
                  <a:lnTo>
                    <a:pt x="51" y="123"/>
                  </a:lnTo>
                  <a:lnTo>
                    <a:pt x="51" y="125"/>
                  </a:lnTo>
                  <a:lnTo>
                    <a:pt x="49" y="127"/>
                  </a:lnTo>
                  <a:lnTo>
                    <a:pt x="49" y="129"/>
                  </a:lnTo>
                  <a:lnTo>
                    <a:pt x="48" y="130"/>
                  </a:lnTo>
                  <a:lnTo>
                    <a:pt x="44" y="136"/>
                  </a:lnTo>
                  <a:lnTo>
                    <a:pt x="42" y="140"/>
                  </a:lnTo>
                  <a:lnTo>
                    <a:pt x="38" y="140"/>
                  </a:lnTo>
                  <a:lnTo>
                    <a:pt x="36" y="144"/>
                  </a:lnTo>
                  <a:lnTo>
                    <a:pt x="36" y="146"/>
                  </a:lnTo>
                  <a:lnTo>
                    <a:pt x="32" y="146"/>
                  </a:lnTo>
                  <a:lnTo>
                    <a:pt x="30" y="150"/>
                  </a:lnTo>
                  <a:lnTo>
                    <a:pt x="28" y="152"/>
                  </a:lnTo>
                  <a:lnTo>
                    <a:pt x="24" y="153"/>
                  </a:lnTo>
                  <a:lnTo>
                    <a:pt x="23" y="153"/>
                  </a:lnTo>
                  <a:lnTo>
                    <a:pt x="21" y="155"/>
                  </a:lnTo>
                  <a:lnTo>
                    <a:pt x="19" y="157"/>
                  </a:lnTo>
                  <a:lnTo>
                    <a:pt x="15" y="159"/>
                  </a:lnTo>
                  <a:lnTo>
                    <a:pt x="11" y="159"/>
                  </a:lnTo>
                  <a:lnTo>
                    <a:pt x="7" y="165"/>
                  </a:lnTo>
                  <a:lnTo>
                    <a:pt x="3" y="167"/>
                  </a:lnTo>
                  <a:lnTo>
                    <a:pt x="1" y="167"/>
                  </a:lnTo>
                  <a:lnTo>
                    <a:pt x="0" y="167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1" y="184"/>
                  </a:lnTo>
                  <a:lnTo>
                    <a:pt x="1" y="190"/>
                  </a:lnTo>
                  <a:lnTo>
                    <a:pt x="1" y="194"/>
                  </a:lnTo>
                  <a:lnTo>
                    <a:pt x="3" y="198"/>
                  </a:lnTo>
                  <a:lnTo>
                    <a:pt x="5" y="201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7" y="211"/>
                  </a:lnTo>
                  <a:lnTo>
                    <a:pt x="7" y="213"/>
                  </a:lnTo>
                  <a:lnTo>
                    <a:pt x="7" y="217"/>
                  </a:lnTo>
                  <a:lnTo>
                    <a:pt x="9" y="219"/>
                  </a:lnTo>
                  <a:lnTo>
                    <a:pt x="9" y="221"/>
                  </a:lnTo>
                  <a:lnTo>
                    <a:pt x="9" y="224"/>
                  </a:lnTo>
                  <a:lnTo>
                    <a:pt x="9" y="224"/>
                  </a:lnTo>
                  <a:lnTo>
                    <a:pt x="11" y="228"/>
                  </a:lnTo>
                  <a:lnTo>
                    <a:pt x="11" y="230"/>
                  </a:lnTo>
                  <a:lnTo>
                    <a:pt x="13" y="234"/>
                  </a:lnTo>
                  <a:lnTo>
                    <a:pt x="19" y="238"/>
                  </a:lnTo>
                  <a:lnTo>
                    <a:pt x="21" y="242"/>
                  </a:lnTo>
                  <a:lnTo>
                    <a:pt x="23" y="246"/>
                  </a:lnTo>
                  <a:lnTo>
                    <a:pt x="26" y="248"/>
                  </a:lnTo>
                  <a:lnTo>
                    <a:pt x="28" y="253"/>
                  </a:lnTo>
                  <a:lnTo>
                    <a:pt x="30" y="255"/>
                  </a:lnTo>
                  <a:lnTo>
                    <a:pt x="36" y="255"/>
                  </a:lnTo>
                  <a:lnTo>
                    <a:pt x="36" y="259"/>
                  </a:lnTo>
                  <a:lnTo>
                    <a:pt x="40" y="261"/>
                  </a:lnTo>
                  <a:lnTo>
                    <a:pt x="42" y="263"/>
                  </a:lnTo>
                  <a:lnTo>
                    <a:pt x="42" y="267"/>
                  </a:lnTo>
                  <a:lnTo>
                    <a:pt x="44" y="269"/>
                  </a:lnTo>
                  <a:lnTo>
                    <a:pt x="44" y="271"/>
                  </a:lnTo>
                  <a:lnTo>
                    <a:pt x="44" y="272"/>
                  </a:lnTo>
                  <a:lnTo>
                    <a:pt x="46" y="274"/>
                  </a:lnTo>
                  <a:lnTo>
                    <a:pt x="48" y="274"/>
                  </a:lnTo>
                  <a:lnTo>
                    <a:pt x="46" y="274"/>
                  </a:lnTo>
                  <a:lnTo>
                    <a:pt x="48" y="272"/>
                  </a:lnTo>
                  <a:lnTo>
                    <a:pt x="49" y="274"/>
                  </a:lnTo>
                  <a:lnTo>
                    <a:pt x="49" y="274"/>
                  </a:lnTo>
                  <a:lnTo>
                    <a:pt x="51" y="274"/>
                  </a:lnTo>
                  <a:lnTo>
                    <a:pt x="53" y="278"/>
                  </a:lnTo>
                  <a:lnTo>
                    <a:pt x="53" y="280"/>
                  </a:lnTo>
                  <a:lnTo>
                    <a:pt x="55" y="280"/>
                  </a:lnTo>
                  <a:lnTo>
                    <a:pt x="57" y="282"/>
                  </a:lnTo>
                  <a:lnTo>
                    <a:pt x="61" y="286"/>
                  </a:lnTo>
                  <a:lnTo>
                    <a:pt x="63" y="288"/>
                  </a:lnTo>
                  <a:lnTo>
                    <a:pt x="65" y="290"/>
                  </a:lnTo>
                  <a:lnTo>
                    <a:pt x="67" y="290"/>
                  </a:lnTo>
                  <a:lnTo>
                    <a:pt x="69" y="294"/>
                  </a:lnTo>
                  <a:lnTo>
                    <a:pt x="69" y="295"/>
                  </a:lnTo>
                  <a:lnTo>
                    <a:pt x="71" y="297"/>
                  </a:lnTo>
                  <a:lnTo>
                    <a:pt x="72" y="299"/>
                  </a:lnTo>
                  <a:lnTo>
                    <a:pt x="76" y="299"/>
                  </a:lnTo>
                  <a:lnTo>
                    <a:pt x="78" y="297"/>
                  </a:lnTo>
                  <a:lnTo>
                    <a:pt x="80" y="297"/>
                  </a:lnTo>
                  <a:lnTo>
                    <a:pt x="84" y="297"/>
                  </a:lnTo>
                  <a:lnTo>
                    <a:pt x="86" y="297"/>
                  </a:lnTo>
                  <a:lnTo>
                    <a:pt x="88" y="299"/>
                  </a:lnTo>
                  <a:lnTo>
                    <a:pt x="88" y="299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5"/>
                  </a:lnTo>
                  <a:lnTo>
                    <a:pt x="97" y="305"/>
                  </a:lnTo>
                  <a:lnTo>
                    <a:pt x="99" y="303"/>
                  </a:lnTo>
                  <a:lnTo>
                    <a:pt x="101" y="303"/>
                  </a:lnTo>
                  <a:lnTo>
                    <a:pt x="105" y="305"/>
                  </a:lnTo>
                  <a:lnTo>
                    <a:pt x="107" y="307"/>
                  </a:lnTo>
                  <a:lnTo>
                    <a:pt x="109" y="311"/>
                  </a:lnTo>
                  <a:lnTo>
                    <a:pt x="111" y="311"/>
                  </a:lnTo>
                  <a:lnTo>
                    <a:pt x="113" y="313"/>
                  </a:lnTo>
                  <a:lnTo>
                    <a:pt x="113" y="315"/>
                  </a:lnTo>
                  <a:lnTo>
                    <a:pt x="117" y="317"/>
                  </a:lnTo>
                  <a:lnTo>
                    <a:pt x="119" y="317"/>
                  </a:lnTo>
                  <a:lnTo>
                    <a:pt x="122" y="317"/>
                  </a:lnTo>
                  <a:lnTo>
                    <a:pt x="124" y="317"/>
                  </a:lnTo>
                  <a:lnTo>
                    <a:pt x="130" y="319"/>
                  </a:lnTo>
                  <a:lnTo>
                    <a:pt x="134" y="319"/>
                  </a:lnTo>
                  <a:lnTo>
                    <a:pt x="140" y="319"/>
                  </a:lnTo>
                  <a:lnTo>
                    <a:pt x="143" y="319"/>
                  </a:lnTo>
                  <a:lnTo>
                    <a:pt x="147" y="319"/>
                  </a:lnTo>
                  <a:lnTo>
                    <a:pt x="151" y="319"/>
                  </a:lnTo>
                  <a:lnTo>
                    <a:pt x="157" y="319"/>
                  </a:lnTo>
                  <a:lnTo>
                    <a:pt x="161" y="319"/>
                  </a:lnTo>
                  <a:lnTo>
                    <a:pt x="163" y="319"/>
                  </a:lnTo>
                  <a:lnTo>
                    <a:pt x="165" y="319"/>
                  </a:lnTo>
                  <a:lnTo>
                    <a:pt x="168" y="319"/>
                  </a:lnTo>
                  <a:lnTo>
                    <a:pt x="170" y="322"/>
                  </a:lnTo>
                  <a:lnTo>
                    <a:pt x="174" y="324"/>
                  </a:lnTo>
                  <a:lnTo>
                    <a:pt x="174" y="328"/>
                  </a:lnTo>
                  <a:lnTo>
                    <a:pt x="176" y="330"/>
                  </a:lnTo>
                  <a:lnTo>
                    <a:pt x="178" y="334"/>
                  </a:lnTo>
                  <a:lnTo>
                    <a:pt x="180" y="336"/>
                  </a:lnTo>
                  <a:lnTo>
                    <a:pt x="180" y="338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90" y="343"/>
                  </a:lnTo>
                  <a:lnTo>
                    <a:pt x="188" y="347"/>
                  </a:lnTo>
                  <a:lnTo>
                    <a:pt x="188" y="351"/>
                  </a:lnTo>
                  <a:lnTo>
                    <a:pt x="188" y="353"/>
                  </a:lnTo>
                  <a:lnTo>
                    <a:pt x="188" y="355"/>
                  </a:lnTo>
                  <a:lnTo>
                    <a:pt x="188" y="359"/>
                  </a:lnTo>
                  <a:lnTo>
                    <a:pt x="188" y="361"/>
                  </a:lnTo>
                  <a:lnTo>
                    <a:pt x="188" y="365"/>
                  </a:lnTo>
                  <a:lnTo>
                    <a:pt x="186" y="368"/>
                  </a:lnTo>
                  <a:lnTo>
                    <a:pt x="186" y="370"/>
                  </a:lnTo>
                  <a:lnTo>
                    <a:pt x="184" y="376"/>
                  </a:lnTo>
                  <a:lnTo>
                    <a:pt x="184" y="382"/>
                  </a:lnTo>
                  <a:lnTo>
                    <a:pt x="186" y="382"/>
                  </a:lnTo>
                  <a:lnTo>
                    <a:pt x="188" y="384"/>
                  </a:lnTo>
                  <a:lnTo>
                    <a:pt x="188" y="388"/>
                  </a:lnTo>
                  <a:lnTo>
                    <a:pt x="188" y="390"/>
                  </a:lnTo>
                  <a:lnTo>
                    <a:pt x="188" y="391"/>
                  </a:lnTo>
                  <a:lnTo>
                    <a:pt x="190" y="393"/>
                  </a:lnTo>
                  <a:lnTo>
                    <a:pt x="191" y="395"/>
                  </a:lnTo>
                  <a:lnTo>
                    <a:pt x="193" y="395"/>
                  </a:lnTo>
                  <a:lnTo>
                    <a:pt x="195" y="395"/>
                  </a:lnTo>
                  <a:lnTo>
                    <a:pt x="199" y="395"/>
                  </a:lnTo>
                  <a:lnTo>
                    <a:pt x="201" y="395"/>
                  </a:lnTo>
                  <a:lnTo>
                    <a:pt x="205" y="395"/>
                  </a:lnTo>
                  <a:lnTo>
                    <a:pt x="205" y="397"/>
                  </a:lnTo>
                  <a:lnTo>
                    <a:pt x="209" y="399"/>
                  </a:lnTo>
                  <a:lnTo>
                    <a:pt x="211" y="399"/>
                  </a:lnTo>
                  <a:lnTo>
                    <a:pt x="214" y="399"/>
                  </a:lnTo>
                  <a:lnTo>
                    <a:pt x="216" y="401"/>
                  </a:lnTo>
                  <a:lnTo>
                    <a:pt x="220" y="401"/>
                  </a:lnTo>
                  <a:lnTo>
                    <a:pt x="222" y="401"/>
                  </a:lnTo>
                  <a:lnTo>
                    <a:pt x="226" y="401"/>
                  </a:lnTo>
                  <a:lnTo>
                    <a:pt x="230" y="399"/>
                  </a:lnTo>
                  <a:lnTo>
                    <a:pt x="232" y="399"/>
                  </a:lnTo>
                  <a:lnTo>
                    <a:pt x="236" y="399"/>
                  </a:lnTo>
                  <a:lnTo>
                    <a:pt x="239" y="399"/>
                  </a:lnTo>
                  <a:lnTo>
                    <a:pt x="241" y="399"/>
                  </a:lnTo>
                  <a:lnTo>
                    <a:pt x="243" y="397"/>
                  </a:lnTo>
                  <a:lnTo>
                    <a:pt x="245" y="397"/>
                  </a:lnTo>
                  <a:lnTo>
                    <a:pt x="249" y="397"/>
                  </a:lnTo>
                  <a:lnTo>
                    <a:pt x="251" y="395"/>
                  </a:lnTo>
                  <a:lnTo>
                    <a:pt x="253" y="395"/>
                  </a:lnTo>
                  <a:lnTo>
                    <a:pt x="253" y="39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61" y="388"/>
                  </a:lnTo>
                  <a:lnTo>
                    <a:pt x="264" y="388"/>
                  </a:lnTo>
                  <a:lnTo>
                    <a:pt x="266" y="388"/>
                  </a:lnTo>
                  <a:lnTo>
                    <a:pt x="270" y="388"/>
                  </a:lnTo>
                  <a:lnTo>
                    <a:pt x="272" y="388"/>
                  </a:lnTo>
                  <a:lnTo>
                    <a:pt x="276" y="388"/>
                  </a:lnTo>
                  <a:lnTo>
                    <a:pt x="278" y="388"/>
                  </a:lnTo>
                  <a:lnTo>
                    <a:pt x="282" y="388"/>
                  </a:lnTo>
                  <a:lnTo>
                    <a:pt x="284" y="388"/>
                  </a:lnTo>
                  <a:lnTo>
                    <a:pt x="285" y="388"/>
                  </a:lnTo>
                  <a:lnTo>
                    <a:pt x="289" y="390"/>
                  </a:lnTo>
                  <a:lnTo>
                    <a:pt x="293" y="390"/>
                  </a:lnTo>
                  <a:lnTo>
                    <a:pt x="295" y="390"/>
                  </a:lnTo>
                  <a:lnTo>
                    <a:pt x="299" y="388"/>
                  </a:lnTo>
                  <a:lnTo>
                    <a:pt x="301" y="388"/>
                  </a:lnTo>
                  <a:lnTo>
                    <a:pt x="301" y="388"/>
                  </a:lnTo>
                  <a:lnTo>
                    <a:pt x="305" y="388"/>
                  </a:lnTo>
                  <a:lnTo>
                    <a:pt x="308" y="388"/>
                  </a:lnTo>
                  <a:lnTo>
                    <a:pt x="312" y="388"/>
                  </a:lnTo>
                  <a:lnTo>
                    <a:pt x="316" y="388"/>
                  </a:lnTo>
                  <a:lnTo>
                    <a:pt x="320" y="388"/>
                  </a:lnTo>
                  <a:lnTo>
                    <a:pt x="324" y="388"/>
                  </a:lnTo>
                  <a:lnTo>
                    <a:pt x="328" y="388"/>
                  </a:lnTo>
                  <a:lnTo>
                    <a:pt x="330" y="388"/>
                  </a:lnTo>
                  <a:lnTo>
                    <a:pt x="331" y="388"/>
                  </a:lnTo>
                  <a:lnTo>
                    <a:pt x="335" y="386"/>
                  </a:lnTo>
                  <a:lnTo>
                    <a:pt x="337" y="382"/>
                  </a:lnTo>
                  <a:lnTo>
                    <a:pt x="343" y="380"/>
                  </a:lnTo>
                  <a:lnTo>
                    <a:pt x="345" y="380"/>
                  </a:lnTo>
                  <a:lnTo>
                    <a:pt x="349" y="378"/>
                  </a:lnTo>
                  <a:lnTo>
                    <a:pt x="353" y="376"/>
                  </a:lnTo>
                  <a:lnTo>
                    <a:pt x="355" y="376"/>
                  </a:lnTo>
                  <a:lnTo>
                    <a:pt x="360" y="374"/>
                  </a:lnTo>
                  <a:lnTo>
                    <a:pt x="364" y="372"/>
                  </a:lnTo>
                  <a:lnTo>
                    <a:pt x="364" y="370"/>
                  </a:lnTo>
                  <a:lnTo>
                    <a:pt x="366" y="370"/>
                  </a:lnTo>
                  <a:lnTo>
                    <a:pt x="366" y="368"/>
                  </a:lnTo>
                  <a:lnTo>
                    <a:pt x="370" y="368"/>
                  </a:lnTo>
                  <a:lnTo>
                    <a:pt x="370" y="365"/>
                  </a:lnTo>
                  <a:lnTo>
                    <a:pt x="370" y="363"/>
                  </a:lnTo>
                  <a:lnTo>
                    <a:pt x="372" y="361"/>
                  </a:lnTo>
                  <a:lnTo>
                    <a:pt x="376" y="361"/>
                  </a:lnTo>
                  <a:lnTo>
                    <a:pt x="378" y="357"/>
                  </a:lnTo>
                  <a:lnTo>
                    <a:pt x="379" y="355"/>
                  </a:lnTo>
                  <a:lnTo>
                    <a:pt x="381" y="353"/>
                  </a:lnTo>
                  <a:lnTo>
                    <a:pt x="383" y="351"/>
                  </a:lnTo>
                  <a:lnTo>
                    <a:pt x="383" y="351"/>
                  </a:lnTo>
                  <a:lnTo>
                    <a:pt x="387" y="349"/>
                  </a:lnTo>
                  <a:lnTo>
                    <a:pt x="389" y="34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5" name="Freeform 21"/>
            <p:cNvSpPr>
              <a:spLocks/>
            </p:cNvSpPr>
            <p:nvPr/>
          </p:nvSpPr>
          <p:spPr bwMode="auto">
            <a:xfrm>
              <a:off x="2409" y="2144"/>
              <a:ext cx="305" cy="353"/>
            </a:xfrm>
            <a:custGeom>
              <a:avLst/>
              <a:gdLst/>
              <a:ahLst/>
              <a:cxnLst>
                <a:cxn ang="0">
                  <a:pos x="213" y="336"/>
                </a:cxn>
                <a:cxn ang="0">
                  <a:pos x="223" y="324"/>
                </a:cxn>
                <a:cxn ang="0">
                  <a:pos x="232" y="309"/>
                </a:cxn>
                <a:cxn ang="0">
                  <a:pos x="242" y="297"/>
                </a:cxn>
                <a:cxn ang="0">
                  <a:pos x="248" y="280"/>
                </a:cxn>
                <a:cxn ang="0">
                  <a:pos x="257" y="267"/>
                </a:cxn>
                <a:cxn ang="0">
                  <a:pos x="280" y="261"/>
                </a:cxn>
                <a:cxn ang="0">
                  <a:pos x="286" y="249"/>
                </a:cxn>
                <a:cxn ang="0">
                  <a:pos x="286" y="236"/>
                </a:cxn>
                <a:cxn ang="0">
                  <a:pos x="273" y="224"/>
                </a:cxn>
                <a:cxn ang="0">
                  <a:pos x="265" y="207"/>
                </a:cxn>
                <a:cxn ang="0">
                  <a:pos x="263" y="175"/>
                </a:cxn>
                <a:cxn ang="0">
                  <a:pos x="271" y="71"/>
                </a:cxn>
                <a:cxn ang="0">
                  <a:pos x="280" y="61"/>
                </a:cxn>
                <a:cxn ang="0">
                  <a:pos x="288" y="50"/>
                </a:cxn>
                <a:cxn ang="0">
                  <a:pos x="297" y="36"/>
                </a:cxn>
                <a:cxn ang="0">
                  <a:pos x="290" y="31"/>
                </a:cxn>
                <a:cxn ang="0">
                  <a:pos x="273" y="31"/>
                </a:cxn>
                <a:cxn ang="0">
                  <a:pos x="263" y="23"/>
                </a:cxn>
                <a:cxn ang="0">
                  <a:pos x="242" y="29"/>
                </a:cxn>
                <a:cxn ang="0">
                  <a:pos x="226" y="38"/>
                </a:cxn>
                <a:cxn ang="0">
                  <a:pos x="215" y="50"/>
                </a:cxn>
                <a:cxn ang="0">
                  <a:pos x="202" y="61"/>
                </a:cxn>
                <a:cxn ang="0">
                  <a:pos x="184" y="56"/>
                </a:cxn>
                <a:cxn ang="0">
                  <a:pos x="169" y="52"/>
                </a:cxn>
                <a:cxn ang="0">
                  <a:pos x="155" y="42"/>
                </a:cxn>
                <a:cxn ang="0">
                  <a:pos x="150" y="33"/>
                </a:cxn>
                <a:cxn ang="0">
                  <a:pos x="136" y="21"/>
                </a:cxn>
                <a:cxn ang="0">
                  <a:pos x="123" y="15"/>
                </a:cxn>
                <a:cxn ang="0">
                  <a:pos x="104" y="11"/>
                </a:cxn>
                <a:cxn ang="0">
                  <a:pos x="88" y="4"/>
                </a:cxn>
                <a:cxn ang="0">
                  <a:pos x="71" y="2"/>
                </a:cxn>
                <a:cxn ang="0">
                  <a:pos x="44" y="4"/>
                </a:cxn>
                <a:cxn ang="0">
                  <a:pos x="33" y="8"/>
                </a:cxn>
                <a:cxn ang="0">
                  <a:pos x="19" y="15"/>
                </a:cxn>
                <a:cxn ang="0">
                  <a:pos x="10" y="27"/>
                </a:cxn>
                <a:cxn ang="0">
                  <a:pos x="0" y="40"/>
                </a:cxn>
                <a:cxn ang="0">
                  <a:pos x="17" y="48"/>
                </a:cxn>
                <a:cxn ang="0">
                  <a:pos x="23" y="61"/>
                </a:cxn>
                <a:cxn ang="0">
                  <a:pos x="25" y="79"/>
                </a:cxn>
                <a:cxn ang="0">
                  <a:pos x="35" y="92"/>
                </a:cxn>
                <a:cxn ang="0">
                  <a:pos x="37" y="117"/>
                </a:cxn>
                <a:cxn ang="0">
                  <a:pos x="40" y="134"/>
                </a:cxn>
                <a:cxn ang="0">
                  <a:pos x="31" y="151"/>
                </a:cxn>
                <a:cxn ang="0">
                  <a:pos x="17" y="161"/>
                </a:cxn>
                <a:cxn ang="0">
                  <a:pos x="10" y="175"/>
                </a:cxn>
                <a:cxn ang="0">
                  <a:pos x="13" y="196"/>
                </a:cxn>
                <a:cxn ang="0">
                  <a:pos x="10" y="215"/>
                </a:cxn>
                <a:cxn ang="0">
                  <a:pos x="23" y="228"/>
                </a:cxn>
                <a:cxn ang="0">
                  <a:pos x="38" y="236"/>
                </a:cxn>
                <a:cxn ang="0">
                  <a:pos x="52" y="246"/>
                </a:cxn>
                <a:cxn ang="0">
                  <a:pos x="65" y="251"/>
                </a:cxn>
                <a:cxn ang="0">
                  <a:pos x="79" y="259"/>
                </a:cxn>
                <a:cxn ang="0">
                  <a:pos x="94" y="269"/>
                </a:cxn>
                <a:cxn ang="0">
                  <a:pos x="109" y="274"/>
                </a:cxn>
                <a:cxn ang="0">
                  <a:pos x="123" y="284"/>
                </a:cxn>
                <a:cxn ang="0">
                  <a:pos x="134" y="293"/>
                </a:cxn>
                <a:cxn ang="0">
                  <a:pos x="150" y="299"/>
                </a:cxn>
                <a:cxn ang="0">
                  <a:pos x="155" y="318"/>
                </a:cxn>
                <a:cxn ang="0">
                  <a:pos x="167" y="328"/>
                </a:cxn>
                <a:cxn ang="0">
                  <a:pos x="184" y="336"/>
                </a:cxn>
                <a:cxn ang="0">
                  <a:pos x="194" y="345"/>
                </a:cxn>
                <a:cxn ang="0">
                  <a:pos x="205" y="353"/>
                </a:cxn>
              </a:cxnLst>
              <a:rect l="0" t="0" r="r" b="b"/>
              <a:pathLst>
                <a:path w="305" h="353">
                  <a:moveTo>
                    <a:pt x="207" y="351"/>
                  </a:moveTo>
                  <a:lnTo>
                    <a:pt x="209" y="347"/>
                  </a:lnTo>
                  <a:lnTo>
                    <a:pt x="211" y="341"/>
                  </a:lnTo>
                  <a:lnTo>
                    <a:pt x="213" y="341"/>
                  </a:lnTo>
                  <a:lnTo>
                    <a:pt x="213" y="340"/>
                  </a:lnTo>
                  <a:lnTo>
                    <a:pt x="213" y="336"/>
                  </a:lnTo>
                  <a:lnTo>
                    <a:pt x="215" y="334"/>
                  </a:lnTo>
                  <a:lnTo>
                    <a:pt x="215" y="330"/>
                  </a:lnTo>
                  <a:lnTo>
                    <a:pt x="217" y="328"/>
                  </a:lnTo>
                  <a:lnTo>
                    <a:pt x="219" y="324"/>
                  </a:lnTo>
                  <a:lnTo>
                    <a:pt x="221" y="324"/>
                  </a:lnTo>
                  <a:lnTo>
                    <a:pt x="223" y="324"/>
                  </a:lnTo>
                  <a:lnTo>
                    <a:pt x="225" y="320"/>
                  </a:lnTo>
                  <a:lnTo>
                    <a:pt x="226" y="318"/>
                  </a:lnTo>
                  <a:lnTo>
                    <a:pt x="228" y="317"/>
                  </a:lnTo>
                  <a:lnTo>
                    <a:pt x="230" y="315"/>
                  </a:lnTo>
                  <a:lnTo>
                    <a:pt x="230" y="313"/>
                  </a:lnTo>
                  <a:lnTo>
                    <a:pt x="232" y="309"/>
                  </a:lnTo>
                  <a:lnTo>
                    <a:pt x="234" y="307"/>
                  </a:lnTo>
                  <a:lnTo>
                    <a:pt x="236" y="305"/>
                  </a:lnTo>
                  <a:lnTo>
                    <a:pt x="236" y="301"/>
                  </a:lnTo>
                  <a:lnTo>
                    <a:pt x="236" y="301"/>
                  </a:lnTo>
                  <a:lnTo>
                    <a:pt x="238" y="297"/>
                  </a:lnTo>
                  <a:lnTo>
                    <a:pt x="242" y="297"/>
                  </a:lnTo>
                  <a:lnTo>
                    <a:pt x="244" y="295"/>
                  </a:lnTo>
                  <a:lnTo>
                    <a:pt x="246" y="293"/>
                  </a:lnTo>
                  <a:lnTo>
                    <a:pt x="246" y="290"/>
                  </a:lnTo>
                  <a:lnTo>
                    <a:pt x="246" y="286"/>
                  </a:lnTo>
                  <a:lnTo>
                    <a:pt x="246" y="282"/>
                  </a:lnTo>
                  <a:lnTo>
                    <a:pt x="248" y="280"/>
                  </a:lnTo>
                  <a:lnTo>
                    <a:pt x="248" y="278"/>
                  </a:lnTo>
                  <a:lnTo>
                    <a:pt x="249" y="274"/>
                  </a:lnTo>
                  <a:lnTo>
                    <a:pt x="251" y="272"/>
                  </a:lnTo>
                  <a:lnTo>
                    <a:pt x="253" y="270"/>
                  </a:lnTo>
                  <a:lnTo>
                    <a:pt x="255" y="269"/>
                  </a:lnTo>
                  <a:lnTo>
                    <a:pt x="257" y="267"/>
                  </a:lnTo>
                  <a:lnTo>
                    <a:pt x="259" y="263"/>
                  </a:lnTo>
                  <a:lnTo>
                    <a:pt x="265" y="263"/>
                  </a:lnTo>
                  <a:lnTo>
                    <a:pt x="273" y="263"/>
                  </a:lnTo>
                  <a:lnTo>
                    <a:pt x="274" y="263"/>
                  </a:lnTo>
                  <a:lnTo>
                    <a:pt x="278" y="263"/>
                  </a:lnTo>
                  <a:lnTo>
                    <a:pt x="280" y="261"/>
                  </a:lnTo>
                  <a:lnTo>
                    <a:pt x="282" y="259"/>
                  </a:lnTo>
                  <a:lnTo>
                    <a:pt x="282" y="255"/>
                  </a:lnTo>
                  <a:lnTo>
                    <a:pt x="284" y="253"/>
                  </a:lnTo>
                  <a:lnTo>
                    <a:pt x="284" y="253"/>
                  </a:lnTo>
                  <a:lnTo>
                    <a:pt x="284" y="249"/>
                  </a:lnTo>
                  <a:lnTo>
                    <a:pt x="286" y="249"/>
                  </a:lnTo>
                  <a:lnTo>
                    <a:pt x="288" y="247"/>
                  </a:lnTo>
                  <a:lnTo>
                    <a:pt x="288" y="244"/>
                  </a:lnTo>
                  <a:lnTo>
                    <a:pt x="288" y="242"/>
                  </a:lnTo>
                  <a:lnTo>
                    <a:pt x="290" y="240"/>
                  </a:lnTo>
                  <a:lnTo>
                    <a:pt x="290" y="236"/>
                  </a:lnTo>
                  <a:lnTo>
                    <a:pt x="286" y="236"/>
                  </a:lnTo>
                  <a:lnTo>
                    <a:pt x="282" y="232"/>
                  </a:lnTo>
                  <a:lnTo>
                    <a:pt x="280" y="230"/>
                  </a:lnTo>
                  <a:lnTo>
                    <a:pt x="278" y="228"/>
                  </a:lnTo>
                  <a:lnTo>
                    <a:pt x="276" y="226"/>
                  </a:lnTo>
                  <a:lnTo>
                    <a:pt x="274" y="224"/>
                  </a:lnTo>
                  <a:lnTo>
                    <a:pt x="273" y="224"/>
                  </a:lnTo>
                  <a:lnTo>
                    <a:pt x="273" y="221"/>
                  </a:lnTo>
                  <a:lnTo>
                    <a:pt x="269" y="219"/>
                  </a:lnTo>
                  <a:lnTo>
                    <a:pt x="267" y="217"/>
                  </a:lnTo>
                  <a:lnTo>
                    <a:pt x="267" y="211"/>
                  </a:lnTo>
                  <a:lnTo>
                    <a:pt x="265" y="209"/>
                  </a:lnTo>
                  <a:lnTo>
                    <a:pt x="265" y="207"/>
                  </a:lnTo>
                  <a:lnTo>
                    <a:pt x="263" y="203"/>
                  </a:lnTo>
                  <a:lnTo>
                    <a:pt x="263" y="201"/>
                  </a:lnTo>
                  <a:lnTo>
                    <a:pt x="263" y="198"/>
                  </a:lnTo>
                  <a:lnTo>
                    <a:pt x="263" y="194"/>
                  </a:lnTo>
                  <a:lnTo>
                    <a:pt x="263" y="184"/>
                  </a:lnTo>
                  <a:lnTo>
                    <a:pt x="263" y="175"/>
                  </a:lnTo>
                  <a:lnTo>
                    <a:pt x="265" y="157"/>
                  </a:lnTo>
                  <a:lnTo>
                    <a:pt x="265" y="140"/>
                  </a:lnTo>
                  <a:lnTo>
                    <a:pt x="265" y="79"/>
                  </a:lnTo>
                  <a:lnTo>
                    <a:pt x="267" y="75"/>
                  </a:lnTo>
                  <a:lnTo>
                    <a:pt x="269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3" y="69"/>
                  </a:lnTo>
                  <a:lnTo>
                    <a:pt x="274" y="67"/>
                  </a:lnTo>
                  <a:lnTo>
                    <a:pt x="274" y="65"/>
                  </a:lnTo>
                  <a:lnTo>
                    <a:pt x="278" y="63"/>
                  </a:lnTo>
                  <a:lnTo>
                    <a:pt x="280" y="61"/>
                  </a:lnTo>
                  <a:lnTo>
                    <a:pt x="282" y="59"/>
                  </a:lnTo>
                  <a:lnTo>
                    <a:pt x="282" y="57"/>
                  </a:lnTo>
                  <a:lnTo>
                    <a:pt x="284" y="57"/>
                  </a:lnTo>
                  <a:lnTo>
                    <a:pt x="286" y="56"/>
                  </a:lnTo>
                  <a:lnTo>
                    <a:pt x="288" y="52"/>
                  </a:lnTo>
                  <a:lnTo>
                    <a:pt x="288" y="50"/>
                  </a:lnTo>
                  <a:lnTo>
                    <a:pt x="290" y="48"/>
                  </a:lnTo>
                  <a:lnTo>
                    <a:pt x="292" y="44"/>
                  </a:lnTo>
                  <a:lnTo>
                    <a:pt x="292" y="42"/>
                  </a:lnTo>
                  <a:lnTo>
                    <a:pt x="294" y="40"/>
                  </a:lnTo>
                  <a:lnTo>
                    <a:pt x="296" y="38"/>
                  </a:lnTo>
                  <a:lnTo>
                    <a:pt x="297" y="36"/>
                  </a:lnTo>
                  <a:lnTo>
                    <a:pt x="299" y="34"/>
                  </a:lnTo>
                  <a:lnTo>
                    <a:pt x="301" y="34"/>
                  </a:lnTo>
                  <a:lnTo>
                    <a:pt x="303" y="31"/>
                  </a:lnTo>
                  <a:lnTo>
                    <a:pt x="305" y="29"/>
                  </a:lnTo>
                  <a:lnTo>
                    <a:pt x="292" y="29"/>
                  </a:lnTo>
                  <a:lnTo>
                    <a:pt x="290" y="31"/>
                  </a:lnTo>
                  <a:lnTo>
                    <a:pt x="286" y="31"/>
                  </a:lnTo>
                  <a:lnTo>
                    <a:pt x="282" y="31"/>
                  </a:lnTo>
                  <a:lnTo>
                    <a:pt x="280" y="33"/>
                  </a:lnTo>
                  <a:lnTo>
                    <a:pt x="276" y="33"/>
                  </a:lnTo>
                  <a:lnTo>
                    <a:pt x="274" y="31"/>
                  </a:lnTo>
                  <a:lnTo>
                    <a:pt x="273" y="31"/>
                  </a:lnTo>
                  <a:lnTo>
                    <a:pt x="271" y="29"/>
                  </a:lnTo>
                  <a:lnTo>
                    <a:pt x="271" y="27"/>
                  </a:lnTo>
                  <a:lnTo>
                    <a:pt x="267" y="27"/>
                  </a:lnTo>
                  <a:lnTo>
                    <a:pt x="267" y="25"/>
                  </a:lnTo>
                  <a:lnTo>
                    <a:pt x="265" y="25"/>
                  </a:lnTo>
                  <a:lnTo>
                    <a:pt x="263" y="23"/>
                  </a:lnTo>
                  <a:lnTo>
                    <a:pt x="261" y="21"/>
                  </a:lnTo>
                  <a:lnTo>
                    <a:pt x="255" y="21"/>
                  </a:lnTo>
                  <a:lnTo>
                    <a:pt x="249" y="23"/>
                  </a:lnTo>
                  <a:lnTo>
                    <a:pt x="246" y="25"/>
                  </a:lnTo>
                  <a:lnTo>
                    <a:pt x="246" y="27"/>
                  </a:lnTo>
                  <a:lnTo>
                    <a:pt x="242" y="29"/>
                  </a:lnTo>
                  <a:lnTo>
                    <a:pt x="240" y="31"/>
                  </a:lnTo>
                  <a:lnTo>
                    <a:pt x="236" y="34"/>
                  </a:lnTo>
                  <a:lnTo>
                    <a:pt x="232" y="34"/>
                  </a:lnTo>
                  <a:lnTo>
                    <a:pt x="230" y="34"/>
                  </a:lnTo>
                  <a:lnTo>
                    <a:pt x="226" y="34"/>
                  </a:lnTo>
                  <a:lnTo>
                    <a:pt x="226" y="38"/>
                  </a:lnTo>
                  <a:lnTo>
                    <a:pt x="225" y="40"/>
                  </a:lnTo>
                  <a:lnTo>
                    <a:pt x="223" y="42"/>
                  </a:lnTo>
                  <a:lnTo>
                    <a:pt x="219" y="42"/>
                  </a:lnTo>
                  <a:lnTo>
                    <a:pt x="217" y="46"/>
                  </a:lnTo>
                  <a:lnTo>
                    <a:pt x="217" y="48"/>
                  </a:lnTo>
                  <a:lnTo>
                    <a:pt x="215" y="50"/>
                  </a:lnTo>
                  <a:lnTo>
                    <a:pt x="213" y="52"/>
                  </a:lnTo>
                  <a:lnTo>
                    <a:pt x="211" y="52"/>
                  </a:lnTo>
                  <a:lnTo>
                    <a:pt x="209" y="54"/>
                  </a:lnTo>
                  <a:lnTo>
                    <a:pt x="207" y="57"/>
                  </a:lnTo>
                  <a:lnTo>
                    <a:pt x="203" y="59"/>
                  </a:lnTo>
                  <a:lnTo>
                    <a:pt x="202" y="61"/>
                  </a:lnTo>
                  <a:lnTo>
                    <a:pt x="200" y="59"/>
                  </a:lnTo>
                  <a:lnTo>
                    <a:pt x="196" y="59"/>
                  </a:lnTo>
                  <a:lnTo>
                    <a:pt x="192" y="59"/>
                  </a:lnTo>
                  <a:lnTo>
                    <a:pt x="190" y="56"/>
                  </a:lnTo>
                  <a:lnTo>
                    <a:pt x="188" y="56"/>
                  </a:lnTo>
                  <a:lnTo>
                    <a:pt x="184" y="56"/>
                  </a:lnTo>
                  <a:lnTo>
                    <a:pt x="182" y="54"/>
                  </a:lnTo>
                  <a:lnTo>
                    <a:pt x="178" y="54"/>
                  </a:lnTo>
                  <a:lnTo>
                    <a:pt x="175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7" y="50"/>
                  </a:lnTo>
                  <a:lnTo>
                    <a:pt x="163" y="50"/>
                  </a:lnTo>
                  <a:lnTo>
                    <a:pt x="161" y="48"/>
                  </a:lnTo>
                  <a:lnTo>
                    <a:pt x="159" y="48"/>
                  </a:lnTo>
                  <a:lnTo>
                    <a:pt x="157" y="46"/>
                  </a:lnTo>
                  <a:lnTo>
                    <a:pt x="155" y="42"/>
                  </a:lnTo>
                  <a:lnTo>
                    <a:pt x="152" y="42"/>
                  </a:lnTo>
                  <a:lnTo>
                    <a:pt x="155" y="40"/>
                  </a:lnTo>
                  <a:lnTo>
                    <a:pt x="154" y="38"/>
                  </a:lnTo>
                  <a:lnTo>
                    <a:pt x="154" y="36"/>
                  </a:lnTo>
                  <a:lnTo>
                    <a:pt x="152" y="34"/>
                  </a:lnTo>
                  <a:lnTo>
                    <a:pt x="150" y="33"/>
                  </a:lnTo>
                  <a:lnTo>
                    <a:pt x="148" y="29"/>
                  </a:lnTo>
                  <a:lnTo>
                    <a:pt x="146" y="27"/>
                  </a:lnTo>
                  <a:lnTo>
                    <a:pt x="142" y="25"/>
                  </a:lnTo>
                  <a:lnTo>
                    <a:pt x="140" y="25"/>
                  </a:lnTo>
                  <a:lnTo>
                    <a:pt x="138" y="21"/>
                  </a:lnTo>
                  <a:lnTo>
                    <a:pt x="136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1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23" y="15"/>
                  </a:lnTo>
                  <a:lnTo>
                    <a:pt x="119" y="15"/>
                  </a:lnTo>
                  <a:lnTo>
                    <a:pt x="115" y="13"/>
                  </a:lnTo>
                  <a:lnTo>
                    <a:pt x="111" y="13"/>
                  </a:lnTo>
                  <a:lnTo>
                    <a:pt x="108" y="13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0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3" y="4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0" y="0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7" y="8"/>
                  </a:lnTo>
                  <a:lnTo>
                    <a:pt x="35" y="8"/>
                  </a:lnTo>
                  <a:lnTo>
                    <a:pt x="33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19" y="15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2" y="25"/>
                  </a:lnTo>
                  <a:lnTo>
                    <a:pt x="10" y="27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2" y="36"/>
                  </a:lnTo>
                  <a:lnTo>
                    <a:pt x="0" y="40"/>
                  </a:lnTo>
                  <a:lnTo>
                    <a:pt x="6" y="40"/>
                  </a:lnTo>
                  <a:lnTo>
                    <a:pt x="10" y="40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6"/>
                  </a:lnTo>
                  <a:lnTo>
                    <a:pt x="17" y="48"/>
                  </a:lnTo>
                  <a:lnTo>
                    <a:pt x="21" y="50"/>
                  </a:lnTo>
                  <a:lnTo>
                    <a:pt x="23" y="52"/>
                  </a:lnTo>
                  <a:lnTo>
                    <a:pt x="25" y="52"/>
                  </a:lnTo>
                  <a:lnTo>
                    <a:pt x="23" y="56"/>
                  </a:lnTo>
                  <a:lnTo>
                    <a:pt x="23" y="59"/>
                  </a:lnTo>
                  <a:lnTo>
                    <a:pt x="23" y="61"/>
                  </a:lnTo>
                  <a:lnTo>
                    <a:pt x="21" y="65"/>
                  </a:lnTo>
                  <a:lnTo>
                    <a:pt x="21" y="69"/>
                  </a:lnTo>
                  <a:lnTo>
                    <a:pt x="21" y="73"/>
                  </a:lnTo>
                  <a:lnTo>
                    <a:pt x="23" y="77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7" y="79"/>
                  </a:lnTo>
                  <a:lnTo>
                    <a:pt x="27" y="82"/>
                  </a:lnTo>
                  <a:lnTo>
                    <a:pt x="29" y="84"/>
                  </a:lnTo>
                  <a:lnTo>
                    <a:pt x="33" y="86"/>
                  </a:lnTo>
                  <a:lnTo>
                    <a:pt x="33" y="90"/>
                  </a:lnTo>
                  <a:lnTo>
                    <a:pt x="35" y="92"/>
                  </a:lnTo>
                  <a:lnTo>
                    <a:pt x="35" y="96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5" y="109"/>
                  </a:lnTo>
                  <a:lnTo>
                    <a:pt x="35" y="115"/>
                  </a:lnTo>
                  <a:lnTo>
                    <a:pt x="37" y="117"/>
                  </a:lnTo>
                  <a:lnTo>
                    <a:pt x="37" y="121"/>
                  </a:lnTo>
                  <a:lnTo>
                    <a:pt x="38" y="123"/>
                  </a:lnTo>
                  <a:lnTo>
                    <a:pt x="38" y="127"/>
                  </a:lnTo>
                  <a:lnTo>
                    <a:pt x="40" y="128"/>
                  </a:lnTo>
                  <a:lnTo>
                    <a:pt x="42" y="130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38" y="142"/>
                  </a:lnTo>
                  <a:lnTo>
                    <a:pt x="38" y="144"/>
                  </a:lnTo>
                  <a:lnTo>
                    <a:pt x="35" y="148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3" y="157"/>
                  </a:lnTo>
                  <a:lnTo>
                    <a:pt x="19" y="157"/>
                  </a:lnTo>
                  <a:lnTo>
                    <a:pt x="19" y="159"/>
                  </a:lnTo>
                  <a:lnTo>
                    <a:pt x="17" y="161"/>
                  </a:lnTo>
                  <a:lnTo>
                    <a:pt x="15" y="161"/>
                  </a:lnTo>
                  <a:lnTo>
                    <a:pt x="13" y="163"/>
                  </a:lnTo>
                  <a:lnTo>
                    <a:pt x="12" y="165"/>
                  </a:lnTo>
                  <a:lnTo>
                    <a:pt x="12" y="169"/>
                  </a:lnTo>
                  <a:lnTo>
                    <a:pt x="12" y="175"/>
                  </a:lnTo>
                  <a:lnTo>
                    <a:pt x="10" y="175"/>
                  </a:lnTo>
                  <a:lnTo>
                    <a:pt x="10" y="180"/>
                  </a:lnTo>
                  <a:lnTo>
                    <a:pt x="10" y="186"/>
                  </a:lnTo>
                  <a:lnTo>
                    <a:pt x="12" y="188"/>
                  </a:lnTo>
                  <a:lnTo>
                    <a:pt x="12" y="190"/>
                  </a:lnTo>
                  <a:lnTo>
                    <a:pt x="12" y="192"/>
                  </a:lnTo>
                  <a:lnTo>
                    <a:pt x="13" y="196"/>
                  </a:lnTo>
                  <a:lnTo>
                    <a:pt x="13" y="199"/>
                  </a:lnTo>
                  <a:lnTo>
                    <a:pt x="13" y="201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1"/>
                  </a:lnTo>
                  <a:lnTo>
                    <a:pt x="10" y="215"/>
                  </a:lnTo>
                  <a:lnTo>
                    <a:pt x="12" y="215"/>
                  </a:lnTo>
                  <a:lnTo>
                    <a:pt x="13" y="219"/>
                  </a:lnTo>
                  <a:lnTo>
                    <a:pt x="17" y="219"/>
                  </a:lnTo>
                  <a:lnTo>
                    <a:pt x="21" y="222"/>
                  </a:lnTo>
                  <a:lnTo>
                    <a:pt x="23" y="224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9" y="230"/>
                  </a:lnTo>
                  <a:lnTo>
                    <a:pt x="31" y="230"/>
                  </a:lnTo>
                  <a:lnTo>
                    <a:pt x="35" y="234"/>
                  </a:lnTo>
                  <a:lnTo>
                    <a:pt x="37" y="236"/>
                  </a:lnTo>
                  <a:lnTo>
                    <a:pt x="38" y="236"/>
                  </a:lnTo>
                  <a:lnTo>
                    <a:pt x="40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4" y="247"/>
                  </a:lnTo>
                  <a:lnTo>
                    <a:pt x="60" y="247"/>
                  </a:lnTo>
                  <a:lnTo>
                    <a:pt x="61" y="249"/>
                  </a:lnTo>
                  <a:lnTo>
                    <a:pt x="63" y="249"/>
                  </a:lnTo>
                  <a:lnTo>
                    <a:pt x="65" y="251"/>
                  </a:lnTo>
                  <a:lnTo>
                    <a:pt x="69" y="251"/>
                  </a:lnTo>
                  <a:lnTo>
                    <a:pt x="69" y="253"/>
                  </a:lnTo>
                  <a:lnTo>
                    <a:pt x="71" y="253"/>
                  </a:lnTo>
                  <a:lnTo>
                    <a:pt x="73" y="255"/>
                  </a:lnTo>
                  <a:lnTo>
                    <a:pt x="77" y="255"/>
                  </a:lnTo>
                  <a:lnTo>
                    <a:pt x="79" y="259"/>
                  </a:lnTo>
                  <a:lnTo>
                    <a:pt x="81" y="263"/>
                  </a:lnTo>
                  <a:lnTo>
                    <a:pt x="84" y="263"/>
                  </a:lnTo>
                  <a:lnTo>
                    <a:pt x="86" y="267"/>
                  </a:lnTo>
                  <a:lnTo>
                    <a:pt x="86" y="267"/>
                  </a:lnTo>
                  <a:lnTo>
                    <a:pt x="90" y="269"/>
                  </a:lnTo>
                  <a:lnTo>
                    <a:pt x="94" y="269"/>
                  </a:lnTo>
                  <a:lnTo>
                    <a:pt x="94" y="270"/>
                  </a:lnTo>
                  <a:lnTo>
                    <a:pt x="96" y="272"/>
                  </a:lnTo>
                  <a:lnTo>
                    <a:pt x="98" y="272"/>
                  </a:lnTo>
                  <a:lnTo>
                    <a:pt x="102" y="272"/>
                  </a:lnTo>
                  <a:lnTo>
                    <a:pt x="104" y="274"/>
                  </a:lnTo>
                  <a:lnTo>
                    <a:pt x="109" y="274"/>
                  </a:lnTo>
                  <a:lnTo>
                    <a:pt x="115" y="274"/>
                  </a:lnTo>
                  <a:lnTo>
                    <a:pt x="115" y="278"/>
                  </a:lnTo>
                  <a:lnTo>
                    <a:pt x="119" y="280"/>
                  </a:lnTo>
                  <a:lnTo>
                    <a:pt x="119" y="280"/>
                  </a:lnTo>
                  <a:lnTo>
                    <a:pt x="121" y="282"/>
                  </a:lnTo>
                  <a:lnTo>
                    <a:pt x="123" y="284"/>
                  </a:lnTo>
                  <a:lnTo>
                    <a:pt x="125" y="284"/>
                  </a:lnTo>
                  <a:lnTo>
                    <a:pt x="127" y="286"/>
                  </a:lnTo>
                  <a:lnTo>
                    <a:pt x="131" y="288"/>
                  </a:lnTo>
                  <a:lnTo>
                    <a:pt x="131" y="290"/>
                  </a:lnTo>
                  <a:lnTo>
                    <a:pt x="132" y="290"/>
                  </a:lnTo>
                  <a:lnTo>
                    <a:pt x="134" y="293"/>
                  </a:lnTo>
                  <a:lnTo>
                    <a:pt x="136" y="293"/>
                  </a:lnTo>
                  <a:lnTo>
                    <a:pt x="140" y="293"/>
                  </a:lnTo>
                  <a:lnTo>
                    <a:pt x="140" y="295"/>
                  </a:lnTo>
                  <a:lnTo>
                    <a:pt x="142" y="297"/>
                  </a:lnTo>
                  <a:lnTo>
                    <a:pt x="148" y="297"/>
                  </a:lnTo>
                  <a:lnTo>
                    <a:pt x="150" y="299"/>
                  </a:lnTo>
                  <a:lnTo>
                    <a:pt x="152" y="299"/>
                  </a:lnTo>
                  <a:lnTo>
                    <a:pt x="154" y="301"/>
                  </a:lnTo>
                  <a:lnTo>
                    <a:pt x="154" y="307"/>
                  </a:lnTo>
                  <a:lnTo>
                    <a:pt x="154" y="315"/>
                  </a:lnTo>
                  <a:lnTo>
                    <a:pt x="154" y="317"/>
                  </a:lnTo>
                  <a:lnTo>
                    <a:pt x="155" y="318"/>
                  </a:lnTo>
                  <a:lnTo>
                    <a:pt x="155" y="320"/>
                  </a:lnTo>
                  <a:lnTo>
                    <a:pt x="157" y="324"/>
                  </a:lnTo>
                  <a:lnTo>
                    <a:pt x="159" y="324"/>
                  </a:lnTo>
                  <a:lnTo>
                    <a:pt x="163" y="324"/>
                  </a:lnTo>
                  <a:lnTo>
                    <a:pt x="165" y="328"/>
                  </a:lnTo>
                  <a:lnTo>
                    <a:pt x="167" y="328"/>
                  </a:lnTo>
                  <a:lnTo>
                    <a:pt x="169" y="330"/>
                  </a:lnTo>
                  <a:lnTo>
                    <a:pt x="169" y="332"/>
                  </a:lnTo>
                  <a:lnTo>
                    <a:pt x="173" y="332"/>
                  </a:lnTo>
                  <a:lnTo>
                    <a:pt x="175" y="334"/>
                  </a:lnTo>
                  <a:lnTo>
                    <a:pt x="177" y="336"/>
                  </a:lnTo>
                  <a:lnTo>
                    <a:pt x="184" y="336"/>
                  </a:lnTo>
                  <a:lnTo>
                    <a:pt x="184" y="338"/>
                  </a:lnTo>
                  <a:lnTo>
                    <a:pt x="188" y="338"/>
                  </a:lnTo>
                  <a:lnTo>
                    <a:pt x="190" y="338"/>
                  </a:lnTo>
                  <a:lnTo>
                    <a:pt x="192" y="340"/>
                  </a:lnTo>
                  <a:lnTo>
                    <a:pt x="192" y="341"/>
                  </a:lnTo>
                  <a:lnTo>
                    <a:pt x="194" y="345"/>
                  </a:lnTo>
                  <a:lnTo>
                    <a:pt x="198" y="345"/>
                  </a:lnTo>
                  <a:lnTo>
                    <a:pt x="200" y="345"/>
                  </a:lnTo>
                  <a:lnTo>
                    <a:pt x="202" y="349"/>
                  </a:lnTo>
                  <a:lnTo>
                    <a:pt x="202" y="351"/>
                  </a:lnTo>
                  <a:lnTo>
                    <a:pt x="203" y="351"/>
                  </a:lnTo>
                  <a:lnTo>
                    <a:pt x="205" y="353"/>
                  </a:lnTo>
                  <a:lnTo>
                    <a:pt x="207" y="3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6" name="Freeform 22"/>
            <p:cNvSpPr>
              <a:spLocks/>
            </p:cNvSpPr>
            <p:nvPr/>
          </p:nvSpPr>
          <p:spPr bwMode="auto">
            <a:xfrm>
              <a:off x="2409" y="2144"/>
              <a:ext cx="305" cy="353"/>
            </a:xfrm>
            <a:custGeom>
              <a:avLst/>
              <a:gdLst/>
              <a:ahLst/>
              <a:cxnLst>
                <a:cxn ang="0">
                  <a:pos x="213" y="336"/>
                </a:cxn>
                <a:cxn ang="0">
                  <a:pos x="223" y="324"/>
                </a:cxn>
                <a:cxn ang="0">
                  <a:pos x="232" y="309"/>
                </a:cxn>
                <a:cxn ang="0">
                  <a:pos x="242" y="297"/>
                </a:cxn>
                <a:cxn ang="0">
                  <a:pos x="248" y="280"/>
                </a:cxn>
                <a:cxn ang="0">
                  <a:pos x="257" y="267"/>
                </a:cxn>
                <a:cxn ang="0">
                  <a:pos x="280" y="261"/>
                </a:cxn>
                <a:cxn ang="0">
                  <a:pos x="286" y="249"/>
                </a:cxn>
                <a:cxn ang="0">
                  <a:pos x="286" y="236"/>
                </a:cxn>
                <a:cxn ang="0">
                  <a:pos x="273" y="224"/>
                </a:cxn>
                <a:cxn ang="0">
                  <a:pos x="265" y="207"/>
                </a:cxn>
                <a:cxn ang="0">
                  <a:pos x="263" y="175"/>
                </a:cxn>
                <a:cxn ang="0">
                  <a:pos x="271" y="71"/>
                </a:cxn>
                <a:cxn ang="0">
                  <a:pos x="280" y="61"/>
                </a:cxn>
                <a:cxn ang="0">
                  <a:pos x="288" y="50"/>
                </a:cxn>
                <a:cxn ang="0">
                  <a:pos x="297" y="36"/>
                </a:cxn>
                <a:cxn ang="0">
                  <a:pos x="290" y="31"/>
                </a:cxn>
                <a:cxn ang="0">
                  <a:pos x="273" y="31"/>
                </a:cxn>
                <a:cxn ang="0">
                  <a:pos x="263" y="23"/>
                </a:cxn>
                <a:cxn ang="0">
                  <a:pos x="242" y="29"/>
                </a:cxn>
                <a:cxn ang="0">
                  <a:pos x="226" y="38"/>
                </a:cxn>
                <a:cxn ang="0">
                  <a:pos x="215" y="50"/>
                </a:cxn>
                <a:cxn ang="0">
                  <a:pos x="202" y="61"/>
                </a:cxn>
                <a:cxn ang="0">
                  <a:pos x="184" y="56"/>
                </a:cxn>
                <a:cxn ang="0">
                  <a:pos x="169" y="52"/>
                </a:cxn>
                <a:cxn ang="0">
                  <a:pos x="155" y="42"/>
                </a:cxn>
                <a:cxn ang="0">
                  <a:pos x="150" y="33"/>
                </a:cxn>
                <a:cxn ang="0">
                  <a:pos x="136" y="21"/>
                </a:cxn>
                <a:cxn ang="0">
                  <a:pos x="123" y="15"/>
                </a:cxn>
                <a:cxn ang="0">
                  <a:pos x="104" y="11"/>
                </a:cxn>
                <a:cxn ang="0">
                  <a:pos x="88" y="4"/>
                </a:cxn>
                <a:cxn ang="0">
                  <a:pos x="71" y="2"/>
                </a:cxn>
                <a:cxn ang="0">
                  <a:pos x="44" y="4"/>
                </a:cxn>
                <a:cxn ang="0">
                  <a:pos x="33" y="8"/>
                </a:cxn>
                <a:cxn ang="0">
                  <a:pos x="19" y="15"/>
                </a:cxn>
                <a:cxn ang="0">
                  <a:pos x="10" y="27"/>
                </a:cxn>
                <a:cxn ang="0">
                  <a:pos x="0" y="40"/>
                </a:cxn>
                <a:cxn ang="0">
                  <a:pos x="17" y="48"/>
                </a:cxn>
                <a:cxn ang="0">
                  <a:pos x="23" y="61"/>
                </a:cxn>
                <a:cxn ang="0">
                  <a:pos x="25" y="79"/>
                </a:cxn>
                <a:cxn ang="0">
                  <a:pos x="35" y="92"/>
                </a:cxn>
                <a:cxn ang="0">
                  <a:pos x="37" y="117"/>
                </a:cxn>
                <a:cxn ang="0">
                  <a:pos x="40" y="134"/>
                </a:cxn>
                <a:cxn ang="0">
                  <a:pos x="31" y="151"/>
                </a:cxn>
                <a:cxn ang="0">
                  <a:pos x="17" y="161"/>
                </a:cxn>
                <a:cxn ang="0">
                  <a:pos x="10" y="175"/>
                </a:cxn>
                <a:cxn ang="0">
                  <a:pos x="13" y="196"/>
                </a:cxn>
                <a:cxn ang="0">
                  <a:pos x="10" y="215"/>
                </a:cxn>
                <a:cxn ang="0">
                  <a:pos x="23" y="228"/>
                </a:cxn>
                <a:cxn ang="0">
                  <a:pos x="38" y="236"/>
                </a:cxn>
                <a:cxn ang="0">
                  <a:pos x="52" y="246"/>
                </a:cxn>
                <a:cxn ang="0">
                  <a:pos x="65" y="251"/>
                </a:cxn>
                <a:cxn ang="0">
                  <a:pos x="79" y="259"/>
                </a:cxn>
                <a:cxn ang="0">
                  <a:pos x="94" y="269"/>
                </a:cxn>
                <a:cxn ang="0">
                  <a:pos x="109" y="274"/>
                </a:cxn>
                <a:cxn ang="0">
                  <a:pos x="123" y="284"/>
                </a:cxn>
                <a:cxn ang="0">
                  <a:pos x="134" y="293"/>
                </a:cxn>
                <a:cxn ang="0">
                  <a:pos x="150" y="299"/>
                </a:cxn>
                <a:cxn ang="0">
                  <a:pos x="155" y="318"/>
                </a:cxn>
                <a:cxn ang="0">
                  <a:pos x="167" y="328"/>
                </a:cxn>
                <a:cxn ang="0">
                  <a:pos x="184" y="336"/>
                </a:cxn>
                <a:cxn ang="0">
                  <a:pos x="194" y="345"/>
                </a:cxn>
                <a:cxn ang="0">
                  <a:pos x="205" y="353"/>
                </a:cxn>
              </a:cxnLst>
              <a:rect l="0" t="0" r="r" b="b"/>
              <a:pathLst>
                <a:path w="305" h="353">
                  <a:moveTo>
                    <a:pt x="207" y="351"/>
                  </a:moveTo>
                  <a:lnTo>
                    <a:pt x="209" y="347"/>
                  </a:lnTo>
                  <a:lnTo>
                    <a:pt x="211" y="341"/>
                  </a:lnTo>
                  <a:lnTo>
                    <a:pt x="213" y="341"/>
                  </a:lnTo>
                  <a:lnTo>
                    <a:pt x="213" y="340"/>
                  </a:lnTo>
                  <a:lnTo>
                    <a:pt x="213" y="336"/>
                  </a:lnTo>
                  <a:lnTo>
                    <a:pt x="215" y="334"/>
                  </a:lnTo>
                  <a:lnTo>
                    <a:pt x="215" y="330"/>
                  </a:lnTo>
                  <a:lnTo>
                    <a:pt x="217" y="328"/>
                  </a:lnTo>
                  <a:lnTo>
                    <a:pt x="219" y="324"/>
                  </a:lnTo>
                  <a:lnTo>
                    <a:pt x="221" y="324"/>
                  </a:lnTo>
                  <a:lnTo>
                    <a:pt x="223" y="324"/>
                  </a:lnTo>
                  <a:lnTo>
                    <a:pt x="225" y="320"/>
                  </a:lnTo>
                  <a:lnTo>
                    <a:pt x="226" y="318"/>
                  </a:lnTo>
                  <a:lnTo>
                    <a:pt x="228" y="317"/>
                  </a:lnTo>
                  <a:lnTo>
                    <a:pt x="230" y="315"/>
                  </a:lnTo>
                  <a:lnTo>
                    <a:pt x="230" y="313"/>
                  </a:lnTo>
                  <a:lnTo>
                    <a:pt x="232" y="309"/>
                  </a:lnTo>
                  <a:lnTo>
                    <a:pt x="234" y="307"/>
                  </a:lnTo>
                  <a:lnTo>
                    <a:pt x="236" y="305"/>
                  </a:lnTo>
                  <a:lnTo>
                    <a:pt x="236" y="301"/>
                  </a:lnTo>
                  <a:lnTo>
                    <a:pt x="236" y="301"/>
                  </a:lnTo>
                  <a:lnTo>
                    <a:pt x="238" y="297"/>
                  </a:lnTo>
                  <a:lnTo>
                    <a:pt x="242" y="297"/>
                  </a:lnTo>
                  <a:lnTo>
                    <a:pt x="244" y="295"/>
                  </a:lnTo>
                  <a:lnTo>
                    <a:pt x="246" y="293"/>
                  </a:lnTo>
                  <a:lnTo>
                    <a:pt x="246" y="290"/>
                  </a:lnTo>
                  <a:lnTo>
                    <a:pt x="246" y="286"/>
                  </a:lnTo>
                  <a:lnTo>
                    <a:pt x="246" y="282"/>
                  </a:lnTo>
                  <a:lnTo>
                    <a:pt x="248" y="280"/>
                  </a:lnTo>
                  <a:lnTo>
                    <a:pt x="248" y="278"/>
                  </a:lnTo>
                  <a:lnTo>
                    <a:pt x="249" y="274"/>
                  </a:lnTo>
                  <a:lnTo>
                    <a:pt x="251" y="272"/>
                  </a:lnTo>
                  <a:lnTo>
                    <a:pt x="253" y="270"/>
                  </a:lnTo>
                  <a:lnTo>
                    <a:pt x="255" y="269"/>
                  </a:lnTo>
                  <a:lnTo>
                    <a:pt x="257" y="267"/>
                  </a:lnTo>
                  <a:lnTo>
                    <a:pt x="259" y="263"/>
                  </a:lnTo>
                  <a:lnTo>
                    <a:pt x="265" y="263"/>
                  </a:lnTo>
                  <a:lnTo>
                    <a:pt x="273" y="263"/>
                  </a:lnTo>
                  <a:lnTo>
                    <a:pt x="274" y="263"/>
                  </a:lnTo>
                  <a:lnTo>
                    <a:pt x="278" y="263"/>
                  </a:lnTo>
                  <a:lnTo>
                    <a:pt x="280" y="261"/>
                  </a:lnTo>
                  <a:lnTo>
                    <a:pt x="282" y="259"/>
                  </a:lnTo>
                  <a:lnTo>
                    <a:pt x="282" y="255"/>
                  </a:lnTo>
                  <a:lnTo>
                    <a:pt x="284" y="253"/>
                  </a:lnTo>
                  <a:lnTo>
                    <a:pt x="284" y="253"/>
                  </a:lnTo>
                  <a:lnTo>
                    <a:pt x="284" y="249"/>
                  </a:lnTo>
                  <a:lnTo>
                    <a:pt x="286" y="249"/>
                  </a:lnTo>
                  <a:lnTo>
                    <a:pt x="288" y="247"/>
                  </a:lnTo>
                  <a:lnTo>
                    <a:pt x="288" y="244"/>
                  </a:lnTo>
                  <a:lnTo>
                    <a:pt x="288" y="242"/>
                  </a:lnTo>
                  <a:lnTo>
                    <a:pt x="290" y="240"/>
                  </a:lnTo>
                  <a:lnTo>
                    <a:pt x="290" y="236"/>
                  </a:lnTo>
                  <a:lnTo>
                    <a:pt x="286" y="236"/>
                  </a:lnTo>
                  <a:lnTo>
                    <a:pt x="282" y="232"/>
                  </a:lnTo>
                  <a:lnTo>
                    <a:pt x="280" y="230"/>
                  </a:lnTo>
                  <a:lnTo>
                    <a:pt x="278" y="228"/>
                  </a:lnTo>
                  <a:lnTo>
                    <a:pt x="276" y="226"/>
                  </a:lnTo>
                  <a:lnTo>
                    <a:pt x="274" y="224"/>
                  </a:lnTo>
                  <a:lnTo>
                    <a:pt x="273" y="224"/>
                  </a:lnTo>
                  <a:lnTo>
                    <a:pt x="273" y="221"/>
                  </a:lnTo>
                  <a:lnTo>
                    <a:pt x="269" y="219"/>
                  </a:lnTo>
                  <a:lnTo>
                    <a:pt x="267" y="217"/>
                  </a:lnTo>
                  <a:lnTo>
                    <a:pt x="267" y="211"/>
                  </a:lnTo>
                  <a:lnTo>
                    <a:pt x="265" y="209"/>
                  </a:lnTo>
                  <a:lnTo>
                    <a:pt x="265" y="207"/>
                  </a:lnTo>
                  <a:lnTo>
                    <a:pt x="263" y="203"/>
                  </a:lnTo>
                  <a:lnTo>
                    <a:pt x="263" y="201"/>
                  </a:lnTo>
                  <a:lnTo>
                    <a:pt x="263" y="198"/>
                  </a:lnTo>
                  <a:lnTo>
                    <a:pt x="263" y="194"/>
                  </a:lnTo>
                  <a:lnTo>
                    <a:pt x="263" y="184"/>
                  </a:lnTo>
                  <a:lnTo>
                    <a:pt x="263" y="175"/>
                  </a:lnTo>
                  <a:lnTo>
                    <a:pt x="265" y="157"/>
                  </a:lnTo>
                  <a:lnTo>
                    <a:pt x="265" y="140"/>
                  </a:lnTo>
                  <a:lnTo>
                    <a:pt x="265" y="79"/>
                  </a:lnTo>
                  <a:lnTo>
                    <a:pt x="267" y="75"/>
                  </a:lnTo>
                  <a:lnTo>
                    <a:pt x="269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3" y="69"/>
                  </a:lnTo>
                  <a:lnTo>
                    <a:pt x="274" y="67"/>
                  </a:lnTo>
                  <a:lnTo>
                    <a:pt x="274" y="65"/>
                  </a:lnTo>
                  <a:lnTo>
                    <a:pt x="278" y="63"/>
                  </a:lnTo>
                  <a:lnTo>
                    <a:pt x="280" y="61"/>
                  </a:lnTo>
                  <a:lnTo>
                    <a:pt x="282" y="59"/>
                  </a:lnTo>
                  <a:lnTo>
                    <a:pt x="282" y="57"/>
                  </a:lnTo>
                  <a:lnTo>
                    <a:pt x="284" y="57"/>
                  </a:lnTo>
                  <a:lnTo>
                    <a:pt x="286" y="56"/>
                  </a:lnTo>
                  <a:lnTo>
                    <a:pt x="288" y="52"/>
                  </a:lnTo>
                  <a:lnTo>
                    <a:pt x="288" y="50"/>
                  </a:lnTo>
                  <a:lnTo>
                    <a:pt x="290" y="48"/>
                  </a:lnTo>
                  <a:lnTo>
                    <a:pt x="292" y="44"/>
                  </a:lnTo>
                  <a:lnTo>
                    <a:pt x="292" y="42"/>
                  </a:lnTo>
                  <a:lnTo>
                    <a:pt x="294" y="40"/>
                  </a:lnTo>
                  <a:lnTo>
                    <a:pt x="296" y="38"/>
                  </a:lnTo>
                  <a:lnTo>
                    <a:pt x="297" y="36"/>
                  </a:lnTo>
                  <a:lnTo>
                    <a:pt x="299" y="34"/>
                  </a:lnTo>
                  <a:lnTo>
                    <a:pt x="301" y="34"/>
                  </a:lnTo>
                  <a:lnTo>
                    <a:pt x="303" y="31"/>
                  </a:lnTo>
                  <a:lnTo>
                    <a:pt x="305" y="29"/>
                  </a:lnTo>
                  <a:lnTo>
                    <a:pt x="292" y="29"/>
                  </a:lnTo>
                  <a:lnTo>
                    <a:pt x="290" y="31"/>
                  </a:lnTo>
                  <a:lnTo>
                    <a:pt x="286" y="31"/>
                  </a:lnTo>
                  <a:lnTo>
                    <a:pt x="282" y="31"/>
                  </a:lnTo>
                  <a:lnTo>
                    <a:pt x="280" y="33"/>
                  </a:lnTo>
                  <a:lnTo>
                    <a:pt x="276" y="33"/>
                  </a:lnTo>
                  <a:lnTo>
                    <a:pt x="274" y="31"/>
                  </a:lnTo>
                  <a:lnTo>
                    <a:pt x="273" y="31"/>
                  </a:lnTo>
                  <a:lnTo>
                    <a:pt x="271" y="29"/>
                  </a:lnTo>
                  <a:lnTo>
                    <a:pt x="271" y="27"/>
                  </a:lnTo>
                  <a:lnTo>
                    <a:pt x="267" y="27"/>
                  </a:lnTo>
                  <a:lnTo>
                    <a:pt x="267" y="25"/>
                  </a:lnTo>
                  <a:lnTo>
                    <a:pt x="265" y="25"/>
                  </a:lnTo>
                  <a:lnTo>
                    <a:pt x="263" y="23"/>
                  </a:lnTo>
                  <a:lnTo>
                    <a:pt x="261" y="21"/>
                  </a:lnTo>
                  <a:lnTo>
                    <a:pt x="255" y="21"/>
                  </a:lnTo>
                  <a:lnTo>
                    <a:pt x="249" y="23"/>
                  </a:lnTo>
                  <a:lnTo>
                    <a:pt x="246" y="25"/>
                  </a:lnTo>
                  <a:lnTo>
                    <a:pt x="246" y="27"/>
                  </a:lnTo>
                  <a:lnTo>
                    <a:pt x="242" y="29"/>
                  </a:lnTo>
                  <a:lnTo>
                    <a:pt x="240" y="31"/>
                  </a:lnTo>
                  <a:lnTo>
                    <a:pt x="236" y="34"/>
                  </a:lnTo>
                  <a:lnTo>
                    <a:pt x="232" y="34"/>
                  </a:lnTo>
                  <a:lnTo>
                    <a:pt x="230" y="34"/>
                  </a:lnTo>
                  <a:lnTo>
                    <a:pt x="226" y="34"/>
                  </a:lnTo>
                  <a:lnTo>
                    <a:pt x="226" y="38"/>
                  </a:lnTo>
                  <a:lnTo>
                    <a:pt x="225" y="40"/>
                  </a:lnTo>
                  <a:lnTo>
                    <a:pt x="223" y="42"/>
                  </a:lnTo>
                  <a:lnTo>
                    <a:pt x="219" y="42"/>
                  </a:lnTo>
                  <a:lnTo>
                    <a:pt x="217" y="46"/>
                  </a:lnTo>
                  <a:lnTo>
                    <a:pt x="217" y="48"/>
                  </a:lnTo>
                  <a:lnTo>
                    <a:pt x="215" y="50"/>
                  </a:lnTo>
                  <a:lnTo>
                    <a:pt x="213" y="52"/>
                  </a:lnTo>
                  <a:lnTo>
                    <a:pt x="211" y="52"/>
                  </a:lnTo>
                  <a:lnTo>
                    <a:pt x="209" y="54"/>
                  </a:lnTo>
                  <a:lnTo>
                    <a:pt x="207" y="57"/>
                  </a:lnTo>
                  <a:lnTo>
                    <a:pt x="203" y="59"/>
                  </a:lnTo>
                  <a:lnTo>
                    <a:pt x="202" y="61"/>
                  </a:lnTo>
                  <a:lnTo>
                    <a:pt x="200" y="59"/>
                  </a:lnTo>
                  <a:lnTo>
                    <a:pt x="196" y="59"/>
                  </a:lnTo>
                  <a:lnTo>
                    <a:pt x="192" y="59"/>
                  </a:lnTo>
                  <a:lnTo>
                    <a:pt x="190" y="56"/>
                  </a:lnTo>
                  <a:lnTo>
                    <a:pt x="188" y="56"/>
                  </a:lnTo>
                  <a:lnTo>
                    <a:pt x="184" y="56"/>
                  </a:lnTo>
                  <a:lnTo>
                    <a:pt x="182" y="54"/>
                  </a:lnTo>
                  <a:lnTo>
                    <a:pt x="178" y="54"/>
                  </a:lnTo>
                  <a:lnTo>
                    <a:pt x="175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7" y="50"/>
                  </a:lnTo>
                  <a:lnTo>
                    <a:pt x="163" y="50"/>
                  </a:lnTo>
                  <a:lnTo>
                    <a:pt x="161" y="48"/>
                  </a:lnTo>
                  <a:lnTo>
                    <a:pt x="159" y="48"/>
                  </a:lnTo>
                  <a:lnTo>
                    <a:pt x="157" y="46"/>
                  </a:lnTo>
                  <a:lnTo>
                    <a:pt x="155" y="42"/>
                  </a:lnTo>
                  <a:lnTo>
                    <a:pt x="152" y="42"/>
                  </a:lnTo>
                  <a:lnTo>
                    <a:pt x="155" y="40"/>
                  </a:lnTo>
                  <a:lnTo>
                    <a:pt x="154" y="38"/>
                  </a:lnTo>
                  <a:lnTo>
                    <a:pt x="154" y="36"/>
                  </a:lnTo>
                  <a:lnTo>
                    <a:pt x="152" y="34"/>
                  </a:lnTo>
                  <a:lnTo>
                    <a:pt x="150" y="33"/>
                  </a:lnTo>
                  <a:lnTo>
                    <a:pt x="148" y="29"/>
                  </a:lnTo>
                  <a:lnTo>
                    <a:pt x="146" y="27"/>
                  </a:lnTo>
                  <a:lnTo>
                    <a:pt x="142" y="25"/>
                  </a:lnTo>
                  <a:lnTo>
                    <a:pt x="140" y="25"/>
                  </a:lnTo>
                  <a:lnTo>
                    <a:pt x="138" y="21"/>
                  </a:lnTo>
                  <a:lnTo>
                    <a:pt x="136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1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23" y="15"/>
                  </a:lnTo>
                  <a:lnTo>
                    <a:pt x="119" y="15"/>
                  </a:lnTo>
                  <a:lnTo>
                    <a:pt x="115" y="13"/>
                  </a:lnTo>
                  <a:lnTo>
                    <a:pt x="111" y="13"/>
                  </a:lnTo>
                  <a:lnTo>
                    <a:pt x="108" y="13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0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3" y="4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0" y="0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7" y="8"/>
                  </a:lnTo>
                  <a:lnTo>
                    <a:pt x="35" y="8"/>
                  </a:lnTo>
                  <a:lnTo>
                    <a:pt x="33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19" y="15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2" y="25"/>
                  </a:lnTo>
                  <a:lnTo>
                    <a:pt x="10" y="27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2" y="36"/>
                  </a:lnTo>
                  <a:lnTo>
                    <a:pt x="0" y="40"/>
                  </a:lnTo>
                  <a:lnTo>
                    <a:pt x="6" y="40"/>
                  </a:lnTo>
                  <a:lnTo>
                    <a:pt x="10" y="40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6"/>
                  </a:lnTo>
                  <a:lnTo>
                    <a:pt x="17" y="48"/>
                  </a:lnTo>
                  <a:lnTo>
                    <a:pt x="21" y="50"/>
                  </a:lnTo>
                  <a:lnTo>
                    <a:pt x="23" y="52"/>
                  </a:lnTo>
                  <a:lnTo>
                    <a:pt x="25" y="52"/>
                  </a:lnTo>
                  <a:lnTo>
                    <a:pt x="23" y="56"/>
                  </a:lnTo>
                  <a:lnTo>
                    <a:pt x="23" y="59"/>
                  </a:lnTo>
                  <a:lnTo>
                    <a:pt x="23" y="61"/>
                  </a:lnTo>
                  <a:lnTo>
                    <a:pt x="21" y="65"/>
                  </a:lnTo>
                  <a:lnTo>
                    <a:pt x="21" y="69"/>
                  </a:lnTo>
                  <a:lnTo>
                    <a:pt x="21" y="73"/>
                  </a:lnTo>
                  <a:lnTo>
                    <a:pt x="23" y="77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7" y="79"/>
                  </a:lnTo>
                  <a:lnTo>
                    <a:pt x="27" y="82"/>
                  </a:lnTo>
                  <a:lnTo>
                    <a:pt x="29" y="84"/>
                  </a:lnTo>
                  <a:lnTo>
                    <a:pt x="33" y="86"/>
                  </a:lnTo>
                  <a:lnTo>
                    <a:pt x="33" y="90"/>
                  </a:lnTo>
                  <a:lnTo>
                    <a:pt x="35" y="92"/>
                  </a:lnTo>
                  <a:lnTo>
                    <a:pt x="35" y="96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5" y="109"/>
                  </a:lnTo>
                  <a:lnTo>
                    <a:pt x="35" y="115"/>
                  </a:lnTo>
                  <a:lnTo>
                    <a:pt x="37" y="117"/>
                  </a:lnTo>
                  <a:lnTo>
                    <a:pt x="37" y="121"/>
                  </a:lnTo>
                  <a:lnTo>
                    <a:pt x="38" y="123"/>
                  </a:lnTo>
                  <a:lnTo>
                    <a:pt x="38" y="127"/>
                  </a:lnTo>
                  <a:lnTo>
                    <a:pt x="40" y="128"/>
                  </a:lnTo>
                  <a:lnTo>
                    <a:pt x="42" y="130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38" y="142"/>
                  </a:lnTo>
                  <a:lnTo>
                    <a:pt x="38" y="144"/>
                  </a:lnTo>
                  <a:lnTo>
                    <a:pt x="35" y="148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3" y="157"/>
                  </a:lnTo>
                  <a:lnTo>
                    <a:pt x="19" y="157"/>
                  </a:lnTo>
                  <a:lnTo>
                    <a:pt x="19" y="159"/>
                  </a:lnTo>
                  <a:lnTo>
                    <a:pt x="17" y="161"/>
                  </a:lnTo>
                  <a:lnTo>
                    <a:pt x="15" y="161"/>
                  </a:lnTo>
                  <a:lnTo>
                    <a:pt x="13" y="163"/>
                  </a:lnTo>
                  <a:lnTo>
                    <a:pt x="12" y="165"/>
                  </a:lnTo>
                  <a:lnTo>
                    <a:pt x="12" y="169"/>
                  </a:lnTo>
                  <a:lnTo>
                    <a:pt x="12" y="175"/>
                  </a:lnTo>
                  <a:lnTo>
                    <a:pt x="10" y="175"/>
                  </a:lnTo>
                  <a:lnTo>
                    <a:pt x="10" y="180"/>
                  </a:lnTo>
                  <a:lnTo>
                    <a:pt x="10" y="186"/>
                  </a:lnTo>
                  <a:lnTo>
                    <a:pt x="12" y="188"/>
                  </a:lnTo>
                  <a:lnTo>
                    <a:pt x="12" y="190"/>
                  </a:lnTo>
                  <a:lnTo>
                    <a:pt x="12" y="192"/>
                  </a:lnTo>
                  <a:lnTo>
                    <a:pt x="13" y="196"/>
                  </a:lnTo>
                  <a:lnTo>
                    <a:pt x="13" y="199"/>
                  </a:lnTo>
                  <a:lnTo>
                    <a:pt x="13" y="201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1"/>
                  </a:lnTo>
                  <a:lnTo>
                    <a:pt x="10" y="215"/>
                  </a:lnTo>
                  <a:lnTo>
                    <a:pt x="12" y="215"/>
                  </a:lnTo>
                  <a:lnTo>
                    <a:pt x="13" y="219"/>
                  </a:lnTo>
                  <a:lnTo>
                    <a:pt x="17" y="219"/>
                  </a:lnTo>
                  <a:lnTo>
                    <a:pt x="21" y="222"/>
                  </a:lnTo>
                  <a:lnTo>
                    <a:pt x="23" y="224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9" y="230"/>
                  </a:lnTo>
                  <a:lnTo>
                    <a:pt x="31" y="230"/>
                  </a:lnTo>
                  <a:lnTo>
                    <a:pt x="35" y="234"/>
                  </a:lnTo>
                  <a:lnTo>
                    <a:pt x="37" y="236"/>
                  </a:lnTo>
                  <a:lnTo>
                    <a:pt x="38" y="236"/>
                  </a:lnTo>
                  <a:lnTo>
                    <a:pt x="40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4" y="247"/>
                  </a:lnTo>
                  <a:lnTo>
                    <a:pt x="60" y="247"/>
                  </a:lnTo>
                  <a:lnTo>
                    <a:pt x="61" y="249"/>
                  </a:lnTo>
                  <a:lnTo>
                    <a:pt x="63" y="249"/>
                  </a:lnTo>
                  <a:lnTo>
                    <a:pt x="65" y="251"/>
                  </a:lnTo>
                  <a:lnTo>
                    <a:pt x="69" y="251"/>
                  </a:lnTo>
                  <a:lnTo>
                    <a:pt x="69" y="253"/>
                  </a:lnTo>
                  <a:lnTo>
                    <a:pt x="71" y="253"/>
                  </a:lnTo>
                  <a:lnTo>
                    <a:pt x="73" y="255"/>
                  </a:lnTo>
                  <a:lnTo>
                    <a:pt x="77" y="255"/>
                  </a:lnTo>
                  <a:lnTo>
                    <a:pt x="79" y="259"/>
                  </a:lnTo>
                  <a:lnTo>
                    <a:pt x="81" y="263"/>
                  </a:lnTo>
                  <a:lnTo>
                    <a:pt x="84" y="263"/>
                  </a:lnTo>
                  <a:lnTo>
                    <a:pt x="86" y="267"/>
                  </a:lnTo>
                  <a:lnTo>
                    <a:pt x="86" y="267"/>
                  </a:lnTo>
                  <a:lnTo>
                    <a:pt x="90" y="269"/>
                  </a:lnTo>
                  <a:lnTo>
                    <a:pt x="94" y="269"/>
                  </a:lnTo>
                  <a:lnTo>
                    <a:pt x="94" y="270"/>
                  </a:lnTo>
                  <a:lnTo>
                    <a:pt x="96" y="272"/>
                  </a:lnTo>
                  <a:lnTo>
                    <a:pt x="98" y="272"/>
                  </a:lnTo>
                  <a:lnTo>
                    <a:pt x="102" y="272"/>
                  </a:lnTo>
                  <a:lnTo>
                    <a:pt x="104" y="274"/>
                  </a:lnTo>
                  <a:lnTo>
                    <a:pt x="109" y="274"/>
                  </a:lnTo>
                  <a:lnTo>
                    <a:pt x="115" y="274"/>
                  </a:lnTo>
                  <a:lnTo>
                    <a:pt x="115" y="278"/>
                  </a:lnTo>
                  <a:lnTo>
                    <a:pt x="119" y="280"/>
                  </a:lnTo>
                  <a:lnTo>
                    <a:pt x="119" y="280"/>
                  </a:lnTo>
                  <a:lnTo>
                    <a:pt x="121" y="282"/>
                  </a:lnTo>
                  <a:lnTo>
                    <a:pt x="123" y="284"/>
                  </a:lnTo>
                  <a:lnTo>
                    <a:pt x="125" y="284"/>
                  </a:lnTo>
                  <a:lnTo>
                    <a:pt x="127" y="286"/>
                  </a:lnTo>
                  <a:lnTo>
                    <a:pt x="131" y="288"/>
                  </a:lnTo>
                  <a:lnTo>
                    <a:pt x="131" y="290"/>
                  </a:lnTo>
                  <a:lnTo>
                    <a:pt x="132" y="290"/>
                  </a:lnTo>
                  <a:lnTo>
                    <a:pt x="134" y="293"/>
                  </a:lnTo>
                  <a:lnTo>
                    <a:pt x="136" y="293"/>
                  </a:lnTo>
                  <a:lnTo>
                    <a:pt x="140" y="293"/>
                  </a:lnTo>
                  <a:lnTo>
                    <a:pt x="140" y="295"/>
                  </a:lnTo>
                  <a:lnTo>
                    <a:pt x="142" y="297"/>
                  </a:lnTo>
                  <a:lnTo>
                    <a:pt x="148" y="297"/>
                  </a:lnTo>
                  <a:lnTo>
                    <a:pt x="150" y="299"/>
                  </a:lnTo>
                  <a:lnTo>
                    <a:pt x="152" y="299"/>
                  </a:lnTo>
                  <a:lnTo>
                    <a:pt x="154" y="301"/>
                  </a:lnTo>
                  <a:lnTo>
                    <a:pt x="154" y="307"/>
                  </a:lnTo>
                  <a:lnTo>
                    <a:pt x="154" y="315"/>
                  </a:lnTo>
                  <a:lnTo>
                    <a:pt x="154" y="317"/>
                  </a:lnTo>
                  <a:lnTo>
                    <a:pt x="155" y="318"/>
                  </a:lnTo>
                  <a:lnTo>
                    <a:pt x="155" y="320"/>
                  </a:lnTo>
                  <a:lnTo>
                    <a:pt x="157" y="324"/>
                  </a:lnTo>
                  <a:lnTo>
                    <a:pt x="159" y="324"/>
                  </a:lnTo>
                  <a:lnTo>
                    <a:pt x="163" y="324"/>
                  </a:lnTo>
                  <a:lnTo>
                    <a:pt x="165" y="328"/>
                  </a:lnTo>
                  <a:lnTo>
                    <a:pt x="167" y="328"/>
                  </a:lnTo>
                  <a:lnTo>
                    <a:pt x="169" y="330"/>
                  </a:lnTo>
                  <a:lnTo>
                    <a:pt x="169" y="332"/>
                  </a:lnTo>
                  <a:lnTo>
                    <a:pt x="173" y="332"/>
                  </a:lnTo>
                  <a:lnTo>
                    <a:pt x="175" y="334"/>
                  </a:lnTo>
                  <a:lnTo>
                    <a:pt x="177" y="336"/>
                  </a:lnTo>
                  <a:lnTo>
                    <a:pt x="184" y="336"/>
                  </a:lnTo>
                  <a:lnTo>
                    <a:pt x="184" y="338"/>
                  </a:lnTo>
                  <a:lnTo>
                    <a:pt x="188" y="338"/>
                  </a:lnTo>
                  <a:lnTo>
                    <a:pt x="190" y="338"/>
                  </a:lnTo>
                  <a:lnTo>
                    <a:pt x="192" y="340"/>
                  </a:lnTo>
                  <a:lnTo>
                    <a:pt x="192" y="341"/>
                  </a:lnTo>
                  <a:lnTo>
                    <a:pt x="194" y="345"/>
                  </a:lnTo>
                  <a:lnTo>
                    <a:pt x="198" y="345"/>
                  </a:lnTo>
                  <a:lnTo>
                    <a:pt x="200" y="345"/>
                  </a:lnTo>
                  <a:lnTo>
                    <a:pt x="202" y="349"/>
                  </a:lnTo>
                  <a:lnTo>
                    <a:pt x="202" y="351"/>
                  </a:lnTo>
                  <a:lnTo>
                    <a:pt x="203" y="351"/>
                  </a:lnTo>
                  <a:lnTo>
                    <a:pt x="205" y="353"/>
                  </a:lnTo>
                  <a:lnTo>
                    <a:pt x="207" y="35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7" name="Freeform 23"/>
            <p:cNvSpPr>
              <a:spLocks/>
            </p:cNvSpPr>
            <p:nvPr/>
          </p:nvSpPr>
          <p:spPr bwMode="auto">
            <a:xfrm>
              <a:off x="2246" y="2182"/>
              <a:ext cx="205" cy="202"/>
            </a:xfrm>
            <a:custGeom>
              <a:avLst/>
              <a:gdLst/>
              <a:ahLst/>
              <a:cxnLst>
                <a:cxn ang="0">
                  <a:pos x="153" y="8"/>
                </a:cxn>
                <a:cxn ang="0">
                  <a:pos x="136" y="8"/>
                </a:cxn>
                <a:cxn ang="0">
                  <a:pos x="121" y="8"/>
                </a:cxn>
                <a:cxn ang="0">
                  <a:pos x="109" y="10"/>
                </a:cxn>
                <a:cxn ang="0">
                  <a:pos x="100" y="18"/>
                </a:cxn>
                <a:cxn ang="0">
                  <a:pos x="90" y="12"/>
                </a:cxn>
                <a:cxn ang="0">
                  <a:pos x="81" y="4"/>
                </a:cxn>
                <a:cxn ang="0">
                  <a:pos x="71" y="8"/>
                </a:cxn>
                <a:cxn ang="0">
                  <a:pos x="58" y="10"/>
                </a:cxn>
                <a:cxn ang="0">
                  <a:pos x="54" y="16"/>
                </a:cxn>
                <a:cxn ang="0">
                  <a:pos x="56" y="29"/>
                </a:cxn>
                <a:cxn ang="0">
                  <a:pos x="44" y="41"/>
                </a:cxn>
                <a:cxn ang="0">
                  <a:pos x="46" y="56"/>
                </a:cxn>
                <a:cxn ang="0">
                  <a:pos x="56" y="66"/>
                </a:cxn>
                <a:cxn ang="0">
                  <a:pos x="52" y="83"/>
                </a:cxn>
                <a:cxn ang="0">
                  <a:pos x="56" y="92"/>
                </a:cxn>
                <a:cxn ang="0">
                  <a:pos x="52" y="102"/>
                </a:cxn>
                <a:cxn ang="0">
                  <a:pos x="46" y="110"/>
                </a:cxn>
                <a:cxn ang="0">
                  <a:pos x="33" y="113"/>
                </a:cxn>
                <a:cxn ang="0">
                  <a:pos x="17" y="119"/>
                </a:cxn>
                <a:cxn ang="0">
                  <a:pos x="11" y="137"/>
                </a:cxn>
                <a:cxn ang="0">
                  <a:pos x="10" y="148"/>
                </a:cxn>
                <a:cxn ang="0">
                  <a:pos x="2" y="161"/>
                </a:cxn>
                <a:cxn ang="0">
                  <a:pos x="0" y="173"/>
                </a:cxn>
                <a:cxn ang="0">
                  <a:pos x="2" y="186"/>
                </a:cxn>
                <a:cxn ang="0">
                  <a:pos x="2" y="198"/>
                </a:cxn>
                <a:cxn ang="0">
                  <a:pos x="15" y="200"/>
                </a:cxn>
                <a:cxn ang="0">
                  <a:pos x="29" y="198"/>
                </a:cxn>
                <a:cxn ang="0">
                  <a:pos x="38" y="190"/>
                </a:cxn>
                <a:cxn ang="0">
                  <a:pos x="46" y="181"/>
                </a:cxn>
                <a:cxn ang="0">
                  <a:pos x="58" y="179"/>
                </a:cxn>
                <a:cxn ang="0">
                  <a:pos x="73" y="177"/>
                </a:cxn>
                <a:cxn ang="0">
                  <a:pos x="86" y="173"/>
                </a:cxn>
                <a:cxn ang="0">
                  <a:pos x="100" y="175"/>
                </a:cxn>
                <a:cxn ang="0">
                  <a:pos x="117" y="177"/>
                </a:cxn>
                <a:cxn ang="0">
                  <a:pos x="130" y="173"/>
                </a:cxn>
                <a:cxn ang="0">
                  <a:pos x="148" y="173"/>
                </a:cxn>
                <a:cxn ang="0">
                  <a:pos x="165" y="173"/>
                </a:cxn>
                <a:cxn ang="0">
                  <a:pos x="176" y="177"/>
                </a:cxn>
                <a:cxn ang="0">
                  <a:pos x="173" y="163"/>
                </a:cxn>
                <a:cxn ang="0">
                  <a:pos x="176" y="152"/>
                </a:cxn>
                <a:cxn ang="0">
                  <a:pos x="176" y="140"/>
                </a:cxn>
                <a:cxn ang="0">
                  <a:pos x="175" y="125"/>
                </a:cxn>
                <a:cxn ang="0">
                  <a:pos x="188" y="117"/>
                </a:cxn>
                <a:cxn ang="0">
                  <a:pos x="198" y="110"/>
                </a:cxn>
                <a:cxn ang="0">
                  <a:pos x="205" y="100"/>
                </a:cxn>
                <a:cxn ang="0">
                  <a:pos x="201" y="89"/>
                </a:cxn>
                <a:cxn ang="0">
                  <a:pos x="200" y="75"/>
                </a:cxn>
                <a:cxn ang="0">
                  <a:pos x="198" y="60"/>
                </a:cxn>
                <a:cxn ang="0">
                  <a:pos x="196" y="48"/>
                </a:cxn>
                <a:cxn ang="0">
                  <a:pos x="188" y="39"/>
                </a:cxn>
                <a:cxn ang="0">
                  <a:pos x="186" y="27"/>
                </a:cxn>
                <a:cxn ang="0">
                  <a:pos x="186" y="16"/>
                </a:cxn>
                <a:cxn ang="0">
                  <a:pos x="178" y="8"/>
                </a:cxn>
                <a:cxn ang="0">
                  <a:pos x="171" y="2"/>
                </a:cxn>
              </a:cxnLst>
              <a:rect l="0" t="0" r="r" b="b"/>
              <a:pathLst>
                <a:path w="205" h="202">
                  <a:moveTo>
                    <a:pt x="165" y="0"/>
                  </a:moveTo>
                  <a:lnTo>
                    <a:pt x="161" y="2"/>
                  </a:lnTo>
                  <a:lnTo>
                    <a:pt x="157" y="6"/>
                  </a:lnTo>
                  <a:lnTo>
                    <a:pt x="153" y="6"/>
                  </a:lnTo>
                  <a:lnTo>
                    <a:pt x="153" y="8"/>
                  </a:lnTo>
                  <a:lnTo>
                    <a:pt x="150" y="8"/>
                  </a:lnTo>
                  <a:lnTo>
                    <a:pt x="146" y="8"/>
                  </a:lnTo>
                  <a:lnTo>
                    <a:pt x="144" y="8"/>
                  </a:lnTo>
                  <a:lnTo>
                    <a:pt x="140" y="8"/>
                  </a:lnTo>
                  <a:lnTo>
                    <a:pt x="136" y="8"/>
                  </a:lnTo>
                  <a:lnTo>
                    <a:pt x="134" y="8"/>
                  </a:lnTo>
                  <a:lnTo>
                    <a:pt x="130" y="8"/>
                  </a:lnTo>
                  <a:lnTo>
                    <a:pt x="127" y="8"/>
                  </a:lnTo>
                  <a:lnTo>
                    <a:pt x="125" y="8"/>
                  </a:lnTo>
                  <a:lnTo>
                    <a:pt x="121" y="8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13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4" y="16"/>
                  </a:lnTo>
                  <a:lnTo>
                    <a:pt x="100" y="18"/>
                  </a:lnTo>
                  <a:lnTo>
                    <a:pt x="98" y="18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2" y="14"/>
                  </a:lnTo>
                  <a:lnTo>
                    <a:pt x="90" y="12"/>
                  </a:lnTo>
                  <a:lnTo>
                    <a:pt x="88" y="10"/>
                  </a:lnTo>
                  <a:lnTo>
                    <a:pt x="84" y="10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1" y="4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7" y="6"/>
                  </a:lnTo>
                  <a:lnTo>
                    <a:pt x="73" y="8"/>
                  </a:lnTo>
                  <a:lnTo>
                    <a:pt x="71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1" y="10"/>
                  </a:lnTo>
                  <a:lnTo>
                    <a:pt x="58" y="10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4" y="21"/>
                  </a:lnTo>
                  <a:lnTo>
                    <a:pt x="56" y="21"/>
                  </a:lnTo>
                  <a:lnTo>
                    <a:pt x="56" y="25"/>
                  </a:lnTo>
                  <a:lnTo>
                    <a:pt x="56" y="29"/>
                  </a:lnTo>
                  <a:lnTo>
                    <a:pt x="52" y="33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46" y="39"/>
                  </a:lnTo>
                  <a:lnTo>
                    <a:pt x="44" y="41"/>
                  </a:lnTo>
                  <a:lnTo>
                    <a:pt x="42" y="44"/>
                  </a:lnTo>
                  <a:lnTo>
                    <a:pt x="42" y="48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6" y="56"/>
                  </a:lnTo>
                  <a:lnTo>
                    <a:pt x="46" y="58"/>
                  </a:lnTo>
                  <a:lnTo>
                    <a:pt x="50" y="58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6" y="66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5"/>
                  </a:lnTo>
                  <a:lnTo>
                    <a:pt x="54" y="87"/>
                  </a:lnTo>
                  <a:lnTo>
                    <a:pt x="56" y="89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4" y="96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8" y="108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4" y="112"/>
                  </a:lnTo>
                  <a:lnTo>
                    <a:pt x="42" y="112"/>
                  </a:lnTo>
                  <a:lnTo>
                    <a:pt x="38" y="112"/>
                  </a:lnTo>
                  <a:lnTo>
                    <a:pt x="36" y="113"/>
                  </a:lnTo>
                  <a:lnTo>
                    <a:pt x="33" y="113"/>
                  </a:lnTo>
                  <a:lnTo>
                    <a:pt x="29" y="113"/>
                  </a:lnTo>
                  <a:lnTo>
                    <a:pt x="25" y="115"/>
                  </a:lnTo>
                  <a:lnTo>
                    <a:pt x="23" y="117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5" y="123"/>
                  </a:lnTo>
                  <a:lnTo>
                    <a:pt x="13" y="125"/>
                  </a:lnTo>
                  <a:lnTo>
                    <a:pt x="13" y="131"/>
                  </a:lnTo>
                  <a:lnTo>
                    <a:pt x="11" y="135"/>
                  </a:lnTo>
                  <a:lnTo>
                    <a:pt x="11" y="137"/>
                  </a:lnTo>
                  <a:lnTo>
                    <a:pt x="11" y="138"/>
                  </a:lnTo>
                  <a:lnTo>
                    <a:pt x="11" y="140"/>
                  </a:lnTo>
                  <a:lnTo>
                    <a:pt x="11" y="144"/>
                  </a:lnTo>
                  <a:lnTo>
                    <a:pt x="11" y="146"/>
                  </a:lnTo>
                  <a:lnTo>
                    <a:pt x="10" y="148"/>
                  </a:lnTo>
                  <a:lnTo>
                    <a:pt x="10" y="152"/>
                  </a:lnTo>
                  <a:lnTo>
                    <a:pt x="8" y="154"/>
                  </a:lnTo>
                  <a:lnTo>
                    <a:pt x="6" y="156"/>
                  </a:lnTo>
                  <a:lnTo>
                    <a:pt x="6" y="160"/>
                  </a:lnTo>
                  <a:lnTo>
                    <a:pt x="2" y="161"/>
                  </a:lnTo>
                  <a:lnTo>
                    <a:pt x="2" y="163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9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7"/>
                  </a:lnTo>
                  <a:lnTo>
                    <a:pt x="2" y="181"/>
                  </a:lnTo>
                  <a:lnTo>
                    <a:pt x="2" y="184"/>
                  </a:lnTo>
                  <a:lnTo>
                    <a:pt x="2" y="186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4" y="194"/>
                  </a:lnTo>
                  <a:lnTo>
                    <a:pt x="4" y="196"/>
                  </a:lnTo>
                  <a:lnTo>
                    <a:pt x="2" y="198"/>
                  </a:lnTo>
                  <a:lnTo>
                    <a:pt x="4" y="198"/>
                  </a:lnTo>
                  <a:lnTo>
                    <a:pt x="8" y="198"/>
                  </a:lnTo>
                  <a:lnTo>
                    <a:pt x="10" y="198"/>
                  </a:lnTo>
                  <a:lnTo>
                    <a:pt x="11" y="198"/>
                  </a:lnTo>
                  <a:lnTo>
                    <a:pt x="15" y="200"/>
                  </a:lnTo>
                  <a:lnTo>
                    <a:pt x="19" y="200"/>
                  </a:lnTo>
                  <a:lnTo>
                    <a:pt x="21" y="202"/>
                  </a:lnTo>
                  <a:lnTo>
                    <a:pt x="23" y="202"/>
                  </a:lnTo>
                  <a:lnTo>
                    <a:pt x="27" y="198"/>
                  </a:lnTo>
                  <a:lnTo>
                    <a:pt x="29" y="198"/>
                  </a:lnTo>
                  <a:lnTo>
                    <a:pt x="33" y="198"/>
                  </a:lnTo>
                  <a:lnTo>
                    <a:pt x="34" y="194"/>
                  </a:lnTo>
                  <a:lnTo>
                    <a:pt x="36" y="192"/>
                  </a:lnTo>
                  <a:lnTo>
                    <a:pt x="38" y="192"/>
                  </a:lnTo>
                  <a:lnTo>
                    <a:pt x="38" y="190"/>
                  </a:lnTo>
                  <a:lnTo>
                    <a:pt x="40" y="188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4" y="183"/>
                  </a:lnTo>
                  <a:lnTo>
                    <a:pt x="46" y="181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58" y="179"/>
                  </a:lnTo>
                  <a:lnTo>
                    <a:pt x="61" y="179"/>
                  </a:lnTo>
                  <a:lnTo>
                    <a:pt x="65" y="179"/>
                  </a:lnTo>
                  <a:lnTo>
                    <a:pt x="67" y="177"/>
                  </a:lnTo>
                  <a:lnTo>
                    <a:pt x="69" y="177"/>
                  </a:lnTo>
                  <a:lnTo>
                    <a:pt x="73" y="177"/>
                  </a:lnTo>
                  <a:lnTo>
                    <a:pt x="77" y="175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4" y="175"/>
                  </a:lnTo>
                  <a:lnTo>
                    <a:pt x="86" y="173"/>
                  </a:lnTo>
                  <a:lnTo>
                    <a:pt x="90" y="173"/>
                  </a:lnTo>
                  <a:lnTo>
                    <a:pt x="92" y="173"/>
                  </a:lnTo>
                  <a:lnTo>
                    <a:pt x="94" y="173"/>
                  </a:lnTo>
                  <a:lnTo>
                    <a:pt x="96" y="175"/>
                  </a:lnTo>
                  <a:lnTo>
                    <a:pt x="100" y="175"/>
                  </a:lnTo>
                  <a:lnTo>
                    <a:pt x="102" y="177"/>
                  </a:lnTo>
                  <a:lnTo>
                    <a:pt x="105" y="177"/>
                  </a:lnTo>
                  <a:lnTo>
                    <a:pt x="109" y="177"/>
                  </a:lnTo>
                  <a:lnTo>
                    <a:pt x="113" y="177"/>
                  </a:lnTo>
                  <a:lnTo>
                    <a:pt x="117" y="177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30" y="173"/>
                  </a:lnTo>
                  <a:lnTo>
                    <a:pt x="134" y="173"/>
                  </a:lnTo>
                  <a:lnTo>
                    <a:pt x="138" y="173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8" y="173"/>
                  </a:lnTo>
                  <a:lnTo>
                    <a:pt x="152" y="173"/>
                  </a:lnTo>
                  <a:lnTo>
                    <a:pt x="153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5" y="173"/>
                  </a:lnTo>
                  <a:lnTo>
                    <a:pt x="171" y="173"/>
                  </a:lnTo>
                  <a:lnTo>
                    <a:pt x="173" y="173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6" y="177"/>
                  </a:lnTo>
                  <a:lnTo>
                    <a:pt x="173" y="177"/>
                  </a:lnTo>
                  <a:lnTo>
                    <a:pt x="173" y="173"/>
                  </a:lnTo>
                  <a:lnTo>
                    <a:pt x="173" y="171"/>
                  </a:lnTo>
                  <a:lnTo>
                    <a:pt x="173" y="167"/>
                  </a:lnTo>
                  <a:lnTo>
                    <a:pt x="173" y="163"/>
                  </a:lnTo>
                  <a:lnTo>
                    <a:pt x="175" y="161"/>
                  </a:lnTo>
                  <a:lnTo>
                    <a:pt x="175" y="160"/>
                  </a:lnTo>
                  <a:lnTo>
                    <a:pt x="175" y="156"/>
                  </a:lnTo>
                  <a:lnTo>
                    <a:pt x="175" y="154"/>
                  </a:lnTo>
                  <a:lnTo>
                    <a:pt x="176" y="152"/>
                  </a:lnTo>
                  <a:lnTo>
                    <a:pt x="178" y="150"/>
                  </a:lnTo>
                  <a:lnTo>
                    <a:pt x="178" y="146"/>
                  </a:lnTo>
                  <a:lnTo>
                    <a:pt x="178" y="144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6" y="137"/>
                  </a:lnTo>
                  <a:lnTo>
                    <a:pt x="176" y="135"/>
                  </a:lnTo>
                  <a:lnTo>
                    <a:pt x="175" y="131"/>
                  </a:lnTo>
                  <a:lnTo>
                    <a:pt x="175" y="129"/>
                  </a:lnTo>
                  <a:lnTo>
                    <a:pt x="175" y="125"/>
                  </a:lnTo>
                  <a:lnTo>
                    <a:pt x="176" y="123"/>
                  </a:lnTo>
                  <a:lnTo>
                    <a:pt x="178" y="121"/>
                  </a:lnTo>
                  <a:lnTo>
                    <a:pt x="182" y="119"/>
                  </a:lnTo>
                  <a:lnTo>
                    <a:pt x="184" y="117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5"/>
                  </a:lnTo>
                  <a:lnTo>
                    <a:pt x="192" y="113"/>
                  </a:lnTo>
                  <a:lnTo>
                    <a:pt x="196" y="112"/>
                  </a:lnTo>
                  <a:lnTo>
                    <a:pt x="198" y="110"/>
                  </a:lnTo>
                  <a:lnTo>
                    <a:pt x="200" y="108"/>
                  </a:lnTo>
                  <a:lnTo>
                    <a:pt x="200" y="106"/>
                  </a:lnTo>
                  <a:lnTo>
                    <a:pt x="201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5" y="98"/>
                  </a:lnTo>
                  <a:lnTo>
                    <a:pt x="203" y="96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201" y="89"/>
                  </a:lnTo>
                  <a:lnTo>
                    <a:pt x="201" y="85"/>
                  </a:lnTo>
                  <a:lnTo>
                    <a:pt x="201" y="83"/>
                  </a:lnTo>
                  <a:lnTo>
                    <a:pt x="200" y="81"/>
                  </a:lnTo>
                  <a:lnTo>
                    <a:pt x="200" y="77"/>
                  </a:lnTo>
                  <a:lnTo>
                    <a:pt x="200" y="75"/>
                  </a:lnTo>
                  <a:lnTo>
                    <a:pt x="200" y="71"/>
                  </a:lnTo>
                  <a:lnTo>
                    <a:pt x="200" y="67"/>
                  </a:lnTo>
                  <a:lnTo>
                    <a:pt x="200" y="66"/>
                  </a:lnTo>
                  <a:lnTo>
                    <a:pt x="198" y="64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198" y="56"/>
                  </a:lnTo>
                  <a:lnTo>
                    <a:pt x="198" y="54"/>
                  </a:lnTo>
                  <a:lnTo>
                    <a:pt x="198" y="50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90" y="46"/>
                  </a:lnTo>
                  <a:lnTo>
                    <a:pt x="190" y="43"/>
                  </a:lnTo>
                  <a:lnTo>
                    <a:pt x="188" y="41"/>
                  </a:lnTo>
                  <a:lnTo>
                    <a:pt x="188" y="39"/>
                  </a:lnTo>
                  <a:lnTo>
                    <a:pt x="188" y="37"/>
                  </a:lnTo>
                  <a:lnTo>
                    <a:pt x="188" y="35"/>
                  </a:lnTo>
                  <a:lnTo>
                    <a:pt x="186" y="33"/>
                  </a:lnTo>
                  <a:lnTo>
                    <a:pt x="186" y="31"/>
                  </a:lnTo>
                  <a:lnTo>
                    <a:pt x="186" y="27"/>
                  </a:lnTo>
                  <a:lnTo>
                    <a:pt x="186" y="25"/>
                  </a:lnTo>
                  <a:lnTo>
                    <a:pt x="188" y="23"/>
                  </a:lnTo>
                  <a:lnTo>
                    <a:pt x="188" y="21"/>
                  </a:lnTo>
                  <a:lnTo>
                    <a:pt x="188" y="18"/>
                  </a:lnTo>
                  <a:lnTo>
                    <a:pt x="186" y="16"/>
                  </a:lnTo>
                  <a:lnTo>
                    <a:pt x="186" y="14"/>
                  </a:lnTo>
                  <a:lnTo>
                    <a:pt x="184" y="14"/>
                  </a:lnTo>
                  <a:lnTo>
                    <a:pt x="180" y="14"/>
                  </a:lnTo>
                  <a:lnTo>
                    <a:pt x="178" y="12"/>
                  </a:lnTo>
                  <a:lnTo>
                    <a:pt x="178" y="8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5" y="4"/>
                  </a:lnTo>
                  <a:lnTo>
                    <a:pt x="175" y="2"/>
                  </a:lnTo>
                  <a:lnTo>
                    <a:pt x="171" y="2"/>
                  </a:lnTo>
                  <a:lnTo>
                    <a:pt x="169" y="2"/>
                  </a:lnTo>
                  <a:lnTo>
                    <a:pt x="16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8" name="Freeform 24"/>
            <p:cNvSpPr>
              <a:spLocks/>
            </p:cNvSpPr>
            <p:nvPr/>
          </p:nvSpPr>
          <p:spPr bwMode="auto">
            <a:xfrm>
              <a:off x="2246" y="2182"/>
              <a:ext cx="205" cy="202"/>
            </a:xfrm>
            <a:custGeom>
              <a:avLst/>
              <a:gdLst/>
              <a:ahLst/>
              <a:cxnLst>
                <a:cxn ang="0">
                  <a:pos x="153" y="8"/>
                </a:cxn>
                <a:cxn ang="0">
                  <a:pos x="136" y="8"/>
                </a:cxn>
                <a:cxn ang="0">
                  <a:pos x="121" y="8"/>
                </a:cxn>
                <a:cxn ang="0">
                  <a:pos x="109" y="10"/>
                </a:cxn>
                <a:cxn ang="0">
                  <a:pos x="100" y="18"/>
                </a:cxn>
                <a:cxn ang="0">
                  <a:pos x="90" y="12"/>
                </a:cxn>
                <a:cxn ang="0">
                  <a:pos x="81" y="4"/>
                </a:cxn>
                <a:cxn ang="0">
                  <a:pos x="71" y="8"/>
                </a:cxn>
                <a:cxn ang="0">
                  <a:pos x="58" y="10"/>
                </a:cxn>
                <a:cxn ang="0">
                  <a:pos x="54" y="16"/>
                </a:cxn>
                <a:cxn ang="0">
                  <a:pos x="56" y="29"/>
                </a:cxn>
                <a:cxn ang="0">
                  <a:pos x="44" y="41"/>
                </a:cxn>
                <a:cxn ang="0">
                  <a:pos x="46" y="56"/>
                </a:cxn>
                <a:cxn ang="0">
                  <a:pos x="56" y="66"/>
                </a:cxn>
                <a:cxn ang="0">
                  <a:pos x="52" y="83"/>
                </a:cxn>
                <a:cxn ang="0">
                  <a:pos x="56" y="92"/>
                </a:cxn>
                <a:cxn ang="0">
                  <a:pos x="52" y="102"/>
                </a:cxn>
                <a:cxn ang="0">
                  <a:pos x="46" y="110"/>
                </a:cxn>
                <a:cxn ang="0">
                  <a:pos x="33" y="113"/>
                </a:cxn>
                <a:cxn ang="0">
                  <a:pos x="17" y="119"/>
                </a:cxn>
                <a:cxn ang="0">
                  <a:pos x="11" y="137"/>
                </a:cxn>
                <a:cxn ang="0">
                  <a:pos x="10" y="148"/>
                </a:cxn>
                <a:cxn ang="0">
                  <a:pos x="2" y="161"/>
                </a:cxn>
                <a:cxn ang="0">
                  <a:pos x="0" y="173"/>
                </a:cxn>
                <a:cxn ang="0">
                  <a:pos x="2" y="186"/>
                </a:cxn>
                <a:cxn ang="0">
                  <a:pos x="2" y="198"/>
                </a:cxn>
                <a:cxn ang="0">
                  <a:pos x="15" y="200"/>
                </a:cxn>
                <a:cxn ang="0">
                  <a:pos x="29" y="198"/>
                </a:cxn>
                <a:cxn ang="0">
                  <a:pos x="38" y="190"/>
                </a:cxn>
                <a:cxn ang="0">
                  <a:pos x="46" y="181"/>
                </a:cxn>
                <a:cxn ang="0">
                  <a:pos x="58" y="179"/>
                </a:cxn>
                <a:cxn ang="0">
                  <a:pos x="73" y="177"/>
                </a:cxn>
                <a:cxn ang="0">
                  <a:pos x="86" y="173"/>
                </a:cxn>
                <a:cxn ang="0">
                  <a:pos x="100" y="175"/>
                </a:cxn>
                <a:cxn ang="0">
                  <a:pos x="117" y="177"/>
                </a:cxn>
                <a:cxn ang="0">
                  <a:pos x="130" y="173"/>
                </a:cxn>
                <a:cxn ang="0">
                  <a:pos x="148" y="173"/>
                </a:cxn>
                <a:cxn ang="0">
                  <a:pos x="165" y="173"/>
                </a:cxn>
                <a:cxn ang="0">
                  <a:pos x="176" y="177"/>
                </a:cxn>
                <a:cxn ang="0">
                  <a:pos x="173" y="163"/>
                </a:cxn>
                <a:cxn ang="0">
                  <a:pos x="176" y="152"/>
                </a:cxn>
                <a:cxn ang="0">
                  <a:pos x="176" y="140"/>
                </a:cxn>
                <a:cxn ang="0">
                  <a:pos x="175" y="125"/>
                </a:cxn>
                <a:cxn ang="0">
                  <a:pos x="188" y="117"/>
                </a:cxn>
                <a:cxn ang="0">
                  <a:pos x="198" y="110"/>
                </a:cxn>
                <a:cxn ang="0">
                  <a:pos x="205" y="100"/>
                </a:cxn>
                <a:cxn ang="0">
                  <a:pos x="201" y="89"/>
                </a:cxn>
                <a:cxn ang="0">
                  <a:pos x="200" y="75"/>
                </a:cxn>
                <a:cxn ang="0">
                  <a:pos x="198" y="60"/>
                </a:cxn>
                <a:cxn ang="0">
                  <a:pos x="196" y="48"/>
                </a:cxn>
                <a:cxn ang="0">
                  <a:pos x="188" y="39"/>
                </a:cxn>
                <a:cxn ang="0">
                  <a:pos x="186" y="27"/>
                </a:cxn>
                <a:cxn ang="0">
                  <a:pos x="186" y="16"/>
                </a:cxn>
                <a:cxn ang="0">
                  <a:pos x="178" y="8"/>
                </a:cxn>
                <a:cxn ang="0">
                  <a:pos x="171" y="2"/>
                </a:cxn>
              </a:cxnLst>
              <a:rect l="0" t="0" r="r" b="b"/>
              <a:pathLst>
                <a:path w="205" h="202">
                  <a:moveTo>
                    <a:pt x="165" y="0"/>
                  </a:moveTo>
                  <a:lnTo>
                    <a:pt x="161" y="2"/>
                  </a:lnTo>
                  <a:lnTo>
                    <a:pt x="157" y="6"/>
                  </a:lnTo>
                  <a:lnTo>
                    <a:pt x="153" y="6"/>
                  </a:lnTo>
                  <a:lnTo>
                    <a:pt x="153" y="8"/>
                  </a:lnTo>
                  <a:lnTo>
                    <a:pt x="150" y="8"/>
                  </a:lnTo>
                  <a:lnTo>
                    <a:pt x="146" y="8"/>
                  </a:lnTo>
                  <a:lnTo>
                    <a:pt x="144" y="8"/>
                  </a:lnTo>
                  <a:lnTo>
                    <a:pt x="140" y="8"/>
                  </a:lnTo>
                  <a:lnTo>
                    <a:pt x="136" y="8"/>
                  </a:lnTo>
                  <a:lnTo>
                    <a:pt x="134" y="8"/>
                  </a:lnTo>
                  <a:lnTo>
                    <a:pt x="130" y="8"/>
                  </a:lnTo>
                  <a:lnTo>
                    <a:pt x="127" y="8"/>
                  </a:lnTo>
                  <a:lnTo>
                    <a:pt x="125" y="8"/>
                  </a:lnTo>
                  <a:lnTo>
                    <a:pt x="121" y="8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13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4" y="16"/>
                  </a:lnTo>
                  <a:lnTo>
                    <a:pt x="100" y="18"/>
                  </a:lnTo>
                  <a:lnTo>
                    <a:pt x="98" y="18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2" y="14"/>
                  </a:lnTo>
                  <a:lnTo>
                    <a:pt x="90" y="12"/>
                  </a:lnTo>
                  <a:lnTo>
                    <a:pt x="88" y="10"/>
                  </a:lnTo>
                  <a:lnTo>
                    <a:pt x="84" y="10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1" y="4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7" y="6"/>
                  </a:lnTo>
                  <a:lnTo>
                    <a:pt x="73" y="8"/>
                  </a:lnTo>
                  <a:lnTo>
                    <a:pt x="71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1" y="10"/>
                  </a:lnTo>
                  <a:lnTo>
                    <a:pt x="58" y="10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4" y="21"/>
                  </a:lnTo>
                  <a:lnTo>
                    <a:pt x="56" y="21"/>
                  </a:lnTo>
                  <a:lnTo>
                    <a:pt x="56" y="25"/>
                  </a:lnTo>
                  <a:lnTo>
                    <a:pt x="56" y="29"/>
                  </a:lnTo>
                  <a:lnTo>
                    <a:pt x="52" y="33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46" y="39"/>
                  </a:lnTo>
                  <a:lnTo>
                    <a:pt x="44" y="41"/>
                  </a:lnTo>
                  <a:lnTo>
                    <a:pt x="42" y="44"/>
                  </a:lnTo>
                  <a:lnTo>
                    <a:pt x="42" y="48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6" y="56"/>
                  </a:lnTo>
                  <a:lnTo>
                    <a:pt x="46" y="58"/>
                  </a:lnTo>
                  <a:lnTo>
                    <a:pt x="50" y="58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6" y="66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5"/>
                  </a:lnTo>
                  <a:lnTo>
                    <a:pt x="54" y="87"/>
                  </a:lnTo>
                  <a:lnTo>
                    <a:pt x="56" y="89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4" y="96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8" y="108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4" y="112"/>
                  </a:lnTo>
                  <a:lnTo>
                    <a:pt x="42" y="112"/>
                  </a:lnTo>
                  <a:lnTo>
                    <a:pt x="38" y="112"/>
                  </a:lnTo>
                  <a:lnTo>
                    <a:pt x="36" y="113"/>
                  </a:lnTo>
                  <a:lnTo>
                    <a:pt x="33" y="113"/>
                  </a:lnTo>
                  <a:lnTo>
                    <a:pt x="29" y="113"/>
                  </a:lnTo>
                  <a:lnTo>
                    <a:pt x="25" y="115"/>
                  </a:lnTo>
                  <a:lnTo>
                    <a:pt x="23" y="117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5" y="123"/>
                  </a:lnTo>
                  <a:lnTo>
                    <a:pt x="13" y="125"/>
                  </a:lnTo>
                  <a:lnTo>
                    <a:pt x="13" y="131"/>
                  </a:lnTo>
                  <a:lnTo>
                    <a:pt x="11" y="135"/>
                  </a:lnTo>
                  <a:lnTo>
                    <a:pt x="11" y="137"/>
                  </a:lnTo>
                  <a:lnTo>
                    <a:pt x="11" y="138"/>
                  </a:lnTo>
                  <a:lnTo>
                    <a:pt x="11" y="140"/>
                  </a:lnTo>
                  <a:lnTo>
                    <a:pt x="11" y="144"/>
                  </a:lnTo>
                  <a:lnTo>
                    <a:pt x="11" y="146"/>
                  </a:lnTo>
                  <a:lnTo>
                    <a:pt x="10" y="148"/>
                  </a:lnTo>
                  <a:lnTo>
                    <a:pt x="10" y="152"/>
                  </a:lnTo>
                  <a:lnTo>
                    <a:pt x="8" y="154"/>
                  </a:lnTo>
                  <a:lnTo>
                    <a:pt x="6" y="156"/>
                  </a:lnTo>
                  <a:lnTo>
                    <a:pt x="6" y="160"/>
                  </a:lnTo>
                  <a:lnTo>
                    <a:pt x="2" y="161"/>
                  </a:lnTo>
                  <a:lnTo>
                    <a:pt x="2" y="163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9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7"/>
                  </a:lnTo>
                  <a:lnTo>
                    <a:pt x="2" y="181"/>
                  </a:lnTo>
                  <a:lnTo>
                    <a:pt x="2" y="184"/>
                  </a:lnTo>
                  <a:lnTo>
                    <a:pt x="2" y="186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4" y="194"/>
                  </a:lnTo>
                  <a:lnTo>
                    <a:pt x="4" y="196"/>
                  </a:lnTo>
                  <a:lnTo>
                    <a:pt x="2" y="198"/>
                  </a:lnTo>
                  <a:lnTo>
                    <a:pt x="4" y="198"/>
                  </a:lnTo>
                  <a:lnTo>
                    <a:pt x="8" y="198"/>
                  </a:lnTo>
                  <a:lnTo>
                    <a:pt x="10" y="198"/>
                  </a:lnTo>
                  <a:lnTo>
                    <a:pt x="11" y="198"/>
                  </a:lnTo>
                  <a:lnTo>
                    <a:pt x="15" y="200"/>
                  </a:lnTo>
                  <a:lnTo>
                    <a:pt x="19" y="200"/>
                  </a:lnTo>
                  <a:lnTo>
                    <a:pt x="21" y="202"/>
                  </a:lnTo>
                  <a:lnTo>
                    <a:pt x="23" y="202"/>
                  </a:lnTo>
                  <a:lnTo>
                    <a:pt x="27" y="198"/>
                  </a:lnTo>
                  <a:lnTo>
                    <a:pt x="29" y="198"/>
                  </a:lnTo>
                  <a:lnTo>
                    <a:pt x="33" y="198"/>
                  </a:lnTo>
                  <a:lnTo>
                    <a:pt x="34" y="194"/>
                  </a:lnTo>
                  <a:lnTo>
                    <a:pt x="36" y="192"/>
                  </a:lnTo>
                  <a:lnTo>
                    <a:pt x="38" y="192"/>
                  </a:lnTo>
                  <a:lnTo>
                    <a:pt x="38" y="190"/>
                  </a:lnTo>
                  <a:lnTo>
                    <a:pt x="40" y="188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4" y="183"/>
                  </a:lnTo>
                  <a:lnTo>
                    <a:pt x="46" y="181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58" y="179"/>
                  </a:lnTo>
                  <a:lnTo>
                    <a:pt x="61" y="179"/>
                  </a:lnTo>
                  <a:lnTo>
                    <a:pt x="65" y="179"/>
                  </a:lnTo>
                  <a:lnTo>
                    <a:pt x="67" y="177"/>
                  </a:lnTo>
                  <a:lnTo>
                    <a:pt x="69" y="177"/>
                  </a:lnTo>
                  <a:lnTo>
                    <a:pt x="73" y="177"/>
                  </a:lnTo>
                  <a:lnTo>
                    <a:pt x="77" y="175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4" y="175"/>
                  </a:lnTo>
                  <a:lnTo>
                    <a:pt x="86" y="173"/>
                  </a:lnTo>
                  <a:lnTo>
                    <a:pt x="90" y="173"/>
                  </a:lnTo>
                  <a:lnTo>
                    <a:pt x="92" y="173"/>
                  </a:lnTo>
                  <a:lnTo>
                    <a:pt x="94" y="173"/>
                  </a:lnTo>
                  <a:lnTo>
                    <a:pt x="96" y="175"/>
                  </a:lnTo>
                  <a:lnTo>
                    <a:pt x="100" y="175"/>
                  </a:lnTo>
                  <a:lnTo>
                    <a:pt x="102" y="177"/>
                  </a:lnTo>
                  <a:lnTo>
                    <a:pt x="105" y="177"/>
                  </a:lnTo>
                  <a:lnTo>
                    <a:pt x="109" y="177"/>
                  </a:lnTo>
                  <a:lnTo>
                    <a:pt x="113" y="177"/>
                  </a:lnTo>
                  <a:lnTo>
                    <a:pt x="117" y="177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30" y="173"/>
                  </a:lnTo>
                  <a:lnTo>
                    <a:pt x="134" y="173"/>
                  </a:lnTo>
                  <a:lnTo>
                    <a:pt x="138" y="173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8" y="173"/>
                  </a:lnTo>
                  <a:lnTo>
                    <a:pt x="152" y="173"/>
                  </a:lnTo>
                  <a:lnTo>
                    <a:pt x="153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5" y="173"/>
                  </a:lnTo>
                  <a:lnTo>
                    <a:pt x="171" y="173"/>
                  </a:lnTo>
                  <a:lnTo>
                    <a:pt x="173" y="173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6" y="177"/>
                  </a:lnTo>
                  <a:lnTo>
                    <a:pt x="173" y="177"/>
                  </a:lnTo>
                  <a:lnTo>
                    <a:pt x="173" y="173"/>
                  </a:lnTo>
                  <a:lnTo>
                    <a:pt x="173" y="171"/>
                  </a:lnTo>
                  <a:lnTo>
                    <a:pt x="173" y="167"/>
                  </a:lnTo>
                  <a:lnTo>
                    <a:pt x="173" y="163"/>
                  </a:lnTo>
                  <a:lnTo>
                    <a:pt x="175" y="161"/>
                  </a:lnTo>
                  <a:lnTo>
                    <a:pt x="175" y="160"/>
                  </a:lnTo>
                  <a:lnTo>
                    <a:pt x="175" y="156"/>
                  </a:lnTo>
                  <a:lnTo>
                    <a:pt x="175" y="154"/>
                  </a:lnTo>
                  <a:lnTo>
                    <a:pt x="176" y="152"/>
                  </a:lnTo>
                  <a:lnTo>
                    <a:pt x="178" y="150"/>
                  </a:lnTo>
                  <a:lnTo>
                    <a:pt x="178" y="146"/>
                  </a:lnTo>
                  <a:lnTo>
                    <a:pt x="178" y="144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6" y="137"/>
                  </a:lnTo>
                  <a:lnTo>
                    <a:pt x="176" y="135"/>
                  </a:lnTo>
                  <a:lnTo>
                    <a:pt x="175" y="131"/>
                  </a:lnTo>
                  <a:lnTo>
                    <a:pt x="175" y="129"/>
                  </a:lnTo>
                  <a:lnTo>
                    <a:pt x="175" y="125"/>
                  </a:lnTo>
                  <a:lnTo>
                    <a:pt x="176" y="123"/>
                  </a:lnTo>
                  <a:lnTo>
                    <a:pt x="178" y="121"/>
                  </a:lnTo>
                  <a:lnTo>
                    <a:pt x="182" y="119"/>
                  </a:lnTo>
                  <a:lnTo>
                    <a:pt x="184" y="117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5"/>
                  </a:lnTo>
                  <a:lnTo>
                    <a:pt x="192" y="113"/>
                  </a:lnTo>
                  <a:lnTo>
                    <a:pt x="196" y="112"/>
                  </a:lnTo>
                  <a:lnTo>
                    <a:pt x="198" y="110"/>
                  </a:lnTo>
                  <a:lnTo>
                    <a:pt x="200" y="108"/>
                  </a:lnTo>
                  <a:lnTo>
                    <a:pt x="200" y="106"/>
                  </a:lnTo>
                  <a:lnTo>
                    <a:pt x="201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5" y="98"/>
                  </a:lnTo>
                  <a:lnTo>
                    <a:pt x="203" y="96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201" y="89"/>
                  </a:lnTo>
                  <a:lnTo>
                    <a:pt x="201" y="85"/>
                  </a:lnTo>
                  <a:lnTo>
                    <a:pt x="201" y="83"/>
                  </a:lnTo>
                  <a:lnTo>
                    <a:pt x="200" y="81"/>
                  </a:lnTo>
                  <a:lnTo>
                    <a:pt x="200" y="77"/>
                  </a:lnTo>
                  <a:lnTo>
                    <a:pt x="200" y="75"/>
                  </a:lnTo>
                  <a:lnTo>
                    <a:pt x="200" y="71"/>
                  </a:lnTo>
                  <a:lnTo>
                    <a:pt x="200" y="67"/>
                  </a:lnTo>
                  <a:lnTo>
                    <a:pt x="200" y="66"/>
                  </a:lnTo>
                  <a:lnTo>
                    <a:pt x="198" y="64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198" y="56"/>
                  </a:lnTo>
                  <a:lnTo>
                    <a:pt x="198" y="54"/>
                  </a:lnTo>
                  <a:lnTo>
                    <a:pt x="198" y="50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90" y="46"/>
                  </a:lnTo>
                  <a:lnTo>
                    <a:pt x="190" y="43"/>
                  </a:lnTo>
                  <a:lnTo>
                    <a:pt x="188" y="41"/>
                  </a:lnTo>
                  <a:lnTo>
                    <a:pt x="188" y="39"/>
                  </a:lnTo>
                  <a:lnTo>
                    <a:pt x="188" y="37"/>
                  </a:lnTo>
                  <a:lnTo>
                    <a:pt x="188" y="35"/>
                  </a:lnTo>
                  <a:lnTo>
                    <a:pt x="186" y="33"/>
                  </a:lnTo>
                  <a:lnTo>
                    <a:pt x="186" y="31"/>
                  </a:lnTo>
                  <a:lnTo>
                    <a:pt x="186" y="27"/>
                  </a:lnTo>
                  <a:lnTo>
                    <a:pt x="186" y="25"/>
                  </a:lnTo>
                  <a:lnTo>
                    <a:pt x="188" y="23"/>
                  </a:lnTo>
                  <a:lnTo>
                    <a:pt x="188" y="21"/>
                  </a:lnTo>
                  <a:lnTo>
                    <a:pt x="188" y="18"/>
                  </a:lnTo>
                  <a:lnTo>
                    <a:pt x="186" y="16"/>
                  </a:lnTo>
                  <a:lnTo>
                    <a:pt x="186" y="14"/>
                  </a:lnTo>
                  <a:lnTo>
                    <a:pt x="184" y="14"/>
                  </a:lnTo>
                  <a:lnTo>
                    <a:pt x="180" y="14"/>
                  </a:lnTo>
                  <a:lnTo>
                    <a:pt x="178" y="12"/>
                  </a:lnTo>
                  <a:lnTo>
                    <a:pt x="178" y="8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5" y="4"/>
                  </a:lnTo>
                  <a:lnTo>
                    <a:pt x="175" y="2"/>
                  </a:lnTo>
                  <a:lnTo>
                    <a:pt x="171" y="2"/>
                  </a:lnTo>
                  <a:lnTo>
                    <a:pt x="169" y="2"/>
                  </a:lnTo>
                  <a:lnTo>
                    <a:pt x="165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49" name="Freeform 25"/>
            <p:cNvSpPr>
              <a:spLocks/>
            </p:cNvSpPr>
            <p:nvPr/>
          </p:nvSpPr>
          <p:spPr bwMode="auto">
            <a:xfrm>
              <a:off x="2229" y="2363"/>
              <a:ext cx="90" cy="74"/>
            </a:xfrm>
            <a:custGeom>
              <a:avLst/>
              <a:gdLst/>
              <a:ahLst/>
              <a:cxnLst>
                <a:cxn ang="0">
                  <a:pos x="19" y="19"/>
                </a:cxn>
                <a:cxn ang="0">
                  <a:pos x="17" y="27"/>
                </a:cxn>
                <a:cxn ang="0">
                  <a:pos x="17" y="34"/>
                </a:cxn>
                <a:cxn ang="0">
                  <a:pos x="15" y="36"/>
                </a:cxn>
                <a:cxn ang="0">
                  <a:pos x="11" y="44"/>
                </a:cxn>
                <a:cxn ang="0">
                  <a:pos x="5" y="50"/>
                </a:cxn>
                <a:cxn ang="0">
                  <a:pos x="2" y="53"/>
                </a:cxn>
                <a:cxn ang="0">
                  <a:pos x="2" y="57"/>
                </a:cxn>
                <a:cxn ang="0">
                  <a:pos x="0" y="63"/>
                </a:cxn>
                <a:cxn ang="0">
                  <a:pos x="0" y="71"/>
                </a:cxn>
                <a:cxn ang="0">
                  <a:pos x="2" y="71"/>
                </a:cxn>
                <a:cxn ang="0">
                  <a:pos x="7" y="71"/>
                </a:cxn>
                <a:cxn ang="0">
                  <a:pos x="11" y="71"/>
                </a:cxn>
                <a:cxn ang="0">
                  <a:pos x="15" y="69"/>
                </a:cxn>
                <a:cxn ang="0">
                  <a:pos x="21" y="69"/>
                </a:cxn>
                <a:cxn ang="0">
                  <a:pos x="27" y="71"/>
                </a:cxn>
                <a:cxn ang="0">
                  <a:pos x="28" y="74"/>
                </a:cxn>
                <a:cxn ang="0">
                  <a:pos x="34" y="74"/>
                </a:cxn>
                <a:cxn ang="0">
                  <a:pos x="40" y="71"/>
                </a:cxn>
                <a:cxn ang="0">
                  <a:pos x="42" y="67"/>
                </a:cxn>
                <a:cxn ang="0">
                  <a:pos x="46" y="63"/>
                </a:cxn>
                <a:cxn ang="0">
                  <a:pos x="50" y="59"/>
                </a:cxn>
                <a:cxn ang="0">
                  <a:pos x="55" y="57"/>
                </a:cxn>
                <a:cxn ang="0">
                  <a:pos x="63" y="57"/>
                </a:cxn>
                <a:cxn ang="0">
                  <a:pos x="69" y="57"/>
                </a:cxn>
                <a:cxn ang="0">
                  <a:pos x="75" y="57"/>
                </a:cxn>
                <a:cxn ang="0">
                  <a:pos x="80" y="57"/>
                </a:cxn>
                <a:cxn ang="0">
                  <a:pos x="84" y="55"/>
                </a:cxn>
                <a:cxn ang="0">
                  <a:pos x="90" y="51"/>
                </a:cxn>
                <a:cxn ang="0">
                  <a:pos x="90" y="48"/>
                </a:cxn>
                <a:cxn ang="0">
                  <a:pos x="90" y="44"/>
                </a:cxn>
                <a:cxn ang="0">
                  <a:pos x="88" y="38"/>
                </a:cxn>
                <a:cxn ang="0">
                  <a:pos x="86" y="30"/>
                </a:cxn>
                <a:cxn ang="0">
                  <a:pos x="84" y="27"/>
                </a:cxn>
                <a:cxn ang="0">
                  <a:pos x="82" y="21"/>
                </a:cxn>
                <a:cxn ang="0">
                  <a:pos x="80" y="19"/>
                </a:cxn>
                <a:cxn ang="0">
                  <a:pos x="78" y="15"/>
                </a:cxn>
                <a:cxn ang="0">
                  <a:pos x="75" y="13"/>
                </a:cxn>
                <a:cxn ang="0">
                  <a:pos x="73" y="9"/>
                </a:cxn>
                <a:cxn ang="0">
                  <a:pos x="69" y="3"/>
                </a:cxn>
                <a:cxn ang="0">
                  <a:pos x="67" y="0"/>
                </a:cxn>
                <a:cxn ang="0">
                  <a:pos x="61" y="0"/>
                </a:cxn>
                <a:cxn ang="0">
                  <a:pos x="59" y="5"/>
                </a:cxn>
                <a:cxn ang="0">
                  <a:pos x="55" y="11"/>
                </a:cxn>
                <a:cxn ang="0">
                  <a:pos x="51" y="15"/>
                </a:cxn>
                <a:cxn ang="0">
                  <a:pos x="48" y="17"/>
                </a:cxn>
                <a:cxn ang="0">
                  <a:pos x="42" y="19"/>
                </a:cxn>
                <a:cxn ang="0">
                  <a:pos x="38" y="21"/>
                </a:cxn>
                <a:cxn ang="0">
                  <a:pos x="32" y="21"/>
                </a:cxn>
                <a:cxn ang="0">
                  <a:pos x="28" y="17"/>
                </a:cxn>
                <a:cxn ang="0">
                  <a:pos x="23" y="17"/>
                </a:cxn>
                <a:cxn ang="0">
                  <a:pos x="19" y="15"/>
                </a:cxn>
              </a:cxnLst>
              <a:rect l="0" t="0" r="r" b="b"/>
              <a:pathLst>
                <a:path w="90" h="74">
                  <a:moveTo>
                    <a:pt x="19" y="15"/>
                  </a:moveTo>
                  <a:lnTo>
                    <a:pt x="19" y="19"/>
                  </a:lnTo>
                  <a:lnTo>
                    <a:pt x="19" y="25"/>
                  </a:lnTo>
                  <a:lnTo>
                    <a:pt x="17" y="27"/>
                  </a:lnTo>
                  <a:lnTo>
                    <a:pt x="17" y="30"/>
                  </a:lnTo>
                  <a:lnTo>
                    <a:pt x="17" y="34"/>
                  </a:lnTo>
                  <a:lnTo>
                    <a:pt x="15" y="34"/>
                  </a:lnTo>
                  <a:lnTo>
                    <a:pt x="15" y="36"/>
                  </a:lnTo>
                  <a:lnTo>
                    <a:pt x="11" y="40"/>
                  </a:lnTo>
                  <a:lnTo>
                    <a:pt x="11" y="44"/>
                  </a:lnTo>
                  <a:lnTo>
                    <a:pt x="7" y="46"/>
                  </a:lnTo>
                  <a:lnTo>
                    <a:pt x="5" y="50"/>
                  </a:lnTo>
                  <a:lnTo>
                    <a:pt x="4" y="51"/>
                  </a:lnTo>
                  <a:lnTo>
                    <a:pt x="2" y="53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2" y="61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0" y="73"/>
                  </a:lnTo>
                  <a:lnTo>
                    <a:pt x="2" y="71"/>
                  </a:lnTo>
                  <a:lnTo>
                    <a:pt x="4" y="71"/>
                  </a:lnTo>
                  <a:lnTo>
                    <a:pt x="7" y="71"/>
                  </a:lnTo>
                  <a:lnTo>
                    <a:pt x="9" y="71"/>
                  </a:lnTo>
                  <a:lnTo>
                    <a:pt x="11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32" y="74"/>
                  </a:lnTo>
                  <a:lnTo>
                    <a:pt x="34" y="74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7"/>
                  </a:lnTo>
                  <a:lnTo>
                    <a:pt x="46" y="65"/>
                  </a:lnTo>
                  <a:lnTo>
                    <a:pt x="46" y="63"/>
                  </a:lnTo>
                  <a:lnTo>
                    <a:pt x="48" y="61"/>
                  </a:lnTo>
                  <a:lnTo>
                    <a:pt x="50" y="59"/>
                  </a:lnTo>
                  <a:lnTo>
                    <a:pt x="53" y="59"/>
                  </a:lnTo>
                  <a:lnTo>
                    <a:pt x="55" y="57"/>
                  </a:lnTo>
                  <a:lnTo>
                    <a:pt x="57" y="57"/>
                  </a:lnTo>
                  <a:lnTo>
                    <a:pt x="63" y="57"/>
                  </a:lnTo>
                  <a:lnTo>
                    <a:pt x="65" y="57"/>
                  </a:lnTo>
                  <a:lnTo>
                    <a:pt x="69" y="57"/>
                  </a:lnTo>
                  <a:lnTo>
                    <a:pt x="73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80" y="57"/>
                  </a:lnTo>
                  <a:lnTo>
                    <a:pt x="82" y="57"/>
                  </a:lnTo>
                  <a:lnTo>
                    <a:pt x="84" y="55"/>
                  </a:lnTo>
                  <a:lnTo>
                    <a:pt x="86" y="53"/>
                  </a:lnTo>
                  <a:lnTo>
                    <a:pt x="90" y="51"/>
                  </a:lnTo>
                  <a:lnTo>
                    <a:pt x="90" y="50"/>
                  </a:lnTo>
                  <a:lnTo>
                    <a:pt x="90" y="48"/>
                  </a:lnTo>
                  <a:lnTo>
                    <a:pt x="90" y="46"/>
                  </a:lnTo>
                  <a:lnTo>
                    <a:pt x="90" y="44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6" y="34"/>
                  </a:lnTo>
                  <a:lnTo>
                    <a:pt x="86" y="30"/>
                  </a:lnTo>
                  <a:lnTo>
                    <a:pt x="86" y="27"/>
                  </a:lnTo>
                  <a:lnTo>
                    <a:pt x="84" y="27"/>
                  </a:lnTo>
                  <a:lnTo>
                    <a:pt x="82" y="25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78" y="15"/>
                  </a:lnTo>
                  <a:lnTo>
                    <a:pt x="76" y="13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3" y="9"/>
                  </a:lnTo>
                  <a:lnTo>
                    <a:pt x="71" y="7"/>
                  </a:lnTo>
                  <a:lnTo>
                    <a:pt x="69" y="3"/>
                  </a:lnTo>
                  <a:lnTo>
                    <a:pt x="69" y="2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61" y="2"/>
                  </a:lnTo>
                  <a:lnTo>
                    <a:pt x="59" y="5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5" y="13"/>
                  </a:lnTo>
                  <a:lnTo>
                    <a:pt x="51" y="15"/>
                  </a:lnTo>
                  <a:lnTo>
                    <a:pt x="51" y="17"/>
                  </a:lnTo>
                  <a:lnTo>
                    <a:pt x="48" y="17"/>
                  </a:lnTo>
                  <a:lnTo>
                    <a:pt x="46" y="19"/>
                  </a:lnTo>
                  <a:lnTo>
                    <a:pt x="42" y="19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5" y="17"/>
                  </a:lnTo>
                  <a:lnTo>
                    <a:pt x="23" y="17"/>
                  </a:lnTo>
                  <a:lnTo>
                    <a:pt x="19" y="17"/>
                  </a:lnTo>
                  <a:lnTo>
                    <a:pt x="19" y="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0" name="Freeform 26"/>
            <p:cNvSpPr>
              <a:spLocks/>
            </p:cNvSpPr>
            <p:nvPr/>
          </p:nvSpPr>
          <p:spPr bwMode="auto">
            <a:xfrm>
              <a:off x="2229" y="2363"/>
              <a:ext cx="90" cy="74"/>
            </a:xfrm>
            <a:custGeom>
              <a:avLst/>
              <a:gdLst/>
              <a:ahLst/>
              <a:cxnLst>
                <a:cxn ang="0">
                  <a:pos x="19" y="19"/>
                </a:cxn>
                <a:cxn ang="0">
                  <a:pos x="17" y="27"/>
                </a:cxn>
                <a:cxn ang="0">
                  <a:pos x="17" y="34"/>
                </a:cxn>
                <a:cxn ang="0">
                  <a:pos x="15" y="36"/>
                </a:cxn>
                <a:cxn ang="0">
                  <a:pos x="11" y="44"/>
                </a:cxn>
                <a:cxn ang="0">
                  <a:pos x="5" y="50"/>
                </a:cxn>
                <a:cxn ang="0">
                  <a:pos x="2" y="53"/>
                </a:cxn>
                <a:cxn ang="0">
                  <a:pos x="2" y="57"/>
                </a:cxn>
                <a:cxn ang="0">
                  <a:pos x="0" y="63"/>
                </a:cxn>
                <a:cxn ang="0">
                  <a:pos x="0" y="71"/>
                </a:cxn>
                <a:cxn ang="0">
                  <a:pos x="2" y="71"/>
                </a:cxn>
                <a:cxn ang="0">
                  <a:pos x="7" y="71"/>
                </a:cxn>
                <a:cxn ang="0">
                  <a:pos x="11" y="71"/>
                </a:cxn>
                <a:cxn ang="0">
                  <a:pos x="15" y="69"/>
                </a:cxn>
                <a:cxn ang="0">
                  <a:pos x="21" y="69"/>
                </a:cxn>
                <a:cxn ang="0">
                  <a:pos x="27" y="71"/>
                </a:cxn>
                <a:cxn ang="0">
                  <a:pos x="28" y="74"/>
                </a:cxn>
                <a:cxn ang="0">
                  <a:pos x="34" y="74"/>
                </a:cxn>
                <a:cxn ang="0">
                  <a:pos x="40" y="71"/>
                </a:cxn>
                <a:cxn ang="0">
                  <a:pos x="42" y="67"/>
                </a:cxn>
                <a:cxn ang="0">
                  <a:pos x="46" y="63"/>
                </a:cxn>
                <a:cxn ang="0">
                  <a:pos x="50" y="59"/>
                </a:cxn>
                <a:cxn ang="0">
                  <a:pos x="55" y="57"/>
                </a:cxn>
                <a:cxn ang="0">
                  <a:pos x="63" y="57"/>
                </a:cxn>
                <a:cxn ang="0">
                  <a:pos x="69" y="57"/>
                </a:cxn>
                <a:cxn ang="0">
                  <a:pos x="75" y="57"/>
                </a:cxn>
                <a:cxn ang="0">
                  <a:pos x="80" y="57"/>
                </a:cxn>
                <a:cxn ang="0">
                  <a:pos x="84" y="55"/>
                </a:cxn>
                <a:cxn ang="0">
                  <a:pos x="90" y="51"/>
                </a:cxn>
                <a:cxn ang="0">
                  <a:pos x="90" y="48"/>
                </a:cxn>
                <a:cxn ang="0">
                  <a:pos x="90" y="44"/>
                </a:cxn>
                <a:cxn ang="0">
                  <a:pos x="88" y="38"/>
                </a:cxn>
                <a:cxn ang="0">
                  <a:pos x="86" y="30"/>
                </a:cxn>
                <a:cxn ang="0">
                  <a:pos x="84" y="27"/>
                </a:cxn>
                <a:cxn ang="0">
                  <a:pos x="82" y="21"/>
                </a:cxn>
                <a:cxn ang="0">
                  <a:pos x="80" y="19"/>
                </a:cxn>
                <a:cxn ang="0">
                  <a:pos x="78" y="15"/>
                </a:cxn>
                <a:cxn ang="0">
                  <a:pos x="75" y="13"/>
                </a:cxn>
                <a:cxn ang="0">
                  <a:pos x="73" y="9"/>
                </a:cxn>
                <a:cxn ang="0">
                  <a:pos x="69" y="3"/>
                </a:cxn>
                <a:cxn ang="0">
                  <a:pos x="67" y="0"/>
                </a:cxn>
                <a:cxn ang="0">
                  <a:pos x="61" y="0"/>
                </a:cxn>
                <a:cxn ang="0">
                  <a:pos x="59" y="5"/>
                </a:cxn>
                <a:cxn ang="0">
                  <a:pos x="55" y="11"/>
                </a:cxn>
                <a:cxn ang="0">
                  <a:pos x="51" y="15"/>
                </a:cxn>
                <a:cxn ang="0">
                  <a:pos x="48" y="17"/>
                </a:cxn>
                <a:cxn ang="0">
                  <a:pos x="42" y="19"/>
                </a:cxn>
                <a:cxn ang="0">
                  <a:pos x="38" y="21"/>
                </a:cxn>
                <a:cxn ang="0">
                  <a:pos x="32" y="21"/>
                </a:cxn>
                <a:cxn ang="0">
                  <a:pos x="28" y="17"/>
                </a:cxn>
                <a:cxn ang="0">
                  <a:pos x="23" y="17"/>
                </a:cxn>
                <a:cxn ang="0">
                  <a:pos x="19" y="15"/>
                </a:cxn>
              </a:cxnLst>
              <a:rect l="0" t="0" r="r" b="b"/>
              <a:pathLst>
                <a:path w="90" h="74">
                  <a:moveTo>
                    <a:pt x="19" y="15"/>
                  </a:moveTo>
                  <a:lnTo>
                    <a:pt x="19" y="19"/>
                  </a:lnTo>
                  <a:lnTo>
                    <a:pt x="19" y="25"/>
                  </a:lnTo>
                  <a:lnTo>
                    <a:pt x="17" y="27"/>
                  </a:lnTo>
                  <a:lnTo>
                    <a:pt x="17" y="30"/>
                  </a:lnTo>
                  <a:lnTo>
                    <a:pt x="17" y="34"/>
                  </a:lnTo>
                  <a:lnTo>
                    <a:pt x="15" y="34"/>
                  </a:lnTo>
                  <a:lnTo>
                    <a:pt x="15" y="36"/>
                  </a:lnTo>
                  <a:lnTo>
                    <a:pt x="11" y="40"/>
                  </a:lnTo>
                  <a:lnTo>
                    <a:pt x="11" y="44"/>
                  </a:lnTo>
                  <a:lnTo>
                    <a:pt x="7" y="46"/>
                  </a:lnTo>
                  <a:lnTo>
                    <a:pt x="5" y="50"/>
                  </a:lnTo>
                  <a:lnTo>
                    <a:pt x="4" y="51"/>
                  </a:lnTo>
                  <a:lnTo>
                    <a:pt x="2" y="53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2" y="61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0" y="73"/>
                  </a:lnTo>
                  <a:lnTo>
                    <a:pt x="2" y="71"/>
                  </a:lnTo>
                  <a:lnTo>
                    <a:pt x="4" y="71"/>
                  </a:lnTo>
                  <a:lnTo>
                    <a:pt x="7" y="71"/>
                  </a:lnTo>
                  <a:lnTo>
                    <a:pt x="9" y="71"/>
                  </a:lnTo>
                  <a:lnTo>
                    <a:pt x="11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32" y="74"/>
                  </a:lnTo>
                  <a:lnTo>
                    <a:pt x="34" y="74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7"/>
                  </a:lnTo>
                  <a:lnTo>
                    <a:pt x="46" y="65"/>
                  </a:lnTo>
                  <a:lnTo>
                    <a:pt x="46" y="63"/>
                  </a:lnTo>
                  <a:lnTo>
                    <a:pt x="48" y="61"/>
                  </a:lnTo>
                  <a:lnTo>
                    <a:pt x="50" y="59"/>
                  </a:lnTo>
                  <a:lnTo>
                    <a:pt x="53" y="59"/>
                  </a:lnTo>
                  <a:lnTo>
                    <a:pt x="55" y="57"/>
                  </a:lnTo>
                  <a:lnTo>
                    <a:pt x="57" y="57"/>
                  </a:lnTo>
                  <a:lnTo>
                    <a:pt x="63" y="57"/>
                  </a:lnTo>
                  <a:lnTo>
                    <a:pt x="65" y="57"/>
                  </a:lnTo>
                  <a:lnTo>
                    <a:pt x="69" y="57"/>
                  </a:lnTo>
                  <a:lnTo>
                    <a:pt x="73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80" y="57"/>
                  </a:lnTo>
                  <a:lnTo>
                    <a:pt x="82" y="57"/>
                  </a:lnTo>
                  <a:lnTo>
                    <a:pt x="84" y="55"/>
                  </a:lnTo>
                  <a:lnTo>
                    <a:pt x="86" y="53"/>
                  </a:lnTo>
                  <a:lnTo>
                    <a:pt x="90" y="51"/>
                  </a:lnTo>
                  <a:lnTo>
                    <a:pt x="90" y="50"/>
                  </a:lnTo>
                  <a:lnTo>
                    <a:pt x="90" y="48"/>
                  </a:lnTo>
                  <a:lnTo>
                    <a:pt x="90" y="46"/>
                  </a:lnTo>
                  <a:lnTo>
                    <a:pt x="90" y="44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6" y="34"/>
                  </a:lnTo>
                  <a:lnTo>
                    <a:pt x="86" y="30"/>
                  </a:lnTo>
                  <a:lnTo>
                    <a:pt x="86" y="27"/>
                  </a:lnTo>
                  <a:lnTo>
                    <a:pt x="84" y="27"/>
                  </a:lnTo>
                  <a:lnTo>
                    <a:pt x="82" y="25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78" y="15"/>
                  </a:lnTo>
                  <a:lnTo>
                    <a:pt x="76" y="13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3" y="9"/>
                  </a:lnTo>
                  <a:lnTo>
                    <a:pt x="71" y="7"/>
                  </a:lnTo>
                  <a:lnTo>
                    <a:pt x="69" y="3"/>
                  </a:lnTo>
                  <a:lnTo>
                    <a:pt x="69" y="2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61" y="2"/>
                  </a:lnTo>
                  <a:lnTo>
                    <a:pt x="59" y="5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5" y="13"/>
                  </a:lnTo>
                  <a:lnTo>
                    <a:pt x="51" y="15"/>
                  </a:lnTo>
                  <a:lnTo>
                    <a:pt x="51" y="17"/>
                  </a:lnTo>
                  <a:lnTo>
                    <a:pt x="48" y="17"/>
                  </a:lnTo>
                  <a:lnTo>
                    <a:pt x="46" y="19"/>
                  </a:lnTo>
                  <a:lnTo>
                    <a:pt x="42" y="19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5" y="17"/>
                  </a:lnTo>
                  <a:lnTo>
                    <a:pt x="23" y="17"/>
                  </a:lnTo>
                  <a:lnTo>
                    <a:pt x="19" y="17"/>
                  </a:lnTo>
                  <a:lnTo>
                    <a:pt x="19" y="1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1" name="Freeform 27"/>
            <p:cNvSpPr>
              <a:spLocks/>
            </p:cNvSpPr>
            <p:nvPr/>
          </p:nvSpPr>
          <p:spPr bwMode="auto">
            <a:xfrm>
              <a:off x="2227" y="2418"/>
              <a:ext cx="84" cy="104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7" y="33"/>
                </a:cxn>
                <a:cxn ang="0">
                  <a:pos x="11" y="39"/>
                </a:cxn>
                <a:cxn ang="0">
                  <a:pos x="13" y="46"/>
                </a:cxn>
                <a:cxn ang="0">
                  <a:pos x="13" y="56"/>
                </a:cxn>
                <a:cxn ang="0">
                  <a:pos x="15" y="62"/>
                </a:cxn>
                <a:cxn ang="0">
                  <a:pos x="21" y="67"/>
                </a:cxn>
                <a:cxn ang="0">
                  <a:pos x="21" y="73"/>
                </a:cxn>
                <a:cxn ang="0">
                  <a:pos x="23" y="83"/>
                </a:cxn>
                <a:cxn ang="0">
                  <a:pos x="23" y="87"/>
                </a:cxn>
                <a:cxn ang="0">
                  <a:pos x="25" y="90"/>
                </a:cxn>
                <a:cxn ang="0">
                  <a:pos x="29" y="98"/>
                </a:cxn>
                <a:cxn ang="0">
                  <a:pos x="30" y="104"/>
                </a:cxn>
                <a:cxn ang="0">
                  <a:pos x="38" y="102"/>
                </a:cxn>
                <a:cxn ang="0">
                  <a:pos x="44" y="94"/>
                </a:cxn>
                <a:cxn ang="0">
                  <a:pos x="50" y="90"/>
                </a:cxn>
                <a:cxn ang="0">
                  <a:pos x="57" y="87"/>
                </a:cxn>
                <a:cxn ang="0">
                  <a:pos x="61" y="85"/>
                </a:cxn>
                <a:cxn ang="0">
                  <a:pos x="67" y="81"/>
                </a:cxn>
                <a:cxn ang="0">
                  <a:pos x="73" y="77"/>
                </a:cxn>
                <a:cxn ang="0">
                  <a:pos x="77" y="69"/>
                </a:cxn>
                <a:cxn ang="0">
                  <a:pos x="78" y="60"/>
                </a:cxn>
                <a:cxn ang="0">
                  <a:pos x="80" y="56"/>
                </a:cxn>
                <a:cxn ang="0">
                  <a:pos x="82" y="48"/>
                </a:cxn>
                <a:cxn ang="0">
                  <a:pos x="84" y="41"/>
                </a:cxn>
                <a:cxn ang="0">
                  <a:pos x="84" y="31"/>
                </a:cxn>
                <a:cxn ang="0">
                  <a:pos x="84" y="23"/>
                </a:cxn>
                <a:cxn ang="0">
                  <a:pos x="82" y="16"/>
                </a:cxn>
                <a:cxn ang="0">
                  <a:pos x="77" y="12"/>
                </a:cxn>
                <a:cxn ang="0">
                  <a:pos x="77" y="8"/>
                </a:cxn>
                <a:cxn ang="0">
                  <a:pos x="80" y="0"/>
                </a:cxn>
                <a:cxn ang="0">
                  <a:pos x="71" y="2"/>
                </a:cxn>
                <a:cxn ang="0">
                  <a:pos x="61" y="2"/>
                </a:cxn>
                <a:cxn ang="0">
                  <a:pos x="53" y="2"/>
                </a:cxn>
                <a:cxn ang="0">
                  <a:pos x="48" y="8"/>
                </a:cxn>
                <a:cxn ang="0">
                  <a:pos x="42" y="16"/>
                </a:cxn>
                <a:cxn ang="0">
                  <a:pos x="34" y="19"/>
                </a:cxn>
                <a:cxn ang="0">
                  <a:pos x="29" y="16"/>
                </a:cxn>
                <a:cxn ang="0">
                  <a:pos x="21" y="14"/>
                </a:cxn>
                <a:cxn ang="0">
                  <a:pos x="13" y="14"/>
                </a:cxn>
                <a:cxn ang="0">
                  <a:pos x="7" y="16"/>
                </a:cxn>
                <a:cxn ang="0">
                  <a:pos x="4" y="18"/>
                </a:cxn>
              </a:cxnLst>
              <a:rect l="0" t="0" r="r" b="b"/>
              <a:pathLst>
                <a:path w="84" h="104">
                  <a:moveTo>
                    <a:pt x="2" y="18"/>
                  </a:moveTo>
                  <a:lnTo>
                    <a:pt x="2" y="21"/>
                  </a:lnTo>
                  <a:lnTo>
                    <a:pt x="4" y="25"/>
                  </a:lnTo>
                  <a:lnTo>
                    <a:pt x="6" y="29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9" y="35"/>
                  </a:lnTo>
                  <a:lnTo>
                    <a:pt x="11" y="35"/>
                  </a:lnTo>
                  <a:lnTo>
                    <a:pt x="11" y="39"/>
                  </a:lnTo>
                  <a:lnTo>
                    <a:pt x="13" y="41"/>
                  </a:lnTo>
                  <a:lnTo>
                    <a:pt x="13" y="43"/>
                  </a:lnTo>
                  <a:lnTo>
                    <a:pt x="13" y="46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3" y="56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21" y="67"/>
                  </a:lnTo>
                  <a:lnTo>
                    <a:pt x="21" y="69"/>
                  </a:lnTo>
                  <a:lnTo>
                    <a:pt x="21" y="71"/>
                  </a:lnTo>
                  <a:lnTo>
                    <a:pt x="21" y="73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3" y="83"/>
                  </a:lnTo>
                  <a:lnTo>
                    <a:pt x="21" y="87"/>
                  </a:lnTo>
                  <a:lnTo>
                    <a:pt x="23" y="85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5" y="90"/>
                  </a:lnTo>
                  <a:lnTo>
                    <a:pt x="25" y="94"/>
                  </a:lnTo>
                  <a:lnTo>
                    <a:pt x="27" y="96"/>
                  </a:lnTo>
                  <a:lnTo>
                    <a:pt x="29" y="98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8" y="102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44" y="94"/>
                  </a:lnTo>
                  <a:lnTo>
                    <a:pt x="46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3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5"/>
                  </a:lnTo>
                  <a:lnTo>
                    <a:pt x="61" y="85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7" y="81"/>
                  </a:lnTo>
                  <a:lnTo>
                    <a:pt x="69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3" y="73"/>
                  </a:lnTo>
                  <a:lnTo>
                    <a:pt x="75" y="71"/>
                  </a:lnTo>
                  <a:lnTo>
                    <a:pt x="77" y="69"/>
                  </a:lnTo>
                  <a:lnTo>
                    <a:pt x="78" y="67"/>
                  </a:lnTo>
                  <a:lnTo>
                    <a:pt x="78" y="64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80" y="58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4" y="43"/>
                  </a:lnTo>
                  <a:lnTo>
                    <a:pt x="84" y="41"/>
                  </a:lnTo>
                  <a:lnTo>
                    <a:pt x="84" y="37"/>
                  </a:lnTo>
                  <a:lnTo>
                    <a:pt x="84" y="33"/>
                  </a:lnTo>
                  <a:lnTo>
                    <a:pt x="84" y="31"/>
                  </a:lnTo>
                  <a:lnTo>
                    <a:pt x="84" y="27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19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78" y="16"/>
                  </a:lnTo>
                  <a:lnTo>
                    <a:pt x="77" y="16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5" y="8"/>
                  </a:lnTo>
                  <a:lnTo>
                    <a:pt x="77" y="8"/>
                  </a:lnTo>
                  <a:lnTo>
                    <a:pt x="77" y="6"/>
                  </a:lnTo>
                  <a:lnTo>
                    <a:pt x="78" y="4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71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1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3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6" y="12"/>
                  </a:lnTo>
                  <a:lnTo>
                    <a:pt x="44" y="14"/>
                  </a:lnTo>
                  <a:lnTo>
                    <a:pt x="42" y="16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4" y="19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5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0" y="19"/>
                  </a:lnTo>
                  <a:lnTo>
                    <a:pt x="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2" name="Freeform 28"/>
            <p:cNvSpPr>
              <a:spLocks/>
            </p:cNvSpPr>
            <p:nvPr/>
          </p:nvSpPr>
          <p:spPr bwMode="auto">
            <a:xfrm>
              <a:off x="2227" y="2418"/>
              <a:ext cx="84" cy="104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7" y="33"/>
                </a:cxn>
                <a:cxn ang="0">
                  <a:pos x="11" y="39"/>
                </a:cxn>
                <a:cxn ang="0">
                  <a:pos x="13" y="46"/>
                </a:cxn>
                <a:cxn ang="0">
                  <a:pos x="13" y="56"/>
                </a:cxn>
                <a:cxn ang="0">
                  <a:pos x="15" y="62"/>
                </a:cxn>
                <a:cxn ang="0">
                  <a:pos x="21" y="67"/>
                </a:cxn>
                <a:cxn ang="0">
                  <a:pos x="21" y="73"/>
                </a:cxn>
                <a:cxn ang="0">
                  <a:pos x="23" y="83"/>
                </a:cxn>
                <a:cxn ang="0">
                  <a:pos x="23" y="87"/>
                </a:cxn>
                <a:cxn ang="0">
                  <a:pos x="25" y="90"/>
                </a:cxn>
                <a:cxn ang="0">
                  <a:pos x="29" y="98"/>
                </a:cxn>
                <a:cxn ang="0">
                  <a:pos x="30" y="104"/>
                </a:cxn>
                <a:cxn ang="0">
                  <a:pos x="38" y="102"/>
                </a:cxn>
                <a:cxn ang="0">
                  <a:pos x="44" y="94"/>
                </a:cxn>
                <a:cxn ang="0">
                  <a:pos x="50" y="90"/>
                </a:cxn>
                <a:cxn ang="0">
                  <a:pos x="57" y="87"/>
                </a:cxn>
                <a:cxn ang="0">
                  <a:pos x="61" y="85"/>
                </a:cxn>
                <a:cxn ang="0">
                  <a:pos x="67" y="81"/>
                </a:cxn>
                <a:cxn ang="0">
                  <a:pos x="73" y="77"/>
                </a:cxn>
                <a:cxn ang="0">
                  <a:pos x="77" y="69"/>
                </a:cxn>
                <a:cxn ang="0">
                  <a:pos x="78" y="60"/>
                </a:cxn>
                <a:cxn ang="0">
                  <a:pos x="80" y="56"/>
                </a:cxn>
                <a:cxn ang="0">
                  <a:pos x="82" y="48"/>
                </a:cxn>
                <a:cxn ang="0">
                  <a:pos x="84" y="41"/>
                </a:cxn>
                <a:cxn ang="0">
                  <a:pos x="84" y="31"/>
                </a:cxn>
                <a:cxn ang="0">
                  <a:pos x="84" y="23"/>
                </a:cxn>
                <a:cxn ang="0">
                  <a:pos x="82" y="16"/>
                </a:cxn>
                <a:cxn ang="0">
                  <a:pos x="77" y="12"/>
                </a:cxn>
                <a:cxn ang="0">
                  <a:pos x="77" y="8"/>
                </a:cxn>
                <a:cxn ang="0">
                  <a:pos x="80" y="0"/>
                </a:cxn>
                <a:cxn ang="0">
                  <a:pos x="71" y="2"/>
                </a:cxn>
                <a:cxn ang="0">
                  <a:pos x="61" y="2"/>
                </a:cxn>
                <a:cxn ang="0">
                  <a:pos x="53" y="2"/>
                </a:cxn>
                <a:cxn ang="0">
                  <a:pos x="48" y="8"/>
                </a:cxn>
                <a:cxn ang="0">
                  <a:pos x="42" y="16"/>
                </a:cxn>
                <a:cxn ang="0">
                  <a:pos x="34" y="19"/>
                </a:cxn>
                <a:cxn ang="0">
                  <a:pos x="29" y="16"/>
                </a:cxn>
                <a:cxn ang="0">
                  <a:pos x="21" y="14"/>
                </a:cxn>
                <a:cxn ang="0">
                  <a:pos x="13" y="14"/>
                </a:cxn>
                <a:cxn ang="0">
                  <a:pos x="7" y="16"/>
                </a:cxn>
                <a:cxn ang="0">
                  <a:pos x="4" y="18"/>
                </a:cxn>
              </a:cxnLst>
              <a:rect l="0" t="0" r="r" b="b"/>
              <a:pathLst>
                <a:path w="84" h="104">
                  <a:moveTo>
                    <a:pt x="2" y="18"/>
                  </a:moveTo>
                  <a:lnTo>
                    <a:pt x="2" y="21"/>
                  </a:lnTo>
                  <a:lnTo>
                    <a:pt x="4" y="25"/>
                  </a:lnTo>
                  <a:lnTo>
                    <a:pt x="6" y="29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9" y="35"/>
                  </a:lnTo>
                  <a:lnTo>
                    <a:pt x="11" y="35"/>
                  </a:lnTo>
                  <a:lnTo>
                    <a:pt x="11" y="39"/>
                  </a:lnTo>
                  <a:lnTo>
                    <a:pt x="13" y="41"/>
                  </a:lnTo>
                  <a:lnTo>
                    <a:pt x="13" y="43"/>
                  </a:lnTo>
                  <a:lnTo>
                    <a:pt x="13" y="46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3" y="56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21" y="67"/>
                  </a:lnTo>
                  <a:lnTo>
                    <a:pt x="21" y="69"/>
                  </a:lnTo>
                  <a:lnTo>
                    <a:pt x="21" y="71"/>
                  </a:lnTo>
                  <a:lnTo>
                    <a:pt x="21" y="73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3" y="83"/>
                  </a:lnTo>
                  <a:lnTo>
                    <a:pt x="21" y="87"/>
                  </a:lnTo>
                  <a:lnTo>
                    <a:pt x="23" y="85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5" y="90"/>
                  </a:lnTo>
                  <a:lnTo>
                    <a:pt x="25" y="94"/>
                  </a:lnTo>
                  <a:lnTo>
                    <a:pt x="27" y="96"/>
                  </a:lnTo>
                  <a:lnTo>
                    <a:pt x="29" y="98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8" y="102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44" y="94"/>
                  </a:lnTo>
                  <a:lnTo>
                    <a:pt x="46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3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5"/>
                  </a:lnTo>
                  <a:lnTo>
                    <a:pt x="61" y="85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7" y="81"/>
                  </a:lnTo>
                  <a:lnTo>
                    <a:pt x="69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3" y="73"/>
                  </a:lnTo>
                  <a:lnTo>
                    <a:pt x="75" y="71"/>
                  </a:lnTo>
                  <a:lnTo>
                    <a:pt x="77" y="69"/>
                  </a:lnTo>
                  <a:lnTo>
                    <a:pt x="78" y="67"/>
                  </a:lnTo>
                  <a:lnTo>
                    <a:pt x="78" y="64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80" y="58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4" y="43"/>
                  </a:lnTo>
                  <a:lnTo>
                    <a:pt x="84" y="41"/>
                  </a:lnTo>
                  <a:lnTo>
                    <a:pt x="84" y="37"/>
                  </a:lnTo>
                  <a:lnTo>
                    <a:pt x="84" y="33"/>
                  </a:lnTo>
                  <a:lnTo>
                    <a:pt x="84" y="31"/>
                  </a:lnTo>
                  <a:lnTo>
                    <a:pt x="84" y="27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19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78" y="16"/>
                  </a:lnTo>
                  <a:lnTo>
                    <a:pt x="77" y="16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5" y="8"/>
                  </a:lnTo>
                  <a:lnTo>
                    <a:pt x="77" y="8"/>
                  </a:lnTo>
                  <a:lnTo>
                    <a:pt x="77" y="6"/>
                  </a:lnTo>
                  <a:lnTo>
                    <a:pt x="78" y="4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71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1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3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6" y="12"/>
                  </a:lnTo>
                  <a:lnTo>
                    <a:pt x="44" y="14"/>
                  </a:lnTo>
                  <a:lnTo>
                    <a:pt x="42" y="16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4" y="19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5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0" y="19"/>
                  </a:lnTo>
                  <a:lnTo>
                    <a:pt x="2" y="18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3" name="Freeform 29"/>
            <p:cNvSpPr>
              <a:spLocks/>
            </p:cNvSpPr>
            <p:nvPr/>
          </p:nvSpPr>
          <p:spPr bwMode="auto">
            <a:xfrm>
              <a:off x="2672" y="1887"/>
              <a:ext cx="366" cy="499"/>
            </a:xfrm>
            <a:custGeom>
              <a:avLst/>
              <a:gdLst/>
              <a:ahLst/>
              <a:cxnLst>
                <a:cxn ang="0">
                  <a:pos x="42" y="478"/>
                </a:cxn>
                <a:cxn ang="0">
                  <a:pos x="57" y="460"/>
                </a:cxn>
                <a:cxn ang="0">
                  <a:pos x="81" y="437"/>
                </a:cxn>
                <a:cxn ang="0">
                  <a:pos x="115" y="401"/>
                </a:cxn>
                <a:cxn ang="0">
                  <a:pos x="142" y="384"/>
                </a:cxn>
                <a:cxn ang="0">
                  <a:pos x="165" y="370"/>
                </a:cxn>
                <a:cxn ang="0">
                  <a:pos x="178" y="351"/>
                </a:cxn>
                <a:cxn ang="0">
                  <a:pos x="190" y="334"/>
                </a:cxn>
                <a:cxn ang="0">
                  <a:pos x="221" y="318"/>
                </a:cxn>
                <a:cxn ang="0">
                  <a:pos x="238" y="299"/>
                </a:cxn>
                <a:cxn ang="0">
                  <a:pos x="251" y="284"/>
                </a:cxn>
                <a:cxn ang="0">
                  <a:pos x="274" y="257"/>
                </a:cxn>
                <a:cxn ang="0">
                  <a:pos x="284" y="226"/>
                </a:cxn>
                <a:cxn ang="0">
                  <a:pos x="297" y="203"/>
                </a:cxn>
                <a:cxn ang="0">
                  <a:pos x="317" y="180"/>
                </a:cxn>
                <a:cxn ang="0">
                  <a:pos x="334" y="161"/>
                </a:cxn>
                <a:cxn ang="0">
                  <a:pos x="345" y="132"/>
                </a:cxn>
                <a:cxn ang="0">
                  <a:pos x="359" y="101"/>
                </a:cxn>
                <a:cxn ang="0">
                  <a:pos x="359" y="73"/>
                </a:cxn>
                <a:cxn ang="0">
                  <a:pos x="364" y="46"/>
                </a:cxn>
                <a:cxn ang="0">
                  <a:pos x="364" y="17"/>
                </a:cxn>
                <a:cxn ang="0">
                  <a:pos x="353" y="2"/>
                </a:cxn>
                <a:cxn ang="0">
                  <a:pos x="338" y="9"/>
                </a:cxn>
                <a:cxn ang="0">
                  <a:pos x="318" y="17"/>
                </a:cxn>
                <a:cxn ang="0">
                  <a:pos x="292" y="25"/>
                </a:cxn>
                <a:cxn ang="0">
                  <a:pos x="269" y="25"/>
                </a:cxn>
                <a:cxn ang="0">
                  <a:pos x="232" y="19"/>
                </a:cxn>
                <a:cxn ang="0">
                  <a:pos x="209" y="42"/>
                </a:cxn>
                <a:cxn ang="0">
                  <a:pos x="175" y="46"/>
                </a:cxn>
                <a:cxn ang="0">
                  <a:pos x="144" y="54"/>
                </a:cxn>
                <a:cxn ang="0">
                  <a:pos x="123" y="59"/>
                </a:cxn>
                <a:cxn ang="0">
                  <a:pos x="105" y="46"/>
                </a:cxn>
                <a:cxn ang="0">
                  <a:pos x="94" y="25"/>
                </a:cxn>
                <a:cxn ang="0">
                  <a:pos x="77" y="29"/>
                </a:cxn>
                <a:cxn ang="0">
                  <a:pos x="63" y="50"/>
                </a:cxn>
                <a:cxn ang="0">
                  <a:pos x="69" y="73"/>
                </a:cxn>
                <a:cxn ang="0">
                  <a:pos x="81" y="98"/>
                </a:cxn>
                <a:cxn ang="0">
                  <a:pos x="102" y="111"/>
                </a:cxn>
                <a:cxn ang="0">
                  <a:pos x="132" y="121"/>
                </a:cxn>
                <a:cxn ang="0">
                  <a:pos x="171" y="125"/>
                </a:cxn>
                <a:cxn ang="0">
                  <a:pos x="203" y="138"/>
                </a:cxn>
                <a:cxn ang="0">
                  <a:pos x="230" y="142"/>
                </a:cxn>
                <a:cxn ang="0">
                  <a:pos x="251" y="142"/>
                </a:cxn>
                <a:cxn ang="0">
                  <a:pos x="253" y="146"/>
                </a:cxn>
                <a:cxn ang="0">
                  <a:pos x="244" y="159"/>
                </a:cxn>
                <a:cxn ang="0">
                  <a:pos x="230" y="174"/>
                </a:cxn>
                <a:cxn ang="0">
                  <a:pos x="213" y="190"/>
                </a:cxn>
                <a:cxn ang="0">
                  <a:pos x="184" y="211"/>
                </a:cxn>
                <a:cxn ang="0">
                  <a:pos x="169" y="236"/>
                </a:cxn>
                <a:cxn ang="0">
                  <a:pos x="159" y="253"/>
                </a:cxn>
                <a:cxn ang="0">
                  <a:pos x="125" y="257"/>
                </a:cxn>
                <a:cxn ang="0">
                  <a:pos x="92" y="259"/>
                </a:cxn>
                <a:cxn ang="0">
                  <a:pos x="71" y="280"/>
                </a:cxn>
                <a:cxn ang="0">
                  <a:pos x="38" y="291"/>
                </a:cxn>
                <a:cxn ang="0">
                  <a:pos x="27" y="309"/>
                </a:cxn>
                <a:cxn ang="0">
                  <a:pos x="6" y="330"/>
                </a:cxn>
                <a:cxn ang="0">
                  <a:pos x="0" y="353"/>
                </a:cxn>
                <a:cxn ang="0">
                  <a:pos x="2" y="378"/>
                </a:cxn>
                <a:cxn ang="0">
                  <a:pos x="0" y="403"/>
                </a:cxn>
                <a:cxn ang="0">
                  <a:pos x="0" y="432"/>
                </a:cxn>
                <a:cxn ang="0">
                  <a:pos x="0" y="460"/>
                </a:cxn>
                <a:cxn ang="0">
                  <a:pos x="13" y="481"/>
                </a:cxn>
                <a:cxn ang="0">
                  <a:pos x="34" y="493"/>
                </a:cxn>
              </a:cxnLst>
              <a:rect l="0" t="0" r="r" b="b"/>
              <a:pathLst>
                <a:path w="366" h="499">
                  <a:moveTo>
                    <a:pt x="27" y="499"/>
                  </a:moveTo>
                  <a:lnTo>
                    <a:pt x="31" y="493"/>
                  </a:lnTo>
                  <a:lnTo>
                    <a:pt x="34" y="489"/>
                  </a:lnTo>
                  <a:lnTo>
                    <a:pt x="34" y="487"/>
                  </a:lnTo>
                  <a:lnTo>
                    <a:pt x="36" y="485"/>
                  </a:lnTo>
                  <a:lnTo>
                    <a:pt x="36" y="483"/>
                  </a:lnTo>
                  <a:lnTo>
                    <a:pt x="38" y="479"/>
                  </a:lnTo>
                  <a:lnTo>
                    <a:pt x="42" y="478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6" y="472"/>
                  </a:lnTo>
                  <a:lnTo>
                    <a:pt x="48" y="470"/>
                  </a:lnTo>
                  <a:lnTo>
                    <a:pt x="50" y="468"/>
                  </a:lnTo>
                  <a:lnTo>
                    <a:pt x="54" y="466"/>
                  </a:lnTo>
                  <a:lnTo>
                    <a:pt x="54" y="464"/>
                  </a:lnTo>
                  <a:lnTo>
                    <a:pt x="57" y="460"/>
                  </a:lnTo>
                  <a:lnTo>
                    <a:pt x="61" y="458"/>
                  </a:lnTo>
                  <a:lnTo>
                    <a:pt x="63" y="455"/>
                  </a:lnTo>
                  <a:lnTo>
                    <a:pt x="67" y="451"/>
                  </a:lnTo>
                  <a:lnTo>
                    <a:pt x="71" y="449"/>
                  </a:lnTo>
                  <a:lnTo>
                    <a:pt x="75" y="445"/>
                  </a:lnTo>
                  <a:lnTo>
                    <a:pt x="77" y="441"/>
                  </a:lnTo>
                  <a:lnTo>
                    <a:pt x="79" y="439"/>
                  </a:lnTo>
                  <a:lnTo>
                    <a:pt x="81" y="437"/>
                  </a:lnTo>
                  <a:lnTo>
                    <a:pt x="86" y="432"/>
                  </a:lnTo>
                  <a:lnTo>
                    <a:pt x="88" y="428"/>
                  </a:lnTo>
                  <a:lnTo>
                    <a:pt x="92" y="424"/>
                  </a:lnTo>
                  <a:lnTo>
                    <a:pt x="100" y="414"/>
                  </a:lnTo>
                  <a:lnTo>
                    <a:pt x="104" y="410"/>
                  </a:lnTo>
                  <a:lnTo>
                    <a:pt x="107" y="407"/>
                  </a:lnTo>
                  <a:lnTo>
                    <a:pt x="109" y="405"/>
                  </a:lnTo>
                  <a:lnTo>
                    <a:pt x="115" y="401"/>
                  </a:lnTo>
                  <a:lnTo>
                    <a:pt x="119" y="399"/>
                  </a:lnTo>
                  <a:lnTo>
                    <a:pt x="123" y="397"/>
                  </a:lnTo>
                  <a:lnTo>
                    <a:pt x="125" y="395"/>
                  </a:lnTo>
                  <a:lnTo>
                    <a:pt x="130" y="391"/>
                  </a:lnTo>
                  <a:lnTo>
                    <a:pt x="134" y="389"/>
                  </a:lnTo>
                  <a:lnTo>
                    <a:pt x="136" y="387"/>
                  </a:lnTo>
                  <a:lnTo>
                    <a:pt x="140" y="385"/>
                  </a:lnTo>
                  <a:lnTo>
                    <a:pt x="142" y="384"/>
                  </a:lnTo>
                  <a:lnTo>
                    <a:pt x="146" y="382"/>
                  </a:lnTo>
                  <a:lnTo>
                    <a:pt x="148" y="382"/>
                  </a:lnTo>
                  <a:lnTo>
                    <a:pt x="152" y="380"/>
                  </a:lnTo>
                  <a:lnTo>
                    <a:pt x="153" y="378"/>
                  </a:lnTo>
                  <a:lnTo>
                    <a:pt x="157" y="378"/>
                  </a:lnTo>
                  <a:lnTo>
                    <a:pt x="159" y="374"/>
                  </a:lnTo>
                  <a:lnTo>
                    <a:pt x="161" y="372"/>
                  </a:lnTo>
                  <a:lnTo>
                    <a:pt x="165" y="370"/>
                  </a:lnTo>
                  <a:lnTo>
                    <a:pt x="169" y="370"/>
                  </a:lnTo>
                  <a:lnTo>
                    <a:pt x="169" y="368"/>
                  </a:lnTo>
                  <a:lnTo>
                    <a:pt x="173" y="366"/>
                  </a:lnTo>
                  <a:lnTo>
                    <a:pt x="175" y="364"/>
                  </a:lnTo>
                  <a:lnTo>
                    <a:pt x="176" y="361"/>
                  </a:lnTo>
                  <a:lnTo>
                    <a:pt x="176" y="359"/>
                  </a:lnTo>
                  <a:lnTo>
                    <a:pt x="178" y="357"/>
                  </a:lnTo>
                  <a:lnTo>
                    <a:pt x="178" y="351"/>
                  </a:lnTo>
                  <a:lnTo>
                    <a:pt x="180" y="349"/>
                  </a:lnTo>
                  <a:lnTo>
                    <a:pt x="180" y="345"/>
                  </a:lnTo>
                  <a:lnTo>
                    <a:pt x="182" y="343"/>
                  </a:lnTo>
                  <a:lnTo>
                    <a:pt x="182" y="341"/>
                  </a:lnTo>
                  <a:lnTo>
                    <a:pt x="184" y="339"/>
                  </a:lnTo>
                  <a:lnTo>
                    <a:pt x="186" y="338"/>
                  </a:lnTo>
                  <a:lnTo>
                    <a:pt x="186" y="336"/>
                  </a:lnTo>
                  <a:lnTo>
                    <a:pt x="190" y="334"/>
                  </a:lnTo>
                  <a:lnTo>
                    <a:pt x="194" y="330"/>
                  </a:lnTo>
                  <a:lnTo>
                    <a:pt x="196" y="326"/>
                  </a:lnTo>
                  <a:lnTo>
                    <a:pt x="199" y="326"/>
                  </a:lnTo>
                  <a:lnTo>
                    <a:pt x="203" y="326"/>
                  </a:lnTo>
                  <a:lnTo>
                    <a:pt x="207" y="322"/>
                  </a:lnTo>
                  <a:lnTo>
                    <a:pt x="213" y="320"/>
                  </a:lnTo>
                  <a:lnTo>
                    <a:pt x="217" y="320"/>
                  </a:lnTo>
                  <a:lnTo>
                    <a:pt x="221" y="318"/>
                  </a:lnTo>
                  <a:lnTo>
                    <a:pt x="226" y="316"/>
                  </a:lnTo>
                  <a:lnTo>
                    <a:pt x="230" y="316"/>
                  </a:lnTo>
                  <a:lnTo>
                    <a:pt x="230" y="314"/>
                  </a:lnTo>
                  <a:lnTo>
                    <a:pt x="232" y="314"/>
                  </a:lnTo>
                  <a:lnTo>
                    <a:pt x="234" y="309"/>
                  </a:lnTo>
                  <a:lnTo>
                    <a:pt x="234" y="305"/>
                  </a:lnTo>
                  <a:lnTo>
                    <a:pt x="236" y="303"/>
                  </a:lnTo>
                  <a:lnTo>
                    <a:pt x="238" y="299"/>
                  </a:lnTo>
                  <a:lnTo>
                    <a:pt x="238" y="297"/>
                  </a:lnTo>
                  <a:lnTo>
                    <a:pt x="240" y="295"/>
                  </a:lnTo>
                  <a:lnTo>
                    <a:pt x="242" y="293"/>
                  </a:lnTo>
                  <a:lnTo>
                    <a:pt x="246" y="291"/>
                  </a:lnTo>
                  <a:lnTo>
                    <a:pt x="246" y="290"/>
                  </a:lnTo>
                  <a:lnTo>
                    <a:pt x="247" y="288"/>
                  </a:lnTo>
                  <a:lnTo>
                    <a:pt x="249" y="286"/>
                  </a:lnTo>
                  <a:lnTo>
                    <a:pt x="251" y="284"/>
                  </a:lnTo>
                  <a:lnTo>
                    <a:pt x="255" y="282"/>
                  </a:lnTo>
                  <a:lnTo>
                    <a:pt x="259" y="276"/>
                  </a:lnTo>
                  <a:lnTo>
                    <a:pt x="265" y="272"/>
                  </a:lnTo>
                  <a:lnTo>
                    <a:pt x="267" y="267"/>
                  </a:lnTo>
                  <a:lnTo>
                    <a:pt x="269" y="265"/>
                  </a:lnTo>
                  <a:lnTo>
                    <a:pt x="270" y="261"/>
                  </a:lnTo>
                  <a:lnTo>
                    <a:pt x="272" y="257"/>
                  </a:lnTo>
                  <a:lnTo>
                    <a:pt x="274" y="257"/>
                  </a:lnTo>
                  <a:lnTo>
                    <a:pt x="276" y="255"/>
                  </a:lnTo>
                  <a:lnTo>
                    <a:pt x="278" y="251"/>
                  </a:lnTo>
                  <a:lnTo>
                    <a:pt x="280" y="247"/>
                  </a:lnTo>
                  <a:lnTo>
                    <a:pt x="284" y="245"/>
                  </a:lnTo>
                  <a:lnTo>
                    <a:pt x="284" y="242"/>
                  </a:lnTo>
                  <a:lnTo>
                    <a:pt x="284" y="238"/>
                  </a:lnTo>
                  <a:lnTo>
                    <a:pt x="284" y="230"/>
                  </a:lnTo>
                  <a:lnTo>
                    <a:pt x="284" y="226"/>
                  </a:lnTo>
                  <a:lnTo>
                    <a:pt x="284" y="222"/>
                  </a:lnTo>
                  <a:lnTo>
                    <a:pt x="284" y="220"/>
                  </a:lnTo>
                  <a:lnTo>
                    <a:pt x="284" y="219"/>
                  </a:lnTo>
                  <a:lnTo>
                    <a:pt x="288" y="215"/>
                  </a:lnTo>
                  <a:lnTo>
                    <a:pt x="288" y="213"/>
                  </a:lnTo>
                  <a:lnTo>
                    <a:pt x="292" y="211"/>
                  </a:lnTo>
                  <a:lnTo>
                    <a:pt x="292" y="207"/>
                  </a:lnTo>
                  <a:lnTo>
                    <a:pt x="297" y="203"/>
                  </a:lnTo>
                  <a:lnTo>
                    <a:pt x="301" y="199"/>
                  </a:lnTo>
                  <a:lnTo>
                    <a:pt x="303" y="196"/>
                  </a:lnTo>
                  <a:lnTo>
                    <a:pt x="305" y="194"/>
                  </a:lnTo>
                  <a:lnTo>
                    <a:pt x="309" y="190"/>
                  </a:lnTo>
                  <a:lnTo>
                    <a:pt x="311" y="188"/>
                  </a:lnTo>
                  <a:lnTo>
                    <a:pt x="313" y="186"/>
                  </a:lnTo>
                  <a:lnTo>
                    <a:pt x="315" y="182"/>
                  </a:lnTo>
                  <a:lnTo>
                    <a:pt x="317" y="180"/>
                  </a:lnTo>
                  <a:lnTo>
                    <a:pt x="318" y="176"/>
                  </a:lnTo>
                  <a:lnTo>
                    <a:pt x="320" y="174"/>
                  </a:lnTo>
                  <a:lnTo>
                    <a:pt x="322" y="174"/>
                  </a:lnTo>
                  <a:lnTo>
                    <a:pt x="324" y="172"/>
                  </a:lnTo>
                  <a:lnTo>
                    <a:pt x="328" y="169"/>
                  </a:lnTo>
                  <a:lnTo>
                    <a:pt x="330" y="167"/>
                  </a:lnTo>
                  <a:lnTo>
                    <a:pt x="332" y="165"/>
                  </a:lnTo>
                  <a:lnTo>
                    <a:pt x="334" y="161"/>
                  </a:lnTo>
                  <a:lnTo>
                    <a:pt x="336" y="159"/>
                  </a:lnTo>
                  <a:lnTo>
                    <a:pt x="338" y="155"/>
                  </a:lnTo>
                  <a:lnTo>
                    <a:pt x="338" y="151"/>
                  </a:lnTo>
                  <a:lnTo>
                    <a:pt x="338" y="148"/>
                  </a:lnTo>
                  <a:lnTo>
                    <a:pt x="338" y="144"/>
                  </a:lnTo>
                  <a:lnTo>
                    <a:pt x="338" y="142"/>
                  </a:lnTo>
                  <a:lnTo>
                    <a:pt x="341" y="136"/>
                  </a:lnTo>
                  <a:lnTo>
                    <a:pt x="345" y="132"/>
                  </a:lnTo>
                  <a:lnTo>
                    <a:pt x="347" y="128"/>
                  </a:lnTo>
                  <a:lnTo>
                    <a:pt x="351" y="125"/>
                  </a:lnTo>
                  <a:lnTo>
                    <a:pt x="353" y="123"/>
                  </a:lnTo>
                  <a:lnTo>
                    <a:pt x="357" y="117"/>
                  </a:lnTo>
                  <a:lnTo>
                    <a:pt x="357" y="115"/>
                  </a:lnTo>
                  <a:lnTo>
                    <a:pt x="361" y="109"/>
                  </a:lnTo>
                  <a:lnTo>
                    <a:pt x="361" y="105"/>
                  </a:lnTo>
                  <a:lnTo>
                    <a:pt x="359" y="101"/>
                  </a:lnTo>
                  <a:lnTo>
                    <a:pt x="359" y="98"/>
                  </a:lnTo>
                  <a:lnTo>
                    <a:pt x="359" y="94"/>
                  </a:lnTo>
                  <a:lnTo>
                    <a:pt x="359" y="90"/>
                  </a:lnTo>
                  <a:lnTo>
                    <a:pt x="359" y="88"/>
                  </a:lnTo>
                  <a:lnTo>
                    <a:pt x="359" y="84"/>
                  </a:lnTo>
                  <a:lnTo>
                    <a:pt x="359" y="80"/>
                  </a:lnTo>
                  <a:lnTo>
                    <a:pt x="359" y="77"/>
                  </a:lnTo>
                  <a:lnTo>
                    <a:pt x="359" y="73"/>
                  </a:lnTo>
                  <a:lnTo>
                    <a:pt x="361" y="71"/>
                  </a:lnTo>
                  <a:lnTo>
                    <a:pt x="361" y="67"/>
                  </a:lnTo>
                  <a:lnTo>
                    <a:pt x="361" y="65"/>
                  </a:lnTo>
                  <a:lnTo>
                    <a:pt x="363" y="61"/>
                  </a:lnTo>
                  <a:lnTo>
                    <a:pt x="363" y="59"/>
                  </a:lnTo>
                  <a:lnTo>
                    <a:pt x="363" y="52"/>
                  </a:lnTo>
                  <a:lnTo>
                    <a:pt x="364" y="50"/>
                  </a:lnTo>
                  <a:lnTo>
                    <a:pt x="364" y="46"/>
                  </a:lnTo>
                  <a:lnTo>
                    <a:pt x="364" y="44"/>
                  </a:lnTo>
                  <a:lnTo>
                    <a:pt x="366" y="40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6" y="27"/>
                  </a:lnTo>
                  <a:lnTo>
                    <a:pt x="364" y="21"/>
                  </a:lnTo>
                  <a:lnTo>
                    <a:pt x="364" y="19"/>
                  </a:lnTo>
                  <a:lnTo>
                    <a:pt x="364" y="17"/>
                  </a:lnTo>
                  <a:lnTo>
                    <a:pt x="363" y="13"/>
                  </a:lnTo>
                  <a:lnTo>
                    <a:pt x="363" y="9"/>
                  </a:lnTo>
                  <a:lnTo>
                    <a:pt x="363" y="7"/>
                  </a:lnTo>
                  <a:lnTo>
                    <a:pt x="363" y="4"/>
                  </a:lnTo>
                  <a:lnTo>
                    <a:pt x="361" y="2"/>
                  </a:lnTo>
                  <a:lnTo>
                    <a:pt x="357" y="2"/>
                  </a:lnTo>
                  <a:lnTo>
                    <a:pt x="355" y="2"/>
                  </a:lnTo>
                  <a:lnTo>
                    <a:pt x="353" y="2"/>
                  </a:lnTo>
                  <a:lnTo>
                    <a:pt x="349" y="2"/>
                  </a:lnTo>
                  <a:lnTo>
                    <a:pt x="347" y="0"/>
                  </a:lnTo>
                  <a:lnTo>
                    <a:pt x="345" y="0"/>
                  </a:lnTo>
                  <a:lnTo>
                    <a:pt x="341" y="0"/>
                  </a:lnTo>
                  <a:lnTo>
                    <a:pt x="338" y="0"/>
                  </a:lnTo>
                  <a:lnTo>
                    <a:pt x="338" y="4"/>
                  </a:lnTo>
                  <a:lnTo>
                    <a:pt x="338" y="7"/>
                  </a:lnTo>
                  <a:lnTo>
                    <a:pt x="338" y="9"/>
                  </a:lnTo>
                  <a:lnTo>
                    <a:pt x="338" y="11"/>
                  </a:lnTo>
                  <a:lnTo>
                    <a:pt x="336" y="13"/>
                  </a:lnTo>
                  <a:lnTo>
                    <a:pt x="334" y="15"/>
                  </a:lnTo>
                  <a:lnTo>
                    <a:pt x="330" y="15"/>
                  </a:lnTo>
                  <a:lnTo>
                    <a:pt x="328" y="17"/>
                  </a:lnTo>
                  <a:lnTo>
                    <a:pt x="326" y="17"/>
                  </a:lnTo>
                  <a:lnTo>
                    <a:pt x="322" y="17"/>
                  </a:lnTo>
                  <a:lnTo>
                    <a:pt x="318" y="17"/>
                  </a:lnTo>
                  <a:lnTo>
                    <a:pt x="315" y="17"/>
                  </a:lnTo>
                  <a:lnTo>
                    <a:pt x="313" y="17"/>
                  </a:lnTo>
                  <a:lnTo>
                    <a:pt x="307" y="17"/>
                  </a:lnTo>
                  <a:lnTo>
                    <a:pt x="303" y="19"/>
                  </a:lnTo>
                  <a:lnTo>
                    <a:pt x="301" y="21"/>
                  </a:lnTo>
                  <a:lnTo>
                    <a:pt x="297" y="23"/>
                  </a:lnTo>
                  <a:lnTo>
                    <a:pt x="295" y="25"/>
                  </a:lnTo>
                  <a:lnTo>
                    <a:pt x="292" y="25"/>
                  </a:lnTo>
                  <a:lnTo>
                    <a:pt x="290" y="25"/>
                  </a:lnTo>
                  <a:lnTo>
                    <a:pt x="286" y="25"/>
                  </a:lnTo>
                  <a:lnTo>
                    <a:pt x="284" y="25"/>
                  </a:lnTo>
                  <a:lnTo>
                    <a:pt x="280" y="25"/>
                  </a:lnTo>
                  <a:lnTo>
                    <a:pt x="278" y="27"/>
                  </a:lnTo>
                  <a:lnTo>
                    <a:pt x="274" y="25"/>
                  </a:lnTo>
                  <a:lnTo>
                    <a:pt x="272" y="25"/>
                  </a:lnTo>
                  <a:lnTo>
                    <a:pt x="269" y="25"/>
                  </a:lnTo>
                  <a:lnTo>
                    <a:pt x="265" y="25"/>
                  </a:lnTo>
                  <a:lnTo>
                    <a:pt x="263" y="23"/>
                  </a:lnTo>
                  <a:lnTo>
                    <a:pt x="259" y="21"/>
                  </a:lnTo>
                  <a:lnTo>
                    <a:pt x="247" y="21"/>
                  </a:lnTo>
                  <a:lnTo>
                    <a:pt x="244" y="19"/>
                  </a:lnTo>
                  <a:lnTo>
                    <a:pt x="240" y="19"/>
                  </a:lnTo>
                  <a:lnTo>
                    <a:pt x="236" y="19"/>
                  </a:lnTo>
                  <a:lnTo>
                    <a:pt x="232" y="19"/>
                  </a:lnTo>
                  <a:lnTo>
                    <a:pt x="230" y="21"/>
                  </a:lnTo>
                  <a:lnTo>
                    <a:pt x="228" y="21"/>
                  </a:lnTo>
                  <a:lnTo>
                    <a:pt x="224" y="23"/>
                  </a:lnTo>
                  <a:lnTo>
                    <a:pt x="221" y="25"/>
                  </a:lnTo>
                  <a:lnTo>
                    <a:pt x="217" y="30"/>
                  </a:lnTo>
                  <a:lnTo>
                    <a:pt x="213" y="36"/>
                  </a:lnTo>
                  <a:lnTo>
                    <a:pt x="213" y="40"/>
                  </a:lnTo>
                  <a:lnTo>
                    <a:pt x="209" y="42"/>
                  </a:lnTo>
                  <a:lnTo>
                    <a:pt x="207" y="44"/>
                  </a:lnTo>
                  <a:lnTo>
                    <a:pt x="205" y="44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190" y="48"/>
                  </a:lnTo>
                  <a:lnTo>
                    <a:pt x="182" y="46"/>
                  </a:lnTo>
                  <a:lnTo>
                    <a:pt x="178" y="46"/>
                  </a:lnTo>
                  <a:lnTo>
                    <a:pt x="175" y="46"/>
                  </a:lnTo>
                  <a:lnTo>
                    <a:pt x="173" y="48"/>
                  </a:lnTo>
                  <a:lnTo>
                    <a:pt x="169" y="48"/>
                  </a:lnTo>
                  <a:lnTo>
                    <a:pt x="163" y="48"/>
                  </a:lnTo>
                  <a:lnTo>
                    <a:pt x="159" y="50"/>
                  </a:lnTo>
                  <a:lnTo>
                    <a:pt x="155" y="50"/>
                  </a:lnTo>
                  <a:lnTo>
                    <a:pt x="152" y="50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2" y="55"/>
                  </a:lnTo>
                  <a:lnTo>
                    <a:pt x="138" y="57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32" y="57"/>
                  </a:lnTo>
                  <a:lnTo>
                    <a:pt x="128" y="57"/>
                  </a:lnTo>
                  <a:lnTo>
                    <a:pt x="125" y="57"/>
                  </a:lnTo>
                  <a:lnTo>
                    <a:pt x="123" y="59"/>
                  </a:lnTo>
                  <a:lnTo>
                    <a:pt x="119" y="59"/>
                  </a:lnTo>
                  <a:lnTo>
                    <a:pt x="115" y="59"/>
                  </a:lnTo>
                  <a:lnTo>
                    <a:pt x="113" y="59"/>
                  </a:lnTo>
                  <a:lnTo>
                    <a:pt x="107" y="55"/>
                  </a:lnTo>
                  <a:lnTo>
                    <a:pt x="107" y="54"/>
                  </a:lnTo>
                  <a:lnTo>
                    <a:pt x="107" y="52"/>
                  </a:lnTo>
                  <a:lnTo>
                    <a:pt x="105" y="50"/>
                  </a:lnTo>
                  <a:lnTo>
                    <a:pt x="105" y="46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0"/>
                  </a:lnTo>
                  <a:lnTo>
                    <a:pt x="100" y="38"/>
                  </a:lnTo>
                  <a:lnTo>
                    <a:pt x="100" y="34"/>
                  </a:lnTo>
                  <a:lnTo>
                    <a:pt x="98" y="32"/>
                  </a:lnTo>
                  <a:lnTo>
                    <a:pt x="98" y="29"/>
                  </a:lnTo>
                  <a:lnTo>
                    <a:pt x="94" y="25"/>
                  </a:lnTo>
                  <a:lnTo>
                    <a:pt x="92" y="23"/>
                  </a:lnTo>
                  <a:lnTo>
                    <a:pt x="88" y="23"/>
                  </a:lnTo>
                  <a:lnTo>
                    <a:pt x="88" y="19"/>
                  </a:lnTo>
                  <a:lnTo>
                    <a:pt x="86" y="17"/>
                  </a:lnTo>
                  <a:lnTo>
                    <a:pt x="82" y="19"/>
                  </a:lnTo>
                  <a:lnTo>
                    <a:pt x="81" y="23"/>
                  </a:lnTo>
                  <a:lnTo>
                    <a:pt x="79" y="27"/>
                  </a:lnTo>
                  <a:lnTo>
                    <a:pt x="77" y="29"/>
                  </a:lnTo>
                  <a:lnTo>
                    <a:pt x="73" y="32"/>
                  </a:lnTo>
                  <a:lnTo>
                    <a:pt x="73" y="34"/>
                  </a:lnTo>
                  <a:lnTo>
                    <a:pt x="71" y="36"/>
                  </a:lnTo>
                  <a:lnTo>
                    <a:pt x="69" y="40"/>
                  </a:lnTo>
                  <a:lnTo>
                    <a:pt x="67" y="44"/>
                  </a:lnTo>
                  <a:lnTo>
                    <a:pt x="63" y="44"/>
                  </a:lnTo>
                  <a:lnTo>
                    <a:pt x="63" y="46"/>
                  </a:lnTo>
                  <a:lnTo>
                    <a:pt x="63" y="50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7"/>
                  </a:lnTo>
                  <a:lnTo>
                    <a:pt x="63" y="61"/>
                  </a:lnTo>
                  <a:lnTo>
                    <a:pt x="65" y="63"/>
                  </a:lnTo>
                  <a:lnTo>
                    <a:pt x="65" y="67"/>
                  </a:lnTo>
                  <a:lnTo>
                    <a:pt x="67" y="71"/>
                  </a:lnTo>
                  <a:lnTo>
                    <a:pt x="69" y="73"/>
                  </a:lnTo>
                  <a:lnTo>
                    <a:pt x="71" y="77"/>
                  </a:lnTo>
                  <a:lnTo>
                    <a:pt x="71" y="78"/>
                  </a:lnTo>
                  <a:lnTo>
                    <a:pt x="73" y="80"/>
                  </a:lnTo>
                  <a:lnTo>
                    <a:pt x="75" y="82"/>
                  </a:lnTo>
                  <a:lnTo>
                    <a:pt x="77" y="88"/>
                  </a:lnTo>
                  <a:lnTo>
                    <a:pt x="77" y="90"/>
                  </a:lnTo>
                  <a:lnTo>
                    <a:pt x="81" y="94"/>
                  </a:lnTo>
                  <a:lnTo>
                    <a:pt x="81" y="98"/>
                  </a:lnTo>
                  <a:lnTo>
                    <a:pt x="82" y="101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92" y="105"/>
                  </a:lnTo>
                  <a:lnTo>
                    <a:pt x="96" y="105"/>
                  </a:lnTo>
                  <a:lnTo>
                    <a:pt x="100" y="107"/>
                  </a:lnTo>
                  <a:lnTo>
                    <a:pt x="102" y="111"/>
                  </a:lnTo>
                  <a:lnTo>
                    <a:pt x="107" y="115"/>
                  </a:lnTo>
                  <a:lnTo>
                    <a:pt x="111" y="117"/>
                  </a:lnTo>
                  <a:lnTo>
                    <a:pt x="115" y="119"/>
                  </a:lnTo>
                  <a:lnTo>
                    <a:pt x="119" y="119"/>
                  </a:lnTo>
                  <a:lnTo>
                    <a:pt x="123" y="119"/>
                  </a:lnTo>
                  <a:lnTo>
                    <a:pt x="125" y="121"/>
                  </a:lnTo>
                  <a:lnTo>
                    <a:pt x="130" y="121"/>
                  </a:lnTo>
                  <a:lnTo>
                    <a:pt x="132" y="121"/>
                  </a:lnTo>
                  <a:lnTo>
                    <a:pt x="138" y="121"/>
                  </a:lnTo>
                  <a:lnTo>
                    <a:pt x="142" y="123"/>
                  </a:lnTo>
                  <a:lnTo>
                    <a:pt x="146" y="123"/>
                  </a:lnTo>
                  <a:lnTo>
                    <a:pt x="150" y="123"/>
                  </a:lnTo>
                  <a:lnTo>
                    <a:pt x="153" y="123"/>
                  </a:lnTo>
                  <a:lnTo>
                    <a:pt x="159" y="125"/>
                  </a:lnTo>
                  <a:lnTo>
                    <a:pt x="165" y="125"/>
                  </a:lnTo>
                  <a:lnTo>
                    <a:pt x="171" y="125"/>
                  </a:lnTo>
                  <a:lnTo>
                    <a:pt x="173" y="126"/>
                  </a:lnTo>
                  <a:lnTo>
                    <a:pt x="175" y="126"/>
                  </a:lnTo>
                  <a:lnTo>
                    <a:pt x="178" y="128"/>
                  </a:lnTo>
                  <a:lnTo>
                    <a:pt x="180" y="130"/>
                  </a:lnTo>
                  <a:lnTo>
                    <a:pt x="186" y="132"/>
                  </a:lnTo>
                  <a:lnTo>
                    <a:pt x="192" y="136"/>
                  </a:lnTo>
                  <a:lnTo>
                    <a:pt x="199" y="136"/>
                  </a:lnTo>
                  <a:lnTo>
                    <a:pt x="203" y="138"/>
                  </a:lnTo>
                  <a:lnTo>
                    <a:pt x="205" y="138"/>
                  </a:lnTo>
                  <a:lnTo>
                    <a:pt x="209" y="140"/>
                  </a:lnTo>
                  <a:lnTo>
                    <a:pt x="213" y="140"/>
                  </a:lnTo>
                  <a:lnTo>
                    <a:pt x="217" y="140"/>
                  </a:lnTo>
                  <a:lnTo>
                    <a:pt x="221" y="140"/>
                  </a:lnTo>
                  <a:lnTo>
                    <a:pt x="224" y="142"/>
                  </a:lnTo>
                  <a:lnTo>
                    <a:pt x="228" y="142"/>
                  </a:lnTo>
                  <a:lnTo>
                    <a:pt x="230" y="142"/>
                  </a:lnTo>
                  <a:lnTo>
                    <a:pt x="234" y="142"/>
                  </a:lnTo>
                  <a:lnTo>
                    <a:pt x="236" y="142"/>
                  </a:lnTo>
                  <a:lnTo>
                    <a:pt x="240" y="142"/>
                  </a:lnTo>
                  <a:lnTo>
                    <a:pt x="242" y="142"/>
                  </a:lnTo>
                  <a:lnTo>
                    <a:pt x="246" y="142"/>
                  </a:lnTo>
                  <a:lnTo>
                    <a:pt x="247" y="142"/>
                  </a:lnTo>
                  <a:lnTo>
                    <a:pt x="247" y="142"/>
                  </a:lnTo>
                  <a:lnTo>
                    <a:pt x="251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7" y="142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57" y="142"/>
                  </a:lnTo>
                  <a:lnTo>
                    <a:pt x="255" y="144"/>
                  </a:lnTo>
                  <a:lnTo>
                    <a:pt x="253" y="146"/>
                  </a:lnTo>
                  <a:lnTo>
                    <a:pt x="253" y="149"/>
                  </a:lnTo>
                  <a:lnTo>
                    <a:pt x="251" y="149"/>
                  </a:lnTo>
                  <a:lnTo>
                    <a:pt x="249" y="149"/>
                  </a:lnTo>
                  <a:lnTo>
                    <a:pt x="249" y="153"/>
                  </a:lnTo>
                  <a:lnTo>
                    <a:pt x="247" y="155"/>
                  </a:lnTo>
                  <a:lnTo>
                    <a:pt x="247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65"/>
                  </a:lnTo>
                  <a:lnTo>
                    <a:pt x="236" y="167"/>
                  </a:lnTo>
                  <a:lnTo>
                    <a:pt x="234" y="169"/>
                  </a:lnTo>
                  <a:lnTo>
                    <a:pt x="230" y="171"/>
                  </a:lnTo>
                  <a:lnTo>
                    <a:pt x="230" y="174"/>
                  </a:lnTo>
                  <a:lnTo>
                    <a:pt x="230" y="176"/>
                  </a:lnTo>
                  <a:lnTo>
                    <a:pt x="228" y="178"/>
                  </a:lnTo>
                  <a:lnTo>
                    <a:pt x="226" y="180"/>
                  </a:lnTo>
                  <a:lnTo>
                    <a:pt x="222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5" y="190"/>
                  </a:lnTo>
                  <a:lnTo>
                    <a:pt x="213" y="190"/>
                  </a:lnTo>
                  <a:lnTo>
                    <a:pt x="211" y="192"/>
                  </a:lnTo>
                  <a:lnTo>
                    <a:pt x="203" y="197"/>
                  </a:lnTo>
                  <a:lnTo>
                    <a:pt x="201" y="199"/>
                  </a:lnTo>
                  <a:lnTo>
                    <a:pt x="198" y="201"/>
                  </a:lnTo>
                  <a:lnTo>
                    <a:pt x="196" y="203"/>
                  </a:lnTo>
                  <a:lnTo>
                    <a:pt x="192" y="205"/>
                  </a:lnTo>
                  <a:lnTo>
                    <a:pt x="188" y="209"/>
                  </a:lnTo>
                  <a:lnTo>
                    <a:pt x="184" y="211"/>
                  </a:lnTo>
                  <a:lnTo>
                    <a:pt x="182" y="215"/>
                  </a:lnTo>
                  <a:lnTo>
                    <a:pt x="180" y="219"/>
                  </a:lnTo>
                  <a:lnTo>
                    <a:pt x="176" y="220"/>
                  </a:lnTo>
                  <a:lnTo>
                    <a:pt x="176" y="224"/>
                  </a:lnTo>
                  <a:lnTo>
                    <a:pt x="175" y="226"/>
                  </a:lnTo>
                  <a:lnTo>
                    <a:pt x="175" y="230"/>
                  </a:lnTo>
                  <a:lnTo>
                    <a:pt x="173" y="232"/>
                  </a:lnTo>
                  <a:lnTo>
                    <a:pt x="169" y="236"/>
                  </a:lnTo>
                  <a:lnTo>
                    <a:pt x="169" y="238"/>
                  </a:lnTo>
                  <a:lnTo>
                    <a:pt x="169" y="242"/>
                  </a:lnTo>
                  <a:lnTo>
                    <a:pt x="167" y="243"/>
                  </a:lnTo>
                  <a:lnTo>
                    <a:pt x="165" y="245"/>
                  </a:lnTo>
                  <a:lnTo>
                    <a:pt x="165" y="247"/>
                  </a:lnTo>
                  <a:lnTo>
                    <a:pt x="163" y="251"/>
                  </a:lnTo>
                  <a:lnTo>
                    <a:pt x="161" y="253"/>
                  </a:lnTo>
                  <a:lnTo>
                    <a:pt x="159" y="253"/>
                  </a:lnTo>
                  <a:lnTo>
                    <a:pt x="155" y="257"/>
                  </a:lnTo>
                  <a:lnTo>
                    <a:pt x="152" y="259"/>
                  </a:lnTo>
                  <a:lnTo>
                    <a:pt x="148" y="259"/>
                  </a:lnTo>
                  <a:lnTo>
                    <a:pt x="146" y="261"/>
                  </a:lnTo>
                  <a:lnTo>
                    <a:pt x="142" y="259"/>
                  </a:lnTo>
                  <a:lnTo>
                    <a:pt x="134" y="259"/>
                  </a:lnTo>
                  <a:lnTo>
                    <a:pt x="128" y="257"/>
                  </a:lnTo>
                  <a:lnTo>
                    <a:pt x="125" y="257"/>
                  </a:lnTo>
                  <a:lnTo>
                    <a:pt x="119" y="255"/>
                  </a:lnTo>
                  <a:lnTo>
                    <a:pt x="115" y="255"/>
                  </a:lnTo>
                  <a:lnTo>
                    <a:pt x="111" y="255"/>
                  </a:lnTo>
                  <a:lnTo>
                    <a:pt x="105" y="255"/>
                  </a:lnTo>
                  <a:lnTo>
                    <a:pt x="102" y="255"/>
                  </a:lnTo>
                  <a:lnTo>
                    <a:pt x="100" y="255"/>
                  </a:lnTo>
                  <a:lnTo>
                    <a:pt x="96" y="257"/>
                  </a:lnTo>
                  <a:lnTo>
                    <a:pt x="92" y="259"/>
                  </a:lnTo>
                  <a:lnTo>
                    <a:pt x="88" y="263"/>
                  </a:lnTo>
                  <a:lnTo>
                    <a:pt x="86" y="267"/>
                  </a:lnTo>
                  <a:lnTo>
                    <a:pt x="82" y="268"/>
                  </a:lnTo>
                  <a:lnTo>
                    <a:pt x="81" y="272"/>
                  </a:lnTo>
                  <a:lnTo>
                    <a:pt x="79" y="274"/>
                  </a:lnTo>
                  <a:lnTo>
                    <a:pt x="77" y="276"/>
                  </a:lnTo>
                  <a:lnTo>
                    <a:pt x="73" y="278"/>
                  </a:lnTo>
                  <a:lnTo>
                    <a:pt x="71" y="280"/>
                  </a:lnTo>
                  <a:lnTo>
                    <a:pt x="63" y="282"/>
                  </a:lnTo>
                  <a:lnTo>
                    <a:pt x="57" y="282"/>
                  </a:lnTo>
                  <a:lnTo>
                    <a:pt x="54" y="282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4" y="288"/>
                  </a:lnTo>
                  <a:lnTo>
                    <a:pt x="42" y="291"/>
                  </a:lnTo>
                  <a:lnTo>
                    <a:pt x="38" y="291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4" y="297"/>
                  </a:lnTo>
                  <a:lnTo>
                    <a:pt x="33" y="299"/>
                  </a:lnTo>
                  <a:lnTo>
                    <a:pt x="29" y="301"/>
                  </a:lnTo>
                  <a:lnTo>
                    <a:pt x="29" y="305"/>
                  </a:lnTo>
                  <a:lnTo>
                    <a:pt x="27" y="307"/>
                  </a:lnTo>
                  <a:lnTo>
                    <a:pt x="27" y="309"/>
                  </a:lnTo>
                  <a:lnTo>
                    <a:pt x="23" y="309"/>
                  </a:lnTo>
                  <a:lnTo>
                    <a:pt x="21" y="313"/>
                  </a:lnTo>
                  <a:lnTo>
                    <a:pt x="19" y="316"/>
                  </a:lnTo>
                  <a:lnTo>
                    <a:pt x="17" y="318"/>
                  </a:lnTo>
                  <a:lnTo>
                    <a:pt x="13" y="320"/>
                  </a:lnTo>
                  <a:lnTo>
                    <a:pt x="11" y="324"/>
                  </a:lnTo>
                  <a:lnTo>
                    <a:pt x="10" y="326"/>
                  </a:lnTo>
                  <a:lnTo>
                    <a:pt x="6" y="330"/>
                  </a:lnTo>
                  <a:lnTo>
                    <a:pt x="4" y="334"/>
                  </a:lnTo>
                  <a:lnTo>
                    <a:pt x="2" y="336"/>
                  </a:lnTo>
                  <a:lnTo>
                    <a:pt x="2" y="339"/>
                  </a:lnTo>
                  <a:lnTo>
                    <a:pt x="2" y="341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9"/>
                  </a:lnTo>
                  <a:lnTo>
                    <a:pt x="0" y="353"/>
                  </a:lnTo>
                  <a:lnTo>
                    <a:pt x="0" y="355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64"/>
                  </a:lnTo>
                  <a:lnTo>
                    <a:pt x="2" y="368"/>
                  </a:lnTo>
                  <a:lnTo>
                    <a:pt x="2" y="370"/>
                  </a:lnTo>
                  <a:lnTo>
                    <a:pt x="2" y="374"/>
                  </a:lnTo>
                  <a:lnTo>
                    <a:pt x="2" y="378"/>
                  </a:lnTo>
                  <a:lnTo>
                    <a:pt x="2" y="380"/>
                  </a:lnTo>
                  <a:lnTo>
                    <a:pt x="0" y="382"/>
                  </a:lnTo>
                  <a:lnTo>
                    <a:pt x="0" y="385"/>
                  </a:lnTo>
                  <a:lnTo>
                    <a:pt x="0" y="387"/>
                  </a:lnTo>
                  <a:lnTo>
                    <a:pt x="0" y="391"/>
                  </a:lnTo>
                  <a:lnTo>
                    <a:pt x="0" y="397"/>
                  </a:lnTo>
                  <a:lnTo>
                    <a:pt x="0" y="399"/>
                  </a:lnTo>
                  <a:lnTo>
                    <a:pt x="0" y="403"/>
                  </a:lnTo>
                  <a:lnTo>
                    <a:pt x="0" y="405"/>
                  </a:lnTo>
                  <a:lnTo>
                    <a:pt x="0" y="408"/>
                  </a:lnTo>
                  <a:lnTo>
                    <a:pt x="0" y="412"/>
                  </a:lnTo>
                  <a:lnTo>
                    <a:pt x="0" y="416"/>
                  </a:lnTo>
                  <a:lnTo>
                    <a:pt x="0" y="420"/>
                  </a:lnTo>
                  <a:lnTo>
                    <a:pt x="0" y="424"/>
                  </a:lnTo>
                  <a:lnTo>
                    <a:pt x="0" y="428"/>
                  </a:lnTo>
                  <a:lnTo>
                    <a:pt x="0" y="432"/>
                  </a:lnTo>
                  <a:lnTo>
                    <a:pt x="0" y="433"/>
                  </a:lnTo>
                  <a:lnTo>
                    <a:pt x="0" y="439"/>
                  </a:lnTo>
                  <a:lnTo>
                    <a:pt x="0" y="441"/>
                  </a:lnTo>
                  <a:lnTo>
                    <a:pt x="0" y="447"/>
                  </a:lnTo>
                  <a:lnTo>
                    <a:pt x="0" y="449"/>
                  </a:lnTo>
                  <a:lnTo>
                    <a:pt x="0" y="453"/>
                  </a:lnTo>
                  <a:lnTo>
                    <a:pt x="0" y="456"/>
                  </a:lnTo>
                  <a:lnTo>
                    <a:pt x="0" y="460"/>
                  </a:lnTo>
                  <a:lnTo>
                    <a:pt x="0" y="464"/>
                  </a:lnTo>
                  <a:lnTo>
                    <a:pt x="0" y="466"/>
                  </a:lnTo>
                  <a:lnTo>
                    <a:pt x="0" y="468"/>
                  </a:lnTo>
                  <a:lnTo>
                    <a:pt x="4" y="474"/>
                  </a:lnTo>
                  <a:lnTo>
                    <a:pt x="6" y="476"/>
                  </a:lnTo>
                  <a:lnTo>
                    <a:pt x="8" y="479"/>
                  </a:lnTo>
                  <a:lnTo>
                    <a:pt x="10" y="479"/>
                  </a:lnTo>
                  <a:lnTo>
                    <a:pt x="13" y="481"/>
                  </a:lnTo>
                  <a:lnTo>
                    <a:pt x="13" y="483"/>
                  </a:lnTo>
                  <a:lnTo>
                    <a:pt x="13" y="483"/>
                  </a:lnTo>
                  <a:lnTo>
                    <a:pt x="17" y="481"/>
                  </a:lnTo>
                  <a:lnTo>
                    <a:pt x="19" y="485"/>
                  </a:lnTo>
                  <a:lnTo>
                    <a:pt x="23" y="489"/>
                  </a:lnTo>
                  <a:lnTo>
                    <a:pt x="27" y="491"/>
                  </a:lnTo>
                  <a:lnTo>
                    <a:pt x="33" y="495"/>
                  </a:lnTo>
                  <a:lnTo>
                    <a:pt x="34" y="493"/>
                  </a:lnTo>
                  <a:lnTo>
                    <a:pt x="36" y="493"/>
                  </a:lnTo>
                  <a:lnTo>
                    <a:pt x="36" y="489"/>
                  </a:lnTo>
                  <a:lnTo>
                    <a:pt x="33" y="489"/>
                  </a:lnTo>
                  <a:lnTo>
                    <a:pt x="31" y="491"/>
                  </a:lnTo>
                  <a:lnTo>
                    <a:pt x="29" y="493"/>
                  </a:lnTo>
                  <a:lnTo>
                    <a:pt x="27" y="49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4" name="Freeform 30"/>
            <p:cNvSpPr>
              <a:spLocks/>
            </p:cNvSpPr>
            <p:nvPr/>
          </p:nvSpPr>
          <p:spPr bwMode="auto">
            <a:xfrm>
              <a:off x="2672" y="1887"/>
              <a:ext cx="366" cy="499"/>
            </a:xfrm>
            <a:custGeom>
              <a:avLst/>
              <a:gdLst/>
              <a:ahLst/>
              <a:cxnLst>
                <a:cxn ang="0">
                  <a:pos x="42" y="478"/>
                </a:cxn>
                <a:cxn ang="0">
                  <a:pos x="57" y="460"/>
                </a:cxn>
                <a:cxn ang="0">
                  <a:pos x="81" y="437"/>
                </a:cxn>
                <a:cxn ang="0">
                  <a:pos x="115" y="401"/>
                </a:cxn>
                <a:cxn ang="0">
                  <a:pos x="142" y="384"/>
                </a:cxn>
                <a:cxn ang="0">
                  <a:pos x="165" y="370"/>
                </a:cxn>
                <a:cxn ang="0">
                  <a:pos x="178" y="351"/>
                </a:cxn>
                <a:cxn ang="0">
                  <a:pos x="190" y="334"/>
                </a:cxn>
                <a:cxn ang="0">
                  <a:pos x="221" y="318"/>
                </a:cxn>
                <a:cxn ang="0">
                  <a:pos x="238" y="299"/>
                </a:cxn>
                <a:cxn ang="0">
                  <a:pos x="251" y="284"/>
                </a:cxn>
                <a:cxn ang="0">
                  <a:pos x="274" y="257"/>
                </a:cxn>
                <a:cxn ang="0">
                  <a:pos x="284" y="226"/>
                </a:cxn>
                <a:cxn ang="0">
                  <a:pos x="297" y="203"/>
                </a:cxn>
                <a:cxn ang="0">
                  <a:pos x="317" y="180"/>
                </a:cxn>
                <a:cxn ang="0">
                  <a:pos x="334" y="161"/>
                </a:cxn>
                <a:cxn ang="0">
                  <a:pos x="345" y="132"/>
                </a:cxn>
                <a:cxn ang="0">
                  <a:pos x="359" y="101"/>
                </a:cxn>
                <a:cxn ang="0">
                  <a:pos x="359" y="73"/>
                </a:cxn>
                <a:cxn ang="0">
                  <a:pos x="364" y="46"/>
                </a:cxn>
                <a:cxn ang="0">
                  <a:pos x="364" y="17"/>
                </a:cxn>
                <a:cxn ang="0">
                  <a:pos x="353" y="2"/>
                </a:cxn>
                <a:cxn ang="0">
                  <a:pos x="338" y="9"/>
                </a:cxn>
                <a:cxn ang="0">
                  <a:pos x="318" y="17"/>
                </a:cxn>
                <a:cxn ang="0">
                  <a:pos x="292" y="25"/>
                </a:cxn>
                <a:cxn ang="0">
                  <a:pos x="269" y="25"/>
                </a:cxn>
                <a:cxn ang="0">
                  <a:pos x="232" y="19"/>
                </a:cxn>
                <a:cxn ang="0">
                  <a:pos x="209" y="42"/>
                </a:cxn>
                <a:cxn ang="0">
                  <a:pos x="175" y="46"/>
                </a:cxn>
                <a:cxn ang="0">
                  <a:pos x="144" y="54"/>
                </a:cxn>
                <a:cxn ang="0">
                  <a:pos x="123" y="59"/>
                </a:cxn>
                <a:cxn ang="0">
                  <a:pos x="105" y="46"/>
                </a:cxn>
                <a:cxn ang="0">
                  <a:pos x="94" y="25"/>
                </a:cxn>
                <a:cxn ang="0">
                  <a:pos x="77" y="29"/>
                </a:cxn>
                <a:cxn ang="0">
                  <a:pos x="63" y="50"/>
                </a:cxn>
                <a:cxn ang="0">
                  <a:pos x="69" y="73"/>
                </a:cxn>
                <a:cxn ang="0">
                  <a:pos x="81" y="98"/>
                </a:cxn>
                <a:cxn ang="0">
                  <a:pos x="102" y="111"/>
                </a:cxn>
                <a:cxn ang="0">
                  <a:pos x="132" y="121"/>
                </a:cxn>
                <a:cxn ang="0">
                  <a:pos x="171" y="125"/>
                </a:cxn>
                <a:cxn ang="0">
                  <a:pos x="203" y="138"/>
                </a:cxn>
                <a:cxn ang="0">
                  <a:pos x="230" y="142"/>
                </a:cxn>
                <a:cxn ang="0">
                  <a:pos x="251" y="142"/>
                </a:cxn>
                <a:cxn ang="0">
                  <a:pos x="253" y="146"/>
                </a:cxn>
                <a:cxn ang="0">
                  <a:pos x="244" y="159"/>
                </a:cxn>
                <a:cxn ang="0">
                  <a:pos x="230" y="174"/>
                </a:cxn>
                <a:cxn ang="0">
                  <a:pos x="213" y="190"/>
                </a:cxn>
                <a:cxn ang="0">
                  <a:pos x="184" y="211"/>
                </a:cxn>
                <a:cxn ang="0">
                  <a:pos x="169" y="236"/>
                </a:cxn>
                <a:cxn ang="0">
                  <a:pos x="159" y="253"/>
                </a:cxn>
                <a:cxn ang="0">
                  <a:pos x="125" y="257"/>
                </a:cxn>
                <a:cxn ang="0">
                  <a:pos x="92" y="259"/>
                </a:cxn>
                <a:cxn ang="0">
                  <a:pos x="71" y="280"/>
                </a:cxn>
                <a:cxn ang="0">
                  <a:pos x="38" y="291"/>
                </a:cxn>
                <a:cxn ang="0">
                  <a:pos x="27" y="309"/>
                </a:cxn>
                <a:cxn ang="0">
                  <a:pos x="6" y="330"/>
                </a:cxn>
                <a:cxn ang="0">
                  <a:pos x="0" y="349"/>
                </a:cxn>
                <a:cxn ang="0">
                  <a:pos x="2" y="374"/>
                </a:cxn>
                <a:cxn ang="0">
                  <a:pos x="0" y="399"/>
                </a:cxn>
                <a:cxn ang="0">
                  <a:pos x="0" y="428"/>
                </a:cxn>
                <a:cxn ang="0">
                  <a:pos x="0" y="456"/>
                </a:cxn>
                <a:cxn ang="0">
                  <a:pos x="10" y="479"/>
                </a:cxn>
                <a:cxn ang="0">
                  <a:pos x="33" y="495"/>
                </a:cxn>
              </a:cxnLst>
              <a:rect l="0" t="0" r="r" b="b"/>
              <a:pathLst>
                <a:path w="366" h="499">
                  <a:moveTo>
                    <a:pt x="27" y="499"/>
                  </a:moveTo>
                  <a:lnTo>
                    <a:pt x="31" y="493"/>
                  </a:lnTo>
                  <a:lnTo>
                    <a:pt x="34" y="489"/>
                  </a:lnTo>
                  <a:lnTo>
                    <a:pt x="34" y="487"/>
                  </a:lnTo>
                  <a:lnTo>
                    <a:pt x="36" y="485"/>
                  </a:lnTo>
                  <a:lnTo>
                    <a:pt x="36" y="483"/>
                  </a:lnTo>
                  <a:lnTo>
                    <a:pt x="38" y="479"/>
                  </a:lnTo>
                  <a:lnTo>
                    <a:pt x="42" y="478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6" y="472"/>
                  </a:lnTo>
                  <a:lnTo>
                    <a:pt x="48" y="470"/>
                  </a:lnTo>
                  <a:lnTo>
                    <a:pt x="50" y="468"/>
                  </a:lnTo>
                  <a:lnTo>
                    <a:pt x="54" y="466"/>
                  </a:lnTo>
                  <a:lnTo>
                    <a:pt x="54" y="464"/>
                  </a:lnTo>
                  <a:lnTo>
                    <a:pt x="57" y="460"/>
                  </a:lnTo>
                  <a:lnTo>
                    <a:pt x="61" y="458"/>
                  </a:lnTo>
                  <a:lnTo>
                    <a:pt x="63" y="455"/>
                  </a:lnTo>
                  <a:lnTo>
                    <a:pt x="67" y="451"/>
                  </a:lnTo>
                  <a:lnTo>
                    <a:pt x="71" y="449"/>
                  </a:lnTo>
                  <a:lnTo>
                    <a:pt x="75" y="445"/>
                  </a:lnTo>
                  <a:lnTo>
                    <a:pt x="77" y="441"/>
                  </a:lnTo>
                  <a:lnTo>
                    <a:pt x="79" y="439"/>
                  </a:lnTo>
                  <a:lnTo>
                    <a:pt x="81" y="437"/>
                  </a:lnTo>
                  <a:lnTo>
                    <a:pt x="86" y="432"/>
                  </a:lnTo>
                  <a:lnTo>
                    <a:pt x="88" y="428"/>
                  </a:lnTo>
                  <a:lnTo>
                    <a:pt x="92" y="424"/>
                  </a:lnTo>
                  <a:lnTo>
                    <a:pt x="100" y="414"/>
                  </a:lnTo>
                  <a:lnTo>
                    <a:pt x="104" y="410"/>
                  </a:lnTo>
                  <a:lnTo>
                    <a:pt x="107" y="407"/>
                  </a:lnTo>
                  <a:lnTo>
                    <a:pt x="109" y="405"/>
                  </a:lnTo>
                  <a:lnTo>
                    <a:pt x="115" y="401"/>
                  </a:lnTo>
                  <a:lnTo>
                    <a:pt x="119" y="399"/>
                  </a:lnTo>
                  <a:lnTo>
                    <a:pt x="123" y="397"/>
                  </a:lnTo>
                  <a:lnTo>
                    <a:pt x="125" y="395"/>
                  </a:lnTo>
                  <a:lnTo>
                    <a:pt x="130" y="391"/>
                  </a:lnTo>
                  <a:lnTo>
                    <a:pt x="134" y="389"/>
                  </a:lnTo>
                  <a:lnTo>
                    <a:pt x="136" y="387"/>
                  </a:lnTo>
                  <a:lnTo>
                    <a:pt x="140" y="385"/>
                  </a:lnTo>
                  <a:lnTo>
                    <a:pt x="142" y="384"/>
                  </a:lnTo>
                  <a:lnTo>
                    <a:pt x="146" y="382"/>
                  </a:lnTo>
                  <a:lnTo>
                    <a:pt x="148" y="382"/>
                  </a:lnTo>
                  <a:lnTo>
                    <a:pt x="152" y="380"/>
                  </a:lnTo>
                  <a:lnTo>
                    <a:pt x="153" y="378"/>
                  </a:lnTo>
                  <a:lnTo>
                    <a:pt x="157" y="378"/>
                  </a:lnTo>
                  <a:lnTo>
                    <a:pt x="159" y="374"/>
                  </a:lnTo>
                  <a:lnTo>
                    <a:pt x="161" y="372"/>
                  </a:lnTo>
                  <a:lnTo>
                    <a:pt x="165" y="370"/>
                  </a:lnTo>
                  <a:lnTo>
                    <a:pt x="169" y="370"/>
                  </a:lnTo>
                  <a:lnTo>
                    <a:pt x="169" y="368"/>
                  </a:lnTo>
                  <a:lnTo>
                    <a:pt x="173" y="366"/>
                  </a:lnTo>
                  <a:lnTo>
                    <a:pt x="175" y="364"/>
                  </a:lnTo>
                  <a:lnTo>
                    <a:pt x="176" y="361"/>
                  </a:lnTo>
                  <a:lnTo>
                    <a:pt x="176" y="359"/>
                  </a:lnTo>
                  <a:lnTo>
                    <a:pt x="178" y="357"/>
                  </a:lnTo>
                  <a:lnTo>
                    <a:pt x="178" y="351"/>
                  </a:lnTo>
                  <a:lnTo>
                    <a:pt x="180" y="349"/>
                  </a:lnTo>
                  <a:lnTo>
                    <a:pt x="180" y="345"/>
                  </a:lnTo>
                  <a:lnTo>
                    <a:pt x="182" y="343"/>
                  </a:lnTo>
                  <a:lnTo>
                    <a:pt x="182" y="341"/>
                  </a:lnTo>
                  <a:lnTo>
                    <a:pt x="184" y="339"/>
                  </a:lnTo>
                  <a:lnTo>
                    <a:pt x="186" y="338"/>
                  </a:lnTo>
                  <a:lnTo>
                    <a:pt x="186" y="336"/>
                  </a:lnTo>
                  <a:lnTo>
                    <a:pt x="190" y="334"/>
                  </a:lnTo>
                  <a:lnTo>
                    <a:pt x="194" y="330"/>
                  </a:lnTo>
                  <a:lnTo>
                    <a:pt x="196" y="326"/>
                  </a:lnTo>
                  <a:lnTo>
                    <a:pt x="199" y="326"/>
                  </a:lnTo>
                  <a:lnTo>
                    <a:pt x="203" y="326"/>
                  </a:lnTo>
                  <a:lnTo>
                    <a:pt x="207" y="322"/>
                  </a:lnTo>
                  <a:lnTo>
                    <a:pt x="213" y="320"/>
                  </a:lnTo>
                  <a:lnTo>
                    <a:pt x="217" y="320"/>
                  </a:lnTo>
                  <a:lnTo>
                    <a:pt x="221" y="318"/>
                  </a:lnTo>
                  <a:lnTo>
                    <a:pt x="226" y="316"/>
                  </a:lnTo>
                  <a:lnTo>
                    <a:pt x="230" y="316"/>
                  </a:lnTo>
                  <a:lnTo>
                    <a:pt x="230" y="314"/>
                  </a:lnTo>
                  <a:lnTo>
                    <a:pt x="232" y="314"/>
                  </a:lnTo>
                  <a:lnTo>
                    <a:pt x="234" y="309"/>
                  </a:lnTo>
                  <a:lnTo>
                    <a:pt x="234" y="305"/>
                  </a:lnTo>
                  <a:lnTo>
                    <a:pt x="236" y="303"/>
                  </a:lnTo>
                  <a:lnTo>
                    <a:pt x="238" y="299"/>
                  </a:lnTo>
                  <a:lnTo>
                    <a:pt x="238" y="297"/>
                  </a:lnTo>
                  <a:lnTo>
                    <a:pt x="240" y="295"/>
                  </a:lnTo>
                  <a:lnTo>
                    <a:pt x="242" y="293"/>
                  </a:lnTo>
                  <a:lnTo>
                    <a:pt x="246" y="291"/>
                  </a:lnTo>
                  <a:lnTo>
                    <a:pt x="246" y="290"/>
                  </a:lnTo>
                  <a:lnTo>
                    <a:pt x="247" y="288"/>
                  </a:lnTo>
                  <a:lnTo>
                    <a:pt x="249" y="286"/>
                  </a:lnTo>
                  <a:lnTo>
                    <a:pt x="251" y="284"/>
                  </a:lnTo>
                  <a:lnTo>
                    <a:pt x="255" y="282"/>
                  </a:lnTo>
                  <a:lnTo>
                    <a:pt x="259" y="276"/>
                  </a:lnTo>
                  <a:lnTo>
                    <a:pt x="265" y="272"/>
                  </a:lnTo>
                  <a:lnTo>
                    <a:pt x="267" y="267"/>
                  </a:lnTo>
                  <a:lnTo>
                    <a:pt x="269" y="265"/>
                  </a:lnTo>
                  <a:lnTo>
                    <a:pt x="270" y="261"/>
                  </a:lnTo>
                  <a:lnTo>
                    <a:pt x="272" y="257"/>
                  </a:lnTo>
                  <a:lnTo>
                    <a:pt x="274" y="257"/>
                  </a:lnTo>
                  <a:lnTo>
                    <a:pt x="276" y="255"/>
                  </a:lnTo>
                  <a:lnTo>
                    <a:pt x="278" y="251"/>
                  </a:lnTo>
                  <a:lnTo>
                    <a:pt x="280" y="247"/>
                  </a:lnTo>
                  <a:lnTo>
                    <a:pt x="284" y="245"/>
                  </a:lnTo>
                  <a:lnTo>
                    <a:pt x="284" y="242"/>
                  </a:lnTo>
                  <a:lnTo>
                    <a:pt x="284" y="238"/>
                  </a:lnTo>
                  <a:lnTo>
                    <a:pt x="284" y="230"/>
                  </a:lnTo>
                  <a:lnTo>
                    <a:pt x="284" y="226"/>
                  </a:lnTo>
                  <a:lnTo>
                    <a:pt x="284" y="222"/>
                  </a:lnTo>
                  <a:lnTo>
                    <a:pt x="284" y="220"/>
                  </a:lnTo>
                  <a:lnTo>
                    <a:pt x="284" y="219"/>
                  </a:lnTo>
                  <a:lnTo>
                    <a:pt x="288" y="215"/>
                  </a:lnTo>
                  <a:lnTo>
                    <a:pt x="288" y="213"/>
                  </a:lnTo>
                  <a:lnTo>
                    <a:pt x="292" y="211"/>
                  </a:lnTo>
                  <a:lnTo>
                    <a:pt x="292" y="207"/>
                  </a:lnTo>
                  <a:lnTo>
                    <a:pt x="297" y="203"/>
                  </a:lnTo>
                  <a:lnTo>
                    <a:pt x="301" y="199"/>
                  </a:lnTo>
                  <a:lnTo>
                    <a:pt x="303" y="196"/>
                  </a:lnTo>
                  <a:lnTo>
                    <a:pt x="305" y="194"/>
                  </a:lnTo>
                  <a:lnTo>
                    <a:pt x="309" y="190"/>
                  </a:lnTo>
                  <a:lnTo>
                    <a:pt x="311" y="188"/>
                  </a:lnTo>
                  <a:lnTo>
                    <a:pt x="313" y="186"/>
                  </a:lnTo>
                  <a:lnTo>
                    <a:pt x="315" y="182"/>
                  </a:lnTo>
                  <a:lnTo>
                    <a:pt x="317" y="180"/>
                  </a:lnTo>
                  <a:lnTo>
                    <a:pt x="318" y="176"/>
                  </a:lnTo>
                  <a:lnTo>
                    <a:pt x="320" y="174"/>
                  </a:lnTo>
                  <a:lnTo>
                    <a:pt x="322" y="174"/>
                  </a:lnTo>
                  <a:lnTo>
                    <a:pt x="324" y="172"/>
                  </a:lnTo>
                  <a:lnTo>
                    <a:pt x="328" y="169"/>
                  </a:lnTo>
                  <a:lnTo>
                    <a:pt x="330" y="167"/>
                  </a:lnTo>
                  <a:lnTo>
                    <a:pt x="332" y="165"/>
                  </a:lnTo>
                  <a:lnTo>
                    <a:pt x="334" y="161"/>
                  </a:lnTo>
                  <a:lnTo>
                    <a:pt x="336" y="159"/>
                  </a:lnTo>
                  <a:lnTo>
                    <a:pt x="338" y="155"/>
                  </a:lnTo>
                  <a:lnTo>
                    <a:pt x="338" y="151"/>
                  </a:lnTo>
                  <a:lnTo>
                    <a:pt x="338" y="148"/>
                  </a:lnTo>
                  <a:lnTo>
                    <a:pt x="338" y="144"/>
                  </a:lnTo>
                  <a:lnTo>
                    <a:pt x="338" y="142"/>
                  </a:lnTo>
                  <a:lnTo>
                    <a:pt x="341" y="136"/>
                  </a:lnTo>
                  <a:lnTo>
                    <a:pt x="345" y="132"/>
                  </a:lnTo>
                  <a:lnTo>
                    <a:pt x="347" y="128"/>
                  </a:lnTo>
                  <a:lnTo>
                    <a:pt x="351" y="125"/>
                  </a:lnTo>
                  <a:lnTo>
                    <a:pt x="353" y="123"/>
                  </a:lnTo>
                  <a:lnTo>
                    <a:pt x="357" y="117"/>
                  </a:lnTo>
                  <a:lnTo>
                    <a:pt x="357" y="115"/>
                  </a:lnTo>
                  <a:lnTo>
                    <a:pt x="361" y="109"/>
                  </a:lnTo>
                  <a:lnTo>
                    <a:pt x="361" y="105"/>
                  </a:lnTo>
                  <a:lnTo>
                    <a:pt x="359" y="101"/>
                  </a:lnTo>
                  <a:lnTo>
                    <a:pt x="359" y="98"/>
                  </a:lnTo>
                  <a:lnTo>
                    <a:pt x="359" y="94"/>
                  </a:lnTo>
                  <a:lnTo>
                    <a:pt x="359" y="90"/>
                  </a:lnTo>
                  <a:lnTo>
                    <a:pt x="359" y="88"/>
                  </a:lnTo>
                  <a:lnTo>
                    <a:pt x="359" y="84"/>
                  </a:lnTo>
                  <a:lnTo>
                    <a:pt x="359" y="80"/>
                  </a:lnTo>
                  <a:lnTo>
                    <a:pt x="359" y="77"/>
                  </a:lnTo>
                  <a:lnTo>
                    <a:pt x="359" y="73"/>
                  </a:lnTo>
                  <a:lnTo>
                    <a:pt x="361" y="71"/>
                  </a:lnTo>
                  <a:lnTo>
                    <a:pt x="361" y="67"/>
                  </a:lnTo>
                  <a:lnTo>
                    <a:pt x="361" y="65"/>
                  </a:lnTo>
                  <a:lnTo>
                    <a:pt x="363" y="61"/>
                  </a:lnTo>
                  <a:lnTo>
                    <a:pt x="363" y="59"/>
                  </a:lnTo>
                  <a:lnTo>
                    <a:pt x="363" y="52"/>
                  </a:lnTo>
                  <a:lnTo>
                    <a:pt x="364" y="50"/>
                  </a:lnTo>
                  <a:lnTo>
                    <a:pt x="364" y="46"/>
                  </a:lnTo>
                  <a:lnTo>
                    <a:pt x="364" y="44"/>
                  </a:lnTo>
                  <a:lnTo>
                    <a:pt x="366" y="40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6" y="27"/>
                  </a:lnTo>
                  <a:lnTo>
                    <a:pt x="364" y="21"/>
                  </a:lnTo>
                  <a:lnTo>
                    <a:pt x="364" y="19"/>
                  </a:lnTo>
                  <a:lnTo>
                    <a:pt x="364" y="17"/>
                  </a:lnTo>
                  <a:lnTo>
                    <a:pt x="363" y="13"/>
                  </a:lnTo>
                  <a:lnTo>
                    <a:pt x="363" y="9"/>
                  </a:lnTo>
                  <a:lnTo>
                    <a:pt x="363" y="7"/>
                  </a:lnTo>
                  <a:lnTo>
                    <a:pt x="363" y="4"/>
                  </a:lnTo>
                  <a:lnTo>
                    <a:pt x="361" y="2"/>
                  </a:lnTo>
                  <a:lnTo>
                    <a:pt x="357" y="2"/>
                  </a:lnTo>
                  <a:lnTo>
                    <a:pt x="355" y="2"/>
                  </a:lnTo>
                  <a:lnTo>
                    <a:pt x="353" y="2"/>
                  </a:lnTo>
                  <a:lnTo>
                    <a:pt x="349" y="2"/>
                  </a:lnTo>
                  <a:lnTo>
                    <a:pt x="347" y="0"/>
                  </a:lnTo>
                  <a:lnTo>
                    <a:pt x="345" y="0"/>
                  </a:lnTo>
                  <a:lnTo>
                    <a:pt x="341" y="0"/>
                  </a:lnTo>
                  <a:lnTo>
                    <a:pt x="338" y="0"/>
                  </a:lnTo>
                  <a:lnTo>
                    <a:pt x="338" y="4"/>
                  </a:lnTo>
                  <a:lnTo>
                    <a:pt x="338" y="7"/>
                  </a:lnTo>
                  <a:lnTo>
                    <a:pt x="338" y="9"/>
                  </a:lnTo>
                  <a:lnTo>
                    <a:pt x="338" y="11"/>
                  </a:lnTo>
                  <a:lnTo>
                    <a:pt x="336" y="13"/>
                  </a:lnTo>
                  <a:lnTo>
                    <a:pt x="334" y="15"/>
                  </a:lnTo>
                  <a:lnTo>
                    <a:pt x="330" y="15"/>
                  </a:lnTo>
                  <a:lnTo>
                    <a:pt x="328" y="17"/>
                  </a:lnTo>
                  <a:lnTo>
                    <a:pt x="326" y="17"/>
                  </a:lnTo>
                  <a:lnTo>
                    <a:pt x="322" y="17"/>
                  </a:lnTo>
                  <a:lnTo>
                    <a:pt x="318" y="17"/>
                  </a:lnTo>
                  <a:lnTo>
                    <a:pt x="315" y="17"/>
                  </a:lnTo>
                  <a:lnTo>
                    <a:pt x="313" y="17"/>
                  </a:lnTo>
                  <a:lnTo>
                    <a:pt x="307" y="17"/>
                  </a:lnTo>
                  <a:lnTo>
                    <a:pt x="303" y="19"/>
                  </a:lnTo>
                  <a:lnTo>
                    <a:pt x="301" y="21"/>
                  </a:lnTo>
                  <a:lnTo>
                    <a:pt x="297" y="23"/>
                  </a:lnTo>
                  <a:lnTo>
                    <a:pt x="295" y="25"/>
                  </a:lnTo>
                  <a:lnTo>
                    <a:pt x="292" y="25"/>
                  </a:lnTo>
                  <a:lnTo>
                    <a:pt x="290" y="25"/>
                  </a:lnTo>
                  <a:lnTo>
                    <a:pt x="286" y="25"/>
                  </a:lnTo>
                  <a:lnTo>
                    <a:pt x="284" y="25"/>
                  </a:lnTo>
                  <a:lnTo>
                    <a:pt x="280" y="25"/>
                  </a:lnTo>
                  <a:lnTo>
                    <a:pt x="278" y="27"/>
                  </a:lnTo>
                  <a:lnTo>
                    <a:pt x="274" y="25"/>
                  </a:lnTo>
                  <a:lnTo>
                    <a:pt x="272" y="25"/>
                  </a:lnTo>
                  <a:lnTo>
                    <a:pt x="269" y="25"/>
                  </a:lnTo>
                  <a:lnTo>
                    <a:pt x="265" y="25"/>
                  </a:lnTo>
                  <a:lnTo>
                    <a:pt x="263" y="23"/>
                  </a:lnTo>
                  <a:lnTo>
                    <a:pt x="259" y="21"/>
                  </a:lnTo>
                  <a:lnTo>
                    <a:pt x="247" y="21"/>
                  </a:lnTo>
                  <a:lnTo>
                    <a:pt x="244" y="19"/>
                  </a:lnTo>
                  <a:lnTo>
                    <a:pt x="240" y="19"/>
                  </a:lnTo>
                  <a:lnTo>
                    <a:pt x="236" y="19"/>
                  </a:lnTo>
                  <a:lnTo>
                    <a:pt x="232" y="19"/>
                  </a:lnTo>
                  <a:lnTo>
                    <a:pt x="230" y="21"/>
                  </a:lnTo>
                  <a:lnTo>
                    <a:pt x="228" y="21"/>
                  </a:lnTo>
                  <a:lnTo>
                    <a:pt x="224" y="23"/>
                  </a:lnTo>
                  <a:lnTo>
                    <a:pt x="221" y="25"/>
                  </a:lnTo>
                  <a:lnTo>
                    <a:pt x="217" y="30"/>
                  </a:lnTo>
                  <a:lnTo>
                    <a:pt x="213" y="36"/>
                  </a:lnTo>
                  <a:lnTo>
                    <a:pt x="213" y="40"/>
                  </a:lnTo>
                  <a:lnTo>
                    <a:pt x="209" y="42"/>
                  </a:lnTo>
                  <a:lnTo>
                    <a:pt x="207" y="44"/>
                  </a:lnTo>
                  <a:lnTo>
                    <a:pt x="205" y="44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190" y="48"/>
                  </a:lnTo>
                  <a:lnTo>
                    <a:pt x="182" y="46"/>
                  </a:lnTo>
                  <a:lnTo>
                    <a:pt x="178" y="46"/>
                  </a:lnTo>
                  <a:lnTo>
                    <a:pt x="175" y="46"/>
                  </a:lnTo>
                  <a:lnTo>
                    <a:pt x="173" y="48"/>
                  </a:lnTo>
                  <a:lnTo>
                    <a:pt x="169" y="48"/>
                  </a:lnTo>
                  <a:lnTo>
                    <a:pt x="163" y="48"/>
                  </a:lnTo>
                  <a:lnTo>
                    <a:pt x="159" y="50"/>
                  </a:lnTo>
                  <a:lnTo>
                    <a:pt x="155" y="50"/>
                  </a:lnTo>
                  <a:lnTo>
                    <a:pt x="152" y="50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2" y="55"/>
                  </a:lnTo>
                  <a:lnTo>
                    <a:pt x="138" y="57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32" y="57"/>
                  </a:lnTo>
                  <a:lnTo>
                    <a:pt x="128" y="57"/>
                  </a:lnTo>
                  <a:lnTo>
                    <a:pt x="125" y="57"/>
                  </a:lnTo>
                  <a:lnTo>
                    <a:pt x="123" y="59"/>
                  </a:lnTo>
                  <a:lnTo>
                    <a:pt x="119" y="59"/>
                  </a:lnTo>
                  <a:lnTo>
                    <a:pt x="115" y="59"/>
                  </a:lnTo>
                  <a:lnTo>
                    <a:pt x="113" y="59"/>
                  </a:lnTo>
                  <a:lnTo>
                    <a:pt x="107" y="55"/>
                  </a:lnTo>
                  <a:lnTo>
                    <a:pt x="107" y="54"/>
                  </a:lnTo>
                  <a:lnTo>
                    <a:pt x="107" y="52"/>
                  </a:lnTo>
                  <a:lnTo>
                    <a:pt x="105" y="50"/>
                  </a:lnTo>
                  <a:lnTo>
                    <a:pt x="105" y="46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0"/>
                  </a:lnTo>
                  <a:lnTo>
                    <a:pt x="100" y="38"/>
                  </a:lnTo>
                  <a:lnTo>
                    <a:pt x="100" y="34"/>
                  </a:lnTo>
                  <a:lnTo>
                    <a:pt x="98" y="32"/>
                  </a:lnTo>
                  <a:lnTo>
                    <a:pt x="98" y="29"/>
                  </a:lnTo>
                  <a:lnTo>
                    <a:pt x="94" y="25"/>
                  </a:lnTo>
                  <a:lnTo>
                    <a:pt x="92" y="23"/>
                  </a:lnTo>
                  <a:lnTo>
                    <a:pt x="88" y="23"/>
                  </a:lnTo>
                  <a:lnTo>
                    <a:pt x="88" y="19"/>
                  </a:lnTo>
                  <a:lnTo>
                    <a:pt x="86" y="17"/>
                  </a:lnTo>
                  <a:lnTo>
                    <a:pt x="82" y="19"/>
                  </a:lnTo>
                  <a:lnTo>
                    <a:pt x="81" y="23"/>
                  </a:lnTo>
                  <a:lnTo>
                    <a:pt x="79" y="27"/>
                  </a:lnTo>
                  <a:lnTo>
                    <a:pt x="77" y="29"/>
                  </a:lnTo>
                  <a:lnTo>
                    <a:pt x="73" y="32"/>
                  </a:lnTo>
                  <a:lnTo>
                    <a:pt x="73" y="34"/>
                  </a:lnTo>
                  <a:lnTo>
                    <a:pt x="71" y="36"/>
                  </a:lnTo>
                  <a:lnTo>
                    <a:pt x="69" y="40"/>
                  </a:lnTo>
                  <a:lnTo>
                    <a:pt x="67" y="44"/>
                  </a:lnTo>
                  <a:lnTo>
                    <a:pt x="63" y="44"/>
                  </a:lnTo>
                  <a:lnTo>
                    <a:pt x="63" y="46"/>
                  </a:lnTo>
                  <a:lnTo>
                    <a:pt x="63" y="50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7"/>
                  </a:lnTo>
                  <a:lnTo>
                    <a:pt x="63" y="61"/>
                  </a:lnTo>
                  <a:lnTo>
                    <a:pt x="65" y="63"/>
                  </a:lnTo>
                  <a:lnTo>
                    <a:pt x="65" y="67"/>
                  </a:lnTo>
                  <a:lnTo>
                    <a:pt x="67" y="71"/>
                  </a:lnTo>
                  <a:lnTo>
                    <a:pt x="69" y="73"/>
                  </a:lnTo>
                  <a:lnTo>
                    <a:pt x="71" y="77"/>
                  </a:lnTo>
                  <a:lnTo>
                    <a:pt x="71" y="78"/>
                  </a:lnTo>
                  <a:lnTo>
                    <a:pt x="73" y="80"/>
                  </a:lnTo>
                  <a:lnTo>
                    <a:pt x="75" y="82"/>
                  </a:lnTo>
                  <a:lnTo>
                    <a:pt x="77" y="88"/>
                  </a:lnTo>
                  <a:lnTo>
                    <a:pt x="77" y="90"/>
                  </a:lnTo>
                  <a:lnTo>
                    <a:pt x="81" y="94"/>
                  </a:lnTo>
                  <a:lnTo>
                    <a:pt x="81" y="98"/>
                  </a:lnTo>
                  <a:lnTo>
                    <a:pt x="82" y="101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92" y="105"/>
                  </a:lnTo>
                  <a:lnTo>
                    <a:pt x="96" y="105"/>
                  </a:lnTo>
                  <a:lnTo>
                    <a:pt x="100" y="107"/>
                  </a:lnTo>
                  <a:lnTo>
                    <a:pt x="102" y="111"/>
                  </a:lnTo>
                  <a:lnTo>
                    <a:pt x="107" y="115"/>
                  </a:lnTo>
                  <a:lnTo>
                    <a:pt x="111" y="117"/>
                  </a:lnTo>
                  <a:lnTo>
                    <a:pt x="115" y="119"/>
                  </a:lnTo>
                  <a:lnTo>
                    <a:pt x="119" y="119"/>
                  </a:lnTo>
                  <a:lnTo>
                    <a:pt x="123" y="119"/>
                  </a:lnTo>
                  <a:lnTo>
                    <a:pt x="125" y="121"/>
                  </a:lnTo>
                  <a:lnTo>
                    <a:pt x="130" y="121"/>
                  </a:lnTo>
                  <a:lnTo>
                    <a:pt x="132" y="121"/>
                  </a:lnTo>
                  <a:lnTo>
                    <a:pt x="138" y="121"/>
                  </a:lnTo>
                  <a:lnTo>
                    <a:pt x="142" y="123"/>
                  </a:lnTo>
                  <a:lnTo>
                    <a:pt x="146" y="123"/>
                  </a:lnTo>
                  <a:lnTo>
                    <a:pt x="150" y="123"/>
                  </a:lnTo>
                  <a:lnTo>
                    <a:pt x="153" y="123"/>
                  </a:lnTo>
                  <a:lnTo>
                    <a:pt x="159" y="125"/>
                  </a:lnTo>
                  <a:lnTo>
                    <a:pt x="165" y="125"/>
                  </a:lnTo>
                  <a:lnTo>
                    <a:pt x="171" y="125"/>
                  </a:lnTo>
                  <a:lnTo>
                    <a:pt x="173" y="126"/>
                  </a:lnTo>
                  <a:lnTo>
                    <a:pt x="175" y="126"/>
                  </a:lnTo>
                  <a:lnTo>
                    <a:pt x="178" y="128"/>
                  </a:lnTo>
                  <a:lnTo>
                    <a:pt x="180" y="130"/>
                  </a:lnTo>
                  <a:lnTo>
                    <a:pt x="186" y="132"/>
                  </a:lnTo>
                  <a:lnTo>
                    <a:pt x="192" y="136"/>
                  </a:lnTo>
                  <a:lnTo>
                    <a:pt x="199" y="136"/>
                  </a:lnTo>
                  <a:lnTo>
                    <a:pt x="203" y="138"/>
                  </a:lnTo>
                  <a:lnTo>
                    <a:pt x="205" y="138"/>
                  </a:lnTo>
                  <a:lnTo>
                    <a:pt x="209" y="140"/>
                  </a:lnTo>
                  <a:lnTo>
                    <a:pt x="213" y="140"/>
                  </a:lnTo>
                  <a:lnTo>
                    <a:pt x="217" y="140"/>
                  </a:lnTo>
                  <a:lnTo>
                    <a:pt x="221" y="140"/>
                  </a:lnTo>
                  <a:lnTo>
                    <a:pt x="224" y="142"/>
                  </a:lnTo>
                  <a:lnTo>
                    <a:pt x="228" y="142"/>
                  </a:lnTo>
                  <a:lnTo>
                    <a:pt x="230" y="142"/>
                  </a:lnTo>
                  <a:lnTo>
                    <a:pt x="234" y="142"/>
                  </a:lnTo>
                  <a:lnTo>
                    <a:pt x="236" y="142"/>
                  </a:lnTo>
                  <a:lnTo>
                    <a:pt x="240" y="142"/>
                  </a:lnTo>
                  <a:lnTo>
                    <a:pt x="242" y="142"/>
                  </a:lnTo>
                  <a:lnTo>
                    <a:pt x="246" y="142"/>
                  </a:lnTo>
                  <a:lnTo>
                    <a:pt x="247" y="142"/>
                  </a:lnTo>
                  <a:lnTo>
                    <a:pt x="247" y="142"/>
                  </a:lnTo>
                  <a:lnTo>
                    <a:pt x="251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7" y="142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57" y="142"/>
                  </a:lnTo>
                  <a:lnTo>
                    <a:pt x="255" y="144"/>
                  </a:lnTo>
                  <a:lnTo>
                    <a:pt x="253" y="146"/>
                  </a:lnTo>
                  <a:lnTo>
                    <a:pt x="253" y="149"/>
                  </a:lnTo>
                  <a:lnTo>
                    <a:pt x="251" y="149"/>
                  </a:lnTo>
                  <a:lnTo>
                    <a:pt x="249" y="149"/>
                  </a:lnTo>
                  <a:lnTo>
                    <a:pt x="249" y="153"/>
                  </a:lnTo>
                  <a:lnTo>
                    <a:pt x="247" y="155"/>
                  </a:lnTo>
                  <a:lnTo>
                    <a:pt x="247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65"/>
                  </a:lnTo>
                  <a:lnTo>
                    <a:pt x="236" y="167"/>
                  </a:lnTo>
                  <a:lnTo>
                    <a:pt x="234" y="169"/>
                  </a:lnTo>
                  <a:lnTo>
                    <a:pt x="230" y="171"/>
                  </a:lnTo>
                  <a:lnTo>
                    <a:pt x="230" y="174"/>
                  </a:lnTo>
                  <a:lnTo>
                    <a:pt x="230" y="176"/>
                  </a:lnTo>
                  <a:lnTo>
                    <a:pt x="228" y="178"/>
                  </a:lnTo>
                  <a:lnTo>
                    <a:pt x="226" y="180"/>
                  </a:lnTo>
                  <a:lnTo>
                    <a:pt x="222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5" y="190"/>
                  </a:lnTo>
                  <a:lnTo>
                    <a:pt x="213" y="190"/>
                  </a:lnTo>
                  <a:lnTo>
                    <a:pt x="211" y="192"/>
                  </a:lnTo>
                  <a:lnTo>
                    <a:pt x="203" y="197"/>
                  </a:lnTo>
                  <a:lnTo>
                    <a:pt x="201" y="199"/>
                  </a:lnTo>
                  <a:lnTo>
                    <a:pt x="198" y="201"/>
                  </a:lnTo>
                  <a:lnTo>
                    <a:pt x="196" y="203"/>
                  </a:lnTo>
                  <a:lnTo>
                    <a:pt x="192" y="205"/>
                  </a:lnTo>
                  <a:lnTo>
                    <a:pt x="188" y="209"/>
                  </a:lnTo>
                  <a:lnTo>
                    <a:pt x="184" y="211"/>
                  </a:lnTo>
                  <a:lnTo>
                    <a:pt x="182" y="215"/>
                  </a:lnTo>
                  <a:lnTo>
                    <a:pt x="180" y="219"/>
                  </a:lnTo>
                  <a:lnTo>
                    <a:pt x="176" y="220"/>
                  </a:lnTo>
                  <a:lnTo>
                    <a:pt x="176" y="224"/>
                  </a:lnTo>
                  <a:lnTo>
                    <a:pt x="175" y="226"/>
                  </a:lnTo>
                  <a:lnTo>
                    <a:pt x="175" y="230"/>
                  </a:lnTo>
                  <a:lnTo>
                    <a:pt x="173" y="232"/>
                  </a:lnTo>
                  <a:lnTo>
                    <a:pt x="169" y="236"/>
                  </a:lnTo>
                  <a:lnTo>
                    <a:pt x="169" y="238"/>
                  </a:lnTo>
                  <a:lnTo>
                    <a:pt x="169" y="242"/>
                  </a:lnTo>
                  <a:lnTo>
                    <a:pt x="167" y="243"/>
                  </a:lnTo>
                  <a:lnTo>
                    <a:pt x="165" y="245"/>
                  </a:lnTo>
                  <a:lnTo>
                    <a:pt x="165" y="247"/>
                  </a:lnTo>
                  <a:lnTo>
                    <a:pt x="163" y="251"/>
                  </a:lnTo>
                  <a:lnTo>
                    <a:pt x="161" y="253"/>
                  </a:lnTo>
                  <a:lnTo>
                    <a:pt x="159" y="253"/>
                  </a:lnTo>
                  <a:lnTo>
                    <a:pt x="155" y="257"/>
                  </a:lnTo>
                  <a:lnTo>
                    <a:pt x="152" y="259"/>
                  </a:lnTo>
                  <a:lnTo>
                    <a:pt x="148" y="259"/>
                  </a:lnTo>
                  <a:lnTo>
                    <a:pt x="146" y="261"/>
                  </a:lnTo>
                  <a:lnTo>
                    <a:pt x="142" y="259"/>
                  </a:lnTo>
                  <a:lnTo>
                    <a:pt x="134" y="259"/>
                  </a:lnTo>
                  <a:lnTo>
                    <a:pt x="128" y="257"/>
                  </a:lnTo>
                  <a:lnTo>
                    <a:pt x="125" y="257"/>
                  </a:lnTo>
                  <a:lnTo>
                    <a:pt x="119" y="255"/>
                  </a:lnTo>
                  <a:lnTo>
                    <a:pt x="115" y="255"/>
                  </a:lnTo>
                  <a:lnTo>
                    <a:pt x="111" y="255"/>
                  </a:lnTo>
                  <a:lnTo>
                    <a:pt x="105" y="255"/>
                  </a:lnTo>
                  <a:lnTo>
                    <a:pt x="102" y="255"/>
                  </a:lnTo>
                  <a:lnTo>
                    <a:pt x="100" y="255"/>
                  </a:lnTo>
                  <a:lnTo>
                    <a:pt x="96" y="257"/>
                  </a:lnTo>
                  <a:lnTo>
                    <a:pt x="92" y="259"/>
                  </a:lnTo>
                  <a:lnTo>
                    <a:pt x="88" y="263"/>
                  </a:lnTo>
                  <a:lnTo>
                    <a:pt x="86" y="267"/>
                  </a:lnTo>
                  <a:lnTo>
                    <a:pt x="82" y="268"/>
                  </a:lnTo>
                  <a:lnTo>
                    <a:pt x="81" y="272"/>
                  </a:lnTo>
                  <a:lnTo>
                    <a:pt x="79" y="274"/>
                  </a:lnTo>
                  <a:lnTo>
                    <a:pt x="77" y="276"/>
                  </a:lnTo>
                  <a:lnTo>
                    <a:pt x="73" y="278"/>
                  </a:lnTo>
                  <a:lnTo>
                    <a:pt x="71" y="280"/>
                  </a:lnTo>
                  <a:lnTo>
                    <a:pt x="63" y="282"/>
                  </a:lnTo>
                  <a:lnTo>
                    <a:pt x="57" y="282"/>
                  </a:lnTo>
                  <a:lnTo>
                    <a:pt x="54" y="282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4" y="288"/>
                  </a:lnTo>
                  <a:lnTo>
                    <a:pt x="42" y="291"/>
                  </a:lnTo>
                  <a:lnTo>
                    <a:pt x="38" y="291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4" y="297"/>
                  </a:lnTo>
                  <a:lnTo>
                    <a:pt x="33" y="299"/>
                  </a:lnTo>
                  <a:lnTo>
                    <a:pt x="29" y="301"/>
                  </a:lnTo>
                  <a:lnTo>
                    <a:pt x="29" y="305"/>
                  </a:lnTo>
                  <a:lnTo>
                    <a:pt x="27" y="307"/>
                  </a:lnTo>
                  <a:lnTo>
                    <a:pt x="27" y="309"/>
                  </a:lnTo>
                  <a:lnTo>
                    <a:pt x="23" y="309"/>
                  </a:lnTo>
                  <a:lnTo>
                    <a:pt x="21" y="313"/>
                  </a:lnTo>
                  <a:lnTo>
                    <a:pt x="19" y="316"/>
                  </a:lnTo>
                  <a:lnTo>
                    <a:pt x="17" y="318"/>
                  </a:lnTo>
                  <a:lnTo>
                    <a:pt x="13" y="320"/>
                  </a:lnTo>
                  <a:lnTo>
                    <a:pt x="11" y="324"/>
                  </a:lnTo>
                  <a:lnTo>
                    <a:pt x="10" y="326"/>
                  </a:lnTo>
                  <a:lnTo>
                    <a:pt x="6" y="330"/>
                  </a:lnTo>
                  <a:lnTo>
                    <a:pt x="4" y="334"/>
                  </a:lnTo>
                  <a:lnTo>
                    <a:pt x="2" y="336"/>
                  </a:lnTo>
                  <a:lnTo>
                    <a:pt x="2" y="336"/>
                  </a:lnTo>
                  <a:lnTo>
                    <a:pt x="2" y="339"/>
                  </a:lnTo>
                  <a:lnTo>
                    <a:pt x="2" y="341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9"/>
                  </a:lnTo>
                  <a:lnTo>
                    <a:pt x="0" y="353"/>
                  </a:lnTo>
                  <a:lnTo>
                    <a:pt x="0" y="355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64"/>
                  </a:lnTo>
                  <a:lnTo>
                    <a:pt x="2" y="368"/>
                  </a:lnTo>
                  <a:lnTo>
                    <a:pt x="2" y="370"/>
                  </a:lnTo>
                  <a:lnTo>
                    <a:pt x="2" y="374"/>
                  </a:lnTo>
                  <a:lnTo>
                    <a:pt x="2" y="378"/>
                  </a:lnTo>
                  <a:lnTo>
                    <a:pt x="2" y="380"/>
                  </a:lnTo>
                  <a:lnTo>
                    <a:pt x="0" y="382"/>
                  </a:lnTo>
                  <a:lnTo>
                    <a:pt x="0" y="385"/>
                  </a:lnTo>
                  <a:lnTo>
                    <a:pt x="0" y="387"/>
                  </a:lnTo>
                  <a:lnTo>
                    <a:pt x="0" y="391"/>
                  </a:lnTo>
                  <a:lnTo>
                    <a:pt x="0" y="397"/>
                  </a:lnTo>
                  <a:lnTo>
                    <a:pt x="0" y="399"/>
                  </a:lnTo>
                  <a:lnTo>
                    <a:pt x="0" y="403"/>
                  </a:lnTo>
                  <a:lnTo>
                    <a:pt x="0" y="405"/>
                  </a:lnTo>
                  <a:lnTo>
                    <a:pt x="0" y="408"/>
                  </a:lnTo>
                  <a:lnTo>
                    <a:pt x="0" y="412"/>
                  </a:lnTo>
                  <a:lnTo>
                    <a:pt x="0" y="416"/>
                  </a:lnTo>
                  <a:lnTo>
                    <a:pt x="0" y="420"/>
                  </a:lnTo>
                  <a:lnTo>
                    <a:pt x="0" y="424"/>
                  </a:lnTo>
                  <a:lnTo>
                    <a:pt x="0" y="428"/>
                  </a:lnTo>
                  <a:lnTo>
                    <a:pt x="0" y="432"/>
                  </a:lnTo>
                  <a:lnTo>
                    <a:pt x="0" y="433"/>
                  </a:lnTo>
                  <a:lnTo>
                    <a:pt x="0" y="439"/>
                  </a:lnTo>
                  <a:lnTo>
                    <a:pt x="0" y="441"/>
                  </a:lnTo>
                  <a:lnTo>
                    <a:pt x="0" y="447"/>
                  </a:lnTo>
                  <a:lnTo>
                    <a:pt x="0" y="449"/>
                  </a:lnTo>
                  <a:lnTo>
                    <a:pt x="0" y="453"/>
                  </a:lnTo>
                  <a:lnTo>
                    <a:pt x="0" y="456"/>
                  </a:lnTo>
                  <a:lnTo>
                    <a:pt x="0" y="460"/>
                  </a:lnTo>
                  <a:lnTo>
                    <a:pt x="0" y="464"/>
                  </a:lnTo>
                  <a:lnTo>
                    <a:pt x="0" y="466"/>
                  </a:lnTo>
                  <a:lnTo>
                    <a:pt x="0" y="468"/>
                  </a:lnTo>
                  <a:lnTo>
                    <a:pt x="4" y="474"/>
                  </a:lnTo>
                  <a:lnTo>
                    <a:pt x="6" y="476"/>
                  </a:lnTo>
                  <a:lnTo>
                    <a:pt x="8" y="479"/>
                  </a:lnTo>
                  <a:lnTo>
                    <a:pt x="10" y="479"/>
                  </a:lnTo>
                  <a:lnTo>
                    <a:pt x="13" y="481"/>
                  </a:lnTo>
                  <a:lnTo>
                    <a:pt x="13" y="483"/>
                  </a:lnTo>
                  <a:lnTo>
                    <a:pt x="13" y="483"/>
                  </a:lnTo>
                  <a:lnTo>
                    <a:pt x="17" y="481"/>
                  </a:lnTo>
                  <a:lnTo>
                    <a:pt x="19" y="485"/>
                  </a:lnTo>
                  <a:lnTo>
                    <a:pt x="23" y="489"/>
                  </a:lnTo>
                  <a:lnTo>
                    <a:pt x="27" y="491"/>
                  </a:lnTo>
                  <a:lnTo>
                    <a:pt x="33" y="495"/>
                  </a:lnTo>
                  <a:lnTo>
                    <a:pt x="34" y="493"/>
                  </a:lnTo>
                  <a:lnTo>
                    <a:pt x="36" y="493"/>
                  </a:lnTo>
                  <a:lnTo>
                    <a:pt x="36" y="489"/>
                  </a:lnTo>
                  <a:lnTo>
                    <a:pt x="33" y="489"/>
                  </a:lnTo>
                  <a:lnTo>
                    <a:pt x="31" y="491"/>
                  </a:lnTo>
                  <a:lnTo>
                    <a:pt x="29" y="493"/>
                  </a:lnTo>
                  <a:lnTo>
                    <a:pt x="27" y="49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5" name="Freeform 31"/>
            <p:cNvSpPr>
              <a:spLocks/>
            </p:cNvSpPr>
            <p:nvPr/>
          </p:nvSpPr>
          <p:spPr bwMode="auto">
            <a:xfrm>
              <a:off x="2689" y="1860"/>
              <a:ext cx="71" cy="82"/>
            </a:xfrm>
            <a:custGeom>
              <a:avLst/>
              <a:gdLst/>
              <a:ahLst/>
              <a:cxnLst>
                <a:cxn ang="0">
                  <a:pos x="67" y="44"/>
                </a:cxn>
                <a:cxn ang="0">
                  <a:pos x="64" y="36"/>
                </a:cxn>
                <a:cxn ang="0">
                  <a:pos x="64" y="33"/>
                </a:cxn>
                <a:cxn ang="0">
                  <a:pos x="64" y="29"/>
                </a:cxn>
                <a:cxn ang="0">
                  <a:pos x="64" y="27"/>
                </a:cxn>
                <a:cxn ang="0">
                  <a:pos x="64" y="25"/>
                </a:cxn>
                <a:cxn ang="0">
                  <a:pos x="64" y="19"/>
                </a:cxn>
                <a:cxn ang="0">
                  <a:pos x="60" y="10"/>
                </a:cxn>
                <a:cxn ang="0">
                  <a:pos x="56" y="10"/>
                </a:cxn>
                <a:cxn ang="0">
                  <a:pos x="54" y="2"/>
                </a:cxn>
                <a:cxn ang="0">
                  <a:pos x="46" y="0"/>
                </a:cxn>
                <a:cxn ang="0">
                  <a:pos x="42" y="0"/>
                </a:cxn>
                <a:cxn ang="0">
                  <a:pos x="42" y="6"/>
                </a:cxn>
                <a:cxn ang="0">
                  <a:pos x="40" y="13"/>
                </a:cxn>
                <a:cxn ang="0">
                  <a:pos x="39" y="19"/>
                </a:cxn>
                <a:cxn ang="0">
                  <a:pos x="35" y="23"/>
                </a:cxn>
                <a:cxn ang="0">
                  <a:pos x="31" y="27"/>
                </a:cxn>
                <a:cxn ang="0">
                  <a:pos x="25" y="29"/>
                </a:cxn>
                <a:cxn ang="0">
                  <a:pos x="19" y="31"/>
                </a:cxn>
                <a:cxn ang="0">
                  <a:pos x="16" y="33"/>
                </a:cxn>
                <a:cxn ang="0">
                  <a:pos x="10" y="34"/>
                </a:cxn>
                <a:cxn ang="0">
                  <a:pos x="4" y="38"/>
                </a:cxn>
                <a:cxn ang="0">
                  <a:pos x="2" y="42"/>
                </a:cxn>
                <a:cxn ang="0">
                  <a:pos x="0" y="46"/>
                </a:cxn>
                <a:cxn ang="0">
                  <a:pos x="0" y="50"/>
                </a:cxn>
                <a:cxn ang="0">
                  <a:pos x="0" y="54"/>
                </a:cxn>
                <a:cxn ang="0">
                  <a:pos x="0" y="59"/>
                </a:cxn>
                <a:cxn ang="0">
                  <a:pos x="2" y="65"/>
                </a:cxn>
                <a:cxn ang="0">
                  <a:pos x="6" y="71"/>
                </a:cxn>
                <a:cxn ang="0">
                  <a:pos x="10" y="75"/>
                </a:cxn>
                <a:cxn ang="0">
                  <a:pos x="14" y="77"/>
                </a:cxn>
                <a:cxn ang="0">
                  <a:pos x="19" y="81"/>
                </a:cxn>
                <a:cxn ang="0">
                  <a:pos x="23" y="82"/>
                </a:cxn>
                <a:cxn ang="0">
                  <a:pos x="27" y="82"/>
                </a:cxn>
                <a:cxn ang="0">
                  <a:pos x="27" y="82"/>
                </a:cxn>
                <a:cxn ang="0">
                  <a:pos x="33" y="82"/>
                </a:cxn>
                <a:cxn ang="0">
                  <a:pos x="39" y="81"/>
                </a:cxn>
                <a:cxn ang="0">
                  <a:pos x="44" y="81"/>
                </a:cxn>
                <a:cxn ang="0">
                  <a:pos x="48" y="77"/>
                </a:cxn>
                <a:cxn ang="0">
                  <a:pos x="52" y="71"/>
                </a:cxn>
                <a:cxn ang="0">
                  <a:pos x="54" y="65"/>
                </a:cxn>
                <a:cxn ang="0">
                  <a:pos x="54" y="61"/>
                </a:cxn>
                <a:cxn ang="0">
                  <a:pos x="56" y="57"/>
                </a:cxn>
                <a:cxn ang="0">
                  <a:pos x="60" y="54"/>
                </a:cxn>
                <a:cxn ang="0">
                  <a:pos x="64" y="50"/>
                </a:cxn>
                <a:cxn ang="0">
                  <a:pos x="65" y="48"/>
                </a:cxn>
              </a:cxnLst>
              <a:rect l="0" t="0" r="r" b="b"/>
              <a:pathLst>
                <a:path w="71" h="82">
                  <a:moveTo>
                    <a:pt x="71" y="46"/>
                  </a:moveTo>
                  <a:lnTo>
                    <a:pt x="67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3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2" y="15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4" y="6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2" y="11"/>
                  </a:lnTo>
                  <a:lnTo>
                    <a:pt x="40" y="13"/>
                  </a:lnTo>
                  <a:lnTo>
                    <a:pt x="40" y="17"/>
                  </a:lnTo>
                  <a:lnTo>
                    <a:pt x="39" y="19"/>
                  </a:lnTo>
                  <a:lnTo>
                    <a:pt x="37" y="21"/>
                  </a:lnTo>
                  <a:lnTo>
                    <a:pt x="35" y="23"/>
                  </a:lnTo>
                  <a:lnTo>
                    <a:pt x="33" y="25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5" y="29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0" y="34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2" y="61"/>
                  </a:lnTo>
                  <a:lnTo>
                    <a:pt x="2" y="65"/>
                  </a:lnTo>
                  <a:lnTo>
                    <a:pt x="4" y="69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10" y="75"/>
                  </a:lnTo>
                  <a:lnTo>
                    <a:pt x="10" y="77"/>
                  </a:lnTo>
                  <a:lnTo>
                    <a:pt x="14" y="77"/>
                  </a:lnTo>
                  <a:lnTo>
                    <a:pt x="16" y="81"/>
                  </a:lnTo>
                  <a:lnTo>
                    <a:pt x="19" y="81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33" y="82"/>
                  </a:lnTo>
                  <a:lnTo>
                    <a:pt x="37" y="82"/>
                  </a:lnTo>
                  <a:lnTo>
                    <a:pt x="39" y="81"/>
                  </a:lnTo>
                  <a:lnTo>
                    <a:pt x="40" y="81"/>
                  </a:lnTo>
                  <a:lnTo>
                    <a:pt x="44" y="81"/>
                  </a:lnTo>
                  <a:lnTo>
                    <a:pt x="46" y="81"/>
                  </a:lnTo>
                  <a:lnTo>
                    <a:pt x="48" y="77"/>
                  </a:lnTo>
                  <a:lnTo>
                    <a:pt x="50" y="75"/>
                  </a:lnTo>
                  <a:lnTo>
                    <a:pt x="52" y="71"/>
                  </a:lnTo>
                  <a:lnTo>
                    <a:pt x="54" y="69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1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62" y="52"/>
                  </a:lnTo>
                  <a:lnTo>
                    <a:pt x="64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71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6" name="Freeform 32"/>
            <p:cNvSpPr>
              <a:spLocks/>
            </p:cNvSpPr>
            <p:nvPr/>
          </p:nvSpPr>
          <p:spPr bwMode="auto">
            <a:xfrm>
              <a:off x="2689" y="1860"/>
              <a:ext cx="71" cy="82"/>
            </a:xfrm>
            <a:custGeom>
              <a:avLst/>
              <a:gdLst/>
              <a:ahLst/>
              <a:cxnLst>
                <a:cxn ang="0">
                  <a:pos x="67" y="44"/>
                </a:cxn>
                <a:cxn ang="0">
                  <a:pos x="64" y="36"/>
                </a:cxn>
                <a:cxn ang="0">
                  <a:pos x="64" y="33"/>
                </a:cxn>
                <a:cxn ang="0">
                  <a:pos x="64" y="29"/>
                </a:cxn>
                <a:cxn ang="0">
                  <a:pos x="64" y="27"/>
                </a:cxn>
                <a:cxn ang="0">
                  <a:pos x="64" y="25"/>
                </a:cxn>
                <a:cxn ang="0">
                  <a:pos x="64" y="19"/>
                </a:cxn>
                <a:cxn ang="0">
                  <a:pos x="60" y="10"/>
                </a:cxn>
                <a:cxn ang="0">
                  <a:pos x="56" y="10"/>
                </a:cxn>
                <a:cxn ang="0">
                  <a:pos x="54" y="2"/>
                </a:cxn>
                <a:cxn ang="0">
                  <a:pos x="46" y="0"/>
                </a:cxn>
                <a:cxn ang="0">
                  <a:pos x="42" y="0"/>
                </a:cxn>
                <a:cxn ang="0">
                  <a:pos x="42" y="6"/>
                </a:cxn>
                <a:cxn ang="0">
                  <a:pos x="40" y="13"/>
                </a:cxn>
                <a:cxn ang="0">
                  <a:pos x="39" y="19"/>
                </a:cxn>
                <a:cxn ang="0">
                  <a:pos x="35" y="23"/>
                </a:cxn>
                <a:cxn ang="0">
                  <a:pos x="31" y="27"/>
                </a:cxn>
                <a:cxn ang="0">
                  <a:pos x="25" y="29"/>
                </a:cxn>
                <a:cxn ang="0">
                  <a:pos x="19" y="31"/>
                </a:cxn>
                <a:cxn ang="0">
                  <a:pos x="16" y="33"/>
                </a:cxn>
                <a:cxn ang="0">
                  <a:pos x="10" y="34"/>
                </a:cxn>
                <a:cxn ang="0">
                  <a:pos x="4" y="38"/>
                </a:cxn>
                <a:cxn ang="0">
                  <a:pos x="2" y="42"/>
                </a:cxn>
                <a:cxn ang="0">
                  <a:pos x="0" y="46"/>
                </a:cxn>
                <a:cxn ang="0">
                  <a:pos x="0" y="50"/>
                </a:cxn>
                <a:cxn ang="0">
                  <a:pos x="0" y="54"/>
                </a:cxn>
                <a:cxn ang="0">
                  <a:pos x="0" y="59"/>
                </a:cxn>
                <a:cxn ang="0">
                  <a:pos x="2" y="65"/>
                </a:cxn>
                <a:cxn ang="0">
                  <a:pos x="6" y="71"/>
                </a:cxn>
                <a:cxn ang="0">
                  <a:pos x="10" y="75"/>
                </a:cxn>
                <a:cxn ang="0">
                  <a:pos x="14" y="77"/>
                </a:cxn>
                <a:cxn ang="0">
                  <a:pos x="19" y="81"/>
                </a:cxn>
                <a:cxn ang="0">
                  <a:pos x="23" y="82"/>
                </a:cxn>
                <a:cxn ang="0">
                  <a:pos x="27" y="82"/>
                </a:cxn>
                <a:cxn ang="0">
                  <a:pos x="27" y="82"/>
                </a:cxn>
                <a:cxn ang="0">
                  <a:pos x="33" y="82"/>
                </a:cxn>
                <a:cxn ang="0">
                  <a:pos x="39" y="81"/>
                </a:cxn>
                <a:cxn ang="0">
                  <a:pos x="44" y="81"/>
                </a:cxn>
                <a:cxn ang="0">
                  <a:pos x="48" y="77"/>
                </a:cxn>
                <a:cxn ang="0">
                  <a:pos x="52" y="71"/>
                </a:cxn>
                <a:cxn ang="0">
                  <a:pos x="54" y="65"/>
                </a:cxn>
                <a:cxn ang="0">
                  <a:pos x="54" y="61"/>
                </a:cxn>
                <a:cxn ang="0">
                  <a:pos x="56" y="57"/>
                </a:cxn>
                <a:cxn ang="0">
                  <a:pos x="60" y="54"/>
                </a:cxn>
                <a:cxn ang="0">
                  <a:pos x="64" y="50"/>
                </a:cxn>
                <a:cxn ang="0">
                  <a:pos x="65" y="48"/>
                </a:cxn>
              </a:cxnLst>
              <a:rect l="0" t="0" r="r" b="b"/>
              <a:pathLst>
                <a:path w="71" h="82">
                  <a:moveTo>
                    <a:pt x="71" y="46"/>
                  </a:moveTo>
                  <a:lnTo>
                    <a:pt x="67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3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2" y="15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4" y="6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2" y="11"/>
                  </a:lnTo>
                  <a:lnTo>
                    <a:pt x="40" y="13"/>
                  </a:lnTo>
                  <a:lnTo>
                    <a:pt x="40" y="17"/>
                  </a:lnTo>
                  <a:lnTo>
                    <a:pt x="39" y="19"/>
                  </a:lnTo>
                  <a:lnTo>
                    <a:pt x="37" y="21"/>
                  </a:lnTo>
                  <a:lnTo>
                    <a:pt x="35" y="23"/>
                  </a:lnTo>
                  <a:lnTo>
                    <a:pt x="33" y="25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5" y="29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0" y="34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2" y="61"/>
                  </a:lnTo>
                  <a:lnTo>
                    <a:pt x="2" y="65"/>
                  </a:lnTo>
                  <a:lnTo>
                    <a:pt x="4" y="69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10" y="75"/>
                  </a:lnTo>
                  <a:lnTo>
                    <a:pt x="10" y="77"/>
                  </a:lnTo>
                  <a:lnTo>
                    <a:pt x="14" y="77"/>
                  </a:lnTo>
                  <a:lnTo>
                    <a:pt x="16" y="81"/>
                  </a:lnTo>
                  <a:lnTo>
                    <a:pt x="19" y="81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33" y="82"/>
                  </a:lnTo>
                  <a:lnTo>
                    <a:pt x="37" y="82"/>
                  </a:lnTo>
                  <a:lnTo>
                    <a:pt x="39" y="81"/>
                  </a:lnTo>
                  <a:lnTo>
                    <a:pt x="40" y="81"/>
                  </a:lnTo>
                  <a:lnTo>
                    <a:pt x="44" y="81"/>
                  </a:lnTo>
                  <a:lnTo>
                    <a:pt x="46" y="81"/>
                  </a:lnTo>
                  <a:lnTo>
                    <a:pt x="48" y="77"/>
                  </a:lnTo>
                  <a:lnTo>
                    <a:pt x="50" y="75"/>
                  </a:lnTo>
                  <a:lnTo>
                    <a:pt x="52" y="71"/>
                  </a:lnTo>
                  <a:lnTo>
                    <a:pt x="54" y="69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1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62" y="52"/>
                  </a:lnTo>
                  <a:lnTo>
                    <a:pt x="64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71" y="46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7" name="Freeform 33"/>
            <p:cNvSpPr>
              <a:spLocks/>
            </p:cNvSpPr>
            <p:nvPr/>
          </p:nvSpPr>
          <p:spPr bwMode="auto">
            <a:xfrm>
              <a:off x="2497" y="1662"/>
              <a:ext cx="236" cy="227"/>
            </a:xfrm>
            <a:custGeom>
              <a:avLst/>
              <a:gdLst/>
              <a:ahLst/>
              <a:cxnLst>
                <a:cxn ang="0">
                  <a:pos x="58" y="14"/>
                </a:cxn>
                <a:cxn ang="0">
                  <a:pos x="46" y="21"/>
                </a:cxn>
                <a:cxn ang="0">
                  <a:pos x="27" y="37"/>
                </a:cxn>
                <a:cxn ang="0">
                  <a:pos x="14" y="44"/>
                </a:cxn>
                <a:cxn ang="0">
                  <a:pos x="8" y="50"/>
                </a:cxn>
                <a:cxn ang="0">
                  <a:pos x="0" y="67"/>
                </a:cxn>
                <a:cxn ang="0">
                  <a:pos x="2" y="87"/>
                </a:cxn>
                <a:cxn ang="0">
                  <a:pos x="4" y="108"/>
                </a:cxn>
                <a:cxn ang="0">
                  <a:pos x="4" y="131"/>
                </a:cxn>
                <a:cxn ang="0">
                  <a:pos x="2" y="148"/>
                </a:cxn>
                <a:cxn ang="0">
                  <a:pos x="12" y="160"/>
                </a:cxn>
                <a:cxn ang="0">
                  <a:pos x="27" y="160"/>
                </a:cxn>
                <a:cxn ang="0">
                  <a:pos x="43" y="163"/>
                </a:cxn>
                <a:cxn ang="0">
                  <a:pos x="58" y="169"/>
                </a:cxn>
                <a:cxn ang="0">
                  <a:pos x="67" y="154"/>
                </a:cxn>
                <a:cxn ang="0">
                  <a:pos x="77" y="144"/>
                </a:cxn>
                <a:cxn ang="0">
                  <a:pos x="94" y="142"/>
                </a:cxn>
                <a:cxn ang="0">
                  <a:pos x="110" y="152"/>
                </a:cxn>
                <a:cxn ang="0">
                  <a:pos x="123" y="158"/>
                </a:cxn>
                <a:cxn ang="0">
                  <a:pos x="144" y="160"/>
                </a:cxn>
                <a:cxn ang="0">
                  <a:pos x="152" y="163"/>
                </a:cxn>
                <a:cxn ang="0">
                  <a:pos x="163" y="165"/>
                </a:cxn>
                <a:cxn ang="0">
                  <a:pos x="175" y="173"/>
                </a:cxn>
                <a:cxn ang="0">
                  <a:pos x="181" y="184"/>
                </a:cxn>
                <a:cxn ang="0">
                  <a:pos x="185" y="198"/>
                </a:cxn>
                <a:cxn ang="0">
                  <a:pos x="192" y="208"/>
                </a:cxn>
                <a:cxn ang="0">
                  <a:pos x="204" y="219"/>
                </a:cxn>
                <a:cxn ang="0">
                  <a:pos x="213" y="227"/>
                </a:cxn>
                <a:cxn ang="0">
                  <a:pos x="223" y="225"/>
                </a:cxn>
                <a:cxn ang="0">
                  <a:pos x="232" y="215"/>
                </a:cxn>
                <a:cxn ang="0">
                  <a:pos x="234" y="200"/>
                </a:cxn>
                <a:cxn ang="0">
                  <a:pos x="234" y="190"/>
                </a:cxn>
                <a:cxn ang="0">
                  <a:pos x="227" y="183"/>
                </a:cxn>
                <a:cxn ang="0">
                  <a:pos x="219" y="173"/>
                </a:cxn>
                <a:cxn ang="0">
                  <a:pos x="211" y="169"/>
                </a:cxn>
                <a:cxn ang="0">
                  <a:pos x="204" y="158"/>
                </a:cxn>
                <a:cxn ang="0">
                  <a:pos x="194" y="150"/>
                </a:cxn>
                <a:cxn ang="0">
                  <a:pos x="185" y="144"/>
                </a:cxn>
                <a:cxn ang="0">
                  <a:pos x="169" y="133"/>
                </a:cxn>
                <a:cxn ang="0">
                  <a:pos x="156" y="123"/>
                </a:cxn>
                <a:cxn ang="0">
                  <a:pos x="140" y="112"/>
                </a:cxn>
                <a:cxn ang="0">
                  <a:pos x="131" y="106"/>
                </a:cxn>
                <a:cxn ang="0">
                  <a:pos x="117" y="98"/>
                </a:cxn>
                <a:cxn ang="0">
                  <a:pos x="106" y="87"/>
                </a:cxn>
                <a:cxn ang="0">
                  <a:pos x="100" y="71"/>
                </a:cxn>
                <a:cxn ang="0">
                  <a:pos x="96" y="56"/>
                </a:cxn>
                <a:cxn ang="0">
                  <a:pos x="89" y="41"/>
                </a:cxn>
                <a:cxn ang="0">
                  <a:pos x="77" y="31"/>
                </a:cxn>
                <a:cxn ang="0">
                  <a:pos x="73" y="21"/>
                </a:cxn>
                <a:cxn ang="0">
                  <a:pos x="71" y="4"/>
                </a:cxn>
              </a:cxnLst>
              <a:rect l="0" t="0" r="r" b="b"/>
              <a:pathLst>
                <a:path w="236" h="227">
                  <a:moveTo>
                    <a:pt x="69" y="2"/>
                  </a:moveTo>
                  <a:lnTo>
                    <a:pt x="66" y="4"/>
                  </a:lnTo>
                  <a:lnTo>
                    <a:pt x="60" y="8"/>
                  </a:lnTo>
                  <a:lnTo>
                    <a:pt x="58" y="14"/>
                  </a:lnTo>
                  <a:lnTo>
                    <a:pt x="56" y="14"/>
                  </a:lnTo>
                  <a:lnTo>
                    <a:pt x="52" y="14"/>
                  </a:lnTo>
                  <a:lnTo>
                    <a:pt x="50" y="18"/>
                  </a:lnTo>
                  <a:lnTo>
                    <a:pt x="46" y="21"/>
                  </a:lnTo>
                  <a:lnTo>
                    <a:pt x="41" y="25"/>
                  </a:lnTo>
                  <a:lnTo>
                    <a:pt x="37" y="29"/>
                  </a:lnTo>
                  <a:lnTo>
                    <a:pt x="35" y="31"/>
                  </a:lnTo>
                  <a:lnTo>
                    <a:pt x="27" y="37"/>
                  </a:lnTo>
                  <a:lnTo>
                    <a:pt x="21" y="39"/>
                  </a:lnTo>
                  <a:lnTo>
                    <a:pt x="20" y="41"/>
                  </a:lnTo>
                  <a:lnTo>
                    <a:pt x="16" y="41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0" y="48"/>
                  </a:lnTo>
                  <a:lnTo>
                    <a:pt x="8" y="50"/>
                  </a:lnTo>
                  <a:lnTo>
                    <a:pt x="6" y="56"/>
                  </a:lnTo>
                  <a:lnTo>
                    <a:pt x="2" y="62"/>
                  </a:lnTo>
                  <a:lnTo>
                    <a:pt x="2" y="66"/>
                  </a:lnTo>
                  <a:lnTo>
                    <a:pt x="0" y="67"/>
                  </a:lnTo>
                  <a:lnTo>
                    <a:pt x="2" y="71"/>
                  </a:lnTo>
                  <a:lnTo>
                    <a:pt x="2" y="77"/>
                  </a:lnTo>
                  <a:lnTo>
                    <a:pt x="2" y="83"/>
                  </a:lnTo>
                  <a:lnTo>
                    <a:pt x="2" y="87"/>
                  </a:lnTo>
                  <a:lnTo>
                    <a:pt x="2" y="92"/>
                  </a:lnTo>
                  <a:lnTo>
                    <a:pt x="4" y="98"/>
                  </a:lnTo>
                  <a:lnTo>
                    <a:pt x="4" y="102"/>
                  </a:lnTo>
                  <a:lnTo>
                    <a:pt x="4" y="108"/>
                  </a:lnTo>
                  <a:lnTo>
                    <a:pt x="4" y="110"/>
                  </a:lnTo>
                  <a:lnTo>
                    <a:pt x="4" y="115"/>
                  </a:lnTo>
                  <a:lnTo>
                    <a:pt x="4" y="123"/>
                  </a:lnTo>
                  <a:lnTo>
                    <a:pt x="4" y="131"/>
                  </a:lnTo>
                  <a:lnTo>
                    <a:pt x="2" y="137"/>
                  </a:lnTo>
                  <a:lnTo>
                    <a:pt x="2" y="140"/>
                  </a:lnTo>
                  <a:lnTo>
                    <a:pt x="2" y="144"/>
                  </a:lnTo>
                  <a:lnTo>
                    <a:pt x="2" y="148"/>
                  </a:lnTo>
                  <a:lnTo>
                    <a:pt x="2" y="154"/>
                  </a:lnTo>
                  <a:lnTo>
                    <a:pt x="2" y="156"/>
                  </a:lnTo>
                  <a:lnTo>
                    <a:pt x="2" y="160"/>
                  </a:lnTo>
                  <a:lnTo>
                    <a:pt x="12" y="160"/>
                  </a:lnTo>
                  <a:lnTo>
                    <a:pt x="16" y="158"/>
                  </a:lnTo>
                  <a:lnTo>
                    <a:pt x="18" y="158"/>
                  </a:lnTo>
                  <a:lnTo>
                    <a:pt x="21" y="158"/>
                  </a:lnTo>
                  <a:lnTo>
                    <a:pt x="27" y="160"/>
                  </a:lnTo>
                  <a:lnTo>
                    <a:pt x="31" y="161"/>
                  </a:lnTo>
                  <a:lnTo>
                    <a:pt x="35" y="161"/>
                  </a:lnTo>
                  <a:lnTo>
                    <a:pt x="39" y="163"/>
                  </a:lnTo>
                  <a:lnTo>
                    <a:pt x="43" y="163"/>
                  </a:lnTo>
                  <a:lnTo>
                    <a:pt x="46" y="163"/>
                  </a:lnTo>
                  <a:lnTo>
                    <a:pt x="52" y="167"/>
                  </a:lnTo>
                  <a:lnTo>
                    <a:pt x="54" y="169"/>
                  </a:lnTo>
                  <a:lnTo>
                    <a:pt x="58" y="169"/>
                  </a:lnTo>
                  <a:lnTo>
                    <a:pt x="60" y="173"/>
                  </a:lnTo>
                  <a:lnTo>
                    <a:pt x="62" y="165"/>
                  </a:lnTo>
                  <a:lnTo>
                    <a:pt x="66" y="158"/>
                  </a:lnTo>
                  <a:lnTo>
                    <a:pt x="67" y="154"/>
                  </a:lnTo>
                  <a:lnTo>
                    <a:pt x="69" y="150"/>
                  </a:lnTo>
                  <a:lnTo>
                    <a:pt x="71" y="146"/>
                  </a:lnTo>
                  <a:lnTo>
                    <a:pt x="75" y="146"/>
                  </a:lnTo>
                  <a:lnTo>
                    <a:pt x="77" y="144"/>
                  </a:lnTo>
                  <a:lnTo>
                    <a:pt x="79" y="142"/>
                  </a:lnTo>
                  <a:lnTo>
                    <a:pt x="83" y="142"/>
                  </a:lnTo>
                  <a:lnTo>
                    <a:pt x="90" y="142"/>
                  </a:lnTo>
                  <a:lnTo>
                    <a:pt x="94" y="142"/>
                  </a:lnTo>
                  <a:lnTo>
                    <a:pt x="96" y="144"/>
                  </a:lnTo>
                  <a:lnTo>
                    <a:pt x="100" y="146"/>
                  </a:lnTo>
                  <a:lnTo>
                    <a:pt x="104" y="146"/>
                  </a:lnTo>
                  <a:lnTo>
                    <a:pt x="110" y="152"/>
                  </a:lnTo>
                  <a:lnTo>
                    <a:pt x="112" y="152"/>
                  </a:lnTo>
                  <a:lnTo>
                    <a:pt x="115" y="154"/>
                  </a:lnTo>
                  <a:lnTo>
                    <a:pt x="119" y="156"/>
                  </a:lnTo>
                  <a:lnTo>
                    <a:pt x="123" y="158"/>
                  </a:lnTo>
                  <a:lnTo>
                    <a:pt x="131" y="158"/>
                  </a:lnTo>
                  <a:lnTo>
                    <a:pt x="137" y="160"/>
                  </a:lnTo>
                  <a:lnTo>
                    <a:pt x="140" y="160"/>
                  </a:lnTo>
                  <a:lnTo>
                    <a:pt x="144" y="160"/>
                  </a:lnTo>
                  <a:lnTo>
                    <a:pt x="146" y="160"/>
                  </a:lnTo>
                  <a:lnTo>
                    <a:pt x="148" y="160"/>
                  </a:lnTo>
                  <a:lnTo>
                    <a:pt x="150" y="160"/>
                  </a:lnTo>
                  <a:lnTo>
                    <a:pt x="152" y="163"/>
                  </a:lnTo>
                  <a:lnTo>
                    <a:pt x="158" y="163"/>
                  </a:lnTo>
                  <a:lnTo>
                    <a:pt x="160" y="163"/>
                  </a:lnTo>
                  <a:lnTo>
                    <a:pt x="161" y="163"/>
                  </a:lnTo>
                  <a:lnTo>
                    <a:pt x="163" y="165"/>
                  </a:lnTo>
                  <a:lnTo>
                    <a:pt x="163" y="165"/>
                  </a:lnTo>
                  <a:lnTo>
                    <a:pt x="167" y="165"/>
                  </a:lnTo>
                  <a:lnTo>
                    <a:pt x="171" y="169"/>
                  </a:lnTo>
                  <a:lnTo>
                    <a:pt x="175" y="173"/>
                  </a:lnTo>
                  <a:lnTo>
                    <a:pt x="175" y="177"/>
                  </a:lnTo>
                  <a:lnTo>
                    <a:pt x="179" y="179"/>
                  </a:lnTo>
                  <a:lnTo>
                    <a:pt x="179" y="183"/>
                  </a:lnTo>
                  <a:lnTo>
                    <a:pt x="181" y="184"/>
                  </a:lnTo>
                  <a:lnTo>
                    <a:pt x="183" y="186"/>
                  </a:lnTo>
                  <a:lnTo>
                    <a:pt x="185" y="190"/>
                  </a:lnTo>
                  <a:lnTo>
                    <a:pt x="185" y="194"/>
                  </a:lnTo>
                  <a:lnTo>
                    <a:pt x="185" y="198"/>
                  </a:lnTo>
                  <a:lnTo>
                    <a:pt x="186" y="200"/>
                  </a:lnTo>
                  <a:lnTo>
                    <a:pt x="188" y="204"/>
                  </a:lnTo>
                  <a:lnTo>
                    <a:pt x="190" y="208"/>
                  </a:lnTo>
                  <a:lnTo>
                    <a:pt x="192" y="208"/>
                  </a:lnTo>
                  <a:lnTo>
                    <a:pt x="194" y="211"/>
                  </a:lnTo>
                  <a:lnTo>
                    <a:pt x="198" y="215"/>
                  </a:lnTo>
                  <a:lnTo>
                    <a:pt x="200" y="217"/>
                  </a:lnTo>
                  <a:lnTo>
                    <a:pt x="204" y="219"/>
                  </a:lnTo>
                  <a:lnTo>
                    <a:pt x="208" y="221"/>
                  </a:lnTo>
                  <a:lnTo>
                    <a:pt x="211" y="223"/>
                  </a:lnTo>
                  <a:lnTo>
                    <a:pt x="211" y="227"/>
                  </a:lnTo>
                  <a:lnTo>
                    <a:pt x="213" y="227"/>
                  </a:lnTo>
                  <a:lnTo>
                    <a:pt x="217" y="227"/>
                  </a:lnTo>
                  <a:lnTo>
                    <a:pt x="219" y="227"/>
                  </a:lnTo>
                  <a:lnTo>
                    <a:pt x="221" y="227"/>
                  </a:lnTo>
                  <a:lnTo>
                    <a:pt x="223" y="225"/>
                  </a:lnTo>
                  <a:lnTo>
                    <a:pt x="225" y="223"/>
                  </a:lnTo>
                  <a:lnTo>
                    <a:pt x="229" y="219"/>
                  </a:lnTo>
                  <a:lnTo>
                    <a:pt x="231" y="217"/>
                  </a:lnTo>
                  <a:lnTo>
                    <a:pt x="232" y="215"/>
                  </a:lnTo>
                  <a:lnTo>
                    <a:pt x="232" y="209"/>
                  </a:lnTo>
                  <a:lnTo>
                    <a:pt x="232" y="206"/>
                  </a:lnTo>
                  <a:lnTo>
                    <a:pt x="232" y="202"/>
                  </a:lnTo>
                  <a:lnTo>
                    <a:pt x="234" y="200"/>
                  </a:lnTo>
                  <a:lnTo>
                    <a:pt x="234" y="198"/>
                  </a:lnTo>
                  <a:lnTo>
                    <a:pt x="234" y="194"/>
                  </a:lnTo>
                  <a:lnTo>
                    <a:pt x="236" y="192"/>
                  </a:lnTo>
                  <a:lnTo>
                    <a:pt x="234" y="190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29" y="184"/>
                  </a:lnTo>
                  <a:lnTo>
                    <a:pt x="227" y="183"/>
                  </a:lnTo>
                  <a:lnTo>
                    <a:pt x="223" y="181"/>
                  </a:lnTo>
                  <a:lnTo>
                    <a:pt x="221" y="177"/>
                  </a:lnTo>
                  <a:lnTo>
                    <a:pt x="219" y="175"/>
                  </a:lnTo>
                  <a:lnTo>
                    <a:pt x="219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11" y="165"/>
                  </a:lnTo>
                  <a:lnTo>
                    <a:pt x="209" y="163"/>
                  </a:lnTo>
                  <a:lnTo>
                    <a:pt x="206" y="161"/>
                  </a:lnTo>
                  <a:lnTo>
                    <a:pt x="204" y="158"/>
                  </a:lnTo>
                  <a:lnTo>
                    <a:pt x="202" y="156"/>
                  </a:lnTo>
                  <a:lnTo>
                    <a:pt x="200" y="154"/>
                  </a:lnTo>
                  <a:lnTo>
                    <a:pt x="196" y="152"/>
                  </a:lnTo>
                  <a:lnTo>
                    <a:pt x="194" y="150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5" y="146"/>
                  </a:lnTo>
                  <a:lnTo>
                    <a:pt x="185" y="144"/>
                  </a:lnTo>
                  <a:lnTo>
                    <a:pt x="181" y="140"/>
                  </a:lnTo>
                  <a:lnTo>
                    <a:pt x="177" y="138"/>
                  </a:lnTo>
                  <a:lnTo>
                    <a:pt x="173" y="137"/>
                  </a:lnTo>
                  <a:lnTo>
                    <a:pt x="169" y="133"/>
                  </a:lnTo>
                  <a:lnTo>
                    <a:pt x="165" y="131"/>
                  </a:lnTo>
                  <a:lnTo>
                    <a:pt x="163" y="129"/>
                  </a:lnTo>
                  <a:lnTo>
                    <a:pt x="158" y="127"/>
                  </a:lnTo>
                  <a:lnTo>
                    <a:pt x="156" y="123"/>
                  </a:lnTo>
                  <a:lnTo>
                    <a:pt x="154" y="121"/>
                  </a:lnTo>
                  <a:lnTo>
                    <a:pt x="150" y="119"/>
                  </a:lnTo>
                  <a:lnTo>
                    <a:pt x="144" y="115"/>
                  </a:lnTo>
                  <a:lnTo>
                    <a:pt x="140" y="112"/>
                  </a:lnTo>
                  <a:lnTo>
                    <a:pt x="138" y="110"/>
                  </a:lnTo>
                  <a:lnTo>
                    <a:pt x="135" y="108"/>
                  </a:lnTo>
                  <a:lnTo>
                    <a:pt x="133" y="106"/>
                  </a:lnTo>
                  <a:lnTo>
                    <a:pt x="131" y="106"/>
                  </a:lnTo>
                  <a:lnTo>
                    <a:pt x="129" y="104"/>
                  </a:lnTo>
                  <a:lnTo>
                    <a:pt x="125" y="102"/>
                  </a:lnTo>
                  <a:lnTo>
                    <a:pt x="121" y="100"/>
                  </a:lnTo>
                  <a:lnTo>
                    <a:pt x="117" y="98"/>
                  </a:lnTo>
                  <a:lnTo>
                    <a:pt x="115" y="94"/>
                  </a:lnTo>
                  <a:lnTo>
                    <a:pt x="112" y="92"/>
                  </a:lnTo>
                  <a:lnTo>
                    <a:pt x="110" y="89"/>
                  </a:lnTo>
                  <a:lnTo>
                    <a:pt x="106" y="87"/>
                  </a:lnTo>
                  <a:lnTo>
                    <a:pt x="104" y="83"/>
                  </a:lnTo>
                  <a:lnTo>
                    <a:pt x="102" y="77"/>
                  </a:lnTo>
                  <a:lnTo>
                    <a:pt x="100" y="73"/>
                  </a:lnTo>
                  <a:lnTo>
                    <a:pt x="100" y="71"/>
                  </a:lnTo>
                  <a:lnTo>
                    <a:pt x="100" y="67"/>
                  </a:lnTo>
                  <a:lnTo>
                    <a:pt x="98" y="64"/>
                  </a:lnTo>
                  <a:lnTo>
                    <a:pt x="96" y="58"/>
                  </a:lnTo>
                  <a:lnTo>
                    <a:pt x="96" y="56"/>
                  </a:lnTo>
                  <a:lnTo>
                    <a:pt x="96" y="52"/>
                  </a:lnTo>
                  <a:lnTo>
                    <a:pt x="92" y="48"/>
                  </a:lnTo>
                  <a:lnTo>
                    <a:pt x="90" y="42"/>
                  </a:lnTo>
                  <a:lnTo>
                    <a:pt x="89" y="41"/>
                  </a:lnTo>
                  <a:lnTo>
                    <a:pt x="87" y="39"/>
                  </a:lnTo>
                  <a:lnTo>
                    <a:pt x="85" y="37"/>
                  </a:lnTo>
                  <a:lnTo>
                    <a:pt x="81" y="33"/>
                  </a:lnTo>
                  <a:lnTo>
                    <a:pt x="77" y="31"/>
                  </a:lnTo>
                  <a:lnTo>
                    <a:pt x="75" y="29"/>
                  </a:lnTo>
                  <a:lnTo>
                    <a:pt x="73" y="27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3" y="18"/>
                  </a:lnTo>
                  <a:lnTo>
                    <a:pt x="73" y="14"/>
                  </a:lnTo>
                  <a:lnTo>
                    <a:pt x="71" y="12"/>
                  </a:lnTo>
                  <a:lnTo>
                    <a:pt x="71" y="4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9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8" name="Freeform 34"/>
            <p:cNvSpPr>
              <a:spLocks/>
            </p:cNvSpPr>
            <p:nvPr/>
          </p:nvSpPr>
          <p:spPr bwMode="auto">
            <a:xfrm>
              <a:off x="2497" y="1662"/>
              <a:ext cx="236" cy="227"/>
            </a:xfrm>
            <a:custGeom>
              <a:avLst/>
              <a:gdLst/>
              <a:ahLst/>
              <a:cxnLst>
                <a:cxn ang="0">
                  <a:pos x="58" y="14"/>
                </a:cxn>
                <a:cxn ang="0">
                  <a:pos x="46" y="21"/>
                </a:cxn>
                <a:cxn ang="0">
                  <a:pos x="27" y="37"/>
                </a:cxn>
                <a:cxn ang="0">
                  <a:pos x="14" y="44"/>
                </a:cxn>
                <a:cxn ang="0">
                  <a:pos x="8" y="50"/>
                </a:cxn>
                <a:cxn ang="0">
                  <a:pos x="0" y="67"/>
                </a:cxn>
                <a:cxn ang="0">
                  <a:pos x="2" y="87"/>
                </a:cxn>
                <a:cxn ang="0">
                  <a:pos x="4" y="108"/>
                </a:cxn>
                <a:cxn ang="0">
                  <a:pos x="4" y="131"/>
                </a:cxn>
                <a:cxn ang="0">
                  <a:pos x="2" y="148"/>
                </a:cxn>
                <a:cxn ang="0">
                  <a:pos x="12" y="160"/>
                </a:cxn>
                <a:cxn ang="0">
                  <a:pos x="27" y="160"/>
                </a:cxn>
                <a:cxn ang="0">
                  <a:pos x="43" y="163"/>
                </a:cxn>
                <a:cxn ang="0">
                  <a:pos x="58" y="169"/>
                </a:cxn>
                <a:cxn ang="0">
                  <a:pos x="67" y="154"/>
                </a:cxn>
                <a:cxn ang="0">
                  <a:pos x="77" y="144"/>
                </a:cxn>
                <a:cxn ang="0">
                  <a:pos x="94" y="142"/>
                </a:cxn>
                <a:cxn ang="0">
                  <a:pos x="110" y="152"/>
                </a:cxn>
                <a:cxn ang="0">
                  <a:pos x="123" y="158"/>
                </a:cxn>
                <a:cxn ang="0">
                  <a:pos x="144" y="160"/>
                </a:cxn>
                <a:cxn ang="0">
                  <a:pos x="152" y="163"/>
                </a:cxn>
                <a:cxn ang="0">
                  <a:pos x="163" y="165"/>
                </a:cxn>
                <a:cxn ang="0">
                  <a:pos x="175" y="173"/>
                </a:cxn>
                <a:cxn ang="0">
                  <a:pos x="181" y="184"/>
                </a:cxn>
                <a:cxn ang="0">
                  <a:pos x="185" y="198"/>
                </a:cxn>
                <a:cxn ang="0">
                  <a:pos x="192" y="208"/>
                </a:cxn>
                <a:cxn ang="0">
                  <a:pos x="204" y="219"/>
                </a:cxn>
                <a:cxn ang="0">
                  <a:pos x="213" y="227"/>
                </a:cxn>
                <a:cxn ang="0">
                  <a:pos x="223" y="225"/>
                </a:cxn>
                <a:cxn ang="0">
                  <a:pos x="232" y="215"/>
                </a:cxn>
                <a:cxn ang="0">
                  <a:pos x="234" y="200"/>
                </a:cxn>
                <a:cxn ang="0">
                  <a:pos x="234" y="190"/>
                </a:cxn>
                <a:cxn ang="0">
                  <a:pos x="227" y="183"/>
                </a:cxn>
                <a:cxn ang="0">
                  <a:pos x="219" y="173"/>
                </a:cxn>
                <a:cxn ang="0">
                  <a:pos x="211" y="169"/>
                </a:cxn>
                <a:cxn ang="0">
                  <a:pos x="204" y="158"/>
                </a:cxn>
                <a:cxn ang="0">
                  <a:pos x="194" y="150"/>
                </a:cxn>
                <a:cxn ang="0">
                  <a:pos x="185" y="144"/>
                </a:cxn>
                <a:cxn ang="0">
                  <a:pos x="169" y="133"/>
                </a:cxn>
                <a:cxn ang="0">
                  <a:pos x="156" y="123"/>
                </a:cxn>
                <a:cxn ang="0">
                  <a:pos x="140" y="112"/>
                </a:cxn>
                <a:cxn ang="0">
                  <a:pos x="131" y="106"/>
                </a:cxn>
                <a:cxn ang="0">
                  <a:pos x="117" y="98"/>
                </a:cxn>
                <a:cxn ang="0">
                  <a:pos x="106" y="87"/>
                </a:cxn>
                <a:cxn ang="0">
                  <a:pos x="100" y="71"/>
                </a:cxn>
                <a:cxn ang="0">
                  <a:pos x="96" y="56"/>
                </a:cxn>
                <a:cxn ang="0">
                  <a:pos x="89" y="41"/>
                </a:cxn>
                <a:cxn ang="0">
                  <a:pos x="77" y="31"/>
                </a:cxn>
                <a:cxn ang="0">
                  <a:pos x="73" y="21"/>
                </a:cxn>
                <a:cxn ang="0">
                  <a:pos x="71" y="4"/>
                </a:cxn>
              </a:cxnLst>
              <a:rect l="0" t="0" r="r" b="b"/>
              <a:pathLst>
                <a:path w="236" h="227">
                  <a:moveTo>
                    <a:pt x="69" y="2"/>
                  </a:moveTo>
                  <a:lnTo>
                    <a:pt x="66" y="4"/>
                  </a:lnTo>
                  <a:lnTo>
                    <a:pt x="60" y="8"/>
                  </a:lnTo>
                  <a:lnTo>
                    <a:pt x="58" y="14"/>
                  </a:lnTo>
                  <a:lnTo>
                    <a:pt x="56" y="14"/>
                  </a:lnTo>
                  <a:lnTo>
                    <a:pt x="52" y="14"/>
                  </a:lnTo>
                  <a:lnTo>
                    <a:pt x="50" y="18"/>
                  </a:lnTo>
                  <a:lnTo>
                    <a:pt x="46" y="21"/>
                  </a:lnTo>
                  <a:lnTo>
                    <a:pt x="41" y="25"/>
                  </a:lnTo>
                  <a:lnTo>
                    <a:pt x="37" y="29"/>
                  </a:lnTo>
                  <a:lnTo>
                    <a:pt x="35" y="31"/>
                  </a:lnTo>
                  <a:lnTo>
                    <a:pt x="27" y="37"/>
                  </a:lnTo>
                  <a:lnTo>
                    <a:pt x="21" y="39"/>
                  </a:lnTo>
                  <a:lnTo>
                    <a:pt x="20" y="41"/>
                  </a:lnTo>
                  <a:lnTo>
                    <a:pt x="16" y="41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0" y="48"/>
                  </a:lnTo>
                  <a:lnTo>
                    <a:pt x="8" y="50"/>
                  </a:lnTo>
                  <a:lnTo>
                    <a:pt x="6" y="56"/>
                  </a:lnTo>
                  <a:lnTo>
                    <a:pt x="2" y="62"/>
                  </a:lnTo>
                  <a:lnTo>
                    <a:pt x="2" y="66"/>
                  </a:lnTo>
                  <a:lnTo>
                    <a:pt x="0" y="67"/>
                  </a:lnTo>
                  <a:lnTo>
                    <a:pt x="2" y="71"/>
                  </a:lnTo>
                  <a:lnTo>
                    <a:pt x="2" y="77"/>
                  </a:lnTo>
                  <a:lnTo>
                    <a:pt x="2" y="83"/>
                  </a:lnTo>
                  <a:lnTo>
                    <a:pt x="2" y="87"/>
                  </a:lnTo>
                  <a:lnTo>
                    <a:pt x="2" y="92"/>
                  </a:lnTo>
                  <a:lnTo>
                    <a:pt x="4" y="98"/>
                  </a:lnTo>
                  <a:lnTo>
                    <a:pt x="4" y="102"/>
                  </a:lnTo>
                  <a:lnTo>
                    <a:pt x="4" y="108"/>
                  </a:lnTo>
                  <a:lnTo>
                    <a:pt x="4" y="110"/>
                  </a:lnTo>
                  <a:lnTo>
                    <a:pt x="4" y="115"/>
                  </a:lnTo>
                  <a:lnTo>
                    <a:pt x="4" y="123"/>
                  </a:lnTo>
                  <a:lnTo>
                    <a:pt x="4" y="131"/>
                  </a:lnTo>
                  <a:lnTo>
                    <a:pt x="2" y="137"/>
                  </a:lnTo>
                  <a:lnTo>
                    <a:pt x="2" y="140"/>
                  </a:lnTo>
                  <a:lnTo>
                    <a:pt x="2" y="144"/>
                  </a:lnTo>
                  <a:lnTo>
                    <a:pt x="2" y="148"/>
                  </a:lnTo>
                  <a:lnTo>
                    <a:pt x="2" y="154"/>
                  </a:lnTo>
                  <a:lnTo>
                    <a:pt x="2" y="156"/>
                  </a:lnTo>
                  <a:lnTo>
                    <a:pt x="2" y="160"/>
                  </a:lnTo>
                  <a:lnTo>
                    <a:pt x="12" y="160"/>
                  </a:lnTo>
                  <a:lnTo>
                    <a:pt x="16" y="158"/>
                  </a:lnTo>
                  <a:lnTo>
                    <a:pt x="18" y="158"/>
                  </a:lnTo>
                  <a:lnTo>
                    <a:pt x="21" y="158"/>
                  </a:lnTo>
                  <a:lnTo>
                    <a:pt x="27" y="160"/>
                  </a:lnTo>
                  <a:lnTo>
                    <a:pt x="31" y="161"/>
                  </a:lnTo>
                  <a:lnTo>
                    <a:pt x="35" y="161"/>
                  </a:lnTo>
                  <a:lnTo>
                    <a:pt x="39" y="163"/>
                  </a:lnTo>
                  <a:lnTo>
                    <a:pt x="43" y="163"/>
                  </a:lnTo>
                  <a:lnTo>
                    <a:pt x="46" y="163"/>
                  </a:lnTo>
                  <a:lnTo>
                    <a:pt x="52" y="167"/>
                  </a:lnTo>
                  <a:lnTo>
                    <a:pt x="54" y="169"/>
                  </a:lnTo>
                  <a:lnTo>
                    <a:pt x="58" y="169"/>
                  </a:lnTo>
                  <a:lnTo>
                    <a:pt x="60" y="173"/>
                  </a:lnTo>
                  <a:lnTo>
                    <a:pt x="62" y="165"/>
                  </a:lnTo>
                  <a:lnTo>
                    <a:pt x="66" y="158"/>
                  </a:lnTo>
                  <a:lnTo>
                    <a:pt x="67" y="154"/>
                  </a:lnTo>
                  <a:lnTo>
                    <a:pt x="69" y="150"/>
                  </a:lnTo>
                  <a:lnTo>
                    <a:pt x="71" y="146"/>
                  </a:lnTo>
                  <a:lnTo>
                    <a:pt x="75" y="146"/>
                  </a:lnTo>
                  <a:lnTo>
                    <a:pt x="77" y="144"/>
                  </a:lnTo>
                  <a:lnTo>
                    <a:pt x="79" y="142"/>
                  </a:lnTo>
                  <a:lnTo>
                    <a:pt x="83" y="142"/>
                  </a:lnTo>
                  <a:lnTo>
                    <a:pt x="90" y="142"/>
                  </a:lnTo>
                  <a:lnTo>
                    <a:pt x="94" y="142"/>
                  </a:lnTo>
                  <a:lnTo>
                    <a:pt x="96" y="144"/>
                  </a:lnTo>
                  <a:lnTo>
                    <a:pt x="100" y="146"/>
                  </a:lnTo>
                  <a:lnTo>
                    <a:pt x="104" y="146"/>
                  </a:lnTo>
                  <a:lnTo>
                    <a:pt x="110" y="152"/>
                  </a:lnTo>
                  <a:lnTo>
                    <a:pt x="112" y="152"/>
                  </a:lnTo>
                  <a:lnTo>
                    <a:pt x="115" y="154"/>
                  </a:lnTo>
                  <a:lnTo>
                    <a:pt x="119" y="156"/>
                  </a:lnTo>
                  <a:lnTo>
                    <a:pt x="123" y="158"/>
                  </a:lnTo>
                  <a:lnTo>
                    <a:pt x="131" y="158"/>
                  </a:lnTo>
                  <a:lnTo>
                    <a:pt x="137" y="160"/>
                  </a:lnTo>
                  <a:lnTo>
                    <a:pt x="140" y="160"/>
                  </a:lnTo>
                  <a:lnTo>
                    <a:pt x="144" y="160"/>
                  </a:lnTo>
                  <a:lnTo>
                    <a:pt x="146" y="160"/>
                  </a:lnTo>
                  <a:lnTo>
                    <a:pt x="148" y="160"/>
                  </a:lnTo>
                  <a:lnTo>
                    <a:pt x="150" y="160"/>
                  </a:lnTo>
                  <a:lnTo>
                    <a:pt x="152" y="163"/>
                  </a:lnTo>
                  <a:lnTo>
                    <a:pt x="158" y="163"/>
                  </a:lnTo>
                  <a:lnTo>
                    <a:pt x="160" y="163"/>
                  </a:lnTo>
                  <a:lnTo>
                    <a:pt x="161" y="163"/>
                  </a:lnTo>
                  <a:lnTo>
                    <a:pt x="163" y="165"/>
                  </a:lnTo>
                  <a:lnTo>
                    <a:pt x="163" y="165"/>
                  </a:lnTo>
                  <a:lnTo>
                    <a:pt x="167" y="165"/>
                  </a:lnTo>
                  <a:lnTo>
                    <a:pt x="171" y="169"/>
                  </a:lnTo>
                  <a:lnTo>
                    <a:pt x="175" y="173"/>
                  </a:lnTo>
                  <a:lnTo>
                    <a:pt x="175" y="177"/>
                  </a:lnTo>
                  <a:lnTo>
                    <a:pt x="179" y="179"/>
                  </a:lnTo>
                  <a:lnTo>
                    <a:pt x="179" y="183"/>
                  </a:lnTo>
                  <a:lnTo>
                    <a:pt x="181" y="184"/>
                  </a:lnTo>
                  <a:lnTo>
                    <a:pt x="183" y="186"/>
                  </a:lnTo>
                  <a:lnTo>
                    <a:pt x="185" y="190"/>
                  </a:lnTo>
                  <a:lnTo>
                    <a:pt x="185" y="194"/>
                  </a:lnTo>
                  <a:lnTo>
                    <a:pt x="185" y="198"/>
                  </a:lnTo>
                  <a:lnTo>
                    <a:pt x="186" y="200"/>
                  </a:lnTo>
                  <a:lnTo>
                    <a:pt x="188" y="204"/>
                  </a:lnTo>
                  <a:lnTo>
                    <a:pt x="190" y="208"/>
                  </a:lnTo>
                  <a:lnTo>
                    <a:pt x="192" y="208"/>
                  </a:lnTo>
                  <a:lnTo>
                    <a:pt x="194" y="211"/>
                  </a:lnTo>
                  <a:lnTo>
                    <a:pt x="198" y="215"/>
                  </a:lnTo>
                  <a:lnTo>
                    <a:pt x="200" y="217"/>
                  </a:lnTo>
                  <a:lnTo>
                    <a:pt x="204" y="219"/>
                  </a:lnTo>
                  <a:lnTo>
                    <a:pt x="208" y="221"/>
                  </a:lnTo>
                  <a:lnTo>
                    <a:pt x="211" y="223"/>
                  </a:lnTo>
                  <a:lnTo>
                    <a:pt x="211" y="227"/>
                  </a:lnTo>
                  <a:lnTo>
                    <a:pt x="213" y="227"/>
                  </a:lnTo>
                  <a:lnTo>
                    <a:pt x="217" y="227"/>
                  </a:lnTo>
                  <a:lnTo>
                    <a:pt x="219" y="227"/>
                  </a:lnTo>
                  <a:lnTo>
                    <a:pt x="221" y="227"/>
                  </a:lnTo>
                  <a:lnTo>
                    <a:pt x="223" y="225"/>
                  </a:lnTo>
                  <a:lnTo>
                    <a:pt x="225" y="223"/>
                  </a:lnTo>
                  <a:lnTo>
                    <a:pt x="229" y="219"/>
                  </a:lnTo>
                  <a:lnTo>
                    <a:pt x="231" y="217"/>
                  </a:lnTo>
                  <a:lnTo>
                    <a:pt x="232" y="215"/>
                  </a:lnTo>
                  <a:lnTo>
                    <a:pt x="232" y="209"/>
                  </a:lnTo>
                  <a:lnTo>
                    <a:pt x="232" y="206"/>
                  </a:lnTo>
                  <a:lnTo>
                    <a:pt x="232" y="202"/>
                  </a:lnTo>
                  <a:lnTo>
                    <a:pt x="234" y="200"/>
                  </a:lnTo>
                  <a:lnTo>
                    <a:pt x="234" y="198"/>
                  </a:lnTo>
                  <a:lnTo>
                    <a:pt x="234" y="194"/>
                  </a:lnTo>
                  <a:lnTo>
                    <a:pt x="236" y="192"/>
                  </a:lnTo>
                  <a:lnTo>
                    <a:pt x="234" y="190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29" y="184"/>
                  </a:lnTo>
                  <a:lnTo>
                    <a:pt x="227" y="183"/>
                  </a:lnTo>
                  <a:lnTo>
                    <a:pt x="223" y="181"/>
                  </a:lnTo>
                  <a:lnTo>
                    <a:pt x="221" y="177"/>
                  </a:lnTo>
                  <a:lnTo>
                    <a:pt x="219" y="175"/>
                  </a:lnTo>
                  <a:lnTo>
                    <a:pt x="219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11" y="165"/>
                  </a:lnTo>
                  <a:lnTo>
                    <a:pt x="209" y="163"/>
                  </a:lnTo>
                  <a:lnTo>
                    <a:pt x="206" y="161"/>
                  </a:lnTo>
                  <a:lnTo>
                    <a:pt x="204" y="158"/>
                  </a:lnTo>
                  <a:lnTo>
                    <a:pt x="202" y="156"/>
                  </a:lnTo>
                  <a:lnTo>
                    <a:pt x="200" y="154"/>
                  </a:lnTo>
                  <a:lnTo>
                    <a:pt x="196" y="152"/>
                  </a:lnTo>
                  <a:lnTo>
                    <a:pt x="194" y="150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5" y="146"/>
                  </a:lnTo>
                  <a:lnTo>
                    <a:pt x="185" y="144"/>
                  </a:lnTo>
                  <a:lnTo>
                    <a:pt x="181" y="140"/>
                  </a:lnTo>
                  <a:lnTo>
                    <a:pt x="177" y="138"/>
                  </a:lnTo>
                  <a:lnTo>
                    <a:pt x="173" y="137"/>
                  </a:lnTo>
                  <a:lnTo>
                    <a:pt x="169" y="133"/>
                  </a:lnTo>
                  <a:lnTo>
                    <a:pt x="165" y="131"/>
                  </a:lnTo>
                  <a:lnTo>
                    <a:pt x="163" y="129"/>
                  </a:lnTo>
                  <a:lnTo>
                    <a:pt x="158" y="127"/>
                  </a:lnTo>
                  <a:lnTo>
                    <a:pt x="156" y="123"/>
                  </a:lnTo>
                  <a:lnTo>
                    <a:pt x="154" y="121"/>
                  </a:lnTo>
                  <a:lnTo>
                    <a:pt x="150" y="119"/>
                  </a:lnTo>
                  <a:lnTo>
                    <a:pt x="144" y="115"/>
                  </a:lnTo>
                  <a:lnTo>
                    <a:pt x="140" y="112"/>
                  </a:lnTo>
                  <a:lnTo>
                    <a:pt x="138" y="110"/>
                  </a:lnTo>
                  <a:lnTo>
                    <a:pt x="135" y="108"/>
                  </a:lnTo>
                  <a:lnTo>
                    <a:pt x="133" y="106"/>
                  </a:lnTo>
                  <a:lnTo>
                    <a:pt x="131" y="106"/>
                  </a:lnTo>
                  <a:lnTo>
                    <a:pt x="129" y="104"/>
                  </a:lnTo>
                  <a:lnTo>
                    <a:pt x="125" y="102"/>
                  </a:lnTo>
                  <a:lnTo>
                    <a:pt x="121" y="100"/>
                  </a:lnTo>
                  <a:lnTo>
                    <a:pt x="117" y="98"/>
                  </a:lnTo>
                  <a:lnTo>
                    <a:pt x="115" y="94"/>
                  </a:lnTo>
                  <a:lnTo>
                    <a:pt x="112" y="92"/>
                  </a:lnTo>
                  <a:lnTo>
                    <a:pt x="110" y="89"/>
                  </a:lnTo>
                  <a:lnTo>
                    <a:pt x="106" y="87"/>
                  </a:lnTo>
                  <a:lnTo>
                    <a:pt x="104" y="83"/>
                  </a:lnTo>
                  <a:lnTo>
                    <a:pt x="102" y="77"/>
                  </a:lnTo>
                  <a:lnTo>
                    <a:pt x="100" y="73"/>
                  </a:lnTo>
                  <a:lnTo>
                    <a:pt x="100" y="71"/>
                  </a:lnTo>
                  <a:lnTo>
                    <a:pt x="100" y="67"/>
                  </a:lnTo>
                  <a:lnTo>
                    <a:pt x="98" y="64"/>
                  </a:lnTo>
                  <a:lnTo>
                    <a:pt x="96" y="58"/>
                  </a:lnTo>
                  <a:lnTo>
                    <a:pt x="96" y="56"/>
                  </a:lnTo>
                  <a:lnTo>
                    <a:pt x="96" y="52"/>
                  </a:lnTo>
                  <a:lnTo>
                    <a:pt x="92" y="48"/>
                  </a:lnTo>
                  <a:lnTo>
                    <a:pt x="90" y="42"/>
                  </a:lnTo>
                  <a:lnTo>
                    <a:pt x="89" y="41"/>
                  </a:lnTo>
                  <a:lnTo>
                    <a:pt x="87" y="39"/>
                  </a:lnTo>
                  <a:lnTo>
                    <a:pt x="85" y="37"/>
                  </a:lnTo>
                  <a:lnTo>
                    <a:pt x="81" y="33"/>
                  </a:lnTo>
                  <a:lnTo>
                    <a:pt x="77" y="31"/>
                  </a:lnTo>
                  <a:lnTo>
                    <a:pt x="75" y="29"/>
                  </a:lnTo>
                  <a:lnTo>
                    <a:pt x="73" y="27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3" y="18"/>
                  </a:lnTo>
                  <a:lnTo>
                    <a:pt x="73" y="14"/>
                  </a:lnTo>
                  <a:lnTo>
                    <a:pt x="71" y="12"/>
                  </a:lnTo>
                  <a:lnTo>
                    <a:pt x="71" y="4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9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59" name="Freeform 35"/>
            <p:cNvSpPr>
              <a:spLocks/>
            </p:cNvSpPr>
            <p:nvPr/>
          </p:nvSpPr>
          <p:spPr bwMode="auto">
            <a:xfrm>
              <a:off x="2378" y="1804"/>
              <a:ext cx="553" cy="401"/>
            </a:xfrm>
            <a:custGeom>
              <a:avLst/>
              <a:gdLst/>
              <a:ahLst/>
              <a:cxnLst>
                <a:cxn ang="0">
                  <a:pos x="112" y="39"/>
                </a:cxn>
                <a:cxn ang="0">
                  <a:pos x="110" y="64"/>
                </a:cxn>
                <a:cxn ang="0">
                  <a:pos x="96" y="87"/>
                </a:cxn>
                <a:cxn ang="0">
                  <a:pos x="71" y="113"/>
                </a:cxn>
                <a:cxn ang="0">
                  <a:pos x="50" y="131"/>
                </a:cxn>
                <a:cxn ang="0">
                  <a:pos x="62" y="177"/>
                </a:cxn>
                <a:cxn ang="0">
                  <a:pos x="60" y="196"/>
                </a:cxn>
                <a:cxn ang="0">
                  <a:pos x="29" y="198"/>
                </a:cxn>
                <a:cxn ang="0">
                  <a:pos x="8" y="206"/>
                </a:cxn>
                <a:cxn ang="0">
                  <a:pos x="0" y="231"/>
                </a:cxn>
                <a:cxn ang="0">
                  <a:pos x="29" y="252"/>
                </a:cxn>
                <a:cxn ang="0">
                  <a:pos x="66" y="292"/>
                </a:cxn>
                <a:cxn ang="0">
                  <a:pos x="81" y="323"/>
                </a:cxn>
                <a:cxn ang="0">
                  <a:pos x="100" y="348"/>
                </a:cxn>
                <a:cxn ang="0">
                  <a:pos x="131" y="346"/>
                </a:cxn>
                <a:cxn ang="0">
                  <a:pos x="158" y="357"/>
                </a:cxn>
                <a:cxn ang="0">
                  <a:pos x="179" y="374"/>
                </a:cxn>
                <a:cxn ang="0">
                  <a:pos x="198" y="386"/>
                </a:cxn>
                <a:cxn ang="0">
                  <a:pos x="223" y="394"/>
                </a:cxn>
                <a:cxn ang="0">
                  <a:pos x="240" y="401"/>
                </a:cxn>
                <a:cxn ang="0">
                  <a:pos x="257" y="380"/>
                </a:cxn>
                <a:cxn ang="0">
                  <a:pos x="286" y="361"/>
                </a:cxn>
                <a:cxn ang="0">
                  <a:pos x="313" y="369"/>
                </a:cxn>
                <a:cxn ang="0">
                  <a:pos x="338" y="369"/>
                </a:cxn>
                <a:cxn ang="0">
                  <a:pos x="359" y="359"/>
                </a:cxn>
                <a:cxn ang="0">
                  <a:pos x="380" y="351"/>
                </a:cxn>
                <a:cxn ang="0">
                  <a:pos x="405" y="338"/>
                </a:cxn>
                <a:cxn ang="0">
                  <a:pos x="430" y="342"/>
                </a:cxn>
                <a:cxn ang="0">
                  <a:pos x="453" y="338"/>
                </a:cxn>
                <a:cxn ang="0">
                  <a:pos x="469" y="311"/>
                </a:cxn>
                <a:cxn ang="0">
                  <a:pos x="490" y="286"/>
                </a:cxn>
                <a:cxn ang="0">
                  <a:pos x="509" y="267"/>
                </a:cxn>
                <a:cxn ang="0">
                  <a:pos x="530" y="254"/>
                </a:cxn>
                <a:cxn ang="0">
                  <a:pos x="543" y="234"/>
                </a:cxn>
                <a:cxn ang="0">
                  <a:pos x="541" y="225"/>
                </a:cxn>
                <a:cxn ang="0">
                  <a:pos x="511" y="221"/>
                </a:cxn>
                <a:cxn ang="0">
                  <a:pos x="488" y="217"/>
                </a:cxn>
                <a:cxn ang="0">
                  <a:pos x="465" y="206"/>
                </a:cxn>
                <a:cxn ang="0">
                  <a:pos x="430" y="204"/>
                </a:cxn>
                <a:cxn ang="0">
                  <a:pos x="401" y="200"/>
                </a:cxn>
                <a:cxn ang="0">
                  <a:pos x="388" y="188"/>
                </a:cxn>
                <a:cxn ang="0">
                  <a:pos x="373" y="171"/>
                </a:cxn>
                <a:cxn ang="0">
                  <a:pos x="361" y="148"/>
                </a:cxn>
                <a:cxn ang="0">
                  <a:pos x="348" y="137"/>
                </a:cxn>
                <a:cxn ang="0">
                  <a:pos x="323" y="135"/>
                </a:cxn>
                <a:cxn ang="0">
                  <a:pos x="317" y="117"/>
                </a:cxn>
                <a:cxn ang="0">
                  <a:pos x="313" y="98"/>
                </a:cxn>
                <a:cxn ang="0">
                  <a:pos x="327" y="85"/>
                </a:cxn>
                <a:cxn ang="0">
                  <a:pos x="317" y="71"/>
                </a:cxn>
                <a:cxn ang="0">
                  <a:pos x="304" y="52"/>
                </a:cxn>
                <a:cxn ang="0">
                  <a:pos x="290" y="37"/>
                </a:cxn>
                <a:cxn ang="0">
                  <a:pos x="275" y="19"/>
                </a:cxn>
                <a:cxn ang="0">
                  <a:pos x="250" y="12"/>
                </a:cxn>
                <a:cxn ang="0">
                  <a:pos x="227" y="6"/>
                </a:cxn>
                <a:cxn ang="0">
                  <a:pos x="208" y="0"/>
                </a:cxn>
                <a:cxn ang="0">
                  <a:pos x="188" y="6"/>
                </a:cxn>
                <a:cxn ang="0">
                  <a:pos x="175" y="25"/>
                </a:cxn>
                <a:cxn ang="0">
                  <a:pos x="154" y="19"/>
                </a:cxn>
                <a:cxn ang="0">
                  <a:pos x="129" y="18"/>
                </a:cxn>
              </a:cxnLst>
              <a:rect l="0" t="0" r="r" b="b"/>
              <a:pathLst>
                <a:path w="553" h="401">
                  <a:moveTo>
                    <a:pt x="121" y="19"/>
                  </a:moveTo>
                  <a:lnTo>
                    <a:pt x="119" y="25"/>
                  </a:lnTo>
                  <a:lnTo>
                    <a:pt x="117" y="31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4" y="37"/>
                  </a:lnTo>
                  <a:lnTo>
                    <a:pt x="112" y="39"/>
                  </a:lnTo>
                  <a:lnTo>
                    <a:pt x="112" y="42"/>
                  </a:lnTo>
                  <a:lnTo>
                    <a:pt x="110" y="46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58"/>
                  </a:lnTo>
                  <a:lnTo>
                    <a:pt x="108" y="60"/>
                  </a:lnTo>
                  <a:lnTo>
                    <a:pt x="110" y="64"/>
                  </a:lnTo>
                  <a:lnTo>
                    <a:pt x="110" y="66"/>
                  </a:lnTo>
                  <a:lnTo>
                    <a:pt x="110" y="69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2" y="79"/>
                  </a:lnTo>
                  <a:lnTo>
                    <a:pt x="100" y="83"/>
                  </a:lnTo>
                  <a:lnTo>
                    <a:pt x="98" y="83"/>
                  </a:lnTo>
                  <a:lnTo>
                    <a:pt x="96" y="87"/>
                  </a:lnTo>
                  <a:lnTo>
                    <a:pt x="92" y="89"/>
                  </a:lnTo>
                  <a:lnTo>
                    <a:pt x="91" y="94"/>
                  </a:lnTo>
                  <a:lnTo>
                    <a:pt x="87" y="98"/>
                  </a:lnTo>
                  <a:lnTo>
                    <a:pt x="83" y="100"/>
                  </a:lnTo>
                  <a:lnTo>
                    <a:pt x="81" y="104"/>
                  </a:lnTo>
                  <a:lnTo>
                    <a:pt x="77" y="108"/>
                  </a:lnTo>
                  <a:lnTo>
                    <a:pt x="73" y="110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6" y="115"/>
                  </a:lnTo>
                  <a:lnTo>
                    <a:pt x="64" y="117"/>
                  </a:lnTo>
                  <a:lnTo>
                    <a:pt x="60" y="119"/>
                  </a:lnTo>
                  <a:lnTo>
                    <a:pt x="56" y="123"/>
                  </a:lnTo>
                  <a:lnTo>
                    <a:pt x="54" y="127"/>
                  </a:lnTo>
                  <a:lnTo>
                    <a:pt x="52" y="129"/>
                  </a:lnTo>
                  <a:lnTo>
                    <a:pt x="50" y="131"/>
                  </a:lnTo>
                  <a:lnTo>
                    <a:pt x="48" y="135"/>
                  </a:lnTo>
                  <a:lnTo>
                    <a:pt x="48" y="140"/>
                  </a:lnTo>
                  <a:lnTo>
                    <a:pt x="50" y="148"/>
                  </a:lnTo>
                  <a:lnTo>
                    <a:pt x="54" y="160"/>
                  </a:lnTo>
                  <a:lnTo>
                    <a:pt x="56" y="165"/>
                  </a:lnTo>
                  <a:lnTo>
                    <a:pt x="56" y="171"/>
                  </a:lnTo>
                  <a:lnTo>
                    <a:pt x="60" y="173"/>
                  </a:lnTo>
                  <a:lnTo>
                    <a:pt x="62" y="177"/>
                  </a:lnTo>
                  <a:lnTo>
                    <a:pt x="66" y="179"/>
                  </a:lnTo>
                  <a:lnTo>
                    <a:pt x="68" y="181"/>
                  </a:lnTo>
                  <a:lnTo>
                    <a:pt x="68" y="183"/>
                  </a:lnTo>
                  <a:lnTo>
                    <a:pt x="66" y="186"/>
                  </a:lnTo>
                  <a:lnTo>
                    <a:pt x="66" y="188"/>
                  </a:lnTo>
                  <a:lnTo>
                    <a:pt x="64" y="192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56" y="198"/>
                  </a:lnTo>
                  <a:lnTo>
                    <a:pt x="52" y="198"/>
                  </a:lnTo>
                  <a:lnTo>
                    <a:pt x="46" y="198"/>
                  </a:lnTo>
                  <a:lnTo>
                    <a:pt x="41" y="200"/>
                  </a:lnTo>
                  <a:lnTo>
                    <a:pt x="39" y="200"/>
                  </a:lnTo>
                  <a:lnTo>
                    <a:pt x="37" y="200"/>
                  </a:lnTo>
                  <a:lnTo>
                    <a:pt x="33" y="198"/>
                  </a:lnTo>
                  <a:lnTo>
                    <a:pt x="29" y="198"/>
                  </a:lnTo>
                  <a:lnTo>
                    <a:pt x="25" y="198"/>
                  </a:lnTo>
                  <a:lnTo>
                    <a:pt x="21" y="200"/>
                  </a:lnTo>
                  <a:lnTo>
                    <a:pt x="21" y="202"/>
                  </a:lnTo>
                  <a:lnTo>
                    <a:pt x="20" y="204"/>
                  </a:lnTo>
                  <a:lnTo>
                    <a:pt x="16" y="204"/>
                  </a:lnTo>
                  <a:lnTo>
                    <a:pt x="14" y="206"/>
                  </a:lnTo>
                  <a:lnTo>
                    <a:pt x="12" y="206"/>
                  </a:lnTo>
                  <a:lnTo>
                    <a:pt x="8" y="206"/>
                  </a:lnTo>
                  <a:lnTo>
                    <a:pt x="6" y="208"/>
                  </a:lnTo>
                  <a:lnTo>
                    <a:pt x="2" y="209"/>
                  </a:lnTo>
                  <a:lnTo>
                    <a:pt x="2" y="215"/>
                  </a:lnTo>
                  <a:lnTo>
                    <a:pt x="0" y="219"/>
                  </a:lnTo>
                  <a:lnTo>
                    <a:pt x="0" y="223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2" y="234"/>
                  </a:lnTo>
                  <a:lnTo>
                    <a:pt x="12" y="234"/>
                  </a:lnTo>
                  <a:lnTo>
                    <a:pt x="20" y="236"/>
                  </a:lnTo>
                  <a:lnTo>
                    <a:pt x="20" y="238"/>
                  </a:lnTo>
                  <a:lnTo>
                    <a:pt x="21" y="242"/>
                  </a:lnTo>
                  <a:lnTo>
                    <a:pt x="27" y="248"/>
                  </a:lnTo>
                  <a:lnTo>
                    <a:pt x="27" y="250"/>
                  </a:lnTo>
                  <a:lnTo>
                    <a:pt x="29" y="252"/>
                  </a:lnTo>
                  <a:lnTo>
                    <a:pt x="33" y="255"/>
                  </a:lnTo>
                  <a:lnTo>
                    <a:pt x="39" y="261"/>
                  </a:lnTo>
                  <a:lnTo>
                    <a:pt x="46" y="271"/>
                  </a:lnTo>
                  <a:lnTo>
                    <a:pt x="54" y="277"/>
                  </a:lnTo>
                  <a:lnTo>
                    <a:pt x="56" y="279"/>
                  </a:lnTo>
                  <a:lnTo>
                    <a:pt x="62" y="286"/>
                  </a:lnTo>
                  <a:lnTo>
                    <a:pt x="64" y="288"/>
                  </a:lnTo>
                  <a:lnTo>
                    <a:pt x="66" y="292"/>
                  </a:lnTo>
                  <a:lnTo>
                    <a:pt x="66" y="300"/>
                  </a:lnTo>
                  <a:lnTo>
                    <a:pt x="68" y="302"/>
                  </a:lnTo>
                  <a:lnTo>
                    <a:pt x="68" y="303"/>
                  </a:lnTo>
                  <a:lnTo>
                    <a:pt x="69" y="307"/>
                  </a:lnTo>
                  <a:lnTo>
                    <a:pt x="69" y="309"/>
                  </a:lnTo>
                  <a:lnTo>
                    <a:pt x="73" y="315"/>
                  </a:lnTo>
                  <a:lnTo>
                    <a:pt x="77" y="321"/>
                  </a:lnTo>
                  <a:lnTo>
                    <a:pt x="81" y="323"/>
                  </a:lnTo>
                  <a:lnTo>
                    <a:pt x="81" y="326"/>
                  </a:lnTo>
                  <a:lnTo>
                    <a:pt x="83" y="330"/>
                  </a:lnTo>
                  <a:lnTo>
                    <a:pt x="85" y="334"/>
                  </a:lnTo>
                  <a:lnTo>
                    <a:pt x="87" y="336"/>
                  </a:lnTo>
                  <a:lnTo>
                    <a:pt x="91" y="342"/>
                  </a:lnTo>
                  <a:lnTo>
                    <a:pt x="92" y="348"/>
                  </a:lnTo>
                  <a:lnTo>
                    <a:pt x="98" y="348"/>
                  </a:lnTo>
                  <a:lnTo>
                    <a:pt x="100" y="348"/>
                  </a:lnTo>
                  <a:lnTo>
                    <a:pt x="102" y="348"/>
                  </a:lnTo>
                  <a:lnTo>
                    <a:pt x="106" y="348"/>
                  </a:lnTo>
                  <a:lnTo>
                    <a:pt x="112" y="348"/>
                  </a:lnTo>
                  <a:lnTo>
                    <a:pt x="115" y="348"/>
                  </a:lnTo>
                  <a:lnTo>
                    <a:pt x="119" y="348"/>
                  </a:lnTo>
                  <a:lnTo>
                    <a:pt x="123" y="346"/>
                  </a:lnTo>
                  <a:lnTo>
                    <a:pt x="127" y="346"/>
                  </a:lnTo>
                  <a:lnTo>
                    <a:pt x="131" y="346"/>
                  </a:lnTo>
                  <a:lnTo>
                    <a:pt x="133" y="348"/>
                  </a:lnTo>
                  <a:lnTo>
                    <a:pt x="137" y="351"/>
                  </a:lnTo>
                  <a:lnTo>
                    <a:pt x="142" y="351"/>
                  </a:lnTo>
                  <a:lnTo>
                    <a:pt x="144" y="353"/>
                  </a:lnTo>
                  <a:lnTo>
                    <a:pt x="14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8" y="357"/>
                  </a:lnTo>
                  <a:lnTo>
                    <a:pt x="162" y="357"/>
                  </a:lnTo>
                  <a:lnTo>
                    <a:pt x="162" y="359"/>
                  </a:lnTo>
                  <a:lnTo>
                    <a:pt x="163" y="361"/>
                  </a:lnTo>
                  <a:lnTo>
                    <a:pt x="165" y="365"/>
                  </a:lnTo>
                  <a:lnTo>
                    <a:pt x="169" y="365"/>
                  </a:lnTo>
                  <a:lnTo>
                    <a:pt x="171" y="367"/>
                  </a:lnTo>
                  <a:lnTo>
                    <a:pt x="175" y="371"/>
                  </a:lnTo>
                  <a:lnTo>
                    <a:pt x="179" y="374"/>
                  </a:lnTo>
                  <a:lnTo>
                    <a:pt x="181" y="374"/>
                  </a:lnTo>
                  <a:lnTo>
                    <a:pt x="185" y="374"/>
                  </a:lnTo>
                  <a:lnTo>
                    <a:pt x="186" y="376"/>
                  </a:lnTo>
                  <a:lnTo>
                    <a:pt x="188" y="380"/>
                  </a:lnTo>
                  <a:lnTo>
                    <a:pt x="192" y="382"/>
                  </a:lnTo>
                  <a:lnTo>
                    <a:pt x="196" y="382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8"/>
                  </a:lnTo>
                  <a:lnTo>
                    <a:pt x="204" y="388"/>
                  </a:lnTo>
                  <a:lnTo>
                    <a:pt x="206" y="390"/>
                  </a:lnTo>
                  <a:lnTo>
                    <a:pt x="208" y="392"/>
                  </a:lnTo>
                  <a:lnTo>
                    <a:pt x="213" y="392"/>
                  </a:lnTo>
                  <a:lnTo>
                    <a:pt x="215" y="392"/>
                  </a:lnTo>
                  <a:lnTo>
                    <a:pt x="217" y="392"/>
                  </a:lnTo>
                  <a:lnTo>
                    <a:pt x="223" y="394"/>
                  </a:lnTo>
                  <a:lnTo>
                    <a:pt x="225" y="394"/>
                  </a:lnTo>
                  <a:lnTo>
                    <a:pt x="227" y="396"/>
                  </a:lnTo>
                  <a:lnTo>
                    <a:pt x="229" y="397"/>
                  </a:lnTo>
                  <a:lnTo>
                    <a:pt x="233" y="397"/>
                  </a:lnTo>
                  <a:lnTo>
                    <a:pt x="233" y="399"/>
                  </a:lnTo>
                  <a:lnTo>
                    <a:pt x="233" y="399"/>
                  </a:lnTo>
                  <a:lnTo>
                    <a:pt x="238" y="399"/>
                  </a:lnTo>
                  <a:lnTo>
                    <a:pt x="240" y="401"/>
                  </a:lnTo>
                  <a:lnTo>
                    <a:pt x="242" y="401"/>
                  </a:lnTo>
                  <a:lnTo>
                    <a:pt x="242" y="399"/>
                  </a:lnTo>
                  <a:lnTo>
                    <a:pt x="244" y="397"/>
                  </a:lnTo>
                  <a:lnTo>
                    <a:pt x="246" y="394"/>
                  </a:lnTo>
                  <a:lnTo>
                    <a:pt x="250" y="392"/>
                  </a:lnTo>
                  <a:lnTo>
                    <a:pt x="250" y="386"/>
                  </a:lnTo>
                  <a:lnTo>
                    <a:pt x="254" y="382"/>
                  </a:lnTo>
                  <a:lnTo>
                    <a:pt x="257" y="380"/>
                  </a:lnTo>
                  <a:lnTo>
                    <a:pt x="259" y="378"/>
                  </a:lnTo>
                  <a:lnTo>
                    <a:pt x="263" y="376"/>
                  </a:lnTo>
                  <a:lnTo>
                    <a:pt x="265" y="374"/>
                  </a:lnTo>
                  <a:lnTo>
                    <a:pt x="269" y="371"/>
                  </a:lnTo>
                  <a:lnTo>
                    <a:pt x="271" y="369"/>
                  </a:lnTo>
                  <a:lnTo>
                    <a:pt x="275" y="367"/>
                  </a:lnTo>
                  <a:lnTo>
                    <a:pt x="282" y="365"/>
                  </a:lnTo>
                  <a:lnTo>
                    <a:pt x="286" y="361"/>
                  </a:lnTo>
                  <a:lnTo>
                    <a:pt x="294" y="361"/>
                  </a:lnTo>
                  <a:lnTo>
                    <a:pt x="296" y="363"/>
                  </a:lnTo>
                  <a:lnTo>
                    <a:pt x="300" y="365"/>
                  </a:lnTo>
                  <a:lnTo>
                    <a:pt x="302" y="367"/>
                  </a:lnTo>
                  <a:lnTo>
                    <a:pt x="304" y="367"/>
                  </a:lnTo>
                  <a:lnTo>
                    <a:pt x="309" y="367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9" y="371"/>
                  </a:lnTo>
                  <a:lnTo>
                    <a:pt x="321" y="371"/>
                  </a:lnTo>
                  <a:lnTo>
                    <a:pt x="325" y="371"/>
                  </a:lnTo>
                  <a:lnTo>
                    <a:pt x="328" y="371"/>
                  </a:lnTo>
                  <a:lnTo>
                    <a:pt x="330" y="371"/>
                  </a:lnTo>
                  <a:lnTo>
                    <a:pt x="332" y="369"/>
                  </a:lnTo>
                  <a:lnTo>
                    <a:pt x="338" y="369"/>
                  </a:lnTo>
                  <a:lnTo>
                    <a:pt x="340" y="369"/>
                  </a:lnTo>
                  <a:lnTo>
                    <a:pt x="342" y="369"/>
                  </a:lnTo>
                  <a:lnTo>
                    <a:pt x="346" y="367"/>
                  </a:lnTo>
                  <a:lnTo>
                    <a:pt x="350" y="365"/>
                  </a:lnTo>
                  <a:lnTo>
                    <a:pt x="353" y="363"/>
                  </a:lnTo>
                  <a:lnTo>
                    <a:pt x="357" y="363"/>
                  </a:lnTo>
                  <a:lnTo>
                    <a:pt x="357" y="361"/>
                  </a:lnTo>
                  <a:lnTo>
                    <a:pt x="359" y="359"/>
                  </a:lnTo>
                  <a:lnTo>
                    <a:pt x="363" y="359"/>
                  </a:lnTo>
                  <a:lnTo>
                    <a:pt x="365" y="357"/>
                  </a:lnTo>
                  <a:lnTo>
                    <a:pt x="371" y="357"/>
                  </a:lnTo>
                  <a:lnTo>
                    <a:pt x="371" y="357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8" y="351"/>
                  </a:lnTo>
                  <a:lnTo>
                    <a:pt x="380" y="351"/>
                  </a:lnTo>
                  <a:lnTo>
                    <a:pt x="384" y="346"/>
                  </a:lnTo>
                  <a:lnTo>
                    <a:pt x="388" y="344"/>
                  </a:lnTo>
                  <a:lnTo>
                    <a:pt x="390" y="340"/>
                  </a:lnTo>
                  <a:lnTo>
                    <a:pt x="394" y="340"/>
                  </a:lnTo>
                  <a:lnTo>
                    <a:pt x="396" y="338"/>
                  </a:lnTo>
                  <a:lnTo>
                    <a:pt x="399" y="338"/>
                  </a:lnTo>
                  <a:lnTo>
                    <a:pt x="401" y="338"/>
                  </a:lnTo>
                  <a:lnTo>
                    <a:pt x="405" y="338"/>
                  </a:lnTo>
                  <a:lnTo>
                    <a:pt x="409" y="340"/>
                  </a:lnTo>
                  <a:lnTo>
                    <a:pt x="411" y="340"/>
                  </a:lnTo>
                  <a:lnTo>
                    <a:pt x="415" y="340"/>
                  </a:lnTo>
                  <a:lnTo>
                    <a:pt x="419" y="340"/>
                  </a:lnTo>
                  <a:lnTo>
                    <a:pt x="421" y="340"/>
                  </a:lnTo>
                  <a:lnTo>
                    <a:pt x="424" y="340"/>
                  </a:lnTo>
                  <a:lnTo>
                    <a:pt x="426" y="342"/>
                  </a:lnTo>
                  <a:lnTo>
                    <a:pt x="430" y="342"/>
                  </a:lnTo>
                  <a:lnTo>
                    <a:pt x="432" y="342"/>
                  </a:lnTo>
                  <a:lnTo>
                    <a:pt x="434" y="344"/>
                  </a:lnTo>
                  <a:lnTo>
                    <a:pt x="438" y="344"/>
                  </a:lnTo>
                  <a:lnTo>
                    <a:pt x="440" y="342"/>
                  </a:lnTo>
                  <a:lnTo>
                    <a:pt x="446" y="342"/>
                  </a:lnTo>
                  <a:lnTo>
                    <a:pt x="449" y="340"/>
                  </a:lnTo>
                  <a:lnTo>
                    <a:pt x="451" y="338"/>
                  </a:lnTo>
                  <a:lnTo>
                    <a:pt x="453" y="338"/>
                  </a:lnTo>
                  <a:lnTo>
                    <a:pt x="453" y="332"/>
                  </a:lnTo>
                  <a:lnTo>
                    <a:pt x="455" y="330"/>
                  </a:lnTo>
                  <a:lnTo>
                    <a:pt x="457" y="330"/>
                  </a:lnTo>
                  <a:lnTo>
                    <a:pt x="461" y="328"/>
                  </a:lnTo>
                  <a:lnTo>
                    <a:pt x="463" y="323"/>
                  </a:lnTo>
                  <a:lnTo>
                    <a:pt x="463" y="319"/>
                  </a:lnTo>
                  <a:lnTo>
                    <a:pt x="465" y="315"/>
                  </a:lnTo>
                  <a:lnTo>
                    <a:pt x="469" y="311"/>
                  </a:lnTo>
                  <a:lnTo>
                    <a:pt x="469" y="307"/>
                  </a:lnTo>
                  <a:lnTo>
                    <a:pt x="470" y="305"/>
                  </a:lnTo>
                  <a:lnTo>
                    <a:pt x="474" y="300"/>
                  </a:lnTo>
                  <a:lnTo>
                    <a:pt x="478" y="296"/>
                  </a:lnTo>
                  <a:lnTo>
                    <a:pt x="480" y="296"/>
                  </a:lnTo>
                  <a:lnTo>
                    <a:pt x="482" y="294"/>
                  </a:lnTo>
                  <a:lnTo>
                    <a:pt x="486" y="290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5" y="282"/>
                  </a:lnTo>
                  <a:lnTo>
                    <a:pt x="497" y="279"/>
                  </a:lnTo>
                  <a:lnTo>
                    <a:pt x="501" y="275"/>
                  </a:lnTo>
                  <a:lnTo>
                    <a:pt x="505" y="271"/>
                  </a:lnTo>
                  <a:lnTo>
                    <a:pt x="507" y="269"/>
                  </a:lnTo>
                  <a:lnTo>
                    <a:pt x="509" y="269"/>
                  </a:lnTo>
                  <a:lnTo>
                    <a:pt x="509" y="267"/>
                  </a:lnTo>
                  <a:lnTo>
                    <a:pt x="515" y="265"/>
                  </a:lnTo>
                  <a:lnTo>
                    <a:pt x="516" y="261"/>
                  </a:lnTo>
                  <a:lnTo>
                    <a:pt x="520" y="259"/>
                  </a:lnTo>
                  <a:lnTo>
                    <a:pt x="524" y="257"/>
                  </a:lnTo>
                  <a:lnTo>
                    <a:pt x="526" y="257"/>
                  </a:lnTo>
                  <a:lnTo>
                    <a:pt x="528" y="255"/>
                  </a:lnTo>
                  <a:lnTo>
                    <a:pt x="528" y="254"/>
                  </a:lnTo>
                  <a:lnTo>
                    <a:pt x="530" y="254"/>
                  </a:lnTo>
                  <a:lnTo>
                    <a:pt x="534" y="252"/>
                  </a:lnTo>
                  <a:lnTo>
                    <a:pt x="534" y="248"/>
                  </a:lnTo>
                  <a:lnTo>
                    <a:pt x="538" y="246"/>
                  </a:lnTo>
                  <a:lnTo>
                    <a:pt x="538" y="244"/>
                  </a:lnTo>
                  <a:lnTo>
                    <a:pt x="541" y="242"/>
                  </a:lnTo>
                  <a:lnTo>
                    <a:pt x="541" y="238"/>
                  </a:lnTo>
                  <a:lnTo>
                    <a:pt x="541" y="236"/>
                  </a:lnTo>
                  <a:lnTo>
                    <a:pt x="543" y="234"/>
                  </a:lnTo>
                  <a:lnTo>
                    <a:pt x="547" y="232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3" y="227"/>
                  </a:lnTo>
                  <a:lnTo>
                    <a:pt x="553" y="225"/>
                  </a:lnTo>
                  <a:lnTo>
                    <a:pt x="551" y="225"/>
                  </a:lnTo>
                  <a:lnTo>
                    <a:pt x="543" y="225"/>
                  </a:lnTo>
                  <a:lnTo>
                    <a:pt x="541" y="225"/>
                  </a:lnTo>
                  <a:lnTo>
                    <a:pt x="540" y="225"/>
                  </a:lnTo>
                  <a:lnTo>
                    <a:pt x="538" y="227"/>
                  </a:lnTo>
                  <a:lnTo>
                    <a:pt x="534" y="227"/>
                  </a:lnTo>
                  <a:lnTo>
                    <a:pt x="530" y="227"/>
                  </a:lnTo>
                  <a:lnTo>
                    <a:pt x="526" y="225"/>
                  </a:lnTo>
                  <a:lnTo>
                    <a:pt x="522" y="223"/>
                  </a:lnTo>
                  <a:lnTo>
                    <a:pt x="518" y="221"/>
                  </a:lnTo>
                  <a:lnTo>
                    <a:pt x="511" y="221"/>
                  </a:lnTo>
                  <a:lnTo>
                    <a:pt x="507" y="219"/>
                  </a:lnTo>
                  <a:lnTo>
                    <a:pt x="505" y="219"/>
                  </a:lnTo>
                  <a:lnTo>
                    <a:pt x="501" y="219"/>
                  </a:lnTo>
                  <a:lnTo>
                    <a:pt x="497" y="219"/>
                  </a:lnTo>
                  <a:lnTo>
                    <a:pt x="495" y="219"/>
                  </a:lnTo>
                  <a:lnTo>
                    <a:pt x="493" y="219"/>
                  </a:lnTo>
                  <a:lnTo>
                    <a:pt x="490" y="219"/>
                  </a:lnTo>
                  <a:lnTo>
                    <a:pt x="488" y="217"/>
                  </a:lnTo>
                  <a:lnTo>
                    <a:pt x="484" y="217"/>
                  </a:lnTo>
                  <a:lnTo>
                    <a:pt x="480" y="215"/>
                  </a:lnTo>
                  <a:lnTo>
                    <a:pt x="478" y="215"/>
                  </a:lnTo>
                  <a:lnTo>
                    <a:pt x="474" y="213"/>
                  </a:lnTo>
                  <a:lnTo>
                    <a:pt x="472" y="209"/>
                  </a:lnTo>
                  <a:lnTo>
                    <a:pt x="470" y="208"/>
                  </a:lnTo>
                  <a:lnTo>
                    <a:pt x="469" y="208"/>
                  </a:lnTo>
                  <a:lnTo>
                    <a:pt x="465" y="206"/>
                  </a:lnTo>
                  <a:lnTo>
                    <a:pt x="463" y="204"/>
                  </a:lnTo>
                  <a:lnTo>
                    <a:pt x="461" y="204"/>
                  </a:lnTo>
                  <a:lnTo>
                    <a:pt x="457" y="204"/>
                  </a:lnTo>
                  <a:lnTo>
                    <a:pt x="453" y="204"/>
                  </a:lnTo>
                  <a:lnTo>
                    <a:pt x="446" y="204"/>
                  </a:lnTo>
                  <a:lnTo>
                    <a:pt x="444" y="204"/>
                  </a:lnTo>
                  <a:lnTo>
                    <a:pt x="436" y="204"/>
                  </a:lnTo>
                  <a:lnTo>
                    <a:pt x="430" y="204"/>
                  </a:lnTo>
                  <a:lnTo>
                    <a:pt x="426" y="204"/>
                  </a:lnTo>
                  <a:lnTo>
                    <a:pt x="422" y="204"/>
                  </a:lnTo>
                  <a:lnTo>
                    <a:pt x="417" y="204"/>
                  </a:lnTo>
                  <a:lnTo>
                    <a:pt x="413" y="204"/>
                  </a:lnTo>
                  <a:lnTo>
                    <a:pt x="409" y="204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1" y="200"/>
                  </a:lnTo>
                  <a:lnTo>
                    <a:pt x="399" y="198"/>
                  </a:lnTo>
                  <a:lnTo>
                    <a:pt x="398" y="198"/>
                  </a:lnTo>
                  <a:lnTo>
                    <a:pt x="398" y="196"/>
                  </a:lnTo>
                  <a:lnTo>
                    <a:pt x="394" y="196"/>
                  </a:lnTo>
                  <a:lnTo>
                    <a:pt x="392" y="194"/>
                  </a:lnTo>
                  <a:lnTo>
                    <a:pt x="392" y="192"/>
                  </a:lnTo>
                  <a:lnTo>
                    <a:pt x="390" y="190"/>
                  </a:lnTo>
                  <a:lnTo>
                    <a:pt x="388" y="188"/>
                  </a:lnTo>
                  <a:lnTo>
                    <a:pt x="386" y="188"/>
                  </a:lnTo>
                  <a:lnTo>
                    <a:pt x="386" y="186"/>
                  </a:lnTo>
                  <a:lnTo>
                    <a:pt x="384" y="184"/>
                  </a:lnTo>
                  <a:lnTo>
                    <a:pt x="382" y="183"/>
                  </a:lnTo>
                  <a:lnTo>
                    <a:pt x="378" y="179"/>
                  </a:lnTo>
                  <a:lnTo>
                    <a:pt x="375" y="177"/>
                  </a:lnTo>
                  <a:lnTo>
                    <a:pt x="375" y="173"/>
                  </a:lnTo>
                  <a:lnTo>
                    <a:pt x="373" y="171"/>
                  </a:lnTo>
                  <a:lnTo>
                    <a:pt x="373" y="169"/>
                  </a:lnTo>
                  <a:lnTo>
                    <a:pt x="371" y="167"/>
                  </a:lnTo>
                  <a:lnTo>
                    <a:pt x="371" y="163"/>
                  </a:lnTo>
                  <a:lnTo>
                    <a:pt x="367" y="160"/>
                  </a:lnTo>
                  <a:lnTo>
                    <a:pt x="367" y="156"/>
                  </a:lnTo>
                  <a:lnTo>
                    <a:pt x="365" y="154"/>
                  </a:lnTo>
                  <a:lnTo>
                    <a:pt x="365" y="152"/>
                  </a:lnTo>
                  <a:lnTo>
                    <a:pt x="361" y="148"/>
                  </a:lnTo>
                  <a:lnTo>
                    <a:pt x="361" y="144"/>
                  </a:lnTo>
                  <a:lnTo>
                    <a:pt x="359" y="144"/>
                  </a:lnTo>
                  <a:lnTo>
                    <a:pt x="357" y="142"/>
                  </a:lnTo>
                  <a:lnTo>
                    <a:pt x="357" y="137"/>
                  </a:lnTo>
                  <a:lnTo>
                    <a:pt x="357" y="135"/>
                  </a:lnTo>
                  <a:lnTo>
                    <a:pt x="353" y="135"/>
                  </a:lnTo>
                  <a:lnTo>
                    <a:pt x="350" y="137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38" y="137"/>
                  </a:lnTo>
                  <a:lnTo>
                    <a:pt x="336" y="137"/>
                  </a:lnTo>
                  <a:lnTo>
                    <a:pt x="332" y="137"/>
                  </a:lnTo>
                  <a:lnTo>
                    <a:pt x="330" y="137"/>
                  </a:lnTo>
                  <a:lnTo>
                    <a:pt x="328" y="137"/>
                  </a:lnTo>
                  <a:lnTo>
                    <a:pt x="325" y="137"/>
                  </a:lnTo>
                  <a:lnTo>
                    <a:pt x="323" y="135"/>
                  </a:lnTo>
                  <a:lnTo>
                    <a:pt x="321" y="133"/>
                  </a:lnTo>
                  <a:lnTo>
                    <a:pt x="321" y="131"/>
                  </a:lnTo>
                  <a:lnTo>
                    <a:pt x="321" y="127"/>
                  </a:lnTo>
                  <a:lnTo>
                    <a:pt x="319" y="127"/>
                  </a:lnTo>
                  <a:lnTo>
                    <a:pt x="319" y="123"/>
                  </a:lnTo>
                  <a:lnTo>
                    <a:pt x="317" y="121"/>
                  </a:lnTo>
                  <a:lnTo>
                    <a:pt x="317" y="119"/>
                  </a:lnTo>
                  <a:lnTo>
                    <a:pt x="317" y="117"/>
                  </a:lnTo>
                  <a:lnTo>
                    <a:pt x="315" y="115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3" y="110"/>
                  </a:lnTo>
                  <a:lnTo>
                    <a:pt x="313" y="106"/>
                  </a:lnTo>
                  <a:lnTo>
                    <a:pt x="313" y="102"/>
                  </a:lnTo>
                  <a:lnTo>
                    <a:pt x="313" y="100"/>
                  </a:lnTo>
                  <a:lnTo>
                    <a:pt x="313" y="98"/>
                  </a:lnTo>
                  <a:lnTo>
                    <a:pt x="313" y="96"/>
                  </a:lnTo>
                  <a:lnTo>
                    <a:pt x="317" y="94"/>
                  </a:lnTo>
                  <a:lnTo>
                    <a:pt x="319" y="92"/>
                  </a:lnTo>
                  <a:lnTo>
                    <a:pt x="321" y="90"/>
                  </a:lnTo>
                  <a:lnTo>
                    <a:pt x="321" y="89"/>
                  </a:lnTo>
                  <a:lnTo>
                    <a:pt x="325" y="89"/>
                  </a:lnTo>
                  <a:lnTo>
                    <a:pt x="327" y="87"/>
                  </a:lnTo>
                  <a:lnTo>
                    <a:pt x="327" y="85"/>
                  </a:lnTo>
                  <a:lnTo>
                    <a:pt x="330" y="83"/>
                  </a:lnTo>
                  <a:lnTo>
                    <a:pt x="330" y="79"/>
                  </a:lnTo>
                  <a:lnTo>
                    <a:pt x="328" y="77"/>
                  </a:lnTo>
                  <a:lnTo>
                    <a:pt x="325" y="77"/>
                  </a:lnTo>
                  <a:lnTo>
                    <a:pt x="325" y="75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17" y="71"/>
                  </a:lnTo>
                  <a:lnTo>
                    <a:pt x="315" y="69"/>
                  </a:lnTo>
                  <a:lnTo>
                    <a:pt x="313" y="67"/>
                  </a:lnTo>
                  <a:lnTo>
                    <a:pt x="311" y="66"/>
                  </a:lnTo>
                  <a:lnTo>
                    <a:pt x="309" y="62"/>
                  </a:lnTo>
                  <a:lnTo>
                    <a:pt x="307" y="60"/>
                  </a:lnTo>
                  <a:lnTo>
                    <a:pt x="305" y="56"/>
                  </a:lnTo>
                  <a:lnTo>
                    <a:pt x="304" y="56"/>
                  </a:lnTo>
                  <a:lnTo>
                    <a:pt x="304" y="52"/>
                  </a:lnTo>
                  <a:lnTo>
                    <a:pt x="300" y="48"/>
                  </a:lnTo>
                  <a:lnTo>
                    <a:pt x="300" y="46"/>
                  </a:lnTo>
                  <a:lnTo>
                    <a:pt x="298" y="44"/>
                  </a:lnTo>
                  <a:lnTo>
                    <a:pt x="296" y="42"/>
                  </a:lnTo>
                  <a:lnTo>
                    <a:pt x="294" y="42"/>
                  </a:lnTo>
                  <a:lnTo>
                    <a:pt x="294" y="41"/>
                  </a:lnTo>
                  <a:lnTo>
                    <a:pt x="294" y="39"/>
                  </a:lnTo>
                  <a:lnTo>
                    <a:pt x="290" y="37"/>
                  </a:lnTo>
                  <a:lnTo>
                    <a:pt x="288" y="33"/>
                  </a:lnTo>
                  <a:lnTo>
                    <a:pt x="286" y="31"/>
                  </a:lnTo>
                  <a:lnTo>
                    <a:pt x="284" y="29"/>
                  </a:lnTo>
                  <a:lnTo>
                    <a:pt x="284" y="27"/>
                  </a:lnTo>
                  <a:lnTo>
                    <a:pt x="282" y="25"/>
                  </a:lnTo>
                  <a:lnTo>
                    <a:pt x="280" y="21"/>
                  </a:lnTo>
                  <a:lnTo>
                    <a:pt x="277" y="19"/>
                  </a:lnTo>
                  <a:lnTo>
                    <a:pt x="275" y="19"/>
                  </a:lnTo>
                  <a:lnTo>
                    <a:pt x="271" y="19"/>
                  </a:lnTo>
                  <a:lnTo>
                    <a:pt x="267" y="18"/>
                  </a:lnTo>
                  <a:lnTo>
                    <a:pt x="265" y="18"/>
                  </a:lnTo>
                  <a:lnTo>
                    <a:pt x="261" y="18"/>
                  </a:lnTo>
                  <a:lnTo>
                    <a:pt x="259" y="16"/>
                  </a:lnTo>
                  <a:lnTo>
                    <a:pt x="257" y="14"/>
                  </a:lnTo>
                  <a:lnTo>
                    <a:pt x="254" y="14"/>
                  </a:lnTo>
                  <a:lnTo>
                    <a:pt x="250" y="12"/>
                  </a:lnTo>
                  <a:lnTo>
                    <a:pt x="248" y="12"/>
                  </a:lnTo>
                  <a:lnTo>
                    <a:pt x="242" y="12"/>
                  </a:lnTo>
                  <a:lnTo>
                    <a:pt x="240" y="12"/>
                  </a:lnTo>
                  <a:lnTo>
                    <a:pt x="236" y="12"/>
                  </a:lnTo>
                  <a:lnTo>
                    <a:pt x="234" y="12"/>
                  </a:lnTo>
                  <a:lnTo>
                    <a:pt x="233" y="12"/>
                  </a:lnTo>
                  <a:lnTo>
                    <a:pt x="229" y="10"/>
                  </a:lnTo>
                  <a:lnTo>
                    <a:pt x="227" y="6"/>
                  </a:lnTo>
                  <a:lnTo>
                    <a:pt x="223" y="6"/>
                  </a:lnTo>
                  <a:lnTo>
                    <a:pt x="223" y="4"/>
                  </a:lnTo>
                  <a:lnTo>
                    <a:pt x="221" y="4"/>
                  </a:lnTo>
                  <a:lnTo>
                    <a:pt x="219" y="2"/>
                  </a:lnTo>
                  <a:lnTo>
                    <a:pt x="215" y="2"/>
                  </a:lnTo>
                  <a:lnTo>
                    <a:pt x="215" y="0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2" y="2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0" y="4"/>
                  </a:lnTo>
                  <a:lnTo>
                    <a:pt x="188" y="6"/>
                  </a:lnTo>
                  <a:lnTo>
                    <a:pt x="185" y="8"/>
                  </a:lnTo>
                  <a:lnTo>
                    <a:pt x="183" y="12"/>
                  </a:lnTo>
                  <a:lnTo>
                    <a:pt x="181" y="14"/>
                  </a:lnTo>
                  <a:lnTo>
                    <a:pt x="181" y="18"/>
                  </a:lnTo>
                  <a:lnTo>
                    <a:pt x="179" y="19"/>
                  </a:lnTo>
                  <a:lnTo>
                    <a:pt x="179" y="21"/>
                  </a:lnTo>
                  <a:lnTo>
                    <a:pt x="177" y="23"/>
                  </a:lnTo>
                  <a:lnTo>
                    <a:pt x="175" y="25"/>
                  </a:lnTo>
                  <a:lnTo>
                    <a:pt x="173" y="27"/>
                  </a:lnTo>
                  <a:lnTo>
                    <a:pt x="171" y="25"/>
                  </a:lnTo>
                  <a:lnTo>
                    <a:pt x="167" y="25"/>
                  </a:lnTo>
                  <a:lnTo>
                    <a:pt x="163" y="25"/>
                  </a:lnTo>
                  <a:lnTo>
                    <a:pt x="162" y="23"/>
                  </a:lnTo>
                  <a:lnTo>
                    <a:pt x="158" y="21"/>
                  </a:lnTo>
                  <a:lnTo>
                    <a:pt x="156" y="21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48" y="19"/>
                  </a:lnTo>
                  <a:lnTo>
                    <a:pt x="144" y="19"/>
                  </a:lnTo>
                  <a:lnTo>
                    <a:pt x="142" y="18"/>
                  </a:lnTo>
                  <a:lnTo>
                    <a:pt x="139" y="18"/>
                  </a:lnTo>
                  <a:lnTo>
                    <a:pt x="135" y="18"/>
                  </a:lnTo>
                  <a:lnTo>
                    <a:pt x="133" y="18"/>
                  </a:lnTo>
                  <a:lnTo>
                    <a:pt x="129" y="18"/>
                  </a:lnTo>
                  <a:lnTo>
                    <a:pt x="127" y="18"/>
                  </a:lnTo>
                  <a:lnTo>
                    <a:pt x="121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0" name="Freeform 36"/>
            <p:cNvSpPr>
              <a:spLocks/>
            </p:cNvSpPr>
            <p:nvPr/>
          </p:nvSpPr>
          <p:spPr bwMode="auto">
            <a:xfrm>
              <a:off x="2378" y="1804"/>
              <a:ext cx="553" cy="401"/>
            </a:xfrm>
            <a:custGeom>
              <a:avLst/>
              <a:gdLst/>
              <a:ahLst/>
              <a:cxnLst>
                <a:cxn ang="0">
                  <a:pos x="112" y="39"/>
                </a:cxn>
                <a:cxn ang="0">
                  <a:pos x="110" y="64"/>
                </a:cxn>
                <a:cxn ang="0">
                  <a:pos x="96" y="87"/>
                </a:cxn>
                <a:cxn ang="0">
                  <a:pos x="71" y="113"/>
                </a:cxn>
                <a:cxn ang="0">
                  <a:pos x="50" y="131"/>
                </a:cxn>
                <a:cxn ang="0">
                  <a:pos x="62" y="177"/>
                </a:cxn>
                <a:cxn ang="0">
                  <a:pos x="60" y="196"/>
                </a:cxn>
                <a:cxn ang="0">
                  <a:pos x="29" y="198"/>
                </a:cxn>
                <a:cxn ang="0">
                  <a:pos x="8" y="206"/>
                </a:cxn>
                <a:cxn ang="0">
                  <a:pos x="0" y="231"/>
                </a:cxn>
                <a:cxn ang="0">
                  <a:pos x="29" y="252"/>
                </a:cxn>
                <a:cxn ang="0">
                  <a:pos x="66" y="292"/>
                </a:cxn>
                <a:cxn ang="0">
                  <a:pos x="81" y="323"/>
                </a:cxn>
                <a:cxn ang="0">
                  <a:pos x="100" y="348"/>
                </a:cxn>
                <a:cxn ang="0">
                  <a:pos x="131" y="346"/>
                </a:cxn>
                <a:cxn ang="0">
                  <a:pos x="158" y="357"/>
                </a:cxn>
                <a:cxn ang="0">
                  <a:pos x="179" y="374"/>
                </a:cxn>
                <a:cxn ang="0">
                  <a:pos x="198" y="386"/>
                </a:cxn>
                <a:cxn ang="0">
                  <a:pos x="223" y="394"/>
                </a:cxn>
                <a:cxn ang="0">
                  <a:pos x="240" y="401"/>
                </a:cxn>
                <a:cxn ang="0">
                  <a:pos x="257" y="380"/>
                </a:cxn>
                <a:cxn ang="0">
                  <a:pos x="286" y="361"/>
                </a:cxn>
                <a:cxn ang="0">
                  <a:pos x="313" y="369"/>
                </a:cxn>
                <a:cxn ang="0">
                  <a:pos x="338" y="369"/>
                </a:cxn>
                <a:cxn ang="0">
                  <a:pos x="359" y="359"/>
                </a:cxn>
                <a:cxn ang="0">
                  <a:pos x="380" y="351"/>
                </a:cxn>
                <a:cxn ang="0">
                  <a:pos x="405" y="338"/>
                </a:cxn>
                <a:cxn ang="0">
                  <a:pos x="430" y="342"/>
                </a:cxn>
                <a:cxn ang="0">
                  <a:pos x="453" y="338"/>
                </a:cxn>
                <a:cxn ang="0">
                  <a:pos x="469" y="311"/>
                </a:cxn>
                <a:cxn ang="0">
                  <a:pos x="490" y="286"/>
                </a:cxn>
                <a:cxn ang="0">
                  <a:pos x="509" y="267"/>
                </a:cxn>
                <a:cxn ang="0">
                  <a:pos x="530" y="254"/>
                </a:cxn>
                <a:cxn ang="0">
                  <a:pos x="543" y="234"/>
                </a:cxn>
                <a:cxn ang="0">
                  <a:pos x="541" y="225"/>
                </a:cxn>
                <a:cxn ang="0">
                  <a:pos x="511" y="221"/>
                </a:cxn>
                <a:cxn ang="0">
                  <a:pos x="488" y="217"/>
                </a:cxn>
                <a:cxn ang="0">
                  <a:pos x="465" y="206"/>
                </a:cxn>
                <a:cxn ang="0">
                  <a:pos x="430" y="204"/>
                </a:cxn>
                <a:cxn ang="0">
                  <a:pos x="401" y="200"/>
                </a:cxn>
                <a:cxn ang="0">
                  <a:pos x="388" y="188"/>
                </a:cxn>
                <a:cxn ang="0">
                  <a:pos x="373" y="171"/>
                </a:cxn>
                <a:cxn ang="0">
                  <a:pos x="361" y="148"/>
                </a:cxn>
                <a:cxn ang="0">
                  <a:pos x="348" y="137"/>
                </a:cxn>
                <a:cxn ang="0">
                  <a:pos x="323" y="135"/>
                </a:cxn>
                <a:cxn ang="0">
                  <a:pos x="317" y="117"/>
                </a:cxn>
                <a:cxn ang="0">
                  <a:pos x="313" y="98"/>
                </a:cxn>
                <a:cxn ang="0">
                  <a:pos x="327" y="85"/>
                </a:cxn>
                <a:cxn ang="0">
                  <a:pos x="317" y="71"/>
                </a:cxn>
                <a:cxn ang="0">
                  <a:pos x="304" y="52"/>
                </a:cxn>
                <a:cxn ang="0">
                  <a:pos x="290" y="37"/>
                </a:cxn>
                <a:cxn ang="0">
                  <a:pos x="275" y="19"/>
                </a:cxn>
                <a:cxn ang="0">
                  <a:pos x="250" y="12"/>
                </a:cxn>
                <a:cxn ang="0">
                  <a:pos x="227" y="6"/>
                </a:cxn>
                <a:cxn ang="0">
                  <a:pos x="208" y="0"/>
                </a:cxn>
                <a:cxn ang="0">
                  <a:pos x="188" y="6"/>
                </a:cxn>
                <a:cxn ang="0">
                  <a:pos x="175" y="25"/>
                </a:cxn>
                <a:cxn ang="0">
                  <a:pos x="154" y="19"/>
                </a:cxn>
                <a:cxn ang="0">
                  <a:pos x="129" y="18"/>
                </a:cxn>
              </a:cxnLst>
              <a:rect l="0" t="0" r="r" b="b"/>
              <a:pathLst>
                <a:path w="553" h="401">
                  <a:moveTo>
                    <a:pt x="121" y="19"/>
                  </a:moveTo>
                  <a:lnTo>
                    <a:pt x="119" y="25"/>
                  </a:lnTo>
                  <a:lnTo>
                    <a:pt x="117" y="31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4" y="37"/>
                  </a:lnTo>
                  <a:lnTo>
                    <a:pt x="112" y="39"/>
                  </a:lnTo>
                  <a:lnTo>
                    <a:pt x="112" y="42"/>
                  </a:lnTo>
                  <a:lnTo>
                    <a:pt x="110" y="46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58"/>
                  </a:lnTo>
                  <a:lnTo>
                    <a:pt x="108" y="60"/>
                  </a:lnTo>
                  <a:lnTo>
                    <a:pt x="110" y="64"/>
                  </a:lnTo>
                  <a:lnTo>
                    <a:pt x="110" y="66"/>
                  </a:lnTo>
                  <a:lnTo>
                    <a:pt x="110" y="69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2" y="79"/>
                  </a:lnTo>
                  <a:lnTo>
                    <a:pt x="100" y="83"/>
                  </a:lnTo>
                  <a:lnTo>
                    <a:pt x="98" y="83"/>
                  </a:lnTo>
                  <a:lnTo>
                    <a:pt x="96" y="87"/>
                  </a:lnTo>
                  <a:lnTo>
                    <a:pt x="92" y="89"/>
                  </a:lnTo>
                  <a:lnTo>
                    <a:pt x="91" y="94"/>
                  </a:lnTo>
                  <a:lnTo>
                    <a:pt x="87" y="98"/>
                  </a:lnTo>
                  <a:lnTo>
                    <a:pt x="83" y="100"/>
                  </a:lnTo>
                  <a:lnTo>
                    <a:pt x="81" y="104"/>
                  </a:lnTo>
                  <a:lnTo>
                    <a:pt x="77" y="108"/>
                  </a:lnTo>
                  <a:lnTo>
                    <a:pt x="73" y="110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6" y="115"/>
                  </a:lnTo>
                  <a:lnTo>
                    <a:pt x="64" y="117"/>
                  </a:lnTo>
                  <a:lnTo>
                    <a:pt x="60" y="119"/>
                  </a:lnTo>
                  <a:lnTo>
                    <a:pt x="56" y="123"/>
                  </a:lnTo>
                  <a:lnTo>
                    <a:pt x="54" y="127"/>
                  </a:lnTo>
                  <a:lnTo>
                    <a:pt x="52" y="129"/>
                  </a:lnTo>
                  <a:lnTo>
                    <a:pt x="50" y="131"/>
                  </a:lnTo>
                  <a:lnTo>
                    <a:pt x="48" y="135"/>
                  </a:lnTo>
                  <a:lnTo>
                    <a:pt x="48" y="140"/>
                  </a:lnTo>
                  <a:lnTo>
                    <a:pt x="50" y="148"/>
                  </a:lnTo>
                  <a:lnTo>
                    <a:pt x="54" y="160"/>
                  </a:lnTo>
                  <a:lnTo>
                    <a:pt x="56" y="165"/>
                  </a:lnTo>
                  <a:lnTo>
                    <a:pt x="56" y="171"/>
                  </a:lnTo>
                  <a:lnTo>
                    <a:pt x="60" y="173"/>
                  </a:lnTo>
                  <a:lnTo>
                    <a:pt x="62" y="177"/>
                  </a:lnTo>
                  <a:lnTo>
                    <a:pt x="66" y="179"/>
                  </a:lnTo>
                  <a:lnTo>
                    <a:pt x="68" y="181"/>
                  </a:lnTo>
                  <a:lnTo>
                    <a:pt x="68" y="183"/>
                  </a:lnTo>
                  <a:lnTo>
                    <a:pt x="66" y="186"/>
                  </a:lnTo>
                  <a:lnTo>
                    <a:pt x="66" y="188"/>
                  </a:lnTo>
                  <a:lnTo>
                    <a:pt x="64" y="192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56" y="198"/>
                  </a:lnTo>
                  <a:lnTo>
                    <a:pt x="52" y="198"/>
                  </a:lnTo>
                  <a:lnTo>
                    <a:pt x="46" y="198"/>
                  </a:lnTo>
                  <a:lnTo>
                    <a:pt x="41" y="200"/>
                  </a:lnTo>
                  <a:lnTo>
                    <a:pt x="39" y="200"/>
                  </a:lnTo>
                  <a:lnTo>
                    <a:pt x="37" y="200"/>
                  </a:lnTo>
                  <a:lnTo>
                    <a:pt x="33" y="198"/>
                  </a:lnTo>
                  <a:lnTo>
                    <a:pt x="29" y="198"/>
                  </a:lnTo>
                  <a:lnTo>
                    <a:pt x="25" y="198"/>
                  </a:lnTo>
                  <a:lnTo>
                    <a:pt x="21" y="200"/>
                  </a:lnTo>
                  <a:lnTo>
                    <a:pt x="21" y="202"/>
                  </a:lnTo>
                  <a:lnTo>
                    <a:pt x="20" y="204"/>
                  </a:lnTo>
                  <a:lnTo>
                    <a:pt x="16" y="204"/>
                  </a:lnTo>
                  <a:lnTo>
                    <a:pt x="14" y="206"/>
                  </a:lnTo>
                  <a:lnTo>
                    <a:pt x="12" y="206"/>
                  </a:lnTo>
                  <a:lnTo>
                    <a:pt x="8" y="206"/>
                  </a:lnTo>
                  <a:lnTo>
                    <a:pt x="6" y="208"/>
                  </a:lnTo>
                  <a:lnTo>
                    <a:pt x="2" y="209"/>
                  </a:lnTo>
                  <a:lnTo>
                    <a:pt x="2" y="215"/>
                  </a:lnTo>
                  <a:lnTo>
                    <a:pt x="0" y="219"/>
                  </a:lnTo>
                  <a:lnTo>
                    <a:pt x="0" y="223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2" y="234"/>
                  </a:lnTo>
                  <a:lnTo>
                    <a:pt x="12" y="234"/>
                  </a:lnTo>
                  <a:lnTo>
                    <a:pt x="20" y="236"/>
                  </a:lnTo>
                  <a:lnTo>
                    <a:pt x="20" y="238"/>
                  </a:lnTo>
                  <a:lnTo>
                    <a:pt x="21" y="242"/>
                  </a:lnTo>
                  <a:lnTo>
                    <a:pt x="27" y="248"/>
                  </a:lnTo>
                  <a:lnTo>
                    <a:pt x="27" y="250"/>
                  </a:lnTo>
                  <a:lnTo>
                    <a:pt x="29" y="252"/>
                  </a:lnTo>
                  <a:lnTo>
                    <a:pt x="33" y="255"/>
                  </a:lnTo>
                  <a:lnTo>
                    <a:pt x="39" y="261"/>
                  </a:lnTo>
                  <a:lnTo>
                    <a:pt x="46" y="271"/>
                  </a:lnTo>
                  <a:lnTo>
                    <a:pt x="54" y="277"/>
                  </a:lnTo>
                  <a:lnTo>
                    <a:pt x="56" y="279"/>
                  </a:lnTo>
                  <a:lnTo>
                    <a:pt x="62" y="286"/>
                  </a:lnTo>
                  <a:lnTo>
                    <a:pt x="64" y="288"/>
                  </a:lnTo>
                  <a:lnTo>
                    <a:pt x="66" y="292"/>
                  </a:lnTo>
                  <a:lnTo>
                    <a:pt x="66" y="300"/>
                  </a:lnTo>
                  <a:lnTo>
                    <a:pt x="68" y="302"/>
                  </a:lnTo>
                  <a:lnTo>
                    <a:pt x="68" y="303"/>
                  </a:lnTo>
                  <a:lnTo>
                    <a:pt x="69" y="307"/>
                  </a:lnTo>
                  <a:lnTo>
                    <a:pt x="69" y="309"/>
                  </a:lnTo>
                  <a:lnTo>
                    <a:pt x="73" y="315"/>
                  </a:lnTo>
                  <a:lnTo>
                    <a:pt x="77" y="321"/>
                  </a:lnTo>
                  <a:lnTo>
                    <a:pt x="81" y="323"/>
                  </a:lnTo>
                  <a:lnTo>
                    <a:pt x="81" y="326"/>
                  </a:lnTo>
                  <a:lnTo>
                    <a:pt x="83" y="330"/>
                  </a:lnTo>
                  <a:lnTo>
                    <a:pt x="85" y="334"/>
                  </a:lnTo>
                  <a:lnTo>
                    <a:pt x="87" y="336"/>
                  </a:lnTo>
                  <a:lnTo>
                    <a:pt x="91" y="342"/>
                  </a:lnTo>
                  <a:lnTo>
                    <a:pt x="92" y="348"/>
                  </a:lnTo>
                  <a:lnTo>
                    <a:pt x="98" y="348"/>
                  </a:lnTo>
                  <a:lnTo>
                    <a:pt x="100" y="348"/>
                  </a:lnTo>
                  <a:lnTo>
                    <a:pt x="102" y="348"/>
                  </a:lnTo>
                  <a:lnTo>
                    <a:pt x="106" y="348"/>
                  </a:lnTo>
                  <a:lnTo>
                    <a:pt x="112" y="348"/>
                  </a:lnTo>
                  <a:lnTo>
                    <a:pt x="115" y="348"/>
                  </a:lnTo>
                  <a:lnTo>
                    <a:pt x="119" y="348"/>
                  </a:lnTo>
                  <a:lnTo>
                    <a:pt x="123" y="346"/>
                  </a:lnTo>
                  <a:lnTo>
                    <a:pt x="127" y="346"/>
                  </a:lnTo>
                  <a:lnTo>
                    <a:pt x="131" y="346"/>
                  </a:lnTo>
                  <a:lnTo>
                    <a:pt x="133" y="348"/>
                  </a:lnTo>
                  <a:lnTo>
                    <a:pt x="137" y="351"/>
                  </a:lnTo>
                  <a:lnTo>
                    <a:pt x="142" y="351"/>
                  </a:lnTo>
                  <a:lnTo>
                    <a:pt x="144" y="353"/>
                  </a:lnTo>
                  <a:lnTo>
                    <a:pt x="14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8" y="357"/>
                  </a:lnTo>
                  <a:lnTo>
                    <a:pt x="162" y="357"/>
                  </a:lnTo>
                  <a:lnTo>
                    <a:pt x="162" y="359"/>
                  </a:lnTo>
                  <a:lnTo>
                    <a:pt x="163" y="361"/>
                  </a:lnTo>
                  <a:lnTo>
                    <a:pt x="165" y="365"/>
                  </a:lnTo>
                  <a:lnTo>
                    <a:pt x="169" y="365"/>
                  </a:lnTo>
                  <a:lnTo>
                    <a:pt x="171" y="367"/>
                  </a:lnTo>
                  <a:lnTo>
                    <a:pt x="175" y="371"/>
                  </a:lnTo>
                  <a:lnTo>
                    <a:pt x="179" y="374"/>
                  </a:lnTo>
                  <a:lnTo>
                    <a:pt x="181" y="374"/>
                  </a:lnTo>
                  <a:lnTo>
                    <a:pt x="185" y="374"/>
                  </a:lnTo>
                  <a:lnTo>
                    <a:pt x="186" y="376"/>
                  </a:lnTo>
                  <a:lnTo>
                    <a:pt x="188" y="380"/>
                  </a:lnTo>
                  <a:lnTo>
                    <a:pt x="192" y="382"/>
                  </a:lnTo>
                  <a:lnTo>
                    <a:pt x="196" y="382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8"/>
                  </a:lnTo>
                  <a:lnTo>
                    <a:pt x="204" y="388"/>
                  </a:lnTo>
                  <a:lnTo>
                    <a:pt x="206" y="390"/>
                  </a:lnTo>
                  <a:lnTo>
                    <a:pt x="208" y="392"/>
                  </a:lnTo>
                  <a:lnTo>
                    <a:pt x="213" y="392"/>
                  </a:lnTo>
                  <a:lnTo>
                    <a:pt x="215" y="392"/>
                  </a:lnTo>
                  <a:lnTo>
                    <a:pt x="217" y="392"/>
                  </a:lnTo>
                  <a:lnTo>
                    <a:pt x="223" y="394"/>
                  </a:lnTo>
                  <a:lnTo>
                    <a:pt x="225" y="394"/>
                  </a:lnTo>
                  <a:lnTo>
                    <a:pt x="227" y="396"/>
                  </a:lnTo>
                  <a:lnTo>
                    <a:pt x="229" y="397"/>
                  </a:lnTo>
                  <a:lnTo>
                    <a:pt x="233" y="397"/>
                  </a:lnTo>
                  <a:lnTo>
                    <a:pt x="233" y="399"/>
                  </a:lnTo>
                  <a:lnTo>
                    <a:pt x="233" y="399"/>
                  </a:lnTo>
                  <a:lnTo>
                    <a:pt x="238" y="399"/>
                  </a:lnTo>
                  <a:lnTo>
                    <a:pt x="240" y="401"/>
                  </a:lnTo>
                  <a:lnTo>
                    <a:pt x="242" y="401"/>
                  </a:lnTo>
                  <a:lnTo>
                    <a:pt x="242" y="399"/>
                  </a:lnTo>
                  <a:lnTo>
                    <a:pt x="244" y="397"/>
                  </a:lnTo>
                  <a:lnTo>
                    <a:pt x="246" y="394"/>
                  </a:lnTo>
                  <a:lnTo>
                    <a:pt x="250" y="392"/>
                  </a:lnTo>
                  <a:lnTo>
                    <a:pt x="250" y="386"/>
                  </a:lnTo>
                  <a:lnTo>
                    <a:pt x="254" y="382"/>
                  </a:lnTo>
                  <a:lnTo>
                    <a:pt x="257" y="380"/>
                  </a:lnTo>
                  <a:lnTo>
                    <a:pt x="259" y="378"/>
                  </a:lnTo>
                  <a:lnTo>
                    <a:pt x="263" y="376"/>
                  </a:lnTo>
                  <a:lnTo>
                    <a:pt x="265" y="374"/>
                  </a:lnTo>
                  <a:lnTo>
                    <a:pt x="269" y="371"/>
                  </a:lnTo>
                  <a:lnTo>
                    <a:pt x="271" y="369"/>
                  </a:lnTo>
                  <a:lnTo>
                    <a:pt x="275" y="367"/>
                  </a:lnTo>
                  <a:lnTo>
                    <a:pt x="282" y="365"/>
                  </a:lnTo>
                  <a:lnTo>
                    <a:pt x="286" y="361"/>
                  </a:lnTo>
                  <a:lnTo>
                    <a:pt x="294" y="361"/>
                  </a:lnTo>
                  <a:lnTo>
                    <a:pt x="296" y="363"/>
                  </a:lnTo>
                  <a:lnTo>
                    <a:pt x="300" y="365"/>
                  </a:lnTo>
                  <a:lnTo>
                    <a:pt x="302" y="367"/>
                  </a:lnTo>
                  <a:lnTo>
                    <a:pt x="304" y="367"/>
                  </a:lnTo>
                  <a:lnTo>
                    <a:pt x="309" y="367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9" y="371"/>
                  </a:lnTo>
                  <a:lnTo>
                    <a:pt x="321" y="371"/>
                  </a:lnTo>
                  <a:lnTo>
                    <a:pt x="325" y="371"/>
                  </a:lnTo>
                  <a:lnTo>
                    <a:pt x="328" y="371"/>
                  </a:lnTo>
                  <a:lnTo>
                    <a:pt x="330" y="371"/>
                  </a:lnTo>
                  <a:lnTo>
                    <a:pt x="332" y="369"/>
                  </a:lnTo>
                  <a:lnTo>
                    <a:pt x="338" y="369"/>
                  </a:lnTo>
                  <a:lnTo>
                    <a:pt x="340" y="369"/>
                  </a:lnTo>
                  <a:lnTo>
                    <a:pt x="342" y="369"/>
                  </a:lnTo>
                  <a:lnTo>
                    <a:pt x="346" y="367"/>
                  </a:lnTo>
                  <a:lnTo>
                    <a:pt x="350" y="365"/>
                  </a:lnTo>
                  <a:lnTo>
                    <a:pt x="353" y="363"/>
                  </a:lnTo>
                  <a:lnTo>
                    <a:pt x="357" y="363"/>
                  </a:lnTo>
                  <a:lnTo>
                    <a:pt x="357" y="361"/>
                  </a:lnTo>
                  <a:lnTo>
                    <a:pt x="359" y="359"/>
                  </a:lnTo>
                  <a:lnTo>
                    <a:pt x="363" y="359"/>
                  </a:lnTo>
                  <a:lnTo>
                    <a:pt x="365" y="357"/>
                  </a:lnTo>
                  <a:lnTo>
                    <a:pt x="371" y="357"/>
                  </a:lnTo>
                  <a:lnTo>
                    <a:pt x="371" y="357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8" y="351"/>
                  </a:lnTo>
                  <a:lnTo>
                    <a:pt x="380" y="351"/>
                  </a:lnTo>
                  <a:lnTo>
                    <a:pt x="384" y="346"/>
                  </a:lnTo>
                  <a:lnTo>
                    <a:pt x="388" y="344"/>
                  </a:lnTo>
                  <a:lnTo>
                    <a:pt x="390" y="340"/>
                  </a:lnTo>
                  <a:lnTo>
                    <a:pt x="394" y="340"/>
                  </a:lnTo>
                  <a:lnTo>
                    <a:pt x="396" y="338"/>
                  </a:lnTo>
                  <a:lnTo>
                    <a:pt x="399" y="338"/>
                  </a:lnTo>
                  <a:lnTo>
                    <a:pt x="401" y="338"/>
                  </a:lnTo>
                  <a:lnTo>
                    <a:pt x="405" y="338"/>
                  </a:lnTo>
                  <a:lnTo>
                    <a:pt x="409" y="340"/>
                  </a:lnTo>
                  <a:lnTo>
                    <a:pt x="411" y="340"/>
                  </a:lnTo>
                  <a:lnTo>
                    <a:pt x="415" y="340"/>
                  </a:lnTo>
                  <a:lnTo>
                    <a:pt x="419" y="340"/>
                  </a:lnTo>
                  <a:lnTo>
                    <a:pt x="421" y="340"/>
                  </a:lnTo>
                  <a:lnTo>
                    <a:pt x="424" y="340"/>
                  </a:lnTo>
                  <a:lnTo>
                    <a:pt x="426" y="342"/>
                  </a:lnTo>
                  <a:lnTo>
                    <a:pt x="430" y="342"/>
                  </a:lnTo>
                  <a:lnTo>
                    <a:pt x="432" y="342"/>
                  </a:lnTo>
                  <a:lnTo>
                    <a:pt x="434" y="344"/>
                  </a:lnTo>
                  <a:lnTo>
                    <a:pt x="438" y="344"/>
                  </a:lnTo>
                  <a:lnTo>
                    <a:pt x="440" y="342"/>
                  </a:lnTo>
                  <a:lnTo>
                    <a:pt x="446" y="342"/>
                  </a:lnTo>
                  <a:lnTo>
                    <a:pt x="449" y="340"/>
                  </a:lnTo>
                  <a:lnTo>
                    <a:pt x="451" y="338"/>
                  </a:lnTo>
                  <a:lnTo>
                    <a:pt x="453" y="338"/>
                  </a:lnTo>
                  <a:lnTo>
                    <a:pt x="453" y="332"/>
                  </a:lnTo>
                  <a:lnTo>
                    <a:pt x="455" y="330"/>
                  </a:lnTo>
                  <a:lnTo>
                    <a:pt x="457" y="330"/>
                  </a:lnTo>
                  <a:lnTo>
                    <a:pt x="461" y="328"/>
                  </a:lnTo>
                  <a:lnTo>
                    <a:pt x="463" y="323"/>
                  </a:lnTo>
                  <a:lnTo>
                    <a:pt x="463" y="319"/>
                  </a:lnTo>
                  <a:lnTo>
                    <a:pt x="465" y="315"/>
                  </a:lnTo>
                  <a:lnTo>
                    <a:pt x="469" y="311"/>
                  </a:lnTo>
                  <a:lnTo>
                    <a:pt x="469" y="307"/>
                  </a:lnTo>
                  <a:lnTo>
                    <a:pt x="470" y="305"/>
                  </a:lnTo>
                  <a:lnTo>
                    <a:pt x="474" y="300"/>
                  </a:lnTo>
                  <a:lnTo>
                    <a:pt x="478" y="296"/>
                  </a:lnTo>
                  <a:lnTo>
                    <a:pt x="480" y="296"/>
                  </a:lnTo>
                  <a:lnTo>
                    <a:pt x="482" y="294"/>
                  </a:lnTo>
                  <a:lnTo>
                    <a:pt x="486" y="290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5" y="282"/>
                  </a:lnTo>
                  <a:lnTo>
                    <a:pt x="497" y="279"/>
                  </a:lnTo>
                  <a:lnTo>
                    <a:pt x="501" y="275"/>
                  </a:lnTo>
                  <a:lnTo>
                    <a:pt x="505" y="271"/>
                  </a:lnTo>
                  <a:lnTo>
                    <a:pt x="507" y="269"/>
                  </a:lnTo>
                  <a:lnTo>
                    <a:pt x="509" y="269"/>
                  </a:lnTo>
                  <a:lnTo>
                    <a:pt x="509" y="267"/>
                  </a:lnTo>
                  <a:lnTo>
                    <a:pt x="515" y="265"/>
                  </a:lnTo>
                  <a:lnTo>
                    <a:pt x="516" y="261"/>
                  </a:lnTo>
                  <a:lnTo>
                    <a:pt x="520" y="259"/>
                  </a:lnTo>
                  <a:lnTo>
                    <a:pt x="524" y="257"/>
                  </a:lnTo>
                  <a:lnTo>
                    <a:pt x="526" y="257"/>
                  </a:lnTo>
                  <a:lnTo>
                    <a:pt x="528" y="255"/>
                  </a:lnTo>
                  <a:lnTo>
                    <a:pt x="528" y="254"/>
                  </a:lnTo>
                  <a:lnTo>
                    <a:pt x="530" y="254"/>
                  </a:lnTo>
                  <a:lnTo>
                    <a:pt x="534" y="252"/>
                  </a:lnTo>
                  <a:lnTo>
                    <a:pt x="534" y="248"/>
                  </a:lnTo>
                  <a:lnTo>
                    <a:pt x="538" y="246"/>
                  </a:lnTo>
                  <a:lnTo>
                    <a:pt x="538" y="244"/>
                  </a:lnTo>
                  <a:lnTo>
                    <a:pt x="541" y="242"/>
                  </a:lnTo>
                  <a:lnTo>
                    <a:pt x="541" y="238"/>
                  </a:lnTo>
                  <a:lnTo>
                    <a:pt x="541" y="236"/>
                  </a:lnTo>
                  <a:lnTo>
                    <a:pt x="543" y="234"/>
                  </a:lnTo>
                  <a:lnTo>
                    <a:pt x="547" y="232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3" y="227"/>
                  </a:lnTo>
                  <a:lnTo>
                    <a:pt x="553" y="225"/>
                  </a:lnTo>
                  <a:lnTo>
                    <a:pt x="551" y="225"/>
                  </a:lnTo>
                  <a:lnTo>
                    <a:pt x="543" y="225"/>
                  </a:lnTo>
                  <a:lnTo>
                    <a:pt x="541" y="225"/>
                  </a:lnTo>
                  <a:lnTo>
                    <a:pt x="540" y="225"/>
                  </a:lnTo>
                  <a:lnTo>
                    <a:pt x="538" y="227"/>
                  </a:lnTo>
                  <a:lnTo>
                    <a:pt x="534" y="227"/>
                  </a:lnTo>
                  <a:lnTo>
                    <a:pt x="530" y="227"/>
                  </a:lnTo>
                  <a:lnTo>
                    <a:pt x="526" y="225"/>
                  </a:lnTo>
                  <a:lnTo>
                    <a:pt x="522" y="223"/>
                  </a:lnTo>
                  <a:lnTo>
                    <a:pt x="518" y="221"/>
                  </a:lnTo>
                  <a:lnTo>
                    <a:pt x="511" y="221"/>
                  </a:lnTo>
                  <a:lnTo>
                    <a:pt x="507" y="219"/>
                  </a:lnTo>
                  <a:lnTo>
                    <a:pt x="505" y="219"/>
                  </a:lnTo>
                  <a:lnTo>
                    <a:pt x="501" y="219"/>
                  </a:lnTo>
                  <a:lnTo>
                    <a:pt x="497" y="219"/>
                  </a:lnTo>
                  <a:lnTo>
                    <a:pt x="495" y="219"/>
                  </a:lnTo>
                  <a:lnTo>
                    <a:pt x="493" y="219"/>
                  </a:lnTo>
                  <a:lnTo>
                    <a:pt x="490" y="219"/>
                  </a:lnTo>
                  <a:lnTo>
                    <a:pt x="488" y="217"/>
                  </a:lnTo>
                  <a:lnTo>
                    <a:pt x="484" y="217"/>
                  </a:lnTo>
                  <a:lnTo>
                    <a:pt x="480" y="215"/>
                  </a:lnTo>
                  <a:lnTo>
                    <a:pt x="478" y="215"/>
                  </a:lnTo>
                  <a:lnTo>
                    <a:pt x="474" y="213"/>
                  </a:lnTo>
                  <a:lnTo>
                    <a:pt x="472" y="209"/>
                  </a:lnTo>
                  <a:lnTo>
                    <a:pt x="470" y="208"/>
                  </a:lnTo>
                  <a:lnTo>
                    <a:pt x="469" y="208"/>
                  </a:lnTo>
                  <a:lnTo>
                    <a:pt x="465" y="206"/>
                  </a:lnTo>
                  <a:lnTo>
                    <a:pt x="463" y="204"/>
                  </a:lnTo>
                  <a:lnTo>
                    <a:pt x="461" y="204"/>
                  </a:lnTo>
                  <a:lnTo>
                    <a:pt x="457" y="204"/>
                  </a:lnTo>
                  <a:lnTo>
                    <a:pt x="453" y="204"/>
                  </a:lnTo>
                  <a:lnTo>
                    <a:pt x="446" y="204"/>
                  </a:lnTo>
                  <a:lnTo>
                    <a:pt x="444" y="204"/>
                  </a:lnTo>
                  <a:lnTo>
                    <a:pt x="436" y="204"/>
                  </a:lnTo>
                  <a:lnTo>
                    <a:pt x="430" y="204"/>
                  </a:lnTo>
                  <a:lnTo>
                    <a:pt x="426" y="204"/>
                  </a:lnTo>
                  <a:lnTo>
                    <a:pt x="422" y="204"/>
                  </a:lnTo>
                  <a:lnTo>
                    <a:pt x="417" y="204"/>
                  </a:lnTo>
                  <a:lnTo>
                    <a:pt x="413" y="204"/>
                  </a:lnTo>
                  <a:lnTo>
                    <a:pt x="409" y="204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1" y="200"/>
                  </a:lnTo>
                  <a:lnTo>
                    <a:pt x="399" y="198"/>
                  </a:lnTo>
                  <a:lnTo>
                    <a:pt x="398" y="198"/>
                  </a:lnTo>
                  <a:lnTo>
                    <a:pt x="398" y="196"/>
                  </a:lnTo>
                  <a:lnTo>
                    <a:pt x="394" y="196"/>
                  </a:lnTo>
                  <a:lnTo>
                    <a:pt x="392" y="194"/>
                  </a:lnTo>
                  <a:lnTo>
                    <a:pt x="392" y="192"/>
                  </a:lnTo>
                  <a:lnTo>
                    <a:pt x="390" y="190"/>
                  </a:lnTo>
                  <a:lnTo>
                    <a:pt x="388" y="188"/>
                  </a:lnTo>
                  <a:lnTo>
                    <a:pt x="386" y="188"/>
                  </a:lnTo>
                  <a:lnTo>
                    <a:pt x="386" y="186"/>
                  </a:lnTo>
                  <a:lnTo>
                    <a:pt x="384" y="184"/>
                  </a:lnTo>
                  <a:lnTo>
                    <a:pt x="382" y="183"/>
                  </a:lnTo>
                  <a:lnTo>
                    <a:pt x="378" y="179"/>
                  </a:lnTo>
                  <a:lnTo>
                    <a:pt x="375" y="177"/>
                  </a:lnTo>
                  <a:lnTo>
                    <a:pt x="375" y="173"/>
                  </a:lnTo>
                  <a:lnTo>
                    <a:pt x="373" y="171"/>
                  </a:lnTo>
                  <a:lnTo>
                    <a:pt x="373" y="169"/>
                  </a:lnTo>
                  <a:lnTo>
                    <a:pt x="371" y="167"/>
                  </a:lnTo>
                  <a:lnTo>
                    <a:pt x="371" y="163"/>
                  </a:lnTo>
                  <a:lnTo>
                    <a:pt x="367" y="160"/>
                  </a:lnTo>
                  <a:lnTo>
                    <a:pt x="367" y="156"/>
                  </a:lnTo>
                  <a:lnTo>
                    <a:pt x="365" y="154"/>
                  </a:lnTo>
                  <a:lnTo>
                    <a:pt x="365" y="152"/>
                  </a:lnTo>
                  <a:lnTo>
                    <a:pt x="361" y="148"/>
                  </a:lnTo>
                  <a:lnTo>
                    <a:pt x="361" y="144"/>
                  </a:lnTo>
                  <a:lnTo>
                    <a:pt x="359" y="144"/>
                  </a:lnTo>
                  <a:lnTo>
                    <a:pt x="357" y="142"/>
                  </a:lnTo>
                  <a:lnTo>
                    <a:pt x="357" y="137"/>
                  </a:lnTo>
                  <a:lnTo>
                    <a:pt x="357" y="135"/>
                  </a:lnTo>
                  <a:lnTo>
                    <a:pt x="353" y="135"/>
                  </a:lnTo>
                  <a:lnTo>
                    <a:pt x="350" y="137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38" y="137"/>
                  </a:lnTo>
                  <a:lnTo>
                    <a:pt x="336" y="137"/>
                  </a:lnTo>
                  <a:lnTo>
                    <a:pt x="332" y="137"/>
                  </a:lnTo>
                  <a:lnTo>
                    <a:pt x="330" y="137"/>
                  </a:lnTo>
                  <a:lnTo>
                    <a:pt x="328" y="137"/>
                  </a:lnTo>
                  <a:lnTo>
                    <a:pt x="325" y="137"/>
                  </a:lnTo>
                  <a:lnTo>
                    <a:pt x="323" y="135"/>
                  </a:lnTo>
                  <a:lnTo>
                    <a:pt x="321" y="133"/>
                  </a:lnTo>
                  <a:lnTo>
                    <a:pt x="321" y="131"/>
                  </a:lnTo>
                  <a:lnTo>
                    <a:pt x="321" y="127"/>
                  </a:lnTo>
                  <a:lnTo>
                    <a:pt x="319" y="127"/>
                  </a:lnTo>
                  <a:lnTo>
                    <a:pt x="319" y="123"/>
                  </a:lnTo>
                  <a:lnTo>
                    <a:pt x="317" y="121"/>
                  </a:lnTo>
                  <a:lnTo>
                    <a:pt x="317" y="119"/>
                  </a:lnTo>
                  <a:lnTo>
                    <a:pt x="317" y="117"/>
                  </a:lnTo>
                  <a:lnTo>
                    <a:pt x="315" y="115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3" y="110"/>
                  </a:lnTo>
                  <a:lnTo>
                    <a:pt x="313" y="106"/>
                  </a:lnTo>
                  <a:lnTo>
                    <a:pt x="313" y="102"/>
                  </a:lnTo>
                  <a:lnTo>
                    <a:pt x="313" y="100"/>
                  </a:lnTo>
                  <a:lnTo>
                    <a:pt x="313" y="98"/>
                  </a:lnTo>
                  <a:lnTo>
                    <a:pt x="313" y="96"/>
                  </a:lnTo>
                  <a:lnTo>
                    <a:pt x="317" y="94"/>
                  </a:lnTo>
                  <a:lnTo>
                    <a:pt x="319" y="92"/>
                  </a:lnTo>
                  <a:lnTo>
                    <a:pt x="321" y="90"/>
                  </a:lnTo>
                  <a:lnTo>
                    <a:pt x="321" y="89"/>
                  </a:lnTo>
                  <a:lnTo>
                    <a:pt x="325" y="89"/>
                  </a:lnTo>
                  <a:lnTo>
                    <a:pt x="327" y="87"/>
                  </a:lnTo>
                  <a:lnTo>
                    <a:pt x="327" y="85"/>
                  </a:lnTo>
                  <a:lnTo>
                    <a:pt x="330" y="83"/>
                  </a:lnTo>
                  <a:lnTo>
                    <a:pt x="330" y="79"/>
                  </a:lnTo>
                  <a:lnTo>
                    <a:pt x="328" y="77"/>
                  </a:lnTo>
                  <a:lnTo>
                    <a:pt x="325" y="77"/>
                  </a:lnTo>
                  <a:lnTo>
                    <a:pt x="325" y="75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17" y="71"/>
                  </a:lnTo>
                  <a:lnTo>
                    <a:pt x="315" y="69"/>
                  </a:lnTo>
                  <a:lnTo>
                    <a:pt x="313" y="67"/>
                  </a:lnTo>
                  <a:lnTo>
                    <a:pt x="311" y="66"/>
                  </a:lnTo>
                  <a:lnTo>
                    <a:pt x="309" y="62"/>
                  </a:lnTo>
                  <a:lnTo>
                    <a:pt x="307" y="60"/>
                  </a:lnTo>
                  <a:lnTo>
                    <a:pt x="305" y="56"/>
                  </a:lnTo>
                  <a:lnTo>
                    <a:pt x="304" y="56"/>
                  </a:lnTo>
                  <a:lnTo>
                    <a:pt x="304" y="52"/>
                  </a:lnTo>
                  <a:lnTo>
                    <a:pt x="300" y="48"/>
                  </a:lnTo>
                  <a:lnTo>
                    <a:pt x="300" y="46"/>
                  </a:lnTo>
                  <a:lnTo>
                    <a:pt x="298" y="44"/>
                  </a:lnTo>
                  <a:lnTo>
                    <a:pt x="296" y="42"/>
                  </a:lnTo>
                  <a:lnTo>
                    <a:pt x="294" y="42"/>
                  </a:lnTo>
                  <a:lnTo>
                    <a:pt x="294" y="41"/>
                  </a:lnTo>
                  <a:lnTo>
                    <a:pt x="294" y="39"/>
                  </a:lnTo>
                  <a:lnTo>
                    <a:pt x="290" y="37"/>
                  </a:lnTo>
                  <a:lnTo>
                    <a:pt x="288" y="33"/>
                  </a:lnTo>
                  <a:lnTo>
                    <a:pt x="286" y="31"/>
                  </a:lnTo>
                  <a:lnTo>
                    <a:pt x="284" y="29"/>
                  </a:lnTo>
                  <a:lnTo>
                    <a:pt x="284" y="27"/>
                  </a:lnTo>
                  <a:lnTo>
                    <a:pt x="282" y="25"/>
                  </a:lnTo>
                  <a:lnTo>
                    <a:pt x="280" y="21"/>
                  </a:lnTo>
                  <a:lnTo>
                    <a:pt x="277" y="19"/>
                  </a:lnTo>
                  <a:lnTo>
                    <a:pt x="275" y="19"/>
                  </a:lnTo>
                  <a:lnTo>
                    <a:pt x="271" y="19"/>
                  </a:lnTo>
                  <a:lnTo>
                    <a:pt x="267" y="18"/>
                  </a:lnTo>
                  <a:lnTo>
                    <a:pt x="265" y="18"/>
                  </a:lnTo>
                  <a:lnTo>
                    <a:pt x="261" y="18"/>
                  </a:lnTo>
                  <a:lnTo>
                    <a:pt x="259" y="16"/>
                  </a:lnTo>
                  <a:lnTo>
                    <a:pt x="257" y="14"/>
                  </a:lnTo>
                  <a:lnTo>
                    <a:pt x="254" y="14"/>
                  </a:lnTo>
                  <a:lnTo>
                    <a:pt x="250" y="12"/>
                  </a:lnTo>
                  <a:lnTo>
                    <a:pt x="248" y="12"/>
                  </a:lnTo>
                  <a:lnTo>
                    <a:pt x="242" y="12"/>
                  </a:lnTo>
                  <a:lnTo>
                    <a:pt x="240" y="12"/>
                  </a:lnTo>
                  <a:lnTo>
                    <a:pt x="236" y="12"/>
                  </a:lnTo>
                  <a:lnTo>
                    <a:pt x="234" y="12"/>
                  </a:lnTo>
                  <a:lnTo>
                    <a:pt x="233" y="12"/>
                  </a:lnTo>
                  <a:lnTo>
                    <a:pt x="229" y="10"/>
                  </a:lnTo>
                  <a:lnTo>
                    <a:pt x="227" y="6"/>
                  </a:lnTo>
                  <a:lnTo>
                    <a:pt x="223" y="6"/>
                  </a:lnTo>
                  <a:lnTo>
                    <a:pt x="223" y="4"/>
                  </a:lnTo>
                  <a:lnTo>
                    <a:pt x="221" y="4"/>
                  </a:lnTo>
                  <a:lnTo>
                    <a:pt x="219" y="2"/>
                  </a:lnTo>
                  <a:lnTo>
                    <a:pt x="215" y="2"/>
                  </a:lnTo>
                  <a:lnTo>
                    <a:pt x="215" y="0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2" y="2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0" y="4"/>
                  </a:lnTo>
                  <a:lnTo>
                    <a:pt x="188" y="6"/>
                  </a:lnTo>
                  <a:lnTo>
                    <a:pt x="185" y="8"/>
                  </a:lnTo>
                  <a:lnTo>
                    <a:pt x="183" y="12"/>
                  </a:lnTo>
                  <a:lnTo>
                    <a:pt x="181" y="14"/>
                  </a:lnTo>
                  <a:lnTo>
                    <a:pt x="181" y="18"/>
                  </a:lnTo>
                  <a:lnTo>
                    <a:pt x="179" y="19"/>
                  </a:lnTo>
                  <a:lnTo>
                    <a:pt x="179" y="21"/>
                  </a:lnTo>
                  <a:lnTo>
                    <a:pt x="177" y="23"/>
                  </a:lnTo>
                  <a:lnTo>
                    <a:pt x="175" y="25"/>
                  </a:lnTo>
                  <a:lnTo>
                    <a:pt x="173" y="27"/>
                  </a:lnTo>
                  <a:lnTo>
                    <a:pt x="171" y="25"/>
                  </a:lnTo>
                  <a:lnTo>
                    <a:pt x="167" y="25"/>
                  </a:lnTo>
                  <a:lnTo>
                    <a:pt x="163" y="25"/>
                  </a:lnTo>
                  <a:lnTo>
                    <a:pt x="162" y="23"/>
                  </a:lnTo>
                  <a:lnTo>
                    <a:pt x="158" y="21"/>
                  </a:lnTo>
                  <a:lnTo>
                    <a:pt x="156" y="21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48" y="19"/>
                  </a:lnTo>
                  <a:lnTo>
                    <a:pt x="144" y="19"/>
                  </a:lnTo>
                  <a:lnTo>
                    <a:pt x="142" y="18"/>
                  </a:lnTo>
                  <a:lnTo>
                    <a:pt x="139" y="18"/>
                  </a:lnTo>
                  <a:lnTo>
                    <a:pt x="135" y="18"/>
                  </a:lnTo>
                  <a:lnTo>
                    <a:pt x="133" y="18"/>
                  </a:lnTo>
                  <a:lnTo>
                    <a:pt x="129" y="18"/>
                  </a:lnTo>
                  <a:lnTo>
                    <a:pt x="127" y="18"/>
                  </a:lnTo>
                  <a:lnTo>
                    <a:pt x="121" y="1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1" name="Freeform 37"/>
            <p:cNvSpPr>
              <a:spLocks/>
            </p:cNvSpPr>
            <p:nvPr/>
          </p:nvSpPr>
          <p:spPr bwMode="auto">
            <a:xfrm>
              <a:off x="1966" y="1476"/>
              <a:ext cx="602" cy="722"/>
            </a:xfrm>
            <a:custGeom>
              <a:avLst/>
              <a:gdLst/>
              <a:ahLst/>
              <a:cxnLst>
                <a:cxn ang="0">
                  <a:pos x="579" y="161"/>
                </a:cxn>
                <a:cxn ang="0">
                  <a:pos x="556" y="146"/>
                </a:cxn>
                <a:cxn ang="0">
                  <a:pos x="552" y="113"/>
                </a:cxn>
                <a:cxn ang="0">
                  <a:pos x="543" y="77"/>
                </a:cxn>
                <a:cxn ang="0">
                  <a:pos x="539" y="40"/>
                </a:cxn>
                <a:cxn ang="0">
                  <a:pos x="512" y="19"/>
                </a:cxn>
                <a:cxn ang="0">
                  <a:pos x="493" y="2"/>
                </a:cxn>
                <a:cxn ang="0">
                  <a:pos x="462" y="31"/>
                </a:cxn>
                <a:cxn ang="0">
                  <a:pos x="430" y="44"/>
                </a:cxn>
                <a:cxn ang="0">
                  <a:pos x="391" y="39"/>
                </a:cxn>
                <a:cxn ang="0">
                  <a:pos x="336" y="40"/>
                </a:cxn>
                <a:cxn ang="0">
                  <a:pos x="291" y="40"/>
                </a:cxn>
                <a:cxn ang="0">
                  <a:pos x="251" y="44"/>
                </a:cxn>
                <a:cxn ang="0">
                  <a:pos x="205" y="46"/>
                </a:cxn>
                <a:cxn ang="0">
                  <a:pos x="161" y="46"/>
                </a:cxn>
                <a:cxn ang="0">
                  <a:pos x="126" y="44"/>
                </a:cxn>
                <a:cxn ang="0">
                  <a:pos x="115" y="85"/>
                </a:cxn>
                <a:cxn ang="0">
                  <a:pos x="98" y="111"/>
                </a:cxn>
                <a:cxn ang="0">
                  <a:pos x="78" y="146"/>
                </a:cxn>
                <a:cxn ang="0">
                  <a:pos x="77" y="204"/>
                </a:cxn>
                <a:cxn ang="0">
                  <a:pos x="77" y="252"/>
                </a:cxn>
                <a:cxn ang="0">
                  <a:pos x="57" y="271"/>
                </a:cxn>
                <a:cxn ang="0">
                  <a:pos x="29" y="296"/>
                </a:cxn>
                <a:cxn ang="0">
                  <a:pos x="15" y="342"/>
                </a:cxn>
                <a:cxn ang="0">
                  <a:pos x="0" y="384"/>
                </a:cxn>
                <a:cxn ang="0">
                  <a:pos x="27" y="415"/>
                </a:cxn>
                <a:cxn ang="0">
                  <a:pos x="36" y="449"/>
                </a:cxn>
                <a:cxn ang="0">
                  <a:pos x="61" y="478"/>
                </a:cxn>
                <a:cxn ang="0">
                  <a:pos x="65" y="516"/>
                </a:cxn>
                <a:cxn ang="0">
                  <a:pos x="105" y="543"/>
                </a:cxn>
                <a:cxn ang="0">
                  <a:pos x="146" y="582"/>
                </a:cxn>
                <a:cxn ang="0">
                  <a:pos x="184" y="612"/>
                </a:cxn>
                <a:cxn ang="0">
                  <a:pos x="197" y="641"/>
                </a:cxn>
                <a:cxn ang="0">
                  <a:pos x="215" y="668"/>
                </a:cxn>
                <a:cxn ang="0">
                  <a:pos x="247" y="693"/>
                </a:cxn>
                <a:cxn ang="0">
                  <a:pos x="282" y="676"/>
                </a:cxn>
                <a:cxn ang="0">
                  <a:pos x="309" y="699"/>
                </a:cxn>
                <a:cxn ang="0">
                  <a:pos x="339" y="714"/>
                </a:cxn>
                <a:cxn ang="0">
                  <a:pos x="370" y="718"/>
                </a:cxn>
                <a:cxn ang="0">
                  <a:pos x="397" y="712"/>
                </a:cxn>
                <a:cxn ang="0">
                  <a:pos x="435" y="712"/>
                </a:cxn>
                <a:cxn ang="0">
                  <a:pos x="462" y="687"/>
                </a:cxn>
                <a:cxn ang="0">
                  <a:pos x="495" y="676"/>
                </a:cxn>
                <a:cxn ang="0">
                  <a:pos x="491" y="651"/>
                </a:cxn>
                <a:cxn ang="0">
                  <a:pos x="480" y="622"/>
                </a:cxn>
                <a:cxn ang="0">
                  <a:pos x="458" y="597"/>
                </a:cxn>
                <a:cxn ang="0">
                  <a:pos x="435" y="570"/>
                </a:cxn>
                <a:cxn ang="0">
                  <a:pos x="414" y="553"/>
                </a:cxn>
                <a:cxn ang="0">
                  <a:pos x="435" y="526"/>
                </a:cxn>
                <a:cxn ang="0">
                  <a:pos x="470" y="526"/>
                </a:cxn>
                <a:cxn ang="0">
                  <a:pos x="474" y="503"/>
                </a:cxn>
                <a:cxn ang="0">
                  <a:pos x="466" y="472"/>
                </a:cxn>
                <a:cxn ang="0">
                  <a:pos x="476" y="445"/>
                </a:cxn>
                <a:cxn ang="0">
                  <a:pos x="495" y="430"/>
                </a:cxn>
                <a:cxn ang="0">
                  <a:pos x="510" y="415"/>
                </a:cxn>
                <a:cxn ang="0">
                  <a:pos x="522" y="388"/>
                </a:cxn>
                <a:cxn ang="0">
                  <a:pos x="533" y="357"/>
                </a:cxn>
                <a:cxn ang="0">
                  <a:pos x="535" y="324"/>
                </a:cxn>
                <a:cxn ang="0">
                  <a:pos x="535" y="292"/>
                </a:cxn>
                <a:cxn ang="0">
                  <a:pos x="533" y="259"/>
                </a:cxn>
                <a:cxn ang="0">
                  <a:pos x="545" y="234"/>
                </a:cxn>
                <a:cxn ang="0">
                  <a:pos x="570" y="215"/>
                </a:cxn>
                <a:cxn ang="0">
                  <a:pos x="589" y="198"/>
                </a:cxn>
              </a:cxnLst>
              <a:rect l="0" t="0" r="r" b="b"/>
              <a:pathLst>
                <a:path w="602" h="722">
                  <a:moveTo>
                    <a:pt x="602" y="184"/>
                  </a:moveTo>
                  <a:lnTo>
                    <a:pt x="600" y="179"/>
                  </a:lnTo>
                  <a:lnTo>
                    <a:pt x="600" y="175"/>
                  </a:lnTo>
                  <a:lnTo>
                    <a:pt x="597" y="173"/>
                  </a:lnTo>
                  <a:lnTo>
                    <a:pt x="597" y="173"/>
                  </a:lnTo>
                  <a:lnTo>
                    <a:pt x="595" y="171"/>
                  </a:lnTo>
                  <a:lnTo>
                    <a:pt x="589" y="171"/>
                  </a:lnTo>
                  <a:lnTo>
                    <a:pt x="585" y="169"/>
                  </a:lnTo>
                  <a:lnTo>
                    <a:pt x="583" y="167"/>
                  </a:lnTo>
                  <a:lnTo>
                    <a:pt x="581" y="165"/>
                  </a:lnTo>
                  <a:lnTo>
                    <a:pt x="579" y="161"/>
                  </a:lnTo>
                  <a:lnTo>
                    <a:pt x="579" y="159"/>
                  </a:lnTo>
                  <a:lnTo>
                    <a:pt x="575" y="157"/>
                  </a:lnTo>
                  <a:lnTo>
                    <a:pt x="574" y="157"/>
                  </a:lnTo>
                  <a:lnTo>
                    <a:pt x="570" y="157"/>
                  </a:lnTo>
                  <a:lnTo>
                    <a:pt x="566" y="157"/>
                  </a:lnTo>
                  <a:lnTo>
                    <a:pt x="564" y="157"/>
                  </a:lnTo>
                  <a:lnTo>
                    <a:pt x="562" y="157"/>
                  </a:lnTo>
                  <a:lnTo>
                    <a:pt x="556" y="156"/>
                  </a:lnTo>
                  <a:lnTo>
                    <a:pt x="556" y="152"/>
                  </a:lnTo>
                  <a:lnTo>
                    <a:pt x="556" y="150"/>
                  </a:lnTo>
                  <a:lnTo>
                    <a:pt x="556" y="146"/>
                  </a:lnTo>
                  <a:lnTo>
                    <a:pt x="554" y="144"/>
                  </a:lnTo>
                  <a:lnTo>
                    <a:pt x="554" y="140"/>
                  </a:lnTo>
                  <a:lnTo>
                    <a:pt x="554" y="138"/>
                  </a:lnTo>
                  <a:lnTo>
                    <a:pt x="554" y="134"/>
                  </a:lnTo>
                  <a:lnTo>
                    <a:pt x="554" y="131"/>
                  </a:lnTo>
                  <a:lnTo>
                    <a:pt x="554" y="129"/>
                  </a:lnTo>
                  <a:lnTo>
                    <a:pt x="554" y="127"/>
                  </a:lnTo>
                  <a:lnTo>
                    <a:pt x="552" y="123"/>
                  </a:lnTo>
                  <a:lnTo>
                    <a:pt x="552" y="121"/>
                  </a:lnTo>
                  <a:lnTo>
                    <a:pt x="552" y="117"/>
                  </a:lnTo>
                  <a:lnTo>
                    <a:pt x="552" y="113"/>
                  </a:lnTo>
                  <a:lnTo>
                    <a:pt x="552" y="111"/>
                  </a:lnTo>
                  <a:lnTo>
                    <a:pt x="551" y="108"/>
                  </a:lnTo>
                  <a:lnTo>
                    <a:pt x="551" y="106"/>
                  </a:lnTo>
                  <a:lnTo>
                    <a:pt x="551" y="102"/>
                  </a:lnTo>
                  <a:lnTo>
                    <a:pt x="547" y="102"/>
                  </a:lnTo>
                  <a:lnTo>
                    <a:pt x="545" y="96"/>
                  </a:lnTo>
                  <a:lnTo>
                    <a:pt x="541" y="90"/>
                  </a:lnTo>
                  <a:lnTo>
                    <a:pt x="541" y="86"/>
                  </a:lnTo>
                  <a:lnTo>
                    <a:pt x="541" y="83"/>
                  </a:lnTo>
                  <a:lnTo>
                    <a:pt x="543" y="81"/>
                  </a:lnTo>
                  <a:lnTo>
                    <a:pt x="543" y="77"/>
                  </a:lnTo>
                  <a:lnTo>
                    <a:pt x="545" y="71"/>
                  </a:lnTo>
                  <a:lnTo>
                    <a:pt x="545" y="67"/>
                  </a:lnTo>
                  <a:lnTo>
                    <a:pt x="545" y="62"/>
                  </a:lnTo>
                  <a:lnTo>
                    <a:pt x="545" y="58"/>
                  </a:lnTo>
                  <a:lnTo>
                    <a:pt x="545" y="56"/>
                  </a:lnTo>
                  <a:lnTo>
                    <a:pt x="545" y="52"/>
                  </a:lnTo>
                  <a:lnTo>
                    <a:pt x="545" y="48"/>
                  </a:lnTo>
                  <a:lnTo>
                    <a:pt x="543" y="46"/>
                  </a:lnTo>
                  <a:lnTo>
                    <a:pt x="539" y="44"/>
                  </a:lnTo>
                  <a:lnTo>
                    <a:pt x="539" y="40"/>
                  </a:lnTo>
                  <a:lnTo>
                    <a:pt x="539" y="40"/>
                  </a:lnTo>
                  <a:lnTo>
                    <a:pt x="535" y="39"/>
                  </a:lnTo>
                  <a:lnTo>
                    <a:pt x="531" y="35"/>
                  </a:lnTo>
                  <a:lnTo>
                    <a:pt x="529" y="33"/>
                  </a:lnTo>
                  <a:lnTo>
                    <a:pt x="526" y="33"/>
                  </a:lnTo>
                  <a:lnTo>
                    <a:pt x="524" y="31"/>
                  </a:lnTo>
                  <a:lnTo>
                    <a:pt x="522" y="31"/>
                  </a:lnTo>
                  <a:lnTo>
                    <a:pt x="522" y="29"/>
                  </a:lnTo>
                  <a:lnTo>
                    <a:pt x="518" y="27"/>
                  </a:lnTo>
                  <a:lnTo>
                    <a:pt x="516" y="23"/>
                  </a:lnTo>
                  <a:lnTo>
                    <a:pt x="514" y="21"/>
                  </a:lnTo>
                  <a:lnTo>
                    <a:pt x="512" y="19"/>
                  </a:lnTo>
                  <a:lnTo>
                    <a:pt x="510" y="17"/>
                  </a:lnTo>
                  <a:lnTo>
                    <a:pt x="510" y="15"/>
                  </a:lnTo>
                  <a:lnTo>
                    <a:pt x="506" y="14"/>
                  </a:lnTo>
                  <a:lnTo>
                    <a:pt x="503" y="14"/>
                  </a:lnTo>
                  <a:lnTo>
                    <a:pt x="506" y="10"/>
                  </a:lnTo>
                  <a:lnTo>
                    <a:pt x="503" y="10"/>
                  </a:lnTo>
                  <a:lnTo>
                    <a:pt x="503" y="8"/>
                  </a:lnTo>
                  <a:lnTo>
                    <a:pt x="499" y="6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3" y="2"/>
                  </a:lnTo>
                  <a:lnTo>
                    <a:pt x="491" y="0"/>
                  </a:lnTo>
                  <a:lnTo>
                    <a:pt x="487" y="4"/>
                  </a:lnTo>
                  <a:lnTo>
                    <a:pt x="483" y="8"/>
                  </a:lnTo>
                  <a:lnTo>
                    <a:pt x="481" y="12"/>
                  </a:lnTo>
                  <a:lnTo>
                    <a:pt x="480" y="14"/>
                  </a:lnTo>
                  <a:lnTo>
                    <a:pt x="478" y="15"/>
                  </a:lnTo>
                  <a:lnTo>
                    <a:pt x="474" y="19"/>
                  </a:lnTo>
                  <a:lnTo>
                    <a:pt x="472" y="23"/>
                  </a:lnTo>
                  <a:lnTo>
                    <a:pt x="468" y="27"/>
                  </a:lnTo>
                  <a:lnTo>
                    <a:pt x="466" y="29"/>
                  </a:lnTo>
                  <a:lnTo>
                    <a:pt x="462" y="31"/>
                  </a:lnTo>
                  <a:lnTo>
                    <a:pt x="458" y="33"/>
                  </a:lnTo>
                  <a:lnTo>
                    <a:pt x="458" y="33"/>
                  </a:lnTo>
                  <a:lnTo>
                    <a:pt x="456" y="37"/>
                  </a:lnTo>
                  <a:lnTo>
                    <a:pt x="455" y="37"/>
                  </a:lnTo>
                  <a:lnTo>
                    <a:pt x="451" y="39"/>
                  </a:lnTo>
                  <a:lnTo>
                    <a:pt x="447" y="40"/>
                  </a:lnTo>
                  <a:lnTo>
                    <a:pt x="445" y="44"/>
                  </a:lnTo>
                  <a:lnTo>
                    <a:pt x="441" y="44"/>
                  </a:lnTo>
                  <a:lnTo>
                    <a:pt x="437" y="46"/>
                  </a:lnTo>
                  <a:lnTo>
                    <a:pt x="433" y="46"/>
                  </a:lnTo>
                  <a:lnTo>
                    <a:pt x="430" y="44"/>
                  </a:lnTo>
                  <a:lnTo>
                    <a:pt x="426" y="44"/>
                  </a:lnTo>
                  <a:lnTo>
                    <a:pt x="422" y="44"/>
                  </a:lnTo>
                  <a:lnTo>
                    <a:pt x="418" y="42"/>
                  </a:lnTo>
                  <a:lnTo>
                    <a:pt x="416" y="40"/>
                  </a:lnTo>
                  <a:lnTo>
                    <a:pt x="414" y="40"/>
                  </a:lnTo>
                  <a:lnTo>
                    <a:pt x="410" y="40"/>
                  </a:lnTo>
                  <a:lnTo>
                    <a:pt x="409" y="40"/>
                  </a:lnTo>
                  <a:lnTo>
                    <a:pt x="407" y="39"/>
                  </a:lnTo>
                  <a:lnTo>
                    <a:pt x="403" y="39"/>
                  </a:lnTo>
                  <a:lnTo>
                    <a:pt x="397" y="39"/>
                  </a:lnTo>
                  <a:lnTo>
                    <a:pt x="391" y="39"/>
                  </a:lnTo>
                  <a:lnTo>
                    <a:pt x="384" y="40"/>
                  </a:lnTo>
                  <a:lnTo>
                    <a:pt x="380" y="40"/>
                  </a:lnTo>
                  <a:lnTo>
                    <a:pt x="374" y="40"/>
                  </a:lnTo>
                  <a:lnTo>
                    <a:pt x="370" y="40"/>
                  </a:lnTo>
                  <a:lnTo>
                    <a:pt x="368" y="40"/>
                  </a:lnTo>
                  <a:lnTo>
                    <a:pt x="362" y="40"/>
                  </a:lnTo>
                  <a:lnTo>
                    <a:pt x="357" y="40"/>
                  </a:lnTo>
                  <a:lnTo>
                    <a:pt x="351" y="40"/>
                  </a:lnTo>
                  <a:lnTo>
                    <a:pt x="345" y="40"/>
                  </a:lnTo>
                  <a:lnTo>
                    <a:pt x="341" y="40"/>
                  </a:lnTo>
                  <a:lnTo>
                    <a:pt x="336" y="40"/>
                  </a:lnTo>
                  <a:lnTo>
                    <a:pt x="332" y="40"/>
                  </a:lnTo>
                  <a:lnTo>
                    <a:pt x="326" y="40"/>
                  </a:lnTo>
                  <a:lnTo>
                    <a:pt x="324" y="40"/>
                  </a:lnTo>
                  <a:lnTo>
                    <a:pt x="318" y="40"/>
                  </a:lnTo>
                  <a:lnTo>
                    <a:pt x="313" y="40"/>
                  </a:lnTo>
                  <a:lnTo>
                    <a:pt x="309" y="40"/>
                  </a:lnTo>
                  <a:lnTo>
                    <a:pt x="305" y="40"/>
                  </a:lnTo>
                  <a:lnTo>
                    <a:pt x="301" y="40"/>
                  </a:lnTo>
                  <a:lnTo>
                    <a:pt x="297" y="40"/>
                  </a:lnTo>
                  <a:lnTo>
                    <a:pt x="293" y="40"/>
                  </a:lnTo>
                  <a:lnTo>
                    <a:pt x="291" y="40"/>
                  </a:lnTo>
                  <a:lnTo>
                    <a:pt x="286" y="42"/>
                  </a:lnTo>
                  <a:lnTo>
                    <a:pt x="282" y="42"/>
                  </a:lnTo>
                  <a:lnTo>
                    <a:pt x="278" y="42"/>
                  </a:lnTo>
                  <a:lnTo>
                    <a:pt x="274" y="44"/>
                  </a:lnTo>
                  <a:lnTo>
                    <a:pt x="270" y="44"/>
                  </a:lnTo>
                  <a:lnTo>
                    <a:pt x="265" y="44"/>
                  </a:lnTo>
                  <a:lnTo>
                    <a:pt x="263" y="44"/>
                  </a:lnTo>
                  <a:lnTo>
                    <a:pt x="259" y="44"/>
                  </a:lnTo>
                  <a:lnTo>
                    <a:pt x="257" y="44"/>
                  </a:lnTo>
                  <a:lnTo>
                    <a:pt x="253" y="44"/>
                  </a:lnTo>
                  <a:lnTo>
                    <a:pt x="251" y="44"/>
                  </a:lnTo>
                  <a:lnTo>
                    <a:pt x="247" y="46"/>
                  </a:lnTo>
                  <a:lnTo>
                    <a:pt x="244" y="46"/>
                  </a:lnTo>
                  <a:lnTo>
                    <a:pt x="240" y="46"/>
                  </a:lnTo>
                  <a:lnTo>
                    <a:pt x="234" y="46"/>
                  </a:lnTo>
                  <a:lnTo>
                    <a:pt x="230" y="46"/>
                  </a:lnTo>
                  <a:lnTo>
                    <a:pt x="228" y="46"/>
                  </a:lnTo>
                  <a:lnTo>
                    <a:pt x="222" y="46"/>
                  </a:lnTo>
                  <a:lnTo>
                    <a:pt x="220" y="46"/>
                  </a:lnTo>
                  <a:lnTo>
                    <a:pt x="213" y="46"/>
                  </a:lnTo>
                  <a:lnTo>
                    <a:pt x="209" y="46"/>
                  </a:lnTo>
                  <a:lnTo>
                    <a:pt x="205" y="46"/>
                  </a:lnTo>
                  <a:lnTo>
                    <a:pt x="203" y="46"/>
                  </a:lnTo>
                  <a:lnTo>
                    <a:pt x="197" y="46"/>
                  </a:lnTo>
                  <a:lnTo>
                    <a:pt x="194" y="46"/>
                  </a:lnTo>
                  <a:lnTo>
                    <a:pt x="188" y="46"/>
                  </a:lnTo>
                  <a:lnTo>
                    <a:pt x="184" y="46"/>
                  </a:lnTo>
                  <a:lnTo>
                    <a:pt x="180" y="46"/>
                  </a:lnTo>
                  <a:lnTo>
                    <a:pt x="176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65" y="46"/>
                  </a:lnTo>
                  <a:lnTo>
                    <a:pt x="161" y="46"/>
                  </a:lnTo>
                  <a:lnTo>
                    <a:pt x="159" y="46"/>
                  </a:lnTo>
                  <a:lnTo>
                    <a:pt x="155" y="46"/>
                  </a:lnTo>
                  <a:lnTo>
                    <a:pt x="151" y="46"/>
                  </a:lnTo>
                  <a:lnTo>
                    <a:pt x="148" y="46"/>
                  </a:lnTo>
                  <a:lnTo>
                    <a:pt x="146" y="44"/>
                  </a:lnTo>
                  <a:lnTo>
                    <a:pt x="142" y="44"/>
                  </a:lnTo>
                  <a:lnTo>
                    <a:pt x="138" y="44"/>
                  </a:lnTo>
                  <a:lnTo>
                    <a:pt x="134" y="44"/>
                  </a:lnTo>
                  <a:lnTo>
                    <a:pt x="132" y="44"/>
                  </a:lnTo>
                  <a:lnTo>
                    <a:pt x="128" y="44"/>
                  </a:lnTo>
                  <a:lnTo>
                    <a:pt x="126" y="44"/>
                  </a:lnTo>
                  <a:lnTo>
                    <a:pt x="125" y="44"/>
                  </a:lnTo>
                  <a:lnTo>
                    <a:pt x="121" y="46"/>
                  </a:lnTo>
                  <a:lnTo>
                    <a:pt x="117" y="44"/>
                  </a:lnTo>
                  <a:lnTo>
                    <a:pt x="117" y="50"/>
                  </a:lnTo>
                  <a:lnTo>
                    <a:pt x="117" y="56"/>
                  </a:lnTo>
                  <a:lnTo>
                    <a:pt x="117" y="62"/>
                  </a:lnTo>
                  <a:lnTo>
                    <a:pt x="115" y="67"/>
                  </a:lnTo>
                  <a:lnTo>
                    <a:pt x="115" y="71"/>
                  </a:lnTo>
                  <a:lnTo>
                    <a:pt x="115" y="75"/>
                  </a:lnTo>
                  <a:lnTo>
                    <a:pt x="115" y="79"/>
                  </a:lnTo>
                  <a:lnTo>
                    <a:pt x="115" y="85"/>
                  </a:lnTo>
                  <a:lnTo>
                    <a:pt x="115" y="86"/>
                  </a:lnTo>
                  <a:lnTo>
                    <a:pt x="115" y="88"/>
                  </a:lnTo>
                  <a:lnTo>
                    <a:pt x="113" y="92"/>
                  </a:lnTo>
                  <a:lnTo>
                    <a:pt x="111" y="96"/>
                  </a:lnTo>
                  <a:lnTo>
                    <a:pt x="111" y="102"/>
                  </a:lnTo>
                  <a:lnTo>
                    <a:pt x="111" y="108"/>
                  </a:lnTo>
                  <a:lnTo>
                    <a:pt x="111" y="110"/>
                  </a:lnTo>
                  <a:lnTo>
                    <a:pt x="111" y="111"/>
                  </a:lnTo>
                  <a:lnTo>
                    <a:pt x="107" y="111"/>
                  </a:lnTo>
                  <a:lnTo>
                    <a:pt x="103" y="111"/>
                  </a:lnTo>
                  <a:lnTo>
                    <a:pt x="98" y="111"/>
                  </a:lnTo>
                  <a:lnTo>
                    <a:pt x="94" y="111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80" y="111"/>
                  </a:lnTo>
                  <a:lnTo>
                    <a:pt x="78" y="119"/>
                  </a:lnTo>
                  <a:lnTo>
                    <a:pt x="78" y="125"/>
                  </a:lnTo>
                  <a:lnTo>
                    <a:pt x="78" y="129"/>
                  </a:lnTo>
                  <a:lnTo>
                    <a:pt x="78" y="133"/>
                  </a:lnTo>
                  <a:lnTo>
                    <a:pt x="78" y="136"/>
                  </a:lnTo>
                  <a:lnTo>
                    <a:pt x="78" y="140"/>
                  </a:lnTo>
                  <a:lnTo>
                    <a:pt x="78" y="146"/>
                  </a:lnTo>
                  <a:lnTo>
                    <a:pt x="80" y="152"/>
                  </a:lnTo>
                  <a:lnTo>
                    <a:pt x="80" y="156"/>
                  </a:lnTo>
                  <a:lnTo>
                    <a:pt x="80" y="159"/>
                  </a:lnTo>
                  <a:lnTo>
                    <a:pt x="80" y="167"/>
                  </a:lnTo>
                  <a:lnTo>
                    <a:pt x="78" y="173"/>
                  </a:lnTo>
                  <a:lnTo>
                    <a:pt x="78" y="177"/>
                  </a:lnTo>
                  <a:lnTo>
                    <a:pt x="77" y="181"/>
                  </a:lnTo>
                  <a:lnTo>
                    <a:pt x="77" y="184"/>
                  </a:lnTo>
                  <a:lnTo>
                    <a:pt x="77" y="194"/>
                  </a:lnTo>
                  <a:lnTo>
                    <a:pt x="77" y="200"/>
                  </a:lnTo>
                  <a:lnTo>
                    <a:pt x="77" y="204"/>
                  </a:lnTo>
                  <a:lnTo>
                    <a:pt x="75" y="207"/>
                  </a:lnTo>
                  <a:lnTo>
                    <a:pt x="75" y="215"/>
                  </a:lnTo>
                  <a:lnTo>
                    <a:pt x="75" y="221"/>
                  </a:lnTo>
                  <a:lnTo>
                    <a:pt x="77" y="225"/>
                  </a:lnTo>
                  <a:lnTo>
                    <a:pt x="77" y="228"/>
                  </a:lnTo>
                  <a:lnTo>
                    <a:pt x="77" y="232"/>
                  </a:lnTo>
                  <a:lnTo>
                    <a:pt x="77" y="234"/>
                  </a:lnTo>
                  <a:lnTo>
                    <a:pt x="77" y="240"/>
                  </a:lnTo>
                  <a:lnTo>
                    <a:pt x="77" y="244"/>
                  </a:lnTo>
                  <a:lnTo>
                    <a:pt x="77" y="246"/>
                  </a:lnTo>
                  <a:lnTo>
                    <a:pt x="77" y="252"/>
                  </a:lnTo>
                  <a:lnTo>
                    <a:pt x="77" y="257"/>
                  </a:lnTo>
                  <a:lnTo>
                    <a:pt x="75" y="261"/>
                  </a:lnTo>
                  <a:lnTo>
                    <a:pt x="75" y="263"/>
                  </a:lnTo>
                  <a:lnTo>
                    <a:pt x="75" y="269"/>
                  </a:lnTo>
                  <a:lnTo>
                    <a:pt x="75" y="273"/>
                  </a:lnTo>
                  <a:lnTo>
                    <a:pt x="73" y="271"/>
                  </a:lnTo>
                  <a:lnTo>
                    <a:pt x="71" y="271"/>
                  </a:lnTo>
                  <a:lnTo>
                    <a:pt x="67" y="271"/>
                  </a:lnTo>
                  <a:lnTo>
                    <a:pt x="63" y="271"/>
                  </a:lnTo>
                  <a:lnTo>
                    <a:pt x="61" y="271"/>
                  </a:lnTo>
                  <a:lnTo>
                    <a:pt x="57" y="271"/>
                  </a:lnTo>
                  <a:lnTo>
                    <a:pt x="55" y="271"/>
                  </a:lnTo>
                  <a:lnTo>
                    <a:pt x="50" y="273"/>
                  </a:lnTo>
                  <a:lnTo>
                    <a:pt x="46" y="276"/>
                  </a:lnTo>
                  <a:lnTo>
                    <a:pt x="44" y="276"/>
                  </a:lnTo>
                  <a:lnTo>
                    <a:pt x="42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36" y="290"/>
                  </a:lnTo>
                  <a:lnTo>
                    <a:pt x="34" y="294"/>
                  </a:lnTo>
                  <a:lnTo>
                    <a:pt x="31" y="296"/>
                  </a:lnTo>
                  <a:lnTo>
                    <a:pt x="29" y="296"/>
                  </a:lnTo>
                  <a:lnTo>
                    <a:pt x="27" y="301"/>
                  </a:lnTo>
                  <a:lnTo>
                    <a:pt x="21" y="305"/>
                  </a:lnTo>
                  <a:lnTo>
                    <a:pt x="23" y="309"/>
                  </a:lnTo>
                  <a:lnTo>
                    <a:pt x="23" y="313"/>
                  </a:lnTo>
                  <a:lnTo>
                    <a:pt x="23" y="317"/>
                  </a:lnTo>
                  <a:lnTo>
                    <a:pt x="23" y="323"/>
                  </a:lnTo>
                  <a:lnTo>
                    <a:pt x="23" y="326"/>
                  </a:lnTo>
                  <a:lnTo>
                    <a:pt x="23" y="332"/>
                  </a:lnTo>
                  <a:lnTo>
                    <a:pt x="21" y="334"/>
                  </a:lnTo>
                  <a:lnTo>
                    <a:pt x="17" y="340"/>
                  </a:lnTo>
                  <a:lnTo>
                    <a:pt x="15" y="342"/>
                  </a:lnTo>
                  <a:lnTo>
                    <a:pt x="15" y="346"/>
                  </a:lnTo>
                  <a:lnTo>
                    <a:pt x="11" y="349"/>
                  </a:lnTo>
                  <a:lnTo>
                    <a:pt x="11" y="351"/>
                  </a:lnTo>
                  <a:lnTo>
                    <a:pt x="9" y="353"/>
                  </a:lnTo>
                  <a:lnTo>
                    <a:pt x="9" y="359"/>
                  </a:lnTo>
                  <a:lnTo>
                    <a:pt x="9" y="365"/>
                  </a:lnTo>
                  <a:lnTo>
                    <a:pt x="9" y="367"/>
                  </a:lnTo>
                  <a:lnTo>
                    <a:pt x="9" y="370"/>
                  </a:lnTo>
                  <a:lnTo>
                    <a:pt x="6" y="374"/>
                  </a:lnTo>
                  <a:lnTo>
                    <a:pt x="2" y="380"/>
                  </a:lnTo>
                  <a:lnTo>
                    <a:pt x="0" y="384"/>
                  </a:lnTo>
                  <a:lnTo>
                    <a:pt x="0" y="386"/>
                  </a:lnTo>
                  <a:lnTo>
                    <a:pt x="0" y="388"/>
                  </a:lnTo>
                  <a:lnTo>
                    <a:pt x="0" y="392"/>
                  </a:lnTo>
                  <a:lnTo>
                    <a:pt x="2" y="394"/>
                  </a:lnTo>
                  <a:lnTo>
                    <a:pt x="6" y="397"/>
                  </a:lnTo>
                  <a:lnTo>
                    <a:pt x="9" y="403"/>
                  </a:lnTo>
                  <a:lnTo>
                    <a:pt x="13" y="405"/>
                  </a:lnTo>
                  <a:lnTo>
                    <a:pt x="15" y="409"/>
                  </a:lnTo>
                  <a:lnTo>
                    <a:pt x="17" y="411"/>
                  </a:lnTo>
                  <a:lnTo>
                    <a:pt x="25" y="411"/>
                  </a:lnTo>
                  <a:lnTo>
                    <a:pt x="27" y="415"/>
                  </a:lnTo>
                  <a:lnTo>
                    <a:pt x="29" y="418"/>
                  </a:lnTo>
                  <a:lnTo>
                    <a:pt x="29" y="420"/>
                  </a:lnTo>
                  <a:lnTo>
                    <a:pt x="31" y="422"/>
                  </a:lnTo>
                  <a:lnTo>
                    <a:pt x="32" y="426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36" y="438"/>
                  </a:lnTo>
                  <a:lnTo>
                    <a:pt x="36" y="441"/>
                  </a:lnTo>
                  <a:lnTo>
                    <a:pt x="36" y="443"/>
                  </a:lnTo>
                  <a:lnTo>
                    <a:pt x="36" y="445"/>
                  </a:lnTo>
                  <a:lnTo>
                    <a:pt x="36" y="449"/>
                  </a:lnTo>
                  <a:lnTo>
                    <a:pt x="36" y="453"/>
                  </a:lnTo>
                  <a:lnTo>
                    <a:pt x="38" y="455"/>
                  </a:lnTo>
                  <a:lnTo>
                    <a:pt x="40" y="459"/>
                  </a:lnTo>
                  <a:lnTo>
                    <a:pt x="44" y="463"/>
                  </a:lnTo>
                  <a:lnTo>
                    <a:pt x="48" y="465"/>
                  </a:lnTo>
                  <a:lnTo>
                    <a:pt x="48" y="465"/>
                  </a:lnTo>
                  <a:lnTo>
                    <a:pt x="50" y="466"/>
                  </a:lnTo>
                  <a:lnTo>
                    <a:pt x="54" y="468"/>
                  </a:lnTo>
                  <a:lnTo>
                    <a:pt x="54" y="472"/>
                  </a:lnTo>
                  <a:lnTo>
                    <a:pt x="57" y="472"/>
                  </a:lnTo>
                  <a:lnTo>
                    <a:pt x="61" y="478"/>
                  </a:lnTo>
                  <a:lnTo>
                    <a:pt x="65" y="482"/>
                  </a:lnTo>
                  <a:lnTo>
                    <a:pt x="67" y="488"/>
                  </a:lnTo>
                  <a:lnTo>
                    <a:pt x="67" y="489"/>
                  </a:lnTo>
                  <a:lnTo>
                    <a:pt x="67" y="493"/>
                  </a:lnTo>
                  <a:lnTo>
                    <a:pt x="67" y="499"/>
                  </a:lnTo>
                  <a:lnTo>
                    <a:pt x="67" y="501"/>
                  </a:lnTo>
                  <a:lnTo>
                    <a:pt x="67" y="505"/>
                  </a:lnTo>
                  <a:lnTo>
                    <a:pt x="67" y="509"/>
                  </a:lnTo>
                  <a:lnTo>
                    <a:pt x="67" y="511"/>
                  </a:lnTo>
                  <a:lnTo>
                    <a:pt x="65" y="512"/>
                  </a:lnTo>
                  <a:lnTo>
                    <a:pt x="65" y="516"/>
                  </a:lnTo>
                  <a:lnTo>
                    <a:pt x="65" y="522"/>
                  </a:lnTo>
                  <a:lnTo>
                    <a:pt x="65" y="526"/>
                  </a:lnTo>
                  <a:lnTo>
                    <a:pt x="63" y="530"/>
                  </a:lnTo>
                  <a:lnTo>
                    <a:pt x="78" y="537"/>
                  </a:lnTo>
                  <a:lnTo>
                    <a:pt x="80" y="537"/>
                  </a:lnTo>
                  <a:lnTo>
                    <a:pt x="84" y="537"/>
                  </a:lnTo>
                  <a:lnTo>
                    <a:pt x="92" y="541"/>
                  </a:lnTo>
                  <a:lnTo>
                    <a:pt x="96" y="541"/>
                  </a:lnTo>
                  <a:lnTo>
                    <a:pt x="98" y="541"/>
                  </a:lnTo>
                  <a:lnTo>
                    <a:pt x="102" y="543"/>
                  </a:lnTo>
                  <a:lnTo>
                    <a:pt x="105" y="543"/>
                  </a:lnTo>
                  <a:lnTo>
                    <a:pt x="111" y="543"/>
                  </a:lnTo>
                  <a:lnTo>
                    <a:pt x="115" y="549"/>
                  </a:lnTo>
                  <a:lnTo>
                    <a:pt x="119" y="553"/>
                  </a:lnTo>
                  <a:lnTo>
                    <a:pt x="123" y="555"/>
                  </a:lnTo>
                  <a:lnTo>
                    <a:pt x="125" y="557"/>
                  </a:lnTo>
                  <a:lnTo>
                    <a:pt x="128" y="560"/>
                  </a:lnTo>
                  <a:lnTo>
                    <a:pt x="134" y="566"/>
                  </a:lnTo>
                  <a:lnTo>
                    <a:pt x="138" y="572"/>
                  </a:lnTo>
                  <a:lnTo>
                    <a:pt x="142" y="576"/>
                  </a:lnTo>
                  <a:lnTo>
                    <a:pt x="142" y="580"/>
                  </a:lnTo>
                  <a:lnTo>
                    <a:pt x="146" y="582"/>
                  </a:lnTo>
                  <a:lnTo>
                    <a:pt x="148" y="585"/>
                  </a:lnTo>
                  <a:lnTo>
                    <a:pt x="149" y="587"/>
                  </a:lnTo>
                  <a:lnTo>
                    <a:pt x="151" y="591"/>
                  </a:lnTo>
                  <a:lnTo>
                    <a:pt x="151" y="595"/>
                  </a:lnTo>
                  <a:lnTo>
                    <a:pt x="153" y="597"/>
                  </a:lnTo>
                  <a:lnTo>
                    <a:pt x="159" y="601"/>
                  </a:lnTo>
                  <a:lnTo>
                    <a:pt x="165" y="605"/>
                  </a:lnTo>
                  <a:lnTo>
                    <a:pt x="173" y="605"/>
                  </a:lnTo>
                  <a:lnTo>
                    <a:pt x="176" y="605"/>
                  </a:lnTo>
                  <a:lnTo>
                    <a:pt x="180" y="608"/>
                  </a:lnTo>
                  <a:lnTo>
                    <a:pt x="184" y="612"/>
                  </a:lnTo>
                  <a:lnTo>
                    <a:pt x="184" y="614"/>
                  </a:lnTo>
                  <a:lnTo>
                    <a:pt x="186" y="620"/>
                  </a:lnTo>
                  <a:lnTo>
                    <a:pt x="186" y="622"/>
                  </a:lnTo>
                  <a:lnTo>
                    <a:pt x="186" y="624"/>
                  </a:lnTo>
                  <a:lnTo>
                    <a:pt x="186" y="628"/>
                  </a:lnTo>
                  <a:lnTo>
                    <a:pt x="188" y="630"/>
                  </a:lnTo>
                  <a:lnTo>
                    <a:pt x="188" y="633"/>
                  </a:lnTo>
                  <a:lnTo>
                    <a:pt x="190" y="637"/>
                  </a:lnTo>
                  <a:lnTo>
                    <a:pt x="192" y="637"/>
                  </a:lnTo>
                  <a:lnTo>
                    <a:pt x="194" y="639"/>
                  </a:lnTo>
                  <a:lnTo>
                    <a:pt x="197" y="641"/>
                  </a:lnTo>
                  <a:lnTo>
                    <a:pt x="201" y="641"/>
                  </a:lnTo>
                  <a:lnTo>
                    <a:pt x="201" y="647"/>
                  </a:lnTo>
                  <a:lnTo>
                    <a:pt x="203" y="649"/>
                  </a:lnTo>
                  <a:lnTo>
                    <a:pt x="203" y="653"/>
                  </a:lnTo>
                  <a:lnTo>
                    <a:pt x="203" y="656"/>
                  </a:lnTo>
                  <a:lnTo>
                    <a:pt x="203" y="658"/>
                  </a:lnTo>
                  <a:lnTo>
                    <a:pt x="205" y="662"/>
                  </a:lnTo>
                  <a:lnTo>
                    <a:pt x="207" y="664"/>
                  </a:lnTo>
                  <a:lnTo>
                    <a:pt x="211" y="666"/>
                  </a:lnTo>
                  <a:lnTo>
                    <a:pt x="213" y="668"/>
                  </a:lnTo>
                  <a:lnTo>
                    <a:pt x="215" y="668"/>
                  </a:lnTo>
                  <a:lnTo>
                    <a:pt x="219" y="674"/>
                  </a:lnTo>
                  <a:lnTo>
                    <a:pt x="220" y="674"/>
                  </a:lnTo>
                  <a:lnTo>
                    <a:pt x="226" y="678"/>
                  </a:lnTo>
                  <a:lnTo>
                    <a:pt x="230" y="681"/>
                  </a:lnTo>
                  <a:lnTo>
                    <a:pt x="232" y="687"/>
                  </a:lnTo>
                  <a:lnTo>
                    <a:pt x="232" y="689"/>
                  </a:lnTo>
                  <a:lnTo>
                    <a:pt x="232" y="693"/>
                  </a:lnTo>
                  <a:lnTo>
                    <a:pt x="238" y="693"/>
                  </a:lnTo>
                  <a:lnTo>
                    <a:pt x="242" y="693"/>
                  </a:lnTo>
                  <a:lnTo>
                    <a:pt x="245" y="693"/>
                  </a:lnTo>
                  <a:lnTo>
                    <a:pt x="247" y="693"/>
                  </a:lnTo>
                  <a:lnTo>
                    <a:pt x="249" y="693"/>
                  </a:lnTo>
                  <a:lnTo>
                    <a:pt x="251" y="693"/>
                  </a:lnTo>
                  <a:lnTo>
                    <a:pt x="257" y="687"/>
                  </a:lnTo>
                  <a:lnTo>
                    <a:pt x="261" y="683"/>
                  </a:lnTo>
                  <a:lnTo>
                    <a:pt x="265" y="683"/>
                  </a:lnTo>
                  <a:lnTo>
                    <a:pt x="267" y="681"/>
                  </a:lnTo>
                  <a:lnTo>
                    <a:pt x="270" y="681"/>
                  </a:lnTo>
                  <a:lnTo>
                    <a:pt x="274" y="679"/>
                  </a:lnTo>
                  <a:lnTo>
                    <a:pt x="274" y="676"/>
                  </a:lnTo>
                  <a:lnTo>
                    <a:pt x="278" y="676"/>
                  </a:lnTo>
                  <a:lnTo>
                    <a:pt x="282" y="676"/>
                  </a:lnTo>
                  <a:lnTo>
                    <a:pt x="288" y="674"/>
                  </a:lnTo>
                  <a:lnTo>
                    <a:pt x="293" y="672"/>
                  </a:lnTo>
                  <a:lnTo>
                    <a:pt x="299" y="672"/>
                  </a:lnTo>
                  <a:lnTo>
                    <a:pt x="301" y="676"/>
                  </a:lnTo>
                  <a:lnTo>
                    <a:pt x="301" y="679"/>
                  </a:lnTo>
                  <a:lnTo>
                    <a:pt x="301" y="683"/>
                  </a:lnTo>
                  <a:lnTo>
                    <a:pt x="303" y="685"/>
                  </a:lnTo>
                  <a:lnTo>
                    <a:pt x="305" y="689"/>
                  </a:lnTo>
                  <a:lnTo>
                    <a:pt x="307" y="693"/>
                  </a:lnTo>
                  <a:lnTo>
                    <a:pt x="309" y="695"/>
                  </a:lnTo>
                  <a:lnTo>
                    <a:pt x="309" y="699"/>
                  </a:lnTo>
                  <a:lnTo>
                    <a:pt x="311" y="701"/>
                  </a:lnTo>
                  <a:lnTo>
                    <a:pt x="314" y="702"/>
                  </a:lnTo>
                  <a:lnTo>
                    <a:pt x="316" y="704"/>
                  </a:lnTo>
                  <a:lnTo>
                    <a:pt x="322" y="708"/>
                  </a:lnTo>
                  <a:lnTo>
                    <a:pt x="326" y="710"/>
                  </a:lnTo>
                  <a:lnTo>
                    <a:pt x="330" y="716"/>
                  </a:lnTo>
                  <a:lnTo>
                    <a:pt x="330" y="720"/>
                  </a:lnTo>
                  <a:lnTo>
                    <a:pt x="334" y="720"/>
                  </a:lnTo>
                  <a:lnTo>
                    <a:pt x="336" y="720"/>
                  </a:lnTo>
                  <a:lnTo>
                    <a:pt x="338" y="718"/>
                  </a:lnTo>
                  <a:lnTo>
                    <a:pt x="339" y="714"/>
                  </a:lnTo>
                  <a:lnTo>
                    <a:pt x="345" y="714"/>
                  </a:lnTo>
                  <a:lnTo>
                    <a:pt x="347" y="712"/>
                  </a:lnTo>
                  <a:lnTo>
                    <a:pt x="351" y="712"/>
                  </a:lnTo>
                  <a:lnTo>
                    <a:pt x="353" y="712"/>
                  </a:lnTo>
                  <a:lnTo>
                    <a:pt x="357" y="712"/>
                  </a:lnTo>
                  <a:lnTo>
                    <a:pt x="359" y="712"/>
                  </a:lnTo>
                  <a:lnTo>
                    <a:pt x="361" y="710"/>
                  </a:lnTo>
                  <a:lnTo>
                    <a:pt x="362" y="710"/>
                  </a:lnTo>
                  <a:lnTo>
                    <a:pt x="364" y="710"/>
                  </a:lnTo>
                  <a:lnTo>
                    <a:pt x="366" y="714"/>
                  </a:lnTo>
                  <a:lnTo>
                    <a:pt x="370" y="718"/>
                  </a:lnTo>
                  <a:lnTo>
                    <a:pt x="372" y="720"/>
                  </a:lnTo>
                  <a:lnTo>
                    <a:pt x="374" y="722"/>
                  </a:lnTo>
                  <a:lnTo>
                    <a:pt x="378" y="722"/>
                  </a:lnTo>
                  <a:lnTo>
                    <a:pt x="380" y="722"/>
                  </a:lnTo>
                  <a:lnTo>
                    <a:pt x="382" y="722"/>
                  </a:lnTo>
                  <a:lnTo>
                    <a:pt x="385" y="720"/>
                  </a:lnTo>
                  <a:lnTo>
                    <a:pt x="385" y="716"/>
                  </a:lnTo>
                  <a:lnTo>
                    <a:pt x="389" y="714"/>
                  </a:lnTo>
                  <a:lnTo>
                    <a:pt x="391" y="714"/>
                  </a:lnTo>
                  <a:lnTo>
                    <a:pt x="395" y="712"/>
                  </a:lnTo>
                  <a:lnTo>
                    <a:pt x="397" y="712"/>
                  </a:lnTo>
                  <a:lnTo>
                    <a:pt x="403" y="712"/>
                  </a:lnTo>
                  <a:lnTo>
                    <a:pt x="407" y="712"/>
                  </a:lnTo>
                  <a:lnTo>
                    <a:pt x="412" y="712"/>
                  </a:lnTo>
                  <a:lnTo>
                    <a:pt x="414" y="712"/>
                  </a:lnTo>
                  <a:lnTo>
                    <a:pt x="418" y="712"/>
                  </a:lnTo>
                  <a:lnTo>
                    <a:pt x="422" y="712"/>
                  </a:lnTo>
                  <a:lnTo>
                    <a:pt x="424" y="712"/>
                  </a:lnTo>
                  <a:lnTo>
                    <a:pt x="428" y="712"/>
                  </a:lnTo>
                  <a:lnTo>
                    <a:pt x="432" y="712"/>
                  </a:lnTo>
                  <a:lnTo>
                    <a:pt x="433" y="712"/>
                  </a:lnTo>
                  <a:lnTo>
                    <a:pt x="435" y="712"/>
                  </a:lnTo>
                  <a:lnTo>
                    <a:pt x="439" y="710"/>
                  </a:lnTo>
                  <a:lnTo>
                    <a:pt x="441" y="710"/>
                  </a:lnTo>
                  <a:lnTo>
                    <a:pt x="443" y="708"/>
                  </a:lnTo>
                  <a:lnTo>
                    <a:pt x="445" y="708"/>
                  </a:lnTo>
                  <a:lnTo>
                    <a:pt x="445" y="702"/>
                  </a:lnTo>
                  <a:lnTo>
                    <a:pt x="447" y="702"/>
                  </a:lnTo>
                  <a:lnTo>
                    <a:pt x="447" y="701"/>
                  </a:lnTo>
                  <a:lnTo>
                    <a:pt x="451" y="695"/>
                  </a:lnTo>
                  <a:lnTo>
                    <a:pt x="455" y="693"/>
                  </a:lnTo>
                  <a:lnTo>
                    <a:pt x="458" y="689"/>
                  </a:lnTo>
                  <a:lnTo>
                    <a:pt x="462" y="687"/>
                  </a:lnTo>
                  <a:lnTo>
                    <a:pt x="464" y="683"/>
                  </a:lnTo>
                  <a:lnTo>
                    <a:pt x="464" y="681"/>
                  </a:lnTo>
                  <a:lnTo>
                    <a:pt x="466" y="679"/>
                  </a:lnTo>
                  <a:lnTo>
                    <a:pt x="468" y="678"/>
                  </a:lnTo>
                  <a:lnTo>
                    <a:pt x="472" y="676"/>
                  </a:lnTo>
                  <a:lnTo>
                    <a:pt x="476" y="676"/>
                  </a:lnTo>
                  <a:lnTo>
                    <a:pt x="480" y="676"/>
                  </a:lnTo>
                  <a:lnTo>
                    <a:pt x="485" y="676"/>
                  </a:lnTo>
                  <a:lnTo>
                    <a:pt x="487" y="676"/>
                  </a:lnTo>
                  <a:lnTo>
                    <a:pt x="491" y="676"/>
                  </a:lnTo>
                  <a:lnTo>
                    <a:pt x="495" y="676"/>
                  </a:lnTo>
                  <a:lnTo>
                    <a:pt x="497" y="674"/>
                  </a:lnTo>
                  <a:lnTo>
                    <a:pt x="499" y="670"/>
                  </a:lnTo>
                  <a:lnTo>
                    <a:pt x="503" y="666"/>
                  </a:lnTo>
                  <a:lnTo>
                    <a:pt x="501" y="666"/>
                  </a:lnTo>
                  <a:lnTo>
                    <a:pt x="501" y="664"/>
                  </a:lnTo>
                  <a:lnTo>
                    <a:pt x="499" y="662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4"/>
                  </a:lnTo>
                  <a:lnTo>
                    <a:pt x="491" y="654"/>
                  </a:lnTo>
                  <a:lnTo>
                    <a:pt x="491" y="651"/>
                  </a:lnTo>
                  <a:lnTo>
                    <a:pt x="489" y="649"/>
                  </a:lnTo>
                  <a:lnTo>
                    <a:pt x="487" y="647"/>
                  </a:lnTo>
                  <a:lnTo>
                    <a:pt x="485" y="645"/>
                  </a:lnTo>
                  <a:lnTo>
                    <a:pt x="483" y="641"/>
                  </a:lnTo>
                  <a:lnTo>
                    <a:pt x="483" y="637"/>
                  </a:lnTo>
                  <a:lnTo>
                    <a:pt x="481" y="635"/>
                  </a:lnTo>
                  <a:lnTo>
                    <a:pt x="481" y="633"/>
                  </a:lnTo>
                  <a:lnTo>
                    <a:pt x="481" y="631"/>
                  </a:lnTo>
                  <a:lnTo>
                    <a:pt x="480" y="628"/>
                  </a:lnTo>
                  <a:lnTo>
                    <a:pt x="480" y="624"/>
                  </a:lnTo>
                  <a:lnTo>
                    <a:pt x="480" y="622"/>
                  </a:lnTo>
                  <a:lnTo>
                    <a:pt x="480" y="618"/>
                  </a:lnTo>
                  <a:lnTo>
                    <a:pt x="478" y="616"/>
                  </a:lnTo>
                  <a:lnTo>
                    <a:pt x="476" y="614"/>
                  </a:lnTo>
                  <a:lnTo>
                    <a:pt x="474" y="612"/>
                  </a:lnTo>
                  <a:lnTo>
                    <a:pt x="470" y="610"/>
                  </a:lnTo>
                  <a:lnTo>
                    <a:pt x="468" y="608"/>
                  </a:lnTo>
                  <a:lnTo>
                    <a:pt x="464" y="607"/>
                  </a:lnTo>
                  <a:lnTo>
                    <a:pt x="462" y="605"/>
                  </a:lnTo>
                  <a:lnTo>
                    <a:pt x="460" y="601"/>
                  </a:lnTo>
                  <a:lnTo>
                    <a:pt x="458" y="599"/>
                  </a:lnTo>
                  <a:lnTo>
                    <a:pt x="458" y="597"/>
                  </a:lnTo>
                  <a:lnTo>
                    <a:pt x="458" y="595"/>
                  </a:lnTo>
                  <a:lnTo>
                    <a:pt x="456" y="593"/>
                  </a:lnTo>
                  <a:lnTo>
                    <a:pt x="453" y="589"/>
                  </a:lnTo>
                  <a:lnTo>
                    <a:pt x="449" y="585"/>
                  </a:lnTo>
                  <a:lnTo>
                    <a:pt x="447" y="582"/>
                  </a:lnTo>
                  <a:lnTo>
                    <a:pt x="443" y="580"/>
                  </a:lnTo>
                  <a:lnTo>
                    <a:pt x="441" y="578"/>
                  </a:lnTo>
                  <a:lnTo>
                    <a:pt x="441" y="578"/>
                  </a:lnTo>
                  <a:lnTo>
                    <a:pt x="439" y="574"/>
                  </a:lnTo>
                  <a:lnTo>
                    <a:pt x="439" y="572"/>
                  </a:lnTo>
                  <a:lnTo>
                    <a:pt x="435" y="570"/>
                  </a:lnTo>
                  <a:lnTo>
                    <a:pt x="433" y="568"/>
                  </a:lnTo>
                  <a:lnTo>
                    <a:pt x="432" y="566"/>
                  </a:lnTo>
                  <a:lnTo>
                    <a:pt x="432" y="562"/>
                  </a:lnTo>
                  <a:lnTo>
                    <a:pt x="428" y="560"/>
                  </a:lnTo>
                  <a:lnTo>
                    <a:pt x="424" y="560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6" y="560"/>
                  </a:lnTo>
                  <a:lnTo>
                    <a:pt x="414" y="560"/>
                  </a:lnTo>
                  <a:lnTo>
                    <a:pt x="414" y="557"/>
                  </a:lnTo>
                  <a:lnTo>
                    <a:pt x="414" y="553"/>
                  </a:lnTo>
                  <a:lnTo>
                    <a:pt x="414" y="551"/>
                  </a:lnTo>
                  <a:lnTo>
                    <a:pt x="414" y="547"/>
                  </a:lnTo>
                  <a:lnTo>
                    <a:pt x="414" y="543"/>
                  </a:lnTo>
                  <a:lnTo>
                    <a:pt x="416" y="541"/>
                  </a:lnTo>
                  <a:lnTo>
                    <a:pt x="418" y="537"/>
                  </a:lnTo>
                  <a:lnTo>
                    <a:pt x="422" y="537"/>
                  </a:lnTo>
                  <a:lnTo>
                    <a:pt x="424" y="537"/>
                  </a:lnTo>
                  <a:lnTo>
                    <a:pt x="426" y="536"/>
                  </a:lnTo>
                  <a:lnTo>
                    <a:pt x="430" y="534"/>
                  </a:lnTo>
                  <a:lnTo>
                    <a:pt x="433" y="532"/>
                  </a:lnTo>
                  <a:lnTo>
                    <a:pt x="435" y="526"/>
                  </a:lnTo>
                  <a:lnTo>
                    <a:pt x="439" y="524"/>
                  </a:lnTo>
                  <a:lnTo>
                    <a:pt x="441" y="524"/>
                  </a:lnTo>
                  <a:lnTo>
                    <a:pt x="445" y="522"/>
                  </a:lnTo>
                  <a:lnTo>
                    <a:pt x="449" y="522"/>
                  </a:lnTo>
                  <a:lnTo>
                    <a:pt x="451" y="522"/>
                  </a:lnTo>
                  <a:lnTo>
                    <a:pt x="453" y="524"/>
                  </a:lnTo>
                  <a:lnTo>
                    <a:pt x="456" y="526"/>
                  </a:lnTo>
                  <a:lnTo>
                    <a:pt x="460" y="526"/>
                  </a:lnTo>
                  <a:lnTo>
                    <a:pt x="464" y="528"/>
                  </a:lnTo>
                  <a:lnTo>
                    <a:pt x="468" y="528"/>
                  </a:lnTo>
                  <a:lnTo>
                    <a:pt x="470" y="526"/>
                  </a:lnTo>
                  <a:lnTo>
                    <a:pt x="472" y="526"/>
                  </a:lnTo>
                  <a:lnTo>
                    <a:pt x="476" y="526"/>
                  </a:lnTo>
                  <a:lnTo>
                    <a:pt x="478" y="524"/>
                  </a:lnTo>
                  <a:lnTo>
                    <a:pt x="478" y="520"/>
                  </a:lnTo>
                  <a:lnTo>
                    <a:pt x="478" y="516"/>
                  </a:lnTo>
                  <a:lnTo>
                    <a:pt x="478" y="512"/>
                  </a:lnTo>
                  <a:lnTo>
                    <a:pt x="478" y="509"/>
                  </a:lnTo>
                  <a:lnTo>
                    <a:pt x="478" y="507"/>
                  </a:lnTo>
                  <a:lnTo>
                    <a:pt x="478" y="505"/>
                  </a:lnTo>
                  <a:lnTo>
                    <a:pt x="476" y="503"/>
                  </a:lnTo>
                  <a:lnTo>
                    <a:pt x="474" y="503"/>
                  </a:lnTo>
                  <a:lnTo>
                    <a:pt x="474" y="499"/>
                  </a:lnTo>
                  <a:lnTo>
                    <a:pt x="470" y="499"/>
                  </a:lnTo>
                  <a:lnTo>
                    <a:pt x="468" y="497"/>
                  </a:lnTo>
                  <a:lnTo>
                    <a:pt x="468" y="493"/>
                  </a:lnTo>
                  <a:lnTo>
                    <a:pt x="468" y="489"/>
                  </a:lnTo>
                  <a:lnTo>
                    <a:pt x="468" y="486"/>
                  </a:lnTo>
                  <a:lnTo>
                    <a:pt x="468" y="482"/>
                  </a:lnTo>
                  <a:lnTo>
                    <a:pt x="468" y="478"/>
                  </a:lnTo>
                  <a:lnTo>
                    <a:pt x="468" y="476"/>
                  </a:lnTo>
                  <a:lnTo>
                    <a:pt x="468" y="474"/>
                  </a:lnTo>
                  <a:lnTo>
                    <a:pt x="466" y="472"/>
                  </a:lnTo>
                  <a:lnTo>
                    <a:pt x="462" y="472"/>
                  </a:lnTo>
                  <a:lnTo>
                    <a:pt x="462" y="468"/>
                  </a:lnTo>
                  <a:lnTo>
                    <a:pt x="462" y="465"/>
                  </a:lnTo>
                  <a:lnTo>
                    <a:pt x="462" y="463"/>
                  </a:lnTo>
                  <a:lnTo>
                    <a:pt x="464" y="459"/>
                  </a:lnTo>
                  <a:lnTo>
                    <a:pt x="464" y="457"/>
                  </a:lnTo>
                  <a:lnTo>
                    <a:pt x="466" y="455"/>
                  </a:lnTo>
                  <a:lnTo>
                    <a:pt x="468" y="451"/>
                  </a:lnTo>
                  <a:lnTo>
                    <a:pt x="472" y="447"/>
                  </a:lnTo>
                  <a:lnTo>
                    <a:pt x="476" y="447"/>
                  </a:lnTo>
                  <a:lnTo>
                    <a:pt x="476" y="445"/>
                  </a:lnTo>
                  <a:lnTo>
                    <a:pt x="478" y="445"/>
                  </a:lnTo>
                  <a:lnTo>
                    <a:pt x="480" y="443"/>
                  </a:lnTo>
                  <a:lnTo>
                    <a:pt x="481" y="443"/>
                  </a:lnTo>
                  <a:lnTo>
                    <a:pt x="483" y="441"/>
                  </a:lnTo>
                  <a:lnTo>
                    <a:pt x="485" y="443"/>
                  </a:lnTo>
                  <a:lnTo>
                    <a:pt x="485" y="441"/>
                  </a:lnTo>
                  <a:lnTo>
                    <a:pt x="487" y="440"/>
                  </a:lnTo>
                  <a:lnTo>
                    <a:pt x="489" y="438"/>
                  </a:lnTo>
                  <a:lnTo>
                    <a:pt x="491" y="436"/>
                  </a:lnTo>
                  <a:lnTo>
                    <a:pt x="493" y="432"/>
                  </a:lnTo>
                  <a:lnTo>
                    <a:pt x="495" y="430"/>
                  </a:lnTo>
                  <a:lnTo>
                    <a:pt x="495" y="428"/>
                  </a:lnTo>
                  <a:lnTo>
                    <a:pt x="499" y="428"/>
                  </a:lnTo>
                  <a:lnTo>
                    <a:pt x="499" y="426"/>
                  </a:lnTo>
                  <a:lnTo>
                    <a:pt x="501" y="424"/>
                  </a:lnTo>
                  <a:lnTo>
                    <a:pt x="503" y="422"/>
                  </a:lnTo>
                  <a:lnTo>
                    <a:pt x="503" y="422"/>
                  </a:lnTo>
                  <a:lnTo>
                    <a:pt x="504" y="420"/>
                  </a:lnTo>
                  <a:lnTo>
                    <a:pt x="506" y="418"/>
                  </a:lnTo>
                  <a:lnTo>
                    <a:pt x="506" y="417"/>
                  </a:lnTo>
                  <a:lnTo>
                    <a:pt x="508" y="415"/>
                  </a:lnTo>
                  <a:lnTo>
                    <a:pt x="510" y="415"/>
                  </a:lnTo>
                  <a:lnTo>
                    <a:pt x="512" y="413"/>
                  </a:lnTo>
                  <a:lnTo>
                    <a:pt x="512" y="411"/>
                  </a:lnTo>
                  <a:lnTo>
                    <a:pt x="514" y="407"/>
                  </a:lnTo>
                  <a:lnTo>
                    <a:pt x="516" y="405"/>
                  </a:lnTo>
                  <a:lnTo>
                    <a:pt x="518" y="403"/>
                  </a:lnTo>
                  <a:lnTo>
                    <a:pt x="520" y="403"/>
                  </a:lnTo>
                  <a:lnTo>
                    <a:pt x="520" y="399"/>
                  </a:lnTo>
                  <a:lnTo>
                    <a:pt x="522" y="397"/>
                  </a:lnTo>
                  <a:lnTo>
                    <a:pt x="522" y="394"/>
                  </a:lnTo>
                  <a:lnTo>
                    <a:pt x="522" y="392"/>
                  </a:lnTo>
                  <a:lnTo>
                    <a:pt x="522" y="388"/>
                  </a:lnTo>
                  <a:lnTo>
                    <a:pt x="520" y="386"/>
                  </a:lnTo>
                  <a:lnTo>
                    <a:pt x="520" y="384"/>
                  </a:lnTo>
                  <a:lnTo>
                    <a:pt x="520" y="380"/>
                  </a:lnTo>
                  <a:lnTo>
                    <a:pt x="520" y="376"/>
                  </a:lnTo>
                  <a:lnTo>
                    <a:pt x="520" y="376"/>
                  </a:lnTo>
                  <a:lnTo>
                    <a:pt x="522" y="374"/>
                  </a:lnTo>
                  <a:lnTo>
                    <a:pt x="524" y="370"/>
                  </a:lnTo>
                  <a:lnTo>
                    <a:pt x="527" y="369"/>
                  </a:lnTo>
                  <a:lnTo>
                    <a:pt x="529" y="365"/>
                  </a:lnTo>
                  <a:lnTo>
                    <a:pt x="533" y="363"/>
                  </a:lnTo>
                  <a:lnTo>
                    <a:pt x="533" y="357"/>
                  </a:lnTo>
                  <a:lnTo>
                    <a:pt x="535" y="353"/>
                  </a:lnTo>
                  <a:lnTo>
                    <a:pt x="535" y="351"/>
                  </a:lnTo>
                  <a:lnTo>
                    <a:pt x="535" y="349"/>
                  </a:lnTo>
                  <a:lnTo>
                    <a:pt x="535" y="346"/>
                  </a:lnTo>
                  <a:lnTo>
                    <a:pt x="537" y="344"/>
                  </a:lnTo>
                  <a:lnTo>
                    <a:pt x="535" y="340"/>
                  </a:lnTo>
                  <a:lnTo>
                    <a:pt x="535" y="338"/>
                  </a:lnTo>
                  <a:lnTo>
                    <a:pt x="535" y="334"/>
                  </a:lnTo>
                  <a:lnTo>
                    <a:pt x="535" y="332"/>
                  </a:lnTo>
                  <a:lnTo>
                    <a:pt x="535" y="328"/>
                  </a:lnTo>
                  <a:lnTo>
                    <a:pt x="535" y="324"/>
                  </a:lnTo>
                  <a:lnTo>
                    <a:pt x="535" y="323"/>
                  </a:lnTo>
                  <a:lnTo>
                    <a:pt x="535" y="319"/>
                  </a:lnTo>
                  <a:lnTo>
                    <a:pt x="535" y="315"/>
                  </a:lnTo>
                  <a:lnTo>
                    <a:pt x="537" y="311"/>
                  </a:lnTo>
                  <a:lnTo>
                    <a:pt x="537" y="307"/>
                  </a:lnTo>
                  <a:lnTo>
                    <a:pt x="537" y="305"/>
                  </a:lnTo>
                  <a:lnTo>
                    <a:pt x="537" y="301"/>
                  </a:lnTo>
                  <a:lnTo>
                    <a:pt x="537" y="298"/>
                  </a:lnTo>
                  <a:lnTo>
                    <a:pt x="537" y="296"/>
                  </a:lnTo>
                  <a:lnTo>
                    <a:pt x="537" y="294"/>
                  </a:lnTo>
                  <a:lnTo>
                    <a:pt x="535" y="292"/>
                  </a:lnTo>
                  <a:lnTo>
                    <a:pt x="535" y="288"/>
                  </a:lnTo>
                  <a:lnTo>
                    <a:pt x="535" y="286"/>
                  </a:lnTo>
                  <a:lnTo>
                    <a:pt x="535" y="282"/>
                  </a:lnTo>
                  <a:lnTo>
                    <a:pt x="535" y="278"/>
                  </a:lnTo>
                  <a:lnTo>
                    <a:pt x="533" y="278"/>
                  </a:lnTo>
                  <a:lnTo>
                    <a:pt x="533" y="275"/>
                  </a:lnTo>
                  <a:lnTo>
                    <a:pt x="533" y="271"/>
                  </a:lnTo>
                  <a:lnTo>
                    <a:pt x="533" y="269"/>
                  </a:lnTo>
                  <a:lnTo>
                    <a:pt x="533" y="265"/>
                  </a:lnTo>
                  <a:lnTo>
                    <a:pt x="533" y="261"/>
                  </a:lnTo>
                  <a:lnTo>
                    <a:pt x="533" y="259"/>
                  </a:lnTo>
                  <a:lnTo>
                    <a:pt x="533" y="255"/>
                  </a:lnTo>
                  <a:lnTo>
                    <a:pt x="533" y="253"/>
                  </a:lnTo>
                  <a:lnTo>
                    <a:pt x="533" y="252"/>
                  </a:lnTo>
                  <a:lnTo>
                    <a:pt x="535" y="248"/>
                  </a:lnTo>
                  <a:lnTo>
                    <a:pt x="537" y="246"/>
                  </a:lnTo>
                  <a:lnTo>
                    <a:pt x="539" y="244"/>
                  </a:lnTo>
                  <a:lnTo>
                    <a:pt x="539" y="242"/>
                  </a:lnTo>
                  <a:lnTo>
                    <a:pt x="541" y="240"/>
                  </a:lnTo>
                  <a:lnTo>
                    <a:pt x="541" y="236"/>
                  </a:lnTo>
                  <a:lnTo>
                    <a:pt x="543" y="236"/>
                  </a:lnTo>
                  <a:lnTo>
                    <a:pt x="545" y="234"/>
                  </a:lnTo>
                  <a:lnTo>
                    <a:pt x="547" y="232"/>
                  </a:lnTo>
                  <a:lnTo>
                    <a:pt x="549" y="230"/>
                  </a:lnTo>
                  <a:lnTo>
                    <a:pt x="551" y="230"/>
                  </a:lnTo>
                  <a:lnTo>
                    <a:pt x="552" y="227"/>
                  </a:lnTo>
                  <a:lnTo>
                    <a:pt x="556" y="227"/>
                  </a:lnTo>
                  <a:lnTo>
                    <a:pt x="556" y="223"/>
                  </a:lnTo>
                  <a:lnTo>
                    <a:pt x="558" y="221"/>
                  </a:lnTo>
                  <a:lnTo>
                    <a:pt x="562" y="219"/>
                  </a:lnTo>
                  <a:lnTo>
                    <a:pt x="566" y="217"/>
                  </a:lnTo>
                  <a:lnTo>
                    <a:pt x="566" y="217"/>
                  </a:lnTo>
                  <a:lnTo>
                    <a:pt x="570" y="215"/>
                  </a:lnTo>
                  <a:lnTo>
                    <a:pt x="572" y="213"/>
                  </a:lnTo>
                  <a:lnTo>
                    <a:pt x="574" y="211"/>
                  </a:lnTo>
                  <a:lnTo>
                    <a:pt x="574" y="209"/>
                  </a:lnTo>
                  <a:lnTo>
                    <a:pt x="574" y="207"/>
                  </a:lnTo>
                  <a:lnTo>
                    <a:pt x="577" y="207"/>
                  </a:lnTo>
                  <a:lnTo>
                    <a:pt x="579" y="205"/>
                  </a:lnTo>
                  <a:lnTo>
                    <a:pt x="583" y="204"/>
                  </a:lnTo>
                  <a:lnTo>
                    <a:pt x="583" y="202"/>
                  </a:lnTo>
                  <a:lnTo>
                    <a:pt x="585" y="200"/>
                  </a:lnTo>
                  <a:lnTo>
                    <a:pt x="587" y="198"/>
                  </a:lnTo>
                  <a:lnTo>
                    <a:pt x="589" y="198"/>
                  </a:lnTo>
                  <a:lnTo>
                    <a:pt x="591" y="196"/>
                  </a:lnTo>
                  <a:lnTo>
                    <a:pt x="591" y="194"/>
                  </a:lnTo>
                  <a:lnTo>
                    <a:pt x="593" y="192"/>
                  </a:lnTo>
                  <a:lnTo>
                    <a:pt x="595" y="190"/>
                  </a:lnTo>
                  <a:lnTo>
                    <a:pt x="597" y="190"/>
                  </a:lnTo>
                  <a:lnTo>
                    <a:pt x="598" y="188"/>
                  </a:lnTo>
                  <a:lnTo>
                    <a:pt x="600" y="186"/>
                  </a:lnTo>
                  <a:lnTo>
                    <a:pt x="600" y="184"/>
                  </a:lnTo>
                  <a:lnTo>
                    <a:pt x="602" y="1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2" name="Freeform 38"/>
            <p:cNvSpPr>
              <a:spLocks/>
            </p:cNvSpPr>
            <p:nvPr/>
          </p:nvSpPr>
          <p:spPr bwMode="auto">
            <a:xfrm>
              <a:off x="1966" y="1476"/>
              <a:ext cx="602" cy="722"/>
            </a:xfrm>
            <a:custGeom>
              <a:avLst/>
              <a:gdLst/>
              <a:ahLst/>
              <a:cxnLst>
                <a:cxn ang="0">
                  <a:pos x="579" y="161"/>
                </a:cxn>
                <a:cxn ang="0">
                  <a:pos x="556" y="146"/>
                </a:cxn>
                <a:cxn ang="0">
                  <a:pos x="552" y="113"/>
                </a:cxn>
                <a:cxn ang="0">
                  <a:pos x="543" y="77"/>
                </a:cxn>
                <a:cxn ang="0">
                  <a:pos x="539" y="40"/>
                </a:cxn>
                <a:cxn ang="0">
                  <a:pos x="512" y="19"/>
                </a:cxn>
                <a:cxn ang="0">
                  <a:pos x="493" y="2"/>
                </a:cxn>
                <a:cxn ang="0">
                  <a:pos x="462" y="31"/>
                </a:cxn>
                <a:cxn ang="0">
                  <a:pos x="430" y="44"/>
                </a:cxn>
                <a:cxn ang="0">
                  <a:pos x="391" y="39"/>
                </a:cxn>
                <a:cxn ang="0">
                  <a:pos x="336" y="40"/>
                </a:cxn>
                <a:cxn ang="0">
                  <a:pos x="291" y="40"/>
                </a:cxn>
                <a:cxn ang="0">
                  <a:pos x="251" y="44"/>
                </a:cxn>
                <a:cxn ang="0">
                  <a:pos x="205" y="46"/>
                </a:cxn>
                <a:cxn ang="0">
                  <a:pos x="161" y="46"/>
                </a:cxn>
                <a:cxn ang="0">
                  <a:pos x="126" y="44"/>
                </a:cxn>
                <a:cxn ang="0">
                  <a:pos x="115" y="85"/>
                </a:cxn>
                <a:cxn ang="0">
                  <a:pos x="98" y="111"/>
                </a:cxn>
                <a:cxn ang="0">
                  <a:pos x="78" y="146"/>
                </a:cxn>
                <a:cxn ang="0">
                  <a:pos x="77" y="204"/>
                </a:cxn>
                <a:cxn ang="0">
                  <a:pos x="77" y="252"/>
                </a:cxn>
                <a:cxn ang="0">
                  <a:pos x="57" y="271"/>
                </a:cxn>
                <a:cxn ang="0">
                  <a:pos x="29" y="296"/>
                </a:cxn>
                <a:cxn ang="0">
                  <a:pos x="15" y="342"/>
                </a:cxn>
                <a:cxn ang="0">
                  <a:pos x="0" y="384"/>
                </a:cxn>
                <a:cxn ang="0">
                  <a:pos x="27" y="415"/>
                </a:cxn>
                <a:cxn ang="0">
                  <a:pos x="36" y="449"/>
                </a:cxn>
                <a:cxn ang="0">
                  <a:pos x="61" y="478"/>
                </a:cxn>
                <a:cxn ang="0">
                  <a:pos x="65" y="516"/>
                </a:cxn>
                <a:cxn ang="0">
                  <a:pos x="105" y="543"/>
                </a:cxn>
                <a:cxn ang="0">
                  <a:pos x="146" y="582"/>
                </a:cxn>
                <a:cxn ang="0">
                  <a:pos x="184" y="612"/>
                </a:cxn>
                <a:cxn ang="0">
                  <a:pos x="197" y="641"/>
                </a:cxn>
                <a:cxn ang="0">
                  <a:pos x="215" y="668"/>
                </a:cxn>
                <a:cxn ang="0">
                  <a:pos x="247" y="693"/>
                </a:cxn>
                <a:cxn ang="0">
                  <a:pos x="282" y="676"/>
                </a:cxn>
                <a:cxn ang="0">
                  <a:pos x="309" y="699"/>
                </a:cxn>
                <a:cxn ang="0">
                  <a:pos x="339" y="714"/>
                </a:cxn>
                <a:cxn ang="0">
                  <a:pos x="370" y="718"/>
                </a:cxn>
                <a:cxn ang="0">
                  <a:pos x="397" y="712"/>
                </a:cxn>
                <a:cxn ang="0">
                  <a:pos x="435" y="712"/>
                </a:cxn>
                <a:cxn ang="0">
                  <a:pos x="462" y="687"/>
                </a:cxn>
                <a:cxn ang="0">
                  <a:pos x="495" y="676"/>
                </a:cxn>
                <a:cxn ang="0">
                  <a:pos x="491" y="651"/>
                </a:cxn>
                <a:cxn ang="0">
                  <a:pos x="480" y="622"/>
                </a:cxn>
                <a:cxn ang="0">
                  <a:pos x="458" y="597"/>
                </a:cxn>
                <a:cxn ang="0">
                  <a:pos x="435" y="570"/>
                </a:cxn>
                <a:cxn ang="0">
                  <a:pos x="414" y="553"/>
                </a:cxn>
                <a:cxn ang="0">
                  <a:pos x="435" y="526"/>
                </a:cxn>
                <a:cxn ang="0">
                  <a:pos x="470" y="526"/>
                </a:cxn>
                <a:cxn ang="0">
                  <a:pos x="474" y="503"/>
                </a:cxn>
                <a:cxn ang="0">
                  <a:pos x="466" y="472"/>
                </a:cxn>
                <a:cxn ang="0">
                  <a:pos x="476" y="445"/>
                </a:cxn>
                <a:cxn ang="0">
                  <a:pos x="495" y="430"/>
                </a:cxn>
                <a:cxn ang="0">
                  <a:pos x="510" y="415"/>
                </a:cxn>
                <a:cxn ang="0">
                  <a:pos x="522" y="388"/>
                </a:cxn>
                <a:cxn ang="0">
                  <a:pos x="533" y="357"/>
                </a:cxn>
                <a:cxn ang="0">
                  <a:pos x="535" y="324"/>
                </a:cxn>
                <a:cxn ang="0">
                  <a:pos x="535" y="292"/>
                </a:cxn>
                <a:cxn ang="0">
                  <a:pos x="533" y="259"/>
                </a:cxn>
                <a:cxn ang="0">
                  <a:pos x="545" y="234"/>
                </a:cxn>
                <a:cxn ang="0">
                  <a:pos x="570" y="215"/>
                </a:cxn>
                <a:cxn ang="0">
                  <a:pos x="589" y="198"/>
                </a:cxn>
              </a:cxnLst>
              <a:rect l="0" t="0" r="r" b="b"/>
              <a:pathLst>
                <a:path w="602" h="722">
                  <a:moveTo>
                    <a:pt x="602" y="184"/>
                  </a:moveTo>
                  <a:lnTo>
                    <a:pt x="600" y="179"/>
                  </a:lnTo>
                  <a:lnTo>
                    <a:pt x="600" y="175"/>
                  </a:lnTo>
                  <a:lnTo>
                    <a:pt x="597" y="173"/>
                  </a:lnTo>
                  <a:lnTo>
                    <a:pt x="597" y="173"/>
                  </a:lnTo>
                  <a:lnTo>
                    <a:pt x="595" y="171"/>
                  </a:lnTo>
                  <a:lnTo>
                    <a:pt x="589" y="171"/>
                  </a:lnTo>
                  <a:lnTo>
                    <a:pt x="585" y="169"/>
                  </a:lnTo>
                  <a:lnTo>
                    <a:pt x="583" y="167"/>
                  </a:lnTo>
                  <a:lnTo>
                    <a:pt x="581" y="165"/>
                  </a:lnTo>
                  <a:lnTo>
                    <a:pt x="579" y="161"/>
                  </a:lnTo>
                  <a:lnTo>
                    <a:pt x="579" y="159"/>
                  </a:lnTo>
                  <a:lnTo>
                    <a:pt x="575" y="157"/>
                  </a:lnTo>
                  <a:lnTo>
                    <a:pt x="574" y="157"/>
                  </a:lnTo>
                  <a:lnTo>
                    <a:pt x="570" y="157"/>
                  </a:lnTo>
                  <a:lnTo>
                    <a:pt x="566" y="157"/>
                  </a:lnTo>
                  <a:lnTo>
                    <a:pt x="564" y="157"/>
                  </a:lnTo>
                  <a:lnTo>
                    <a:pt x="562" y="157"/>
                  </a:lnTo>
                  <a:lnTo>
                    <a:pt x="556" y="156"/>
                  </a:lnTo>
                  <a:lnTo>
                    <a:pt x="556" y="152"/>
                  </a:lnTo>
                  <a:lnTo>
                    <a:pt x="556" y="150"/>
                  </a:lnTo>
                  <a:lnTo>
                    <a:pt x="556" y="146"/>
                  </a:lnTo>
                  <a:lnTo>
                    <a:pt x="554" y="144"/>
                  </a:lnTo>
                  <a:lnTo>
                    <a:pt x="554" y="140"/>
                  </a:lnTo>
                  <a:lnTo>
                    <a:pt x="554" y="138"/>
                  </a:lnTo>
                  <a:lnTo>
                    <a:pt x="554" y="134"/>
                  </a:lnTo>
                  <a:lnTo>
                    <a:pt x="554" y="131"/>
                  </a:lnTo>
                  <a:lnTo>
                    <a:pt x="554" y="129"/>
                  </a:lnTo>
                  <a:lnTo>
                    <a:pt x="554" y="127"/>
                  </a:lnTo>
                  <a:lnTo>
                    <a:pt x="552" y="123"/>
                  </a:lnTo>
                  <a:lnTo>
                    <a:pt x="552" y="121"/>
                  </a:lnTo>
                  <a:lnTo>
                    <a:pt x="552" y="117"/>
                  </a:lnTo>
                  <a:lnTo>
                    <a:pt x="552" y="113"/>
                  </a:lnTo>
                  <a:lnTo>
                    <a:pt x="552" y="111"/>
                  </a:lnTo>
                  <a:lnTo>
                    <a:pt x="551" y="108"/>
                  </a:lnTo>
                  <a:lnTo>
                    <a:pt x="551" y="106"/>
                  </a:lnTo>
                  <a:lnTo>
                    <a:pt x="551" y="102"/>
                  </a:lnTo>
                  <a:lnTo>
                    <a:pt x="547" y="102"/>
                  </a:lnTo>
                  <a:lnTo>
                    <a:pt x="545" y="96"/>
                  </a:lnTo>
                  <a:lnTo>
                    <a:pt x="541" y="90"/>
                  </a:lnTo>
                  <a:lnTo>
                    <a:pt x="541" y="86"/>
                  </a:lnTo>
                  <a:lnTo>
                    <a:pt x="541" y="83"/>
                  </a:lnTo>
                  <a:lnTo>
                    <a:pt x="543" y="81"/>
                  </a:lnTo>
                  <a:lnTo>
                    <a:pt x="543" y="77"/>
                  </a:lnTo>
                  <a:lnTo>
                    <a:pt x="545" y="71"/>
                  </a:lnTo>
                  <a:lnTo>
                    <a:pt x="545" y="67"/>
                  </a:lnTo>
                  <a:lnTo>
                    <a:pt x="545" y="62"/>
                  </a:lnTo>
                  <a:lnTo>
                    <a:pt x="545" y="58"/>
                  </a:lnTo>
                  <a:lnTo>
                    <a:pt x="545" y="56"/>
                  </a:lnTo>
                  <a:lnTo>
                    <a:pt x="545" y="52"/>
                  </a:lnTo>
                  <a:lnTo>
                    <a:pt x="545" y="48"/>
                  </a:lnTo>
                  <a:lnTo>
                    <a:pt x="543" y="46"/>
                  </a:lnTo>
                  <a:lnTo>
                    <a:pt x="539" y="44"/>
                  </a:lnTo>
                  <a:lnTo>
                    <a:pt x="539" y="40"/>
                  </a:lnTo>
                  <a:lnTo>
                    <a:pt x="539" y="40"/>
                  </a:lnTo>
                  <a:lnTo>
                    <a:pt x="535" y="39"/>
                  </a:lnTo>
                  <a:lnTo>
                    <a:pt x="531" y="35"/>
                  </a:lnTo>
                  <a:lnTo>
                    <a:pt x="529" y="33"/>
                  </a:lnTo>
                  <a:lnTo>
                    <a:pt x="526" y="33"/>
                  </a:lnTo>
                  <a:lnTo>
                    <a:pt x="524" y="31"/>
                  </a:lnTo>
                  <a:lnTo>
                    <a:pt x="522" y="31"/>
                  </a:lnTo>
                  <a:lnTo>
                    <a:pt x="522" y="29"/>
                  </a:lnTo>
                  <a:lnTo>
                    <a:pt x="518" y="27"/>
                  </a:lnTo>
                  <a:lnTo>
                    <a:pt x="516" y="23"/>
                  </a:lnTo>
                  <a:lnTo>
                    <a:pt x="514" y="21"/>
                  </a:lnTo>
                  <a:lnTo>
                    <a:pt x="512" y="19"/>
                  </a:lnTo>
                  <a:lnTo>
                    <a:pt x="510" y="17"/>
                  </a:lnTo>
                  <a:lnTo>
                    <a:pt x="510" y="15"/>
                  </a:lnTo>
                  <a:lnTo>
                    <a:pt x="506" y="14"/>
                  </a:lnTo>
                  <a:lnTo>
                    <a:pt x="503" y="14"/>
                  </a:lnTo>
                  <a:lnTo>
                    <a:pt x="506" y="10"/>
                  </a:lnTo>
                  <a:lnTo>
                    <a:pt x="503" y="10"/>
                  </a:lnTo>
                  <a:lnTo>
                    <a:pt x="503" y="8"/>
                  </a:lnTo>
                  <a:lnTo>
                    <a:pt x="499" y="6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3" y="2"/>
                  </a:lnTo>
                  <a:lnTo>
                    <a:pt x="491" y="0"/>
                  </a:lnTo>
                  <a:lnTo>
                    <a:pt x="487" y="4"/>
                  </a:lnTo>
                  <a:lnTo>
                    <a:pt x="483" y="8"/>
                  </a:lnTo>
                  <a:lnTo>
                    <a:pt x="481" y="12"/>
                  </a:lnTo>
                  <a:lnTo>
                    <a:pt x="480" y="14"/>
                  </a:lnTo>
                  <a:lnTo>
                    <a:pt x="478" y="15"/>
                  </a:lnTo>
                  <a:lnTo>
                    <a:pt x="474" y="19"/>
                  </a:lnTo>
                  <a:lnTo>
                    <a:pt x="472" y="23"/>
                  </a:lnTo>
                  <a:lnTo>
                    <a:pt x="468" y="27"/>
                  </a:lnTo>
                  <a:lnTo>
                    <a:pt x="466" y="29"/>
                  </a:lnTo>
                  <a:lnTo>
                    <a:pt x="462" y="31"/>
                  </a:lnTo>
                  <a:lnTo>
                    <a:pt x="458" y="33"/>
                  </a:lnTo>
                  <a:lnTo>
                    <a:pt x="458" y="33"/>
                  </a:lnTo>
                  <a:lnTo>
                    <a:pt x="456" y="37"/>
                  </a:lnTo>
                  <a:lnTo>
                    <a:pt x="455" y="37"/>
                  </a:lnTo>
                  <a:lnTo>
                    <a:pt x="451" y="39"/>
                  </a:lnTo>
                  <a:lnTo>
                    <a:pt x="447" y="40"/>
                  </a:lnTo>
                  <a:lnTo>
                    <a:pt x="445" y="44"/>
                  </a:lnTo>
                  <a:lnTo>
                    <a:pt x="441" y="44"/>
                  </a:lnTo>
                  <a:lnTo>
                    <a:pt x="437" y="46"/>
                  </a:lnTo>
                  <a:lnTo>
                    <a:pt x="433" y="46"/>
                  </a:lnTo>
                  <a:lnTo>
                    <a:pt x="430" y="44"/>
                  </a:lnTo>
                  <a:lnTo>
                    <a:pt x="426" y="44"/>
                  </a:lnTo>
                  <a:lnTo>
                    <a:pt x="422" y="44"/>
                  </a:lnTo>
                  <a:lnTo>
                    <a:pt x="418" y="42"/>
                  </a:lnTo>
                  <a:lnTo>
                    <a:pt x="416" y="40"/>
                  </a:lnTo>
                  <a:lnTo>
                    <a:pt x="414" y="40"/>
                  </a:lnTo>
                  <a:lnTo>
                    <a:pt x="410" y="40"/>
                  </a:lnTo>
                  <a:lnTo>
                    <a:pt x="409" y="40"/>
                  </a:lnTo>
                  <a:lnTo>
                    <a:pt x="407" y="39"/>
                  </a:lnTo>
                  <a:lnTo>
                    <a:pt x="403" y="39"/>
                  </a:lnTo>
                  <a:lnTo>
                    <a:pt x="397" y="39"/>
                  </a:lnTo>
                  <a:lnTo>
                    <a:pt x="391" y="39"/>
                  </a:lnTo>
                  <a:lnTo>
                    <a:pt x="384" y="40"/>
                  </a:lnTo>
                  <a:lnTo>
                    <a:pt x="380" y="40"/>
                  </a:lnTo>
                  <a:lnTo>
                    <a:pt x="374" y="40"/>
                  </a:lnTo>
                  <a:lnTo>
                    <a:pt x="370" y="40"/>
                  </a:lnTo>
                  <a:lnTo>
                    <a:pt x="368" y="40"/>
                  </a:lnTo>
                  <a:lnTo>
                    <a:pt x="362" y="40"/>
                  </a:lnTo>
                  <a:lnTo>
                    <a:pt x="357" y="40"/>
                  </a:lnTo>
                  <a:lnTo>
                    <a:pt x="351" y="40"/>
                  </a:lnTo>
                  <a:lnTo>
                    <a:pt x="345" y="40"/>
                  </a:lnTo>
                  <a:lnTo>
                    <a:pt x="341" y="40"/>
                  </a:lnTo>
                  <a:lnTo>
                    <a:pt x="336" y="40"/>
                  </a:lnTo>
                  <a:lnTo>
                    <a:pt x="332" y="40"/>
                  </a:lnTo>
                  <a:lnTo>
                    <a:pt x="326" y="40"/>
                  </a:lnTo>
                  <a:lnTo>
                    <a:pt x="324" y="40"/>
                  </a:lnTo>
                  <a:lnTo>
                    <a:pt x="318" y="40"/>
                  </a:lnTo>
                  <a:lnTo>
                    <a:pt x="313" y="40"/>
                  </a:lnTo>
                  <a:lnTo>
                    <a:pt x="309" y="40"/>
                  </a:lnTo>
                  <a:lnTo>
                    <a:pt x="305" y="40"/>
                  </a:lnTo>
                  <a:lnTo>
                    <a:pt x="301" y="40"/>
                  </a:lnTo>
                  <a:lnTo>
                    <a:pt x="297" y="40"/>
                  </a:lnTo>
                  <a:lnTo>
                    <a:pt x="293" y="40"/>
                  </a:lnTo>
                  <a:lnTo>
                    <a:pt x="291" y="40"/>
                  </a:lnTo>
                  <a:lnTo>
                    <a:pt x="286" y="42"/>
                  </a:lnTo>
                  <a:lnTo>
                    <a:pt x="282" y="42"/>
                  </a:lnTo>
                  <a:lnTo>
                    <a:pt x="278" y="42"/>
                  </a:lnTo>
                  <a:lnTo>
                    <a:pt x="274" y="44"/>
                  </a:lnTo>
                  <a:lnTo>
                    <a:pt x="270" y="44"/>
                  </a:lnTo>
                  <a:lnTo>
                    <a:pt x="265" y="44"/>
                  </a:lnTo>
                  <a:lnTo>
                    <a:pt x="263" y="44"/>
                  </a:lnTo>
                  <a:lnTo>
                    <a:pt x="259" y="44"/>
                  </a:lnTo>
                  <a:lnTo>
                    <a:pt x="257" y="44"/>
                  </a:lnTo>
                  <a:lnTo>
                    <a:pt x="253" y="44"/>
                  </a:lnTo>
                  <a:lnTo>
                    <a:pt x="251" y="44"/>
                  </a:lnTo>
                  <a:lnTo>
                    <a:pt x="247" y="46"/>
                  </a:lnTo>
                  <a:lnTo>
                    <a:pt x="244" y="46"/>
                  </a:lnTo>
                  <a:lnTo>
                    <a:pt x="240" y="46"/>
                  </a:lnTo>
                  <a:lnTo>
                    <a:pt x="234" y="46"/>
                  </a:lnTo>
                  <a:lnTo>
                    <a:pt x="230" y="46"/>
                  </a:lnTo>
                  <a:lnTo>
                    <a:pt x="228" y="46"/>
                  </a:lnTo>
                  <a:lnTo>
                    <a:pt x="222" y="46"/>
                  </a:lnTo>
                  <a:lnTo>
                    <a:pt x="220" y="46"/>
                  </a:lnTo>
                  <a:lnTo>
                    <a:pt x="213" y="46"/>
                  </a:lnTo>
                  <a:lnTo>
                    <a:pt x="209" y="46"/>
                  </a:lnTo>
                  <a:lnTo>
                    <a:pt x="205" y="46"/>
                  </a:lnTo>
                  <a:lnTo>
                    <a:pt x="203" y="46"/>
                  </a:lnTo>
                  <a:lnTo>
                    <a:pt x="197" y="46"/>
                  </a:lnTo>
                  <a:lnTo>
                    <a:pt x="194" y="46"/>
                  </a:lnTo>
                  <a:lnTo>
                    <a:pt x="188" y="46"/>
                  </a:lnTo>
                  <a:lnTo>
                    <a:pt x="184" y="46"/>
                  </a:lnTo>
                  <a:lnTo>
                    <a:pt x="180" y="46"/>
                  </a:lnTo>
                  <a:lnTo>
                    <a:pt x="176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65" y="46"/>
                  </a:lnTo>
                  <a:lnTo>
                    <a:pt x="161" y="46"/>
                  </a:lnTo>
                  <a:lnTo>
                    <a:pt x="159" y="46"/>
                  </a:lnTo>
                  <a:lnTo>
                    <a:pt x="155" y="46"/>
                  </a:lnTo>
                  <a:lnTo>
                    <a:pt x="151" y="46"/>
                  </a:lnTo>
                  <a:lnTo>
                    <a:pt x="148" y="46"/>
                  </a:lnTo>
                  <a:lnTo>
                    <a:pt x="146" y="44"/>
                  </a:lnTo>
                  <a:lnTo>
                    <a:pt x="142" y="44"/>
                  </a:lnTo>
                  <a:lnTo>
                    <a:pt x="138" y="44"/>
                  </a:lnTo>
                  <a:lnTo>
                    <a:pt x="134" y="44"/>
                  </a:lnTo>
                  <a:lnTo>
                    <a:pt x="132" y="44"/>
                  </a:lnTo>
                  <a:lnTo>
                    <a:pt x="128" y="44"/>
                  </a:lnTo>
                  <a:lnTo>
                    <a:pt x="126" y="44"/>
                  </a:lnTo>
                  <a:lnTo>
                    <a:pt x="125" y="44"/>
                  </a:lnTo>
                  <a:lnTo>
                    <a:pt x="121" y="46"/>
                  </a:lnTo>
                  <a:lnTo>
                    <a:pt x="117" y="44"/>
                  </a:lnTo>
                  <a:lnTo>
                    <a:pt x="117" y="50"/>
                  </a:lnTo>
                  <a:lnTo>
                    <a:pt x="117" y="56"/>
                  </a:lnTo>
                  <a:lnTo>
                    <a:pt x="117" y="62"/>
                  </a:lnTo>
                  <a:lnTo>
                    <a:pt x="115" y="67"/>
                  </a:lnTo>
                  <a:lnTo>
                    <a:pt x="115" y="71"/>
                  </a:lnTo>
                  <a:lnTo>
                    <a:pt x="115" y="75"/>
                  </a:lnTo>
                  <a:lnTo>
                    <a:pt x="115" y="79"/>
                  </a:lnTo>
                  <a:lnTo>
                    <a:pt x="115" y="85"/>
                  </a:lnTo>
                  <a:lnTo>
                    <a:pt x="115" y="86"/>
                  </a:lnTo>
                  <a:lnTo>
                    <a:pt x="115" y="88"/>
                  </a:lnTo>
                  <a:lnTo>
                    <a:pt x="113" y="92"/>
                  </a:lnTo>
                  <a:lnTo>
                    <a:pt x="111" y="96"/>
                  </a:lnTo>
                  <a:lnTo>
                    <a:pt x="111" y="102"/>
                  </a:lnTo>
                  <a:lnTo>
                    <a:pt x="111" y="108"/>
                  </a:lnTo>
                  <a:lnTo>
                    <a:pt x="111" y="110"/>
                  </a:lnTo>
                  <a:lnTo>
                    <a:pt x="111" y="111"/>
                  </a:lnTo>
                  <a:lnTo>
                    <a:pt x="107" y="111"/>
                  </a:lnTo>
                  <a:lnTo>
                    <a:pt x="103" y="111"/>
                  </a:lnTo>
                  <a:lnTo>
                    <a:pt x="98" y="111"/>
                  </a:lnTo>
                  <a:lnTo>
                    <a:pt x="94" y="111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80" y="111"/>
                  </a:lnTo>
                  <a:lnTo>
                    <a:pt x="78" y="119"/>
                  </a:lnTo>
                  <a:lnTo>
                    <a:pt x="78" y="125"/>
                  </a:lnTo>
                  <a:lnTo>
                    <a:pt x="78" y="129"/>
                  </a:lnTo>
                  <a:lnTo>
                    <a:pt x="78" y="133"/>
                  </a:lnTo>
                  <a:lnTo>
                    <a:pt x="78" y="136"/>
                  </a:lnTo>
                  <a:lnTo>
                    <a:pt x="78" y="140"/>
                  </a:lnTo>
                  <a:lnTo>
                    <a:pt x="78" y="146"/>
                  </a:lnTo>
                  <a:lnTo>
                    <a:pt x="80" y="152"/>
                  </a:lnTo>
                  <a:lnTo>
                    <a:pt x="80" y="156"/>
                  </a:lnTo>
                  <a:lnTo>
                    <a:pt x="80" y="159"/>
                  </a:lnTo>
                  <a:lnTo>
                    <a:pt x="80" y="167"/>
                  </a:lnTo>
                  <a:lnTo>
                    <a:pt x="78" y="173"/>
                  </a:lnTo>
                  <a:lnTo>
                    <a:pt x="78" y="177"/>
                  </a:lnTo>
                  <a:lnTo>
                    <a:pt x="77" y="181"/>
                  </a:lnTo>
                  <a:lnTo>
                    <a:pt x="77" y="184"/>
                  </a:lnTo>
                  <a:lnTo>
                    <a:pt x="77" y="194"/>
                  </a:lnTo>
                  <a:lnTo>
                    <a:pt x="77" y="200"/>
                  </a:lnTo>
                  <a:lnTo>
                    <a:pt x="77" y="204"/>
                  </a:lnTo>
                  <a:lnTo>
                    <a:pt x="75" y="207"/>
                  </a:lnTo>
                  <a:lnTo>
                    <a:pt x="75" y="215"/>
                  </a:lnTo>
                  <a:lnTo>
                    <a:pt x="75" y="221"/>
                  </a:lnTo>
                  <a:lnTo>
                    <a:pt x="77" y="225"/>
                  </a:lnTo>
                  <a:lnTo>
                    <a:pt x="77" y="228"/>
                  </a:lnTo>
                  <a:lnTo>
                    <a:pt x="77" y="232"/>
                  </a:lnTo>
                  <a:lnTo>
                    <a:pt x="77" y="234"/>
                  </a:lnTo>
                  <a:lnTo>
                    <a:pt x="77" y="240"/>
                  </a:lnTo>
                  <a:lnTo>
                    <a:pt x="77" y="244"/>
                  </a:lnTo>
                  <a:lnTo>
                    <a:pt x="77" y="246"/>
                  </a:lnTo>
                  <a:lnTo>
                    <a:pt x="77" y="252"/>
                  </a:lnTo>
                  <a:lnTo>
                    <a:pt x="77" y="257"/>
                  </a:lnTo>
                  <a:lnTo>
                    <a:pt x="75" y="261"/>
                  </a:lnTo>
                  <a:lnTo>
                    <a:pt x="75" y="263"/>
                  </a:lnTo>
                  <a:lnTo>
                    <a:pt x="75" y="269"/>
                  </a:lnTo>
                  <a:lnTo>
                    <a:pt x="75" y="273"/>
                  </a:lnTo>
                  <a:lnTo>
                    <a:pt x="73" y="271"/>
                  </a:lnTo>
                  <a:lnTo>
                    <a:pt x="71" y="271"/>
                  </a:lnTo>
                  <a:lnTo>
                    <a:pt x="67" y="271"/>
                  </a:lnTo>
                  <a:lnTo>
                    <a:pt x="63" y="271"/>
                  </a:lnTo>
                  <a:lnTo>
                    <a:pt x="61" y="271"/>
                  </a:lnTo>
                  <a:lnTo>
                    <a:pt x="57" y="271"/>
                  </a:lnTo>
                  <a:lnTo>
                    <a:pt x="55" y="271"/>
                  </a:lnTo>
                  <a:lnTo>
                    <a:pt x="50" y="273"/>
                  </a:lnTo>
                  <a:lnTo>
                    <a:pt x="46" y="276"/>
                  </a:lnTo>
                  <a:lnTo>
                    <a:pt x="44" y="276"/>
                  </a:lnTo>
                  <a:lnTo>
                    <a:pt x="42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36" y="290"/>
                  </a:lnTo>
                  <a:lnTo>
                    <a:pt x="34" y="294"/>
                  </a:lnTo>
                  <a:lnTo>
                    <a:pt x="31" y="296"/>
                  </a:lnTo>
                  <a:lnTo>
                    <a:pt x="29" y="296"/>
                  </a:lnTo>
                  <a:lnTo>
                    <a:pt x="27" y="301"/>
                  </a:lnTo>
                  <a:lnTo>
                    <a:pt x="21" y="305"/>
                  </a:lnTo>
                  <a:lnTo>
                    <a:pt x="23" y="309"/>
                  </a:lnTo>
                  <a:lnTo>
                    <a:pt x="23" y="313"/>
                  </a:lnTo>
                  <a:lnTo>
                    <a:pt x="23" y="317"/>
                  </a:lnTo>
                  <a:lnTo>
                    <a:pt x="23" y="323"/>
                  </a:lnTo>
                  <a:lnTo>
                    <a:pt x="23" y="326"/>
                  </a:lnTo>
                  <a:lnTo>
                    <a:pt x="23" y="332"/>
                  </a:lnTo>
                  <a:lnTo>
                    <a:pt x="21" y="334"/>
                  </a:lnTo>
                  <a:lnTo>
                    <a:pt x="17" y="340"/>
                  </a:lnTo>
                  <a:lnTo>
                    <a:pt x="15" y="342"/>
                  </a:lnTo>
                  <a:lnTo>
                    <a:pt x="15" y="346"/>
                  </a:lnTo>
                  <a:lnTo>
                    <a:pt x="11" y="349"/>
                  </a:lnTo>
                  <a:lnTo>
                    <a:pt x="11" y="351"/>
                  </a:lnTo>
                  <a:lnTo>
                    <a:pt x="9" y="353"/>
                  </a:lnTo>
                  <a:lnTo>
                    <a:pt x="9" y="359"/>
                  </a:lnTo>
                  <a:lnTo>
                    <a:pt x="9" y="365"/>
                  </a:lnTo>
                  <a:lnTo>
                    <a:pt x="9" y="367"/>
                  </a:lnTo>
                  <a:lnTo>
                    <a:pt x="9" y="370"/>
                  </a:lnTo>
                  <a:lnTo>
                    <a:pt x="6" y="374"/>
                  </a:lnTo>
                  <a:lnTo>
                    <a:pt x="2" y="380"/>
                  </a:lnTo>
                  <a:lnTo>
                    <a:pt x="0" y="384"/>
                  </a:lnTo>
                  <a:lnTo>
                    <a:pt x="0" y="386"/>
                  </a:lnTo>
                  <a:lnTo>
                    <a:pt x="0" y="388"/>
                  </a:lnTo>
                  <a:lnTo>
                    <a:pt x="0" y="392"/>
                  </a:lnTo>
                  <a:lnTo>
                    <a:pt x="2" y="394"/>
                  </a:lnTo>
                  <a:lnTo>
                    <a:pt x="6" y="397"/>
                  </a:lnTo>
                  <a:lnTo>
                    <a:pt x="9" y="403"/>
                  </a:lnTo>
                  <a:lnTo>
                    <a:pt x="13" y="405"/>
                  </a:lnTo>
                  <a:lnTo>
                    <a:pt x="15" y="409"/>
                  </a:lnTo>
                  <a:lnTo>
                    <a:pt x="17" y="411"/>
                  </a:lnTo>
                  <a:lnTo>
                    <a:pt x="25" y="411"/>
                  </a:lnTo>
                  <a:lnTo>
                    <a:pt x="27" y="415"/>
                  </a:lnTo>
                  <a:lnTo>
                    <a:pt x="29" y="418"/>
                  </a:lnTo>
                  <a:lnTo>
                    <a:pt x="29" y="420"/>
                  </a:lnTo>
                  <a:lnTo>
                    <a:pt x="31" y="422"/>
                  </a:lnTo>
                  <a:lnTo>
                    <a:pt x="32" y="426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36" y="438"/>
                  </a:lnTo>
                  <a:lnTo>
                    <a:pt x="36" y="441"/>
                  </a:lnTo>
                  <a:lnTo>
                    <a:pt x="36" y="443"/>
                  </a:lnTo>
                  <a:lnTo>
                    <a:pt x="36" y="445"/>
                  </a:lnTo>
                  <a:lnTo>
                    <a:pt x="36" y="449"/>
                  </a:lnTo>
                  <a:lnTo>
                    <a:pt x="36" y="453"/>
                  </a:lnTo>
                  <a:lnTo>
                    <a:pt x="38" y="455"/>
                  </a:lnTo>
                  <a:lnTo>
                    <a:pt x="40" y="459"/>
                  </a:lnTo>
                  <a:lnTo>
                    <a:pt x="44" y="463"/>
                  </a:lnTo>
                  <a:lnTo>
                    <a:pt x="48" y="465"/>
                  </a:lnTo>
                  <a:lnTo>
                    <a:pt x="48" y="465"/>
                  </a:lnTo>
                  <a:lnTo>
                    <a:pt x="50" y="466"/>
                  </a:lnTo>
                  <a:lnTo>
                    <a:pt x="54" y="468"/>
                  </a:lnTo>
                  <a:lnTo>
                    <a:pt x="54" y="472"/>
                  </a:lnTo>
                  <a:lnTo>
                    <a:pt x="57" y="472"/>
                  </a:lnTo>
                  <a:lnTo>
                    <a:pt x="61" y="478"/>
                  </a:lnTo>
                  <a:lnTo>
                    <a:pt x="65" y="482"/>
                  </a:lnTo>
                  <a:lnTo>
                    <a:pt x="67" y="488"/>
                  </a:lnTo>
                  <a:lnTo>
                    <a:pt x="67" y="489"/>
                  </a:lnTo>
                  <a:lnTo>
                    <a:pt x="67" y="493"/>
                  </a:lnTo>
                  <a:lnTo>
                    <a:pt x="67" y="499"/>
                  </a:lnTo>
                  <a:lnTo>
                    <a:pt x="67" y="501"/>
                  </a:lnTo>
                  <a:lnTo>
                    <a:pt x="67" y="505"/>
                  </a:lnTo>
                  <a:lnTo>
                    <a:pt x="67" y="509"/>
                  </a:lnTo>
                  <a:lnTo>
                    <a:pt x="67" y="511"/>
                  </a:lnTo>
                  <a:lnTo>
                    <a:pt x="65" y="512"/>
                  </a:lnTo>
                  <a:lnTo>
                    <a:pt x="65" y="516"/>
                  </a:lnTo>
                  <a:lnTo>
                    <a:pt x="65" y="522"/>
                  </a:lnTo>
                  <a:lnTo>
                    <a:pt x="65" y="526"/>
                  </a:lnTo>
                  <a:lnTo>
                    <a:pt x="63" y="530"/>
                  </a:lnTo>
                  <a:lnTo>
                    <a:pt x="78" y="537"/>
                  </a:lnTo>
                  <a:lnTo>
                    <a:pt x="80" y="537"/>
                  </a:lnTo>
                  <a:lnTo>
                    <a:pt x="84" y="537"/>
                  </a:lnTo>
                  <a:lnTo>
                    <a:pt x="92" y="541"/>
                  </a:lnTo>
                  <a:lnTo>
                    <a:pt x="96" y="541"/>
                  </a:lnTo>
                  <a:lnTo>
                    <a:pt x="98" y="541"/>
                  </a:lnTo>
                  <a:lnTo>
                    <a:pt x="102" y="543"/>
                  </a:lnTo>
                  <a:lnTo>
                    <a:pt x="105" y="543"/>
                  </a:lnTo>
                  <a:lnTo>
                    <a:pt x="111" y="543"/>
                  </a:lnTo>
                  <a:lnTo>
                    <a:pt x="115" y="549"/>
                  </a:lnTo>
                  <a:lnTo>
                    <a:pt x="119" y="553"/>
                  </a:lnTo>
                  <a:lnTo>
                    <a:pt x="123" y="555"/>
                  </a:lnTo>
                  <a:lnTo>
                    <a:pt x="125" y="557"/>
                  </a:lnTo>
                  <a:lnTo>
                    <a:pt x="128" y="560"/>
                  </a:lnTo>
                  <a:lnTo>
                    <a:pt x="134" y="566"/>
                  </a:lnTo>
                  <a:lnTo>
                    <a:pt x="138" y="572"/>
                  </a:lnTo>
                  <a:lnTo>
                    <a:pt x="142" y="576"/>
                  </a:lnTo>
                  <a:lnTo>
                    <a:pt x="142" y="580"/>
                  </a:lnTo>
                  <a:lnTo>
                    <a:pt x="146" y="582"/>
                  </a:lnTo>
                  <a:lnTo>
                    <a:pt x="148" y="585"/>
                  </a:lnTo>
                  <a:lnTo>
                    <a:pt x="149" y="587"/>
                  </a:lnTo>
                  <a:lnTo>
                    <a:pt x="151" y="591"/>
                  </a:lnTo>
                  <a:lnTo>
                    <a:pt x="151" y="595"/>
                  </a:lnTo>
                  <a:lnTo>
                    <a:pt x="153" y="597"/>
                  </a:lnTo>
                  <a:lnTo>
                    <a:pt x="159" y="601"/>
                  </a:lnTo>
                  <a:lnTo>
                    <a:pt x="165" y="605"/>
                  </a:lnTo>
                  <a:lnTo>
                    <a:pt x="173" y="605"/>
                  </a:lnTo>
                  <a:lnTo>
                    <a:pt x="176" y="605"/>
                  </a:lnTo>
                  <a:lnTo>
                    <a:pt x="180" y="608"/>
                  </a:lnTo>
                  <a:lnTo>
                    <a:pt x="184" y="612"/>
                  </a:lnTo>
                  <a:lnTo>
                    <a:pt x="184" y="614"/>
                  </a:lnTo>
                  <a:lnTo>
                    <a:pt x="186" y="620"/>
                  </a:lnTo>
                  <a:lnTo>
                    <a:pt x="186" y="622"/>
                  </a:lnTo>
                  <a:lnTo>
                    <a:pt x="186" y="624"/>
                  </a:lnTo>
                  <a:lnTo>
                    <a:pt x="186" y="628"/>
                  </a:lnTo>
                  <a:lnTo>
                    <a:pt x="188" y="630"/>
                  </a:lnTo>
                  <a:lnTo>
                    <a:pt x="188" y="633"/>
                  </a:lnTo>
                  <a:lnTo>
                    <a:pt x="190" y="637"/>
                  </a:lnTo>
                  <a:lnTo>
                    <a:pt x="192" y="637"/>
                  </a:lnTo>
                  <a:lnTo>
                    <a:pt x="194" y="639"/>
                  </a:lnTo>
                  <a:lnTo>
                    <a:pt x="197" y="641"/>
                  </a:lnTo>
                  <a:lnTo>
                    <a:pt x="201" y="641"/>
                  </a:lnTo>
                  <a:lnTo>
                    <a:pt x="201" y="647"/>
                  </a:lnTo>
                  <a:lnTo>
                    <a:pt x="203" y="649"/>
                  </a:lnTo>
                  <a:lnTo>
                    <a:pt x="203" y="653"/>
                  </a:lnTo>
                  <a:lnTo>
                    <a:pt x="203" y="656"/>
                  </a:lnTo>
                  <a:lnTo>
                    <a:pt x="203" y="658"/>
                  </a:lnTo>
                  <a:lnTo>
                    <a:pt x="205" y="662"/>
                  </a:lnTo>
                  <a:lnTo>
                    <a:pt x="207" y="664"/>
                  </a:lnTo>
                  <a:lnTo>
                    <a:pt x="211" y="666"/>
                  </a:lnTo>
                  <a:lnTo>
                    <a:pt x="213" y="668"/>
                  </a:lnTo>
                  <a:lnTo>
                    <a:pt x="215" y="668"/>
                  </a:lnTo>
                  <a:lnTo>
                    <a:pt x="219" y="674"/>
                  </a:lnTo>
                  <a:lnTo>
                    <a:pt x="220" y="674"/>
                  </a:lnTo>
                  <a:lnTo>
                    <a:pt x="226" y="678"/>
                  </a:lnTo>
                  <a:lnTo>
                    <a:pt x="230" y="681"/>
                  </a:lnTo>
                  <a:lnTo>
                    <a:pt x="232" y="687"/>
                  </a:lnTo>
                  <a:lnTo>
                    <a:pt x="232" y="689"/>
                  </a:lnTo>
                  <a:lnTo>
                    <a:pt x="232" y="693"/>
                  </a:lnTo>
                  <a:lnTo>
                    <a:pt x="238" y="693"/>
                  </a:lnTo>
                  <a:lnTo>
                    <a:pt x="242" y="693"/>
                  </a:lnTo>
                  <a:lnTo>
                    <a:pt x="245" y="693"/>
                  </a:lnTo>
                  <a:lnTo>
                    <a:pt x="247" y="693"/>
                  </a:lnTo>
                  <a:lnTo>
                    <a:pt x="249" y="693"/>
                  </a:lnTo>
                  <a:lnTo>
                    <a:pt x="251" y="693"/>
                  </a:lnTo>
                  <a:lnTo>
                    <a:pt x="257" y="687"/>
                  </a:lnTo>
                  <a:lnTo>
                    <a:pt x="261" y="683"/>
                  </a:lnTo>
                  <a:lnTo>
                    <a:pt x="265" y="683"/>
                  </a:lnTo>
                  <a:lnTo>
                    <a:pt x="267" y="681"/>
                  </a:lnTo>
                  <a:lnTo>
                    <a:pt x="270" y="681"/>
                  </a:lnTo>
                  <a:lnTo>
                    <a:pt x="274" y="679"/>
                  </a:lnTo>
                  <a:lnTo>
                    <a:pt x="274" y="676"/>
                  </a:lnTo>
                  <a:lnTo>
                    <a:pt x="278" y="676"/>
                  </a:lnTo>
                  <a:lnTo>
                    <a:pt x="282" y="676"/>
                  </a:lnTo>
                  <a:lnTo>
                    <a:pt x="288" y="674"/>
                  </a:lnTo>
                  <a:lnTo>
                    <a:pt x="293" y="672"/>
                  </a:lnTo>
                  <a:lnTo>
                    <a:pt x="299" y="672"/>
                  </a:lnTo>
                  <a:lnTo>
                    <a:pt x="301" y="676"/>
                  </a:lnTo>
                  <a:lnTo>
                    <a:pt x="301" y="679"/>
                  </a:lnTo>
                  <a:lnTo>
                    <a:pt x="301" y="683"/>
                  </a:lnTo>
                  <a:lnTo>
                    <a:pt x="303" y="685"/>
                  </a:lnTo>
                  <a:lnTo>
                    <a:pt x="305" y="689"/>
                  </a:lnTo>
                  <a:lnTo>
                    <a:pt x="307" y="693"/>
                  </a:lnTo>
                  <a:lnTo>
                    <a:pt x="309" y="695"/>
                  </a:lnTo>
                  <a:lnTo>
                    <a:pt x="309" y="699"/>
                  </a:lnTo>
                  <a:lnTo>
                    <a:pt x="311" y="701"/>
                  </a:lnTo>
                  <a:lnTo>
                    <a:pt x="314" y="702"/>
                  </a:lnTo>
                  <a:lnTo>
                    <a:pt x="316" y="704"/>
                  </a:lnTo>
                  <a:lnTo>
                    <a:pt x="322" y="708"/>
                  </a:lnTo>
                  <a:lnTo>
                    <a:pt x="326" y="710"/>
                  </a:lnTo>
                  <a:lnTo>
                    <a:pt x="330" y="716"/>
                  </a:lnTo>
                  <a:lnTo>
                    <a:pt x="330" y="720"/>
                  </a:lnTo>
                  <a:lnTo>
                    <a:pt x="334" y="720"/>
                  </a:lnTo>
                  <a:lnTo>
                    <a:pt x="336" y="720"/>
                  </a:lnTo>
                  <a:lnTo>
                    <a:pt x="338" y="718"/>
                  </a:lnTo>
                  <a:lnTo>
                    <a:pt x="339" y="714"/>
                  </a:lnTo>
                  <a:lnTo>
                    <a:pt x="345" y="714"/>
                  </a:lnTo>
                  <a:lnTo>
                    <a:pt x="347" y="712"/>
                  </a:lnTo>
                  <a:lnTo>
                    <a:pt x="351" y="712"/>
                  </a:lnTo>
                  <a:lnTo>
                    <a:pt x="353" y="712"/>
                  </a:lnTo>
                  <a:lnTo>
                    <a:pt x="357" y="712"/>
                  </a:lnTo>
                  <a:lnTo>
                    <a:pt x="359" y="712"/>
                  </a:lnTo>
                  <a:lnTo>
                    <a:pt x="361" y="710"/>
                  </a:lnTo>
                  <a:lnTo>
                    <a:pt x="362" y="710"/>
                  </a:lnTo>
                  <a:lnTo>
                    <a:pt x="364" y="710"/>
                  </a:lnTo>
                  <a:lnTo>
                    <a:pt x="366" y="714"/>
                  </a:lnTo>
                  <a:lnTo>
                    <a:pt x="370" y="718"/>
                  </a:lnTo>
                  <a:lnTo>
                    <a:pt x="372" y="720"/>
                  </a:lnTo>
                  <a:lnTo>
                    <a:pt x="374" y="722"/>
                  </a:lnTo>
                  <a:lnTo>
                    <a:pt x="378" y="722"/>
                  </a:lnTo>
                  <a:lnTo>
                    <a:pt x="380" y="722"/>
                  </a:lnTo>
                  <a:lnTo>
                    <a:pt x="382" y="722"/>
                  </a:lnTo>
                  <a:lnTo>
                    <a:pt x="385" y="720"/>
                  </a:lnTo>
                  <a:lnTo>
                    <a:pt x="385" y="716"/>
                  </a:lnTo>
                  <a:lnTo>
                    <a:pt x="389" y="714"/>
                  </a:lnTo>
                  <a:lnTo>
                    <a:pt x="391" y="714"/>
                  </a:lnTo>
                  <a:lnTo>
                    <a:pt x="395" y="712"/>
                  </a:lnTo>
                  <a:lnTo>
                    <a:pt x="397" y="712"/>
                  </a:lnTo>
                  <a:lnTo>
                    <a:pt x="403" y="712"/>
                  </a:lnTo>
                  <a:lnTo>
                    <a:pt x="407" y="712"/>
                  </a:lnTo>
                  <a:lnTo>
                    <a:pt x="412" y="712"/>
                  </a:lnTo>
                  <a:lnTo>
                    <a:pt x="414" y="712"/>
                  </a:lnTo>
                  <a:lnTo>
                    <a:pt x="418" y="712"/>
                  </a:lnTo>
                  <a:lnTo>
                    <a:pt x="422" y="712"/>
                  </a:lnTo>
                  <a:lnTo>
                    <a:pt x="424" y="712"/>
                  </a:lnTo>
                  <a:lnTo>
                    <a:pt x="428" y="712"/>
                  </a:lnTo>
                  <a:lnTo>
                    <a:pt x="432" y="712"/>
                  </a:lnTo>
                  <a:lnTo>
                    <a:pt x="433" y="712"/>
                  </a:lnTo>
                  <a:lnTo>
                    <a:pt x="435" y="712"/>
                  </a:lnTo>
                  <a:lnTo>
                    <a:pt x="439" y="710"/>
                  </a:lnTo>
                  <a:lnTo>
                    <a:pt x="441" y="710"/>
                  </a:lnTo>
                  <a:lnTo>
                    <a:pt x="443" y="708"/>
                  </a:lnTo>
                  <a:lnTo>
                    <a:pt x="445" y="708"/>
                  </a:lnTo>
                  <a:lnTo>
                    <a:pt x="445" y="702"/>
                  </a:lnTo>
                  <a:lnTo>
                    <a:pt x="447" y="702"/>
                  </a:lnTo>
                  <a:lnTo>
                    <a:pt x="447" y="701"/>
                  </a:lnTo>
                  <a:lnTo>
                    <a:pt x="451" y="695"/>
                  </a:lnTo>
                  <a:lnTo>
                    <a:pt x="455" y="693"/>
                  </a:lnTo>
                  <a:lnTo>
                    <a:pt x="458" y="689"/>
                  </a:lnTo>
                  <a:lnTo>
                    <a:pt x="462" y="687"/>
                  </a:lnTo>
                  <a:lnTo>
                    <a:pt x="464" y="683"/>
                  </a:lnTo>
                  <a:lnTo>
                    <a:pt x="464" y="681"/>
                  </a:lnTo>
                  <a:lnTo>
                    <a:pt x="466" y="679"/>
                  </a:lnTo>
                  <a:lnTo>
                    <a:pt x="468" y="678"/>
                  </a:lnTo>
                  <a:lnTo>
                    <a:pt x="472" y="676"/>
                  </a:lnTo>
                  <a:lnTo>
                    <a:pt x="476" y="676"/>
                  </a:lnTo>
                  <a:lnTo>
                    <a:pt x="480" y="676"/>
                  </a:lnTo>
                  <a:lnTo>
                    <a:pt x="485" y="676"/>
                  </a:lnTo>
                  <a:lnTo>
                    <a:pt x="487" y="676"/>
                  </a:lnTo>
                  <a:lnTo>
                    <a:pt x="491" y="676"/>
                  </a:lnTo>
                  <a:lnTo>
                    <a:pt x="495" y="676"/>
                  </a:lnTo>
                  <a:lnTo>
                    <a:pt x="497" y="674"/>
                  </a:lnTo>
                  <a:lnTo>
                    <a:pt x="499" y="670"/>
                  </a:lnTo>
                  <a:lnTo>
                    <a:pt x="503" y="666"/>
                  </a:lnTo>
                  <a:lnTo>
                    <a:pt x="501" y="666"/>
                  </a:lnTo>
                  <a:lnTo>
                    <a:pt x="501" y="664"/>
                  </a:lnTo>
                  <a:lnTo>
                    <a:pt x="499" y="662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4"/>
                  </a:lnTo>
                  <a:lnTo>
                    <a:pt x="491" y="654"/>
                  </a:lnTo>
                  <a:lnTo>
                    <a:pt x="491" y="651"/>
                  </a:lnTo>
                  <a:lnTo>
                    <a:pt x="489" y="649"/>
                  </a:lnTo>
                  <a:lnTo>
                    <a:pt x="487" y="647"/>
                  </a:lnTo>
                  <a:lnTo>
                    <a:pt x="485" y="645"/>
                  </a:lnTo>
                  <a:lnTo>
                    <a:pt x="483" y="641"/>
                  </a:lnTo>
                  <a:lnTo>
                    <a:pt x="483" y="637"/>
                  </a:lnTo>
                  <a:lnTo>
                    <a:pt x="481" y="635"/>
                  </a:lnTo>
                  <a:lnTo>
                    <a:pt x="481" y="633"/>
                  </a:lnTo>
                  <a:lnTo>
                    <a:pt x="481" y="631"/>
                  </a:lnTo>
                  <a:lnTo>
                    <a:pt x="480" y="628"/>
                  </a:lnTo>
                  <a:lnTo>
                    <a:pt x="480" y="624"/>
                  </a:lnTo>
                  <a:lnTo>
                    <a:pt x="480" y="622"/>
                  </a:lnTo>
                  <a:lnTo>
                    <a:pt x="480" y="618"/>
                  </a:lnTo>
                  <a:lnTo>
                    <a:pt x="478" y="616"/>
                  </a:lnTo>
                  <a:lnTo>
                    <a:pt x="476" y="614"/>
                  </a:lnTo>
                  <a:lnTo>
                    <a:pt x="474" y="612"/>
                  </a:lnTo>
                  <a:lnTo>
                    <a:pt x="470" y="610"/>
                  </a:lnTo>
                  <a:lnTo>
                    <a:pt x="468" y="608"/>
                  </a:lnTo>
                  <a:lnTo>
                    <a:pt x="464" y="607"/>
                  </a:lnTo>
                  <a:lnTo>
                    <a:pt x="462" y="605"/>
                  </a:lnTo>
                  <a:lnTo>
                    <a:pt x="460" y="601"/>
                  </a:lnTo>
                  <a:lnTo>
                    <a:pt x="458" y="599"/>
                  </a:lnTo>
                  <a:lnTo>
                    <a:pt x="458" y="597"/>
                  </a:lnTo>
                  <a:lnTo>
                    <a:pt x="458" y="595"/>
                  </a:lnTo>
                  <a:lnTo>
                    <a:pt x="456" y="593"/>
                  </a:lnTo>
                  <a:lnTo>
                    <a:pt x="453" y="589"/>
                  </a:lnTo>
                  <a:lnTo>
                    <a:pt x="449" y="585"/>
                  </a:lnTo>
                  <a:lnTo>
                    <a:pt x="447" y="582"/>
                  </a:lnTo>
                  <a:lnTo>
                    <a:pt x="443" y="580"/>
                  </a:lnTo>
                  <a:lnTo>
                    <a:pt x="441" y="578"/>
                  </a:lnTo>
                  <a:lnTo>
                    <a:pt x="441" y="578"/>
                  </a:lnTo>
                  <a:lnTo>
                    <a:pt x="439" y="574"/>
                  </a:lnTo>
                  <a:lnTo>
                    <a:pt x="439" y="572"/>
                  </a:lnTo>
                  <a:lnTo>
                    <a:pt x="435" y="570"/>
                  </a:lnTo>
                  <a:lnTo>
                    <a:pt x="433" y="568"/>
                  </a:lnTo>
                  <a:lnTo>
                    <a:pt x="432" y="566"/>
                  </a:lnTo>
                  <a:lnTo>
                    <a:pt x="432" y="562"/>
                  </a:lnTo>
                  <a:lnTo>
                    <a:pt x="428" y="560"/>
                  </a:lnTo>
                  <a:lnTo>
                    <a:pt x="424" y="560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6" y="560"/>
                  </a:lnTo>
                  <a:lnTo>
                    <a:pt x="414" y="560"/>
                  </a:lnTo>
                  <a:lnTo>
                    <a:pt x="414" y="557"/>
                  </a:lnTo>
                  <a:lnTo>
                    <a:pt x="414" y="553"/>
                  </a:lnTo>
                  <a:lnTo>
                    <a:pt x="414" y="551"/>
                  </a:lnTo>
                  <a:lnTo>
                    <a:pt x="414" y="547"/>
                  </a:lnTo>
                  <a:lnTo>
                    <a:pt x="414" y="543"/>
                  </a:lnTo>
                  <a:lnTo>
                    <a:pt x="416" y="541"/>
                  </a:lnTo>
                  <a:lnTo>
                    <a:pt x="418" y="537"/>
                  </a:lnTo>
                  <a:lnTo>
                    <a:pt x="422" y="537"/>
                  </a:lnTo>
                  <a:lnTo>
                    <a:pt x="424" y="537"/>
                  </a:lnTo>
                  <a:lnTo>
                    <a:pt x="426" y="536"/>
                  </a:lnTo>
                  <a:lnTo>
                    <a:pt x="430" y="534"/>
                  </a:lnTo>
                  <a:lnTo>
                    <a:pt x="433" y="532"/>
                  </a:lnTo>
                  <a:lnTo>
                    <a:pt x="435" y="526"/>
                  </a:lnTo>
                  <a:lnTo>
                    <a:pt x="439" y="524"/>
                  </a:lnTo>
                  <a:lnTo>
                    <a:pt x="441" y="524"/>
                  </a:lnTo>
                  <a:lnTo>
                    <a:pt x="445" y="522"/>
                  </a:lnTo>
                  <a:lnTo>
                    <a:pt x="449" y="522"/>
                  </a:lnTo>
                  <a:lnTo>
                    <a:pt x="451" y="522"/>
                  </a:lnTo>
                  <a:lnTo>
                    <a:pt x="453" y="524"/>
                  </a:lnTo>
                  <a:lnTo>
                    <a:pt x="456" y="526"/>
                  </a:lnTo>
                  <a:lnTo>
                    <a:pt x="460" y="526"/>
                  </a:lnTo>
                  <a:lnTo>
                    <a:pt x="464" y="528"/>
                  </a:lnTo>
                  <a:lnTo>
                    <a:pt x="468" y="528"/>
                  </a:lnTo>
                  <a:lnTo>
                    <a:pt x="470" y="526"/>
                  </a:lnTo>
                  <a:lnTo>
                    <a:pt x="472" y="526"/>
                  </a:lnTo>
                  <a:lnTo>
                    <a:pt x="476" y="526"/>
                  </a:lnTo>
                  <a:lnTo>
                    <a:pt x="478" y="524"/>
                  </a:lnTo>
                  <a:lnTo>
                    <a:pt x="478" y="520"/>
                  </a:lnTo>
                  <a:lnTo>
                    <a:pt x="478" y="516"/>
                  </a:lnTo>
                  <a:lnTo>
                    <a:pt x="478" y="512"/>
                  </a:lnTo>
                  <a:lnTo>
                    <a:pt x="478" y="509"/>
                  </a:lnTo>
                  <a:lnTo>
                    <a:pt x="478" y="507"/>
                  </a:lnTo>
                  <a:lnTo>
                    <a:pt x="478" y="505"/>
                  </a:lnTo>
                  <a:lnTo>
                    <a:pt x="476" y="503"/>
                  </a:lnTo>
                  <a:lnTo>
                    <a:pt x="474" y="503"/>
                  </a:lnTo>
                  <a:lnTo>
                    <a:pt x="474" y="499"/>
                  </a:lnTo>
                  <a:lnTo>
                    <a:pt x="470" y="499"/>
                  </a:lnTo>
                  <a:lnTo>
                    <a:pt x="468" y="497"/>
                  </a:lnTo>
                  <a:lnTo>
                    <a:pt x="468" y="493"/>
                  </a:lnTo>
                  <a:lnTo>
                    <a:pt x="468" y="489"/>
                  </a:lnTo>
                  <a:lnTo>
                    <a:pt x="468" y="486"/>
                  </a:lnTo>
                  <a:lnTo>
                    <a:pt x="468" y="482"/>
                  </a:lnTo>
                  <a:lnTo>
                    <a:pt x="468" y="478"/>
                  </a:lnTo>
                  <a:lnTo>
                    <a:pt x="468" y="476"/>
                  </a:lnTo>
                  <a:lnTo>
                    <a:pt x="468" y="474"/>
                  </a:lnTo>
                  <a:lnTo>
                    <a:pt x="466" y="472"/>
                  </a:lnTo>
                  <a:lnTo>
                    <a:pt x="462" y="472"/>
                  </a:lnTo>
                  <a:lnTo>
                    <a:pt x="462" y="468"/>
                  </a:lnTo>
                  <a:lnTo>
                    <a:pt x="462" y="465"/>
                  </a:lnTo>
                  <a:lnTo>
                    <a:pt x="462" y="463"/>
                  </a:lnTo>
                  <a:lnTo>
                    <a:pt x="464" y="459"/>
                  </a:lnTo>
                  <a:lnTo>
                    <a:pt x="464" y="457"/>
                  </a:lnTo>
                  <a:lnTo>
                    <a:pt x="466" y="455"/>
                  </a:lnTo>
                  <a:lnTo>
                    <a:pt x="468" y="451"/>
                  </a:lnTo>
                  <a:lnTo>
                    <a:pt x="472" y="447"/>
                  </a:lnTo>
                  <a:lnTo>
                    <a:pt x="476" y="447"/>
                  </a:lnTo>
                  <a:lnTo>
                    <a:pt x="476" y="445"/>
                  </a:lnTo>
                  <a:lnTo>
                    <a:pt x="478" y="445"/>
                  </a:lnTo>
                  <a:lnTo>
                    <a:pt x="480" y="443"/>
                  </a:lnTo>
                  <a:lnTo>
                    <a:pt x="481" y="443"/>
                  </a:lnTo>
                  <a:lnTo>
                    <a:pt x="483" y="441"/>
                  </a:lnTo>
                  <a:lnTo>
                    <a:pt x="485" y="443"/>
                  </a:lnTo>
                  <a:lnTo>
                    <a:pt x="485" y="441"/>
                  </a:lnTo>
                  <a:lnTo>
                    <a:pt x="487" y="440"/>
                  </a:lnTo>
                  <a:lnTo>
                    <a:pt x="489" y="438"/>
                  </a:lnTo>
                  <a:lnTo>
                    <a:pt x="491" y="436"/>
                  </a:lnTo>
                  <a:lnTo>
                    <a:pt x="493" y="432"/>
                  </a:lnTo>
                  <a:lnTo>
                    <a:pt x="495" y="430"/>
                  </a:lnTo>
                  <a:lnTo>
                    <a:pt x="495" y="428"/>
                  </a:lnTo>
                  <a:lnTo>
                    <a:pt x="499" y="428"/>
                  </a:lnTo>
                  <a:lnTo>
                    <a:pt x="499" y="426"/>
                  </a:lnTo>
                  <a:lnTo>
                    <a:pt x="501" y="424"/>
                  </a:lnTo>
                  <a:lnTo>
                    <a:pt x="503" y="422"/>
                  </a:lnTo>
                  <a:lnTo>
                    <a:pt x="503" y="422"/>
                  </a:lnTo>
                  <a:lnTo>
                    <a:pt x="504" y="420"/>
                  </a:lnTo>
                  <a:lnTo>
                    <a:pt x="506" y="418"/>
                  </a:lnTo>
                  <a:lnTo>
                    <a:pt x="506" y="417"/>
                  </a:lnTo>
                  <a:lnTo>
                    <a:pt x="508" y="415"/>
                  </a:lnTo>
                  <a:lnTo>
                    <a:pt x="510" y="415"/>
                  </a:lnTo>
                  <a:lnTo>
                    <a:pt x="512" y="413"/>
                  </a:lnTo>
                  <a:lnTo>
                    <a:pt x="512" y="411"/>
                  </a:lnTo>
                  <a:lnTo>
                    <a:pt x="514" y="407"/>
                  </a:lnTo>
                  <a:lnTo>
                    <a:pt x="516" y="405"/>
                  </a:lnTo>
                  <a:lnTo>
                    <a:pt x="518" y="403"/>
                  </a:lnTo>
                  <a:lnTo>
                    <a:pt x="520" y="403"/>
                  </a:lnTo>
                  <a:lnTo>
                    <a:pt x="520" y="399"/>
                  </a:lnTo>
                  <a:lnTo>
                    <a:pt x="522" y="397"/>
                  </a:lnTo>
                  <a:lnTo>
                    <a:pt x="522" y="394"/>
                  </a:lnTo>
                  <a:lnTo>
                    <a:pt x="522" y="392"/>
                  </a:lnTo>
                  <a:lnTo>
                    <a:pt x="522" y="388"/>
                  </a:lnTo>
                  <a:lnTo>
                    <a:pt x="520" y="386"/>
                  </a:lnTo>
                  <a:lnTo>
                    <a:pt x="520" y="384"/>
                  </a:lnTo>
                  <a:lnTo>
                    <a:pt x="520" y="380"/>
                  </a:lnTo>
                  <a:lnTo>
                    <a:pt x="520" y="376"/>
                  </a:lnTo>
                  <a:lnTo>
                    <a:pt x="520" y="376"/>
                  </a:lnTo>
                  <a:lnTo>
                    <a:pt x="522" y="374"/>
                  </a:lnTo>
                  <a:lnTo>
                    <a:pt x="524" y="370"/>
                  </a:lnTo>
                  <a:lnTo>
                    <a:pt x="527" y="369"/>
                  </a:lnTo>
                  <a:lnTo>
                    <a:pt x="529" y="365"/>
                  </a:lnTo>
                  <a:lnTo>
                    <a:pt x="533" y="363"/>
                  </a:lnTo>
                  <a:lnTo>
                    <a:pt x="533" y="357"/>
                  </a:lnTo>
                  <a:lnTo>
                    <a:pt x="535" y="353"/>
                  </a:lnTo>
                  <a:lnTo>
                    <a:pt x="535" y="351"/>
                  </a:lnTo>
                  <a:lnTo>
                    <a:pt x="535" y="349"/>
                  </a:lnTo>
                  <a:lnTo>
                    <a:pt x="535" y="346"/>
                  </a:lnTo>
                  <a:lnTo>
                    <a:pt x="537" y="344"/>
                  </a:lnTo>
                  <a:lnTo>
                    <a:pt x="535" y="340"/>
                  </a:lnTo>
                  <a:lnTo>
                    <a:pt x="535" y="338"/>
                  </a:lnTo>
                  <a:lnTo>
                    <a:pt x="535" y="334"/>
                  </a:lnTo>
                  <a:lnTo>
                    <a:pt x="535" y="332"/>
                  </a:lnTo>
                  <a:lnTo>
                    <a:pt x="535" y="328"/>
                  </a:lnTo>
                  <a:lnTo>
                    <a:pt x="535" y="324"/>
                  </a:lnTo>
                  <a:lnTo>
                    <a:pt x="535" y="323"/>
                  </a:lnTo>
                  <a:lnTo>
                    <a:pt x="535" y="319"/>
                  </a:lnTo>
                  <a:lnTo>
                    <a:pt x="535" y="315"/>
                  </a:lnTo>
                  <a:lnTo>
                    <a:pt x="537" y="311"/>
                  </a:lnTo>
                  <a:lnTo>
                    <a:pt x="537" y="307"/>
                  </a:lnTo>
                  <a:lnTo>
                    <a:pt x="537" y="305"/>
                  </a:lnTo>
                  <a:lnTo>
                    <a:pt x="537" y="301"/>
                  </a:lnTo>
                  <a:lnTo>
                    <a:pt x="537" y="298"/>
                  </a:lnTo>
                  <a:lnTo>
                    <a:pt x="537" y="296"/>
                  </a:lnTo>
                  <a:lnTo>
                    <a:pt x="537" y="294"/>
                  </a:lnTo>
                  <a:lnTo>
                    <a:pt x="535" y="292"/>
                  </a:lnTo>
                  <a:lnTo>
                    <a:pt x="535" y="288"/>
                  </a:lnTo>
                  <a:lnTo>
                    <a:pt x="535" y="286"/>
                  </a:lnTo>
                  <a:lnTo>
                    <a:pt x="535" y="282"/>
                  </a:lnTo>
                  <a:lnTo>
                    <a:pt x="535" y="278"/>
                  </a:lnTo>
                  <a:lnTo>
                    <a:pt x="533" y="278"/>
                  </a:lnTo>
                  <a:lnTo>
                    <a:pt x="533" y="275"/>
                  </a:lnTo>
                  <a:lnTo>
                    <a:pt x="533" y="271"/>
                  </a:lnTo>
                  <a:lnTo>
                    <a:pt x="533" y="269"/>
                  </a:lnTo>
                  <a:lnTo>
                    <a:pt x="533" y="265"/>
                  </a:lnTo>
                  <a:lnTo>
                    <a:pt x="533" y="261"/>
                  </a:lnTo>
                  <a:lnTo>
                    <a:pt x="533" y="259"/>
                  </a:lnTo>
                  <a:lnTo>
                    <a:pt x="533" y="255"/>
                  </a:lnTo>
                  <a:lnTo>
                    <a:pt x="533" y="253"/>
                  </a:lnTo>
                  <a:lnTo>
                    <a:pt x="533" y="252"/>
                  </a:lnTo>
                  <a:lnTo>
                    <a:pt x="535" y="248"/>
                  </a:lnTo>
                  <a:lnTo>
                    <a:pt x="537" y="246"/>
                  </a:lnTo>
                  <a:lnTo>
                    <a:pt x="539" y="244"/>
                  </a:lnTo>
                  <a:lnTo>
                    <a:pt x="539" y="242"/>
                  </a:lnTo>
                  <a:lnTo>
                    <a:pt x="541" y="240"/>
                  </a:lnTo>
                  <a:lnTo>
                    <a:pt x="541" y="236"/>
                  </a:lnTo>
                  <a:lnTo>
                    <a:pt x="543" y="236"/>
                  </a:lnTo>
                  <a:lnTo>
                    <a:pt x="545" y="234"/>
                  </a:lnTo>
                  <a:lnTo>
                    <a:pt x="547" y="232"/>
                  </a:lnTo>
                  <a:lnTo>
                    <a:pt x="549" y="230"/>
                  </a:lnTo>
                  <a:lnTo>
                    <a:pt x="551" y="230"/>
                  </a:lnTo>
                  <a:lnTo>
                    <a:pt x="552" y="227"/>
                  </a:lnTo>
                  <a:lnTo>
                    <a:pt x="556" y="227"/>
                  </a:lnTo>
                  <a:lnTo>
                    <a:pt x="556" y="223"/>
                  </a:lnTo>
                  <a:lnTo>
                    <a:pt x="558" y="221"/>
                  </a:lnTo>
                  <a:lnTo>
                    <a:pt x="562" y="219"/>
                  </a:lnTo>
                  <a:lnTo>
                    <a:pt x="566" y="217"/>
                  </a:lnTo>
                  <a:lnTo>
                    <a:pt x="566" y="217"/>
                  </a:lnTo>
                  <a:lnTo>
                    <a:pt x="570" y="215"/>
                  </a:lnTo>
                  <a:lnTo>
                    <a:pt x="572" y="213"/>
                  </a:lnTo>
                  <a:lnTo>
                    <a:pt x="574" y="211"/>
                  </a:lnTo>
                  <a:lnTo>
                    <a:pt x="574" y="209"/>
                  </a:lnTo>
                  <a:lnTo>
                    <a:pt x="574" y="207"/>
                  </a:lnTo>
                  <a:lnTo>
                    <a:pt x="577" y="207"/>
                  </a:lnTo>
                  <a:lnTo>
                    <a:pt x="579" y="205"/>
                  </a:lnTo>
                  <a:lnTo>
                    <a:pt x="583" y="204"/>
                  </a:lnTo>
                  <a:lnTo>
                    <a:pt x="583" y="202"/>
                  </a:lnTo>
                  <a:lnTo>
                    <a:pt x="585" y="200"/>
                  </a:lnTo>
                  <a:lnTo>
                    <a:pt x="587" y="198"/>
                  </a:lnTo>
                  <a:lnTo>
                    <a:pt x="589" y="198"/>
                  </a:lnTo>
                  <a:lnTo>
                    <a:pt x="591" y="196"/>
                  </a:lnTo>
                  <a:lnTo>
                    <a:pt x="591" y="194"/>
                  </a:lnTo>
                  <a:lnTo>
                    <a:pt x="593" y="192"/>
                  </a:lnTo>
                  <a:lnTo>
                    <a:pt x="595" y="190"/>
                  </a:lnTo>
                  <a:lnTo>
                    <a:pt x="597" y="190"/>
                  </a:lnTo>
                  <a:lnTo>
                    <a:pt x="598" y="188"/>
                  </a:lnTo>
                  <a:lnTo>
                    <a:pt x="600" y="186"/>
                  </a:lnTo>
                  <a:lnTo>
                    <a:pt x="600" y="184"/>
                  </a:lnTo>
                  <a:lnTo>
                    <a:pt x="602" y="18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3" name="Freeform 39"/>
            <p:cNvSpPr>
              <a:spLocks/>
            </p:cNvSpPr>
            <p:nvPr/>
          </p:nvSpPr>
          <p:spPr bwMode="auto">
            <a:xfrm>
              <a:off x="1703" y="1914"/>
              <a:ext cx="476" cy="337"/>
            </a:xfrm>
            <a:custGeom>
              <a:avLst/>
              <a:gdLst/>
              <a:ahLst/>
              <a:cxnLst>
                <a:cxn ang="0">
                  <a:pos x="449" y="228"/>
                </a:cxn>
                <a:cxn ang="0">
                  <a:pos x="428" y="228"/>
                </a:cxn>
                <a:cxn ang="0">
                  <a:pos x="409" y="220"/>
                </a:cxn>
                <a:cxn ang="0">
                  <a:pos x="389" y="226"/>
                </a:cxn>
                <a:cxn ang="0">
                  <a:pos x="363" y="234"/>
                </a:cxn>
                <a:cxn ang="0">
                  <a:pos x="347" y="241"/>
                </a:cxn>
                <a:cxn ang="0">
                  <a:pos x="320" y="245"/>
                </a:cxn>
                <a:cxn ang="0">
                  <a:pos x="299" y="238"/>
                </a:cxn>
                <a:cxn ang="0">
                  <a:pos x="280" y="261"/>
                </a:cxn>
                <a:cxn ang="0">
                  <a:pos x="255" y="249"/>
                </a:cxn>
                <a:cxn ang="0">
                  <a:pos x="228" y="245"/>
                </a:cxn>
                <a:cxn ang="0">
                  <a:pos x="211" y="234"/>
                </a:cxn>
                <a:cxn ang="0">
                  <a:pos x="192" y="220"/>
                </a:cxn>
                <a:cxn ang="0">
                  <a:pos x="171" y="226"/>
                </a:cxn>
                <a:cxn ang="0">
                  <a:pos x="146" y="247"/>
                </a:cxn>
                <a:cxn ang="0">
                  <a:pos x="140" y="276"/>
                </a:cxn>
                <a:cxn ang="0">
                  <a:pos x="129" y="286"/>
                </a:cxn>
                <a:cxn ang="0">
                  <a:pos x="105" y="284"/>
                </a:cxn>
                <a:cxn ang="0">
                  <a:pos x="88" y="293"/>
                </a:cxn>
                <a:cxn ang="0">
                  <a:pos x="73" y="305"/>
                </a:cxn>
                <a:cxn ang="0">
                  <a:pos x="67" y="326"/>
                </a:cxn>
                <a:cxn ang="0">
                  <a:pos x="59" y="334"/>
                </a:cxn>
                <a:cxn ang="0">
                  <a:pos x="59" y="309"/>
                </a:cxn>
                <a:cxn ang="0">
                  <a:pos x="40" y="293"/>
                </a:cxn>
                <a:cxn ang="0">
                  <a:pos x="34" y="274"/>
                </a:cxn>
                <a:cxn ang="0">
                  <a:pos x="15" y="257"/>
                </a:cxn>
                <a:cxn ang="0">
                  <a:pos x="8" y="238"/>
                </a:cxn>
                <a:cxn ang="0">
                  <a:pos x="8" y="218"/>
                </a:cxn>
                <a:cxn ang="0">
                  <a:pos x="6" y="195"/>
                </a:cxn>
                <a:cxn ang="0">
                  <a:pos x="8" y="176"/>
                </a:cxn>
                <a:cxn ang="0">
                  <a:pos x="17" y="157"/>
                </a:cxn>
                <a:cxn ang="0">
                  <a:pos x="27" y="142"/>
                </a:cxn>
                <a:cxn ang="0">
                  <a:pos x="38" y="126"/>
                </a:cxn>
                <a:cxn ang="0">
                  <a:pos x="67" y="128"/>
                </a:cxn>
                <a:cxn ang="0">
                  <a:pos x="96" y="126"/>
                </a:cxn>
                <a:cxn ang="0">
                  <a:pos x="123" y="119"/>
                </a:cxn>
                <a:cxn ang="0">
                  <a:pos x="150" y="117"/>
                </a:cxn>
                <a:cxn ang="0">
                  <a:pos x="163" y="94"/>
                </a:cxn>
                <a:cxn ang="0">
                  <a:pos x="184" y="74"/>
                </a:cxn>
                <a:cxn ang="0">
                  <a:pos x="203" y="74"/>
                </a:cxn>
                <a:cxn ang="0">
                  <a:pos x="221" y="67"/>
                </a:cxn>
                <a:cxn ang="0">
                  <a:pos x="230" y="51"/>
                </a:cxn>
                <a:cxn ang="0">
                  <a:pos x="246" y="40"/>
                </a:cxn>
                <a:cxn ang="0">
                  <a:pos x="263" y="27"/>
                </a:cxn>
                <a:cxn ang="0">
                  <a:pos x="276" y="7"/>
                </a:cxn>
                <a:cxn ang="0">
                  <a:pos x="301" y="5"/>
                </a:cxn>
                <a:cxn ang="0">
                  <a:pos x="307" y="21"/>
                </a:cxn>
                <a:cxn ang="0">
                  <a:pos x="324" y="36"/>
                </a:cxn>
                <a:cxn ang="0">
                  <a:pos x="330" y="57"/>
                </a:cxn>
                <a:cxn ang="0">
                  <a:pos x="328" y="82"/>
                </a:cxn>
                <a:cxn ang="0">
                  <a:pos x="341" y="96"/>
                </a:cxn>
                <a:cxn ang="0">
                  <a:pos x="361" y="101"/>
                </a:cxn>
                <a:cxn ang="0">
                  <a:pos x="378" y="111"/>
                </a:cxn>
                <a:cxn ang="0">
                  <a:pos x="389" y="122"/>
                </a:cxn>
                <a:cxn ang="0">
                  <a:pos x="405" y="136"/>
                </a:cxn>
                <a:cxn ang="0">
                  <a:pos x="412" y="155"/>
                </a:cxn>
                <a:cxn ang="0">
                  <a:pos x="432" y="165"/>
                </a:cxn>
                <a:cxn ang="0">
                  <a:pos x="443" y="172"/>
                </a:cxn>
                <a:cxn ang="0">
                  <a:pos x="449" y="192"/>
                </a:cxn>
                <a:cxn ang="0">
                  <a:pos x="462" y="207"/>
                </a:cxn>
                <a:cxn ang="0">
                  <a:pos x="474" y="228"/>
                </a:cxn>
              </a:cxnLst>
              <a:rect l="0" t="0" r="r" b="b"/>
              <a:pathLst>
                <a:path w="476" h="337">
                  <a:moveTo>
                    <a:pt x="476" y="230"/>
                  </a:moveTo>
                  <a:lnTo>
                    <a:pt x="470" y="228"/>
                  </a:lnTo>
                  <a:lnTo>
                    <a:pt x="466" y="228"/>
                  </a:lnTo>
                  <a:lnTo>
                    <a:pt x="462" y="228"/>
                  </a:lnTo>
                  <a:lnTo>
                    <a:pt x="460" y="226"/>
                  </a:lnTo>
                  <a:lnTo>
                    <a:pt x="457" y="228"/>
                  </a:lnTo>
                  <a:lnTo>
                    <a:pt x="453" y="228"/>
                  </a:lnTo>
                  <a:lnTo>
                    <a:pt x="449" y="228"/>
                  </a:lnTo>
                  <a:lnTo>
                    <a:pt x="447" y="228"/>
                  </a:lnTo>
                  <a:lnTo>
                    <a:pt x="445" y="228"/>
                  </a:lnTo>
                  <a:lnTo>
                    <a:pt x="441" y="228"/>
                  </a:lnTo>
                  <a:lnTo>
                    <a:pt x="439" y="228"/>
                  </a:lnTo>
                  <a:lnTo>
                    <a:pt x="437" y="228"/>
                  </a:lnTo>
                  <a:lnTo>
                    <a:pt x="434" y="228"/>
                  </a:lnTo>
                  <a:lnTo>
                    <a:pt x="432" y="228"/>
                  </a:lnTo>
                  <a:lnTo>
                    <a:pt x="428" y="228"/>
                  </a:lnTo>
                  <a:lnTo>
                    <a:pt x="424" y="228"/>
                  </a:lnTo>
                  <a:lnTo>
                    <a:pt x="422" y="224"/>
                  </a:lnTo>
                  <a:lnTo>
                    <a:pt x="418" y="224"/>
                  </a:lnTo>
                  <a:lnTo>
                    <a:pt x="416" y="222"/>
                  </a:lnTo>
                  <a:lnTo>
                    <a:pt x="416" y="220"/>
                  </a:lnTo>
                  <a:lnTo>
                    <a:pt x="414" y="220"/>
                  </a:lnTo>
                  <a:lnTo>
                    <a:pt x="412" y="220"/>
                  </a:lnTo>
                  <a:lnTo>
                    <a:pt x="409" y="220"/>
                  </a:lnTo>
                  <a:lnTo>
                    <a:pt x="407" y="220"/>
                  </a:lnTo>
                  <a:lnTo>
                    <a:pt x="405" y="220"/>
                  </a:lnTo>
                  <a:lnTo>
                    <a:pt x="401" y="220"/>
                  </a:lnTo>
                  <a:lnTo>
                    <a:pt x="397" y="220"/>
                  </a:lnTo>
                  <a:lnTo>
                    <a:pt x="395" y="222"/>
                  </a:lnTo>
                  <a:lnTo>
                    <a:pt x="395" y="224"/>
                  </a:lnTo>
                  <a:lnTo>
                    <a:pt x="391" y="224"/>
                  </a:lnTo>
                  <a:lnTo>
                    <a:pt x="389" y="226"/>
                  </a:lnTo>
                  <a:lnTo>
                    <a:pt x="388" y="228"/>
                  </a:lnTo>
                  <a:lnTo>
                    <a:pt x="386" y="230"/>
                  </a:lnTo>
                  <a:lnTo>
                    <a:pt x="382" y="232"/>
                  </a:lnTo>
                  <a:lnTo>
                    <a:pt x="378" y="232"/>
                  </a:lnTo>
                  <a:lnTo>
                    <a:pt x="374" y="232"/>
                  </a:lnTo>
                  <a:lnTo>
                    <a:pt x="370" y="232"/>
                  </a:lnTo>
                  <a:lnTo>
                    <a:pt x="366" y="232"/>
                  </a:lnTo>
                  <a:lnTo>
                    <a:pt x="363" y="234"/>
                  </a:lnTo>
                  <a:lnTo>
                    <a:pt x="361" y="234"/>
                  </a:lnTo>
                  <a:lnTo>
                    <a:pt x="357" y="234"/>
                  </a:lnTo>
                  <a:lnTo>
                    <a:pt x="355" y="234"/>
                  </a:lnTo>
                  <a:lnTo>
                    <a:pt x="353" y="236"/>
                  </a:lnTo>
                  <a:lnTo>
                    <a:pt x="351" y="238"/>
                  </a:lnTo>
                  <a:lnTo>
                    <a:pt x="349" y="238"/>
                  </a:lnTo>
                  <a:lnTo>
                    <a:pt x="349" y="240"/>
                  </a:lnTo>
                  <a:lnTo>
                    <a:pt x="347" y="241"/>
                  </a:lnTo>
                  <a:lnTo>
                    <a:pt x="343" y="243"/>
                  </a:lnTo>
                  <a:lnTo>
                    <a:pt x="341" y="243"/>
                  </a:lnTo>
                  <a:lnTo>
                    <a:pt x="338" y="245"/>
                  </a:lnTo>
                  <a:lnTo>
                    <a:pt x="334" y="245"/>
                  </a:lnTo>
                  <a:lnTo>
                    <a:pt x="332" y="245"/>
                  </a:lnTo>
                  <a:lnTo>
                    <a:pt x="324" y="245"/>
                  </a:lnTo>
                  <a:lnTo>
                    <a:pt x="322" y="245"/>
                  </a:lnTo>
                  <a:lnTo>
                    <a:pt x="320" y="245"/>
                  </a:lnTo>
                  <a:lnTo>
                    <a:pt x="318" y="243"/>
                  </a:lnTo>
                  <a:lnTo>
                    <a:pt x="317" y="243"/>
                  </a:lnTo>
                  <a:lnTo>
                    <a:pt x="315" y="240"/>
                  </a:lnTo>
                  <a:lnTo>
                    <a:pt x="311" y="240"/>
                  </a:lnTo>
                  <a:lnTo>
                    <a:pt x="309" y="238"/>
                  </a:lnTo>
                  <a:lnTo>
                    <a:pt x="305" y="238"/>
                  </a:lnTo>
                  <a:lnTo>
                    <a:pt x="301" y="238"/>
                  </a:lnTo>
                  <a:lnTo>
                    <a:pt x="299" y="238"/>
                  </a:lnTo>
                  <a:lnTo>
                    <a:pt x="297" y="238"/>
                  </a:lnTo>
                  <a:lnTo>
                    <a:pt x="292" y="243"/>
                  </a:lnTo>
                  <a:lnTo>
                    <a:pt x="292" y="245"/>
                  </a:lnTo>
                  <a:lnTo>
                    <a:pt x="290" y="247"/>
                  </a:lnTo>
                  <a:lnTo>
                    <a:pt x="288" y="251"/>
                  </a:lnTo>
                  <a:lnTo>
                    <a:pt x="286" y="255"/>
                  </a:lnTo>
                  <a:lnTo>
                    <a:pt x="286" y="257"/>
                  </a:lnTo>
                  <a:lnTo>
                    <a:pt x="280" y="261"/>
                  </a:lnTo>
                  <a:lnTo>
                    <a:pt x="272" y="263"/>
                  </a:lnTo>
                  <a:lnTo>
                    <a:pt x="272" y="261"/>
                  </a:lnTo>
                  <a:lnTo>
                    <a:pt x="270" y="261"/>
                  </a:lnTo>
                  <a:lnTo>
                    <a:pt x="269" y="259"/>
                  </a:lnTo>
                  <a:lnTo>
                    <a:pt x="267" y="259"/>
                  </a:lnTo>
                  <a:lnTo>
                    <a:pt x="261" y="253"/>
                  </a:lnTo>
                  <a:lnTo>
                    <a:pt x="257" y="251"/>
                  </a:lnTo>
                  <a:lnTo>
                    <a:pt x="255" y="249"/>
                  </a:lnTo>
                  <a:lnTo>
                    <a:pt x="251" y="249"/>
                  </a:lnTo>
                  <a:lnTo>
                    <a:pt x="249" y="245"/>
                  </a:lnTo>
                  <a:lnTo>
                    <a:pt x="246" y="245"/>
                  </a:lnTo>
                  <a:lnTo>
                    <a:pt x="242" y="245"/>
                  </a:lnTo>
                  <a:lnTo>
                    <a:pt x="236" y="245"/>
                  </a:lnTo>
                  <a:lnTo>
                    <a:pt x="234" y="245"/>
                  </a:lnTo>
                  <a:lnTo>
                    <a:pt x="230" y="245"/>
                  </a:lnTo>
                  <a:lnTo>
                    <a:pt x="228" y="245"/>
                  </a:lnTo>
                  <a:lnTo>
                    <a:pt x="224" y="245"/>
                  </a:lnTo>
                  <a:lnTo>
                    <a:pt x="223" y="245"/>
                  </a:lnTo>
                  <a:lnTo>
                    <a:pt x="219" y="245"/>
                  </a:lnTo>
                  <a:lnTo>
                    <a:pt x="219" y="241"/>
                  </a:lnTo>
                  <a:lnTo>
                    <a:pt x="215" y="241"/>
                  </a:lnTo>
                  <a:lnTo>
                    <a:pt x="215" y="238"/>
                  </a:lnTo>
                  <a:lnTo>
                    <a:pt x="211" y="238"/>
                  </a:lnTo>
                  <a:lnTo>
                    <a:pt x="211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7" y="228"/>
                  </a:lnTo>
                  <a:lnTo>
                    <a:pt x="203" y="226"/>
                  </a:lnTo>
                  <a:lnTo>
                    <a:pt x="200" y="224"/>
                  </a:lnTo>
                  <a:lnTo>
                    <a:pt x="198" y="220"/>
                  </a:lnTo>
                  <a:lnTo>
                    <a:pt x="194" y="220"/>
                  </a:lnTo>
                  <a:lnTo>
                    <a:pt x="192" y="220"/>
                  </a:lnTo>
                  <a:lnTo>
                    <a:pt x="190" y="218"/>
                  </a:lnTo>
                  <a:lnTo>
                    <a:pt x="186" y="218"/>
                  </a:lnTo>
                  <a:lnTo>
                    <a:pt x="184" y="218"/>
                  </a:lnTo>
                  <a:lnTo>
                    <a:pt x="180" y="220"/>
                  </a:lnTo>
                  <a:lnTo>
                    <a:pt x="176" y="220"/>
                  </a:lnTo>
                  <a:lnTo>
                    <a:pt x="175" y="222"/>
                  </a:lnTo>
                  <a:lnTo>
                    <a:pt x="173" y="224"/>
                  </a:lnTo>
                  <a:lnTo>
                    <a:pt x="171" y="226"/>
                  </a:lnTo>
                  <a:lnTo>
                    <a:pt x="167" y="228"/>
                  </a:lnTo>
                  <a:lnTo>
                    <a:pt x="165" y="232"/>
                  </a:lnTo>
                  <a:lnTo>
                    <a:pt x="161" y="234"/>
                  </a:lnTo>
                  <a:lnTo>
                    <a:pt x="157" y="238"/>
                  </a:lnTo>
                  <a:lnTo>
                    <a:pt x="155" y="240"/>
                  </a:lnTo>
                  <a:lnTo>
                    <a:pt x="152" y="243"/>
                  </a:lnTo>
                  <a:lnTo>
                    <a:pt x="148" y="245"/>
                  </a:lnTo>
                  <a:lnTo>
                    <a:pt x="146" y="247"/>
                  </a:lnTo>
                  <a:lnTo>
                    <a:pt x="142" y="251"/>
                  </a:lnTo>
                  <a:lnTo>
                    <a:pt x="142" y="257"/>
                  </a:lnTo>
                  <a:lnTo>
                    <a:pt x="142" y="261"/>
                  </a:lnTo>
                  <a:lnTo>
                    <a:pt x="142" y="264"/>
                  </a:lnTo>
                  <a:lnTo>
                    <a:pt x="140" y="266"/>
                  </a:lnTo>
                  <a:lnTo>
                    <a:pt x="140" y="270"/>
                  </a:lnTo>
                  <a:lnTo>
                    <a:pt x="140" y="272"/>
                  </a:lnTo>
                  <a:lnTo>
                    <a:pt x="140" y="276"/>
                  </a:lnTo>
                  <a:lnTo>
                    <a:pt x="140" y="280"/>
                  </a:lnTo>
                  <a:lnTo>
                    <a:pt x="140" y="282"/>
                  </a:lnTo>
                  <a:lnTo>
                    <a:pt x="140" y="284"/>
                  </a:lnTo>
                  <a:lnTo>
                    <a:pt x="140" y="287"/>
                  </a:lnTo>
                  <a:lnTo>
                    <a:pt x="136" y="287"/>
                  </a:lnTo>
                  <a:lnTo>
                    <a:pt x="134" y="287"/>
                  </a:lnTo>
                  <a:lnTo>
                    <a:pt x="130" y="287"/>
                  </a:lnTo>
                  <a:lnTo>
                    <a:pt x="129" y="286"/>
                  </a:lnTo>
                  <a:lnTo>
                    <a:pt x="127" y="286"/>
                  </a:lnTo>
                  <a:lnTo>
                    <a:pt x="123" y="284"/>
                  </a:lnTo>
                  <a:lnTo>
                    <a:pt x="121" y="284"/>
                  </a:lnTo>
                  <a:lnTo>
                    <a:pt x="117" y="282"/>
                  </a:lnTo>
                  <a:lnTo>
                    <a:pt x="113" y="282"/>
                  </a:lnTo>
                  <a:lnTo>
                    <a:pt x="111" y="284"/>
                  </a:lnTo>
                  <a:lnTo>
                    <a:pt x="107" y="284"/>
                  </a:lnTo>
                  <a:lnTo>
                    <a:pt x="105" y="284"/>
                  </a:lnTo>
                  <a:lnTo>
                    <a:pt x="104" y="284"/>
                  </a:lnTo>
                  <a:lnTo>
                    <a:pt x="102" y="286"/>
                  </a:lnTo>
                  <a:lnTo>
                    <a:pt x="100" y="286"/>
                  </a:lnTo>
                  <a:lnTo>
                    <a:pt x="96" y="287"/>
                  </a:lnTo>
                  <a:lnTo>
                    <a:pt x="94" y="289"/>
                  </a:lnTo>
                  <a:lnTo>
                    <a:pt x="92" y="289"/>
                  </a:lnTo>
                  <a:lnTo>
                    <a:pt x="92" y="291"/>
                  </a:lnTo>
                  <a:lnTo>
                    <a:pt x="88" y="293"/>
                  </a:lnTo>
                  <a:lnTo>
                    <a:pt x="86" y="293"/>
                  </a:lnTo>
                  <a:lnTo>
                    <a:pt x="82" y="293"/>
                  </a:lnTo>
                  <a:lnTo>
                    <a:pt x="81" y="293"/>
                  </a:lnTo>
                  <a:lnTo>
                    <a:pt x="79" y="295"/>
                  </a:lnTo>
                  <a:lnTo>
                    <a:pt x="77" y="295"/>
                  </a:lnTo>
                  <a:lnTo>
                    <a:pt x="75" y="299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1" y="309"/>
                  </a:lnTo>
                  <a:lnTo>
                    <a:pt x="71" y="311"/>
                  </a:lnTo>
                  <a:lnTo>
                    <a:pt x="71" y="314"/>
                  </a:lnTo>
                  <a:lnTo>
                    <a:pt x="69" y="316"/>
                  </a:lnTo>
                  <a:lnTo>
                    <a:pt x="69" y="320"/>
                  </a:lnTo>
                  <a:lnTo>
                    <a:pt x="69" y="322"/>
                  </a:lnTo>
                  <a:lnTo>
                    <a:pt x="67" y="324"/>
                  </a:lnTo>
                  <a:lnTo>
                    <a:pt x="67" y="326"/>
                  </a:lnTo>
                  <a:lnTo>
                    <a:pt x="67" y="328"/>
                  </a:lnTo>
                  <a:lnTo>
                    <a:pt x="65" y="330"/>
                  </a:lnTo>
                  <a:lnTo>
                    <a:pt x="65" y="332"/>
                  </a:lnTo>
                  <a:lnTo>
                    <a:pt x="63" y="332"/>
                  </a:lnTo>
                  <a:lnTo>
                    <a:pt x="61" y="334"/>
                  </a:lnTo>
                  <a:lnTo>
                    <a:pt x="61" y="335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9" y="328"/>
                  </a:lnTo>
                  <a:lnTo>
                    <a:pt x="59" y="324"/>
                  </a:lnTo>
                  <a:lnTo>
                    <a:pt x="59" y="320"/>
                  </a:lnTo>
                  <a:lnTo>
                    <a:pt x="59" y="316"/>
                  </a:lnTo>
                  <a:lnTo>
                    <a:pt x="59" y="314"/>
                  </a:lnTo>
                  <a:lnTo>
                    <a:pt x="59" y="312"/>
                  </a:lnTo>
                  <a:lnTo>
                    <a:pt x="59" y="311"/>
                  </a:lnTo>
                  <a:lnTo>
                    <a:pt x="59" y="309"/>
                  </a:lnTo>
                  <a:lnTo>
                    <a:pt x="58" y="307"/>
                  </a:lnTo>
                  <a:lnTo>
                    <a:pt x="56" y="303"/>
                  </a:lnTo>
                  <a:lnTo>
                    <a:pt x="52" y="299"/>
                  </a:lnTo>
                  <a:lnTo>
                    <a:pt x="50" y="299"/>
                  </a:lnTo>
                  <a:lnTo>
                    <a:pt x="46" y="299"/>
                  </a:lnTo>
                  <a:lnTo>
                    <a:pt x="42" y="299"/>
                  </a:lnTo>
                  <a:lnTo>
                    <a:pt x="40" y="295"/>
                  </a:lnTo>
                  <a:lnTo>
                    <a:pt x="40" y="293"/>
                  </a:lnTo>
                  <a:lnTo>
                    <a:pt x="40" y="289"/>
                  </a:lnTo>
                  <a:lnTo>
                    <a:pt x="38" y="287"/>
                  </a:lnTo>
                  <a:lnTo>
                    <a:pt x="38" y="286"/>
                  </a:lnTo>
                  <a:lnTo>
                    <a:pt x="38" y="284"/>
                  </a:lnTo>
                  <a:lnTo>
                    <a:pt x="36" y="282"/>
                  </a:lnTo>
                  <a:lnTo>
                    <a:pt x="36" y="278"/>
                  </a:lnTo>
                  <a:lnTo>
                    <a:pt x="34" y="276"/>
                  </a:lnTo>
                  <a:lnTo>
                    <a:pt x="34" y="274"/>
                  </a:lnTo>
                  <a:lnTo>
                    <a:pt x="34" y="270"/>
                  </a:lnTo>
                  <a:lnTo>
                    <a:pt x="31" y="270"/>
                  </a:lnTo>
                  <a:lnTo>
                    <a:pt x="27" y="266"/>
                  </a:lnTo>
                  <a:lnTo>
                    <a:pt x="25" y="264"/>
                  </a:lnTo>
                  <a:lnTo>
                    <a:pt x="21" y="264"/>
                  </a:lnTo>
                  <a:lnTo>
                    <a:pt x="21" y="261"/>
                  </a:lnTo>
                  <a:lnTo>
                    <a:pt x="19" y="259"/>
                  </a:lnTo>
                  <a:lnTo>
                    <a:pt x="15" y="257"/>
                  </a:lnTo>
                  <a:lnTo>
                    <a:pt x="15" y="255"/>
                  </a:lnTo>
                  <a:lnTo>
                    <a:pt x="13" y="253"/>
                  </a:lnTo>
                  <a:lnTo>
                    <a:pt x="11" y="249"/>
                  </a:lnTo>
                  <a:lnTo>
                    <a:pt x="10" y="247"/>
                  </a:lnTo>
                  <a:lnTo>
                    <a:pt x="10" y="245"/>
                  </a:lnTo>
                  <a:lnTo>
                    <a:pt x="8" y="245"/>
                  </a:lnTo>
                  <a:lnTo>
                    <a:pt x="8" y="241"/>
                  </a:lnTo>
                  <a:lnTo>
                    <a:pt x="8" y="238"/>
                  </a:lnTo>
                  <a:lnTo>
                    <a:pt x="8" y="236"/>
                  </a:lnTo>
                  <a:lnTo>
                    <a:pt x="8" y="234"/>
                  </a:lnTo>
                  <a:lnTo>
                    <a:pt x="8" y="230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8"/>
                  </a:lnTo>
                  <a:lnTo>
                    <a:pt x="8" y="213"/>
                  </a:lnTo>
                  <a:lnTo>
                    <a:pt x="8" y="211"/>
                  </a:lnTo>
                  <a:lnTo>
                    <a:pt x="8" y="209"/>
                  </a:lnTo>
                  <a:lnTo>
                    <a:pt x="8" y="207"/>
                  </a:lnTo>
                  <a:lnTo>
                    <a:pt x="10" y="203"/>
                  </a:lnTo>
                  <a:lnTo>
                    <a:pt x="10" y="201"/>
                  </a:lnTo>
                  <a:lnTo>
                    <a:pt x="8" y="199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0"/>
                  </a:lnTo>
                  <a:lnTo>
                    <a:pt x="4" y="188"/>
                  </a:lnTo>
                  <a:lnTo>
                    <a:pt x="2" y="184"/>
                  </a:lnTo>
                  <a:lnTo>
                    <a:pt x="0" y="180"/>
                  </a:lnTo>
                  <a:lnTo>
                    <a:pt x="4" y="178"/>
                  </a:lnTo>
                  <a:lnTo>
                    <a:pt x="6" y="176"/>
                  </a:lnTo>
                  <a:lnTo>
                    <a:pt x="8" y="176"/>
                  </a:lnTo>
                  <a:lnTo>
                    <a:pt x="10" y="172"/>
                  </a:lnTo>
                  <a:lnTo>
                    <a:pt x="11" y="170"/>
                  </a:lnTo>
                  <a:lnTo>
                    <a:pt x="13" y="170"/>
                  </a:lnTo>
                  <a:lnTo>
                    <a:pt x="13" y="167"/>
                  </a:lnTo>
                  <a:lnTo>
                    <a:pt x="15" y="165"/>
                  </a:lnTo>
                  <a:lnTo>
                    <a:pt x="15" y="163"/>
                  </a:lnTo>
                  <a:lnTo>
                    <a:pt x="15" y="159"/>
                  </a:lnTo>
                  <a:lnTo>
                    <a:pt x="17" y="157"/>
                  </a:lnTo>
                  <a:lnTo>
                    <a:pt x="17" y="153"/>
                  </a:lnTo>
                  <a:lnTo>
                    <a:pt x="19" y="151"/>
                  </a:lnTo>
                  <a:lnTo>
                    <a:pt x="19" y="149"/>
                  </a:lnTo>
                  <a:lnTo>
                    <a:pt x="21" y="147"/>
                  </a:lnTo>
                  <a:lnTo>
                    <a:pt x="21" y="145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7" y="142"/>
                  </a:lnTo>
                  <a:lnTo>
                    <a:pt x="29" y="140"/>
                  </a:lnTo>
                  <a:lnTo>
                    <a:pt x="31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6" y="128"/>
                  </a:lnTo>
                  <a:lnTo>
                    <a:pt x="38" y="126"/>
                  </a:lnTo>
                  <a:lnTo>
                    <a:pt x="42" y="126"/>
                  </a:lnTo>
                  <a:lnTo>
                    <a:pt x="46" y="126"/>
                  </a:lnTo>
                  <a:lnTo>
                    <a:pt x="52" y="126"/>
                  </a:lnTo>
                  <a:lnTo>
                    <a:pt x="54" y="128"/>
                  </a:lnTo>
                  <a:lnTo>
                    <a:pt x="58" y="128"/>
                  </a:lnTo>
                  <a:lnTo>
                    <a:pt x="59" y="128"/>
                  </a:lnTo>
                  <a:lnTo>
                    <a:pt x="63" y="128"/>
                  </a:lnTo>
                  <a:lnTo>
                    <a:pt x="67" y="128"/>
                  </a:lnTo>
                  <a:lnTo>
                    <a:pt x="69" y="128"/>
                  </a:lnTo>
                  <a:lnTo>
                    <a:pt x="73" y="128"/>
                  </a:lnTo>
                  <a:lnTo>
                    <a:pt x="77" y="128"/>
                  </a:lnTo>
                  <a:lnTo>
                    <a:pt x="82" y="128"/>
                  </a:lnTo>
                  <a:lnTo>
                    <a:pt x="86" y="128"/>
                  </a:lnTo>
                  <a:lnTo>
                    <a:pt x="88" y="128"/>
                  </a:lnTo>
                  <a:lnTo>
                    <a:pt x="92" y="126"/>
                  </a:lnTo>
                  <a:lnTo>
                    <a:pt x="96" y="126"/>
                  </a:lnTo>
                  <a:lnTo>
                    <a:pt x="98" y="126"/>
                  </a:lnTo>
                  <a:lnTo>
                    <a:pt x="102" y="124"/>
                  </a:lnTo>
                  <a:lnTo>
                    <a:pt x="104" y="124"/>
                  </a:lnTo>
                  <a:lnTo>
                    <a:pt x="107" y="122"/>
                  </a:lnTo>
                  <a:lnTo>
                    <a:pt x="109" y="122"/>
                  </a:lnTo>
                  <a:lnTo>
                    <a:pt x="113" y="121"/>
                  </a:lnTo>
                  <a:lnTo>
                    <a:pt x="117" y="119"/>
                  </a:lnTo>
                  <a:lnTo>
                    <a:pt x="123" y="119"/>
                  </a:lnTo>
                  <a:lnTo>
                    <a:pt x="127" y="119"/>
                  </a:lnTo>
                  <a:lnTo>
                    <a:pt x="130" y="119"/>
                  </a:lnTo>
                  <a:lnTo>
                    <a:pt x="134" y="119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48" y="119"/>
                  </a:lnTo>
                  <a:lnTo>
                    <a:pt x="150" y="117"/>
                  </a:lnTo>
                  <a:lnTo>
                    <a:pt x="152" y="113"/>
                  </a:lnTo>
                  <a:lnTo>
                    <a:pt x="153" y="111"/>
                  </a:lnTo>
                  <a:lnTo>
                    <a:pt x="155" y="109"/>
                  </a:lnTo>
                  <a:lnTo>
                    <a:pt x="155" y="105"/>
                  </a:lnTo>
                  <a:lnTo>
                    <a:pt x="157" y="105"/>
                  </a:lnTo>
                  <a:lnTo>
                    <a:pt x="159" y="101"/>
                  </a:lnTo>
                  <a:lnTo>
                    <a:pt x="161" y="98"/>
                  </a:lnTo>
                  <a:lnTo>
                    <a:pt x="163" y="94"/>
                  </a:lnTo>
                  <a:lnTo>
                    <a:pt x="167" y="90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73" y="80"/>
                  </a:lnTo>
                  <a:lnTo>
                    <a:pt x="175" y="78"/>
                  </a:lnTo>
                  <a:lnTo>
                    <a:pt x="176" y="78"/>
                  </a:lnTo>
                  <a:lnTo>
                    <a:pt x="178" y="74"/>
                  </a:lnTo>
                  <a:lnTo>
                    <a:pt x="184" y="74"/>
                  </a:lnTo>
                  <a:lnTo>
                    <a:pt x="186" y="74"/>
                  </a:lnTo>
                  <a:lnTo>
                    <a:pt x="190" y="74"/>
                  </a:lnTo>
                  <a:lnTo>
                    <a:pt x="192" y="74"/>
                  </a:lnTo>
                  <a:lnTo>
                    <a:pt x="194" y="76"/>
                  </a:lnTo>
                  <a:lnTo>
                    <a:pt x="196" y="76"/>
                  </a:lnTo>
                  <a:lnTo>
                    <a:pt x="198" y="74"/>
                  </a:lnTo>
                  <a:lnTo>
                    <a:pt x="201" y="74"/>
                  </a:lnTo>
                  <a:lnTo>
                    <a:pt x="203" y="74"/>
                  </a:lnTo>
                  <a:lnTo>
                    <a:pt x="207" y="74"/>
                  </a:lnTo>
                  <a:lnTo>
                    <a:pt x="209" y="74"/>
                  </a:lnTo>
                  <a:lnTo>
                    <a:pt x="211" y="74"/>
                  </a:lnTo>
                  <a:lnTo>
                    <a:pt x="215" y="73"/>
                  </a:lnTo>
                  <a:lnTo>
                    <a:pt x="217" y="71"/>
                  </a:lnTo>
                  <a:lnTo>
                    <a:pt x="219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3" y="65"/>
                  </a:lnTo>
                  <a:lnTo>
                    <a:pt x="223" y="61"/>
                  </a:lnTo>
                  <a:lnTo>
                    <a:pt x="224" y="61"/>
                  </a:lnTo>
                  <a:lnTo>
                    <a:pt x="226" y="61"/>
                  </a:lnTo>
                  <a:lnTo>
                    <a:pt x="226" y="57"/>
                  </a:lnTo>
                  <a:lnTo>
                    <a:pt x="228" y="55"/>
                  </a:lnTo>
                  <a:lnTo>
                    <a:pt x="228" y="53"/>
                  </a:lnTo>
                  <a:lnTo>
                    <a:pt x="230" y="51"/>
                  </a:lnTo>
                  <a:lnTo>
                    <a:pt x="232" y="51"/>
                  </a:lnTo>
                  <a:lnTo>
                    <a:pt x="234" y="50"/>
                  </a:lnTo>
                  <a:lnTo>
                    <a:pt x="236" y="48"/>
                  </a:lnTo>
                  <a:lnTo>
                    <a:pt x="236" y="46"/>
                  </a:lnTo>
                  <a:lnTo>
                    <a:pt x="240" y="44"/>
                  </a:lnTo>
                  <a:lnTo>
                    <a:pt x="244" y="44"/>
                  </a:lnTo>
                  <a:lnTo>
                    <a:pt x="244" y="40"/>
                  </a:lnTo>
                  <a:lnTo>
                    <a:pt x="246" y="40"/>
                  </a:lnTo>
                  <a:lnTo>
                    <a:pt x="247" y="38"/>
                  </a:lnTo>
                  <a:lnTo>
                    <a:pt x="247" y="36"/>
                  </a:lnTo>
                  <a:lnTo>
                    <a:pt x="251" y="34"/>
                  </a:lnTo>
                  <a:lnTo>
                    <a:pt x="253" y="32"/>
                  </a:lnTo>
                  <a:lnTo>
                    <a:pt x="255" y="30"/>
                  </a:lnTo>
                  <a:lnTo>
                    <a:pt x="259" y="28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5" y="23"/>
                  </a:lnTo>
                  <a:lnTo>
                    <a:pt x="267" y="19"/>
                  </a:lnTo>
                  <a:lnTo>
                    <a:pt x="269" y="17"/>
                  </a:lnTo>
                  <a:lnTo>
                    <a:pt x="270" y="13"/>
                  </a:lnTo>
                  <a:lnTo>
                    <a:pt x="272" y="11"/>
                  </a:lnTo>
                  <a:lnTo>
                    <a:pt x="272" y="9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80" y="5"/>
                  </a:lnTo>
                  <a:lnTo>
                    <a:pt x="284" y="5"/>
                  </a:lnTo>
                  <a:lnTo>
                    <a:pt x="286" y="3"/>
                  </a:lnTo>
                  <a:lnTo>
                    <a:pt x="294" y="3"/>
                  </a:lnTo>
                  <a:lnTo>
                    <a:pt x="297" y="2"/>
                  </a:lnTo>
                  <a:lnTo>
                    <a:pt x="299" y="2"/>
                  </a:lnTo>
                  <a:lnTo>
                    <a:pt x="301" y="0"/>
                  </a:lnTo>
                  <a:lnTo>
                    <a:pt x="301" y="5"/>
                  </a:lnTo>
                  <a:lnTo>
                    <a:pt x="303" y="7"/>
                  </a:lnTo>
                  <a:lnTo>
                    <a:pt x="303" y="9"/>
                  </a:lnTo>
                  <a:lnTo>
                    <a:pt x="303" y="13"/>
                  </a:lnTo>
                  <a:lnTo>
                    <a:pt x="303" y="15"/>
                  </a:lnTo>
                  <a:lnTo>
                    <a:pt x="303" y="17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7" y="21"/>
                  </a:lnTo>
                  <a:lnTo>
                    <a:pt x="309" y="23"/>
                  </a:lnTo>
                  <a:lnTo>
                    <a:pt x="311" y="25"/>
                  </a:lnTo>
                  <a:lnTo>
                    <a:pt x="313" y="27"/>
                  </a:lnTo>
                  <a:lnTo>
                    <a:pt x="315" y="30"/>
                  </a:lnTo>
                  <a:lnTo>
                    <a:pt x="317" y="32"/>
                  </a:lnTo>
                  <a:lnTo>
                    <a:pt x="318" y="34"/>
                  </a:lnTo>
                  <a:lnTo>
                    <a:pt x="322" y="34"/>
                  </a:lnTo>
                  <a:lnTo>
                    <a:pt x="324" y="36"/>
                  </a:lnTo>
                  <a:lnTo>
                    <a:pt x="324" y="38"/>
                  </a:lnTo>
                  <a:lnTo>
                    <a:pt x="326" y="42"/>
                  </a:lnTo>
                  <a:lnTo>
                    <a:pt x="326" y="44"/>
                  </a:lnTo>
                  <a:lnTo>
                    <a:pt x="328" y="46"/>
                  </a:lnTo>
                  <a:lnTo>
                    <a:pt x="330" y="48"/>
                  </a:lnTo>
                  <a:lnTo>
                    <a:pt x="330" y="51"/>
                  </a:lnTo>
                  <a:lnTo>
                    <a:pt x="330" y="53"/>
                  </a:lnTo>
                  <a:lnTo>
                    <a:pt x="330" y="57"/>
                  </a:lnTo>
                  <a:lnTo>
                    <a:pt x="330" y="59"/>
                  </a:lnTo>
                  <a:lnTo>
                    <a:pt x="328" y="61"/>
                  </a:lnTo>
                  <a:lnTo>
                    <a:pt x="328" y="63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6"/>
                  </a:lnTo>
                  <a:lnTo>
                    <a:pt x="328" y="78"/>
                  </a:lnTo>
                  <a:lnTo>
                    <a:pt x="328" y="82"/>
                  </a:lnTo>
                  <a:lnTo>
                    <a:pt x="328" y="84"/>
                  </a:lnTo>
                  <a:lnTo>
                    <a:pt x="324" y="90"/>
                  </a:lnTo>
                  <a:lnTo>
                    <a:pt x="328" y="94"/>
                  </a:lnTo>
                  <a:lnTo>
                    <a:pt x="330" y="96"/>
                  </a:lnTo>
                  <a:lnTo>
                    <a:pt x="334" y="96"/>
                  </a:lnTo>
                  <a:lnTo>
                    <a:pt x="336" y="96"/>
                  </a:lnTo>
                  <a:lnTo>
                    <a:pt x="340" y="96"/>
                  </a:lnTo>
                  <a:lnTo>
                    <a:pt x="341" y="96"/>
                  </a:lnTo>
                  <a:lnTo>
                    <a:pt x="343" y="96"/>
                  </a:lnTo>
                  <a:lnTo>
                    <a:pt x="347" y="98"/>
                  </a:lnTo>
                  <a:lnTo>
                    <a:pt x="349" y="98"/>
                  </a:lnTo>
                  <a:lnTo>
                    <a:pt x="351" y="99"/>
                  </a:lnTo>
                  <a:lnTo>
                    <a:pt x="353" y="99"/>
                  </a:lnTo>
                  <a:lnTo>
                    <a:pt x="357" y="101"/>
                  </a:lnTo>
                  <a:lnTo>
                    <a:pt x="359" y="101"/>
                  </a:lnTo>
                  <a:lnTo>
                    <a:pt x="361" y="101"/>
                  </a:lnTo>
                  <a:lnTo>
                    <a:pt x="363" y="103"/>
                  </a:lnTo>
                  <a:lnTo>
                    <a:pt x="365" y="103"/>
                  </a:lnTo>
                  <a:lnTo>
                    <a:pt x="366" y="103"/>
                  </a:lnTo>
                  <a:lnTo>
                    <a:pt x="368" y="105"/>
                  </a:lnTo>
                  <a:lnTo>
                    <a:pt x="368" y="105"/>
                  </a:lnTo>
                  <a:lnTo>
                    <a:pt x="372" y="109"/>
                  </a:lnTo>
                  <a:lnTo>
                    <a:pt x="376" y="109"/>
                  </a:lnTo>
                  <a:lnTo>
                    <a:pt x="378" y="111"/>
                  </a:lnTo>
                  <a:lnTo>
                    <a:pt x="378" y="113"/>
                  </a:lnTo>
                  <a:lnTo>
                    <a:pt x="380" y="115"/>
                  </a:lnTo>
                  <a:lnTo>
                    <a:pt x="380" y="117"/>
                  </a:lnTo>
                  <a:lnTo>
                    <a:pt x="382" y="119"/>
                  </a:lnTo>
                  <a:lnTo>
                    <a:pt x="386" y="119"/>
                  </a:lnTo>
                  <a:lnTo>
                    <a:pt x="388" y="121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91" y="124"/>
                  </a:lnTo>
                  <a:lnTo>
                    <a:pt x="391" y="126"/>
                  </a:lnTo>
                  <a:lnTo>
                    <a:pt x="395" y="128"/>
                  </a:lnTo>
                  <a:lnTo>
                    <a:pt x="397" y="128"/>
                  </a:lnTo>
                  <a:lnTo>
                    <a:pt x="399" y="130"/>
                  </a:lnTo>
                  <a:lnTo>
                    <a:pt x="401" y="132"/>
                  </a:lnTo>
                  <a:lnTo>
                    <a:pt x="403" y="132"/>
                  </a:lnTo>
                  <a:lnTo>
                    <a:pt x="405" y="136"/>
                  </a:lnTo>
                  <a:lnTo>
                    <a:pt x="407" y="140"/>
                  </a:lnTo>
                  <a:lnTo>
                    <a:pt x="407" y="142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11" y="145"/>
                  </a:lnTo>
                  <a:lnTo>
                    <a:pt x="411" y="149"/>
                  </a:lnTo>
                  <a:lnTo>
                    <a:pt x="412" y="151"/>
                  </a:lnTo>
                  <a:lnTo>
                    <a:pt x="412" y="155"/>
                  </a:lnTo>
                  <a:lnTo>
                    <a:pt x="414" y="157"/>
                  </a:lnTo>
                  <a:lnTo>
                    <a:pt x="416" y="159"/>
                  </a:lnTo>
                  <a:lnTo>
                    <a:pt x="418" y="161"/>
                  </a:lnTo>
                  <a:lnTo>
                    <a:pt x="420" y="163"/>
                  </a:lnTo>
                  <a:lnTo>
                    <a:pt x="422" y="163"/>
                  </a:lnTo>
                  <a:lnTo>
                    <a:pt x="424" y="163"/>
                  </a:lnTo>
                  <a:lnTo>
                    <a:pt x="428" y="163"/>
                  </a:lnTo>
                  <a:lnTo>
                    <a:pt x="432" y="165"/>
                  </a:lnTo>
                  <a:lnTo>
                    <a:pt x="432" y="167"/>
                  </a:lnTo>
                  <a:lnTo>
                    <a:pt x="434" y="167"/>
                  </a:lnTo>
                  <a:lnTo>
                    <a:pt x="436" y="167"/>
                  </a:lnTo>
                  <a:lnTo>
                    <a:pt x="437" y="167"/>
                  </a:lnTo>
                  <a:lnTo>
                    <a:pt x="439" y="169"/>
                  </a:lnTo>
                  <a:lnTo>
                    <a:pt x="439" y="167"/>
                  </a:lnTo>
                  <a:lnTo>
                    <a:pt x="439" y="170"/>
                  </a:lnTo>
                  <a:lnTo>
                    <a:pt x="443" y="172"/>
                  </a:lnTo>
                  <a:lnTo>
                    <a:pt x="445" y="174"/>
                  </a:lnTo>
                  <a:lnTo>
                    <a:pt x="445" y="176"/>
                  </a:lnTo>
                  <a:lnTo>
                    <a:pt x="449" y="176"/>
                  </a:lnTo>
                  <a:lnTo>
                    <a:pt x="449" y="180"/>
                  </a:lnTo>
                  <a:lnTo>
                    <a:pt x="449" y="182"/>
                  </a:lnTo>
                  <a:lnTo>
                    <a:pt x="449" y="184"/>
                  </a:lnTo>
                  <a:lnTo>
                    <a:pt x="449" y="188"/>
                  </a:lnTo>
                  <a:lnTo>
                    <a:pt x="449" y="192"/>
                  </a:lnTo>
                  <a:lnTo>
                    <a:pt x="449" y="193"/>
                  </a:lnTo>
                  <a:lnTo>
                    <a:pt x="453" y="197"/>
                  </a:lnTo>
                  <a:lnTo>
                    <a:pt x="455" y="197"/>
                  </a:lnTo>
                  <a:lnTo>
                    <a:pt x="457" y="201"/>
                  </a:lnTo>
                  <a:lnTo>
                    <a:pt x="457" y="203"/>
                  </a:lnTo>
                  <a:lnTo>
                    <a:pt x="459" y="203"/>
                  </a:lnTo>
                  <a:lnTo>
                    <a:pt x="462" y="203"/>
                  </a:lnTo>
                  <a:lnTo>
                    <a:pt x="462" y="207"/>
                  </a:lnTo>
                  <a:lnTo>
                    <a:pt x="466" y="211"/>
                  </a:lnTo>
                  <a:lnTo>
                    <a:pt x="466" y="215"/>
                  </a:lnTo>
                  <a:lnTo>
                    <a:pt x="466" y="218"/>
                  </a:lnTo>
                  <a:lnTo>
                    <a:pt x="468" y="220"/>
                  </a:lnTo>
                  <a:lnTo>
                    <a:pt x="470" y="222"/>
                  </a:lnTo>
                  <a:lnTo>
                    <a:pt x="472" y="222"/>
                  </a:lnTo>
                  <a:lnTo>
                    <a:pt x="472" y="228"/>
                  </a:lnTo>
                  <a:lnTo>
                    <a:pt x="474" y="228"/>
                  </a:lnTo>
                  <a:lnTo>
                    <a:pt x="476" y="228"/>
                  </a:lnTo>
                  <a:lnTo>
                    <a:pt x="476" y="232"/>
                  </a:lnTo>
                  <a:lnTo>
                    <a:pt x="476" y="2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4" name="Freeform 40"/>
            <p:cNvSpPr>
              <a:spLocks/>
            </p:cNvSpPr>
            <p:nvPr/>
          </p:nvSpPr>
          <p:spPr bwMode="auto">
            <a:xfrm>
              <a:off x="1703" y="1914"/>
              <a:ext cx="476" cy="337"/>
            </a:xfrm>
            <a:custGeom>
              <a:avLst/>
              <a:gdLst/>
              <a:ahLst/>
              <a:cxnLst>
                <a:cxn ang="0">
                  <a:pos x="449" y="228"/>
                </a:cxn>
                <a:cxn ang="0">
                  <a:pos x="428" y="228"/>
                </a:cxn>
                <a:cxn ang="0">
                  <a:pos x="409" y="220"/>
                </a:cxn>
                <a:cxn ang="0">
                  <a:pos x="389" y="226"/>
                </a:cxn>
                <a:cxn ang="0">
                  <a:pos x="363" y="234"/>
                </a:cxn>
                <a:cxn ang="0">
                  <a:pos x="347" y="241"/>
                </a:cxn>
                <a:cxn ang="0">
                  <a:pos x="320" y="245"/>
                </a:cxn>
                <a:cxn ang="0">
                  <a:pos x="299" y="238"/>
                </a:cxn>
                <a:cxn ang="0">
                  <a:pos x="280" y="261"/>
                </a:cxn>
                <a:cxn ang="0">
                  <a:pos x="255" y="249"/>
                </a:cxn>
                <a:cxn ang="0">
                  <a:pos x="228" y="245"/>
                </a:cxn>
                <a:cxn ang="0">
                  <a:pos x="211" y="234"/>
                </a:cxn>
                <a:cxn ang="0">
                  <a:pos x="192" y="220"/>
                </a:cxn>
                <a:cxn ang="0">
                  <a:pos x="171" y="226"/>
                </a:cxn>
                <a:cxn ang="0">
                  <a:pos x="146" y="247"/>
                </a:cxn>
                <a:cxn ang="0">
                  <a:pos x="140" y="276"/>
                </a:cxn>
                <a:cxn ang="0">
                  <a:pos x="129" y="286"/>
                </a:cxn>
                <a:cxn ang="0">
                  <a:pos x="105" y="284"/>
                </a:cxn>
                <a:cxn ang="0">
                  <a:pos x="88" y="293"/>
                </a:cxn>
                <a:cxn ang="0">
                  <a:pos x="73" y="305"/>
                </a:cxn>
                <a:cxn ang="0">
                  <a:pos x="67" y="326"/>
                </a:cxn>
                <a:cxn ang="0">
                  <a:pos x="59" y="334"/>
                </a:cxn>
                <a:cxn ang="0">
                  <a:pos x="59" y="309"/>
                </a:cxn>
                <a:cxn ang="0">
                  <a:pos x="40" y="293"/>
                </a:cxn>
                <a:cxn ang="0">
                  <a:pos x="34" y="274"/>
                </a:cxn>
                <a:cxn ang="0">
                  <a:pos x="15" y="257"/>
                </a:cxn>
                <a:cxn ang="0">
                  <a:pos x="8" y="238"/>
                </a:cxn>
                <a:cxn ang="0">
                  <a:pos x="8" y="218"/>
                </a:cxn>
                <a:cxn ang="0">
                  <a:pos x="6" y="195"/>
                </a:cxn>
                <a:cxn ang="0">
                  <a:pos x="8" y="176"/>
                </a:cxn>
                <a:cxn ang="0">
                  <a:pos x="17" y="157"/>
                </a:cxn>
                <a:cxn ang="0">
                  <a:pos x="27" y="142"/>
                </a:cxn>
                <a:cxn ang="0">
                  <a:pos x="38" y="126"/>
                </a:cxn>
                <a:cxn ang="0">
                  <a:pos x="67" y="128"/>
                </a:cxn>
                <a:cxn ang="0">
                  <a:pos x="96" y="126"/>
                </a:cxn>
                <a:cxn ang="0">
                  <a:pos x="123" y="119"/>
                </a:cxn>
                <a:cxn ang="0">
                  <a:pos x="150" y="117"/>
                </a:cxn>
                <a:cxn ang="0">
                  <a:pos x="163" y="94"/>
                </a:cxn>
                <a:cxn ang="0">
                  <a:pos x="184" y="74"/>
                </a:cxn>
                <a:cxn ang="0">
                  <a:pos x="203" y="74"/>
                </a:cxn>
                <a:cxn ang="0">
                  <a:pos x="221" y="67"/>
                </a:cxn>
                <a:cxn ang="0">
                  <a:pos x="230" y="51"/>
                </a:cxn>
                <a:cxn ang="0">
                  <a:pos x="246" y="40"/>
                </a:cxn>
                <a:cxn ang="0">
                  <a:pos x="263" y="27"/>
                </a:cxn>
                <a:cxn ang="0">
                  <a:pos x="276" y="7"/>
                </a:cxn>
                <a:cxn ang="0">
                  <a:pos x="301" y="5"/>
                </a:cxn>
                <a:cxn ang="0">
                  <a:pos x="307" y="21"/>
                </a:cxn>
                <a:cxn ang="0">
                  <a:pos x="324" y="36"/>
                </a:cxn>
                <a:cxn ang="0">
                  <a:pos x="330" y="57"/>
                </a:cxn>
                <a:cxn ang="0">
                  <a:pos x="328" y="82"/>
                </a:cxn>
                <a:cxn ang="0">
                  <a:pos x="341" y="96"/>
                </a:cxn>
                <a:cxn ang="0">
                  <a:pos x="361" y="101"/>
                </a:cxn>
                <a:cxn ang="0">
                  <a:pos x="378" y="111"/>
                </a:cxn>
                <a:cxn ang="0">
                  <a:pos x="389" y="122"/>
                </a:cxn>
                <a:cxn ang="0">
                  <a:pos x="405" y="136"/>
                </a:cxn>
                <a:cxn ang="0">
                  <a:pos x="412" y="155"/>
                </a:cxn>
                <a:cxn ang="0">
                  <a:pos x="432" y="165"/>
                </a:cxn>
                <a:cxn ang="0">
                  <a:pos x="443" y="172"/>
                </a:cxn>
                <a:cxn ang="0">
                  <a:pos x="449" y="192"/>
                </a:cxn>
                <a:cxn ang="0">
                  <a:pos x="462" y="207"/>
                </a:cxn>
                <a:cxn ang="0">
                  <a:pos x="474" y="228"/>
                </a:cxn>
              </a:cxnLst>
              <a:rect l="0" t="0" r="r" b="b"/>
              <a:pathLst>
                <a:path w="476" h="337">
                  <a:moveTo>
                    <a:pt x="476" y="230"/>
                  </a:moveTo>
                  <a:lnTo>
                    <a:pt x="470" y="228"/>
                  </a:lnTo>
                  <a:lnTo>
                    <a:pt x="466" y="228"/>
                  </a:lnTo>
                  <a:lnTo>
                    <a:pt x="462" y="228"/>
                  </a:lnTo>
                  <a:lnTo>
                    <a:pt x="460" y="226"/>
                  </a:lnTo>
                  <a:lnTo>
                    <a:pt x="457" y="228"/>
                  </a:lnTo>
                  <a:lnTo>
                    <a:pt x="453" y="228"/>
                  </a:lnTo>
                  <a:lnTo>
                    <a:pt x="449" y="228"/>
                  </a:lnTo>
                  <a:lnTo>
                    <a:pt x="447" y="228"/>
                  </a:lnTo>
                  <a:lnTo>
                    <a:pt x="445" y="228"/>
                  </a:lnTo>
                  <a:lnTo>
                    <a:pt x="441" y="228"/>
                  </a:lnTo>
                  <a:lnTo>
                    <a:pt x="439" y="228"/>
                  </a:lnTo>
                  <a:lnTo>
                    <a:pt x="437" y="228"/>
                  </a:lnTo>
                  <a:lnTo>
                    <a:pt x="434" y="228"/>
                  </a:lnTo>
                  <a:lnTo>
                    <a:pt x="432" y="228"/>
                  </a:lnTo>
                  <a:lnTo>
                    <a:pt x="428" y="228"/>
                  </a:lnTo>
                  <a:lnTo>
                    <a:pt x="424" y="228"/>
                  </a:lnTo>
                  <a:lnTo>
                    <a:pt x="422" y="224"/>
                  </a:lnTo>
                  <a:lnTo>
                    <a:pt x="418" y="224"/>
                  </a:lnTo>
                  <a:lnTo>
                    <a:pt x="416" y="222"/>
                  </a:lnTo>
                  <a:lnTo>
                    <a:pt x="416" y="220"/>
                  </a:lnTo>
                  <a:lnTo>
                    <a:pt x="414" y="220"/>
                  </a:lnTo>
                  <a:lnTo>
                    <a:pt x="412" y="220"/>
                  </a:lnTo>
                  <a:lnTo>
                    <a:pt x="409" y="220"/>
                  </a:lnTo>
                  <a:lnTo>
                    <a:pt x="407" y="220"/>
                  </a:lnTo>
                  <a:lnTo>
                    <a:pt x="405" y="220"/>
                  </a:lnTo>
                  <a:lnTo>
                    <a:pt x="401" y="220"/>
                  </a:lnTo>
                  <a:lnTo>
                    <a:pt x="397" y="220"/>
                  </a:lnTo>
                  <a:lnTo>
                    <a:pt x="395" y="222"/>
                  </a:lnTo>
                  <a:lnTo>
                    <a:pt x="395" y="224"/>
                  </a:lnTo>
                  <a:lnTo>
                    <a:pt x="391" y="224"/>
                  </a:lnTo>
                  <a:lnTo>
                    <a:pt x="389" y="226"/>
                  </a:lnTo>
                  <a:lnTo>
                    <a:pt x="388" y="228"/>
                  </a:lnTo>
                  <a:lnTo>
                    <a:pt x="386" y="230"/>
                  </a:lnTo>
                  <a:lnTo>
                    <a:pt x="382" y="232"/>
                  </a:lnTo>
                  <a:lnTo>
                    <a:pt x="378" y="232"/>
                  </a:lnTo>
                  <a:lnTo>
                    <a:pt x="374" y="232"/>
                  </a:lnTo>
                  <a:lnTo>
                    <a:pt x="370" y="232"/>
                  </a:lnTo>
                  <a:lnTo>
                    <a:pt x="366" y="232"/>
                  </a:lnTo>
                  <a:lnTo>
                    <a:pt x="363" y="234"/>
                  </a:lnTo>
                  <a:lnTo>
                    <a:pt x="361" y="234"/>
                  </a:lnTo>
                  <a:lnTo>
                    <a:pt x="357" y="234"/>
                  </a:lnTo>
                  <a:lnTo>
                    <a:pt x="355" y="234"/>
                  </a:lnTo>
                  <a:lnTo>
                    <a:pt x="353" y="236"/>
                  </a:lnTo>
                  <a:lnTo>
                    <a:pt x="351" y="238"/>
                  </a:lnTo>
                  <a:lnTo>
                    <a:pt x="349" y="238"/>
                  </a:lnTo>
                  <a:lnTo>
                    <a:pt x="349" y="240"/>
                  </a:lnTo>
                  <a:lnTo>
                    <a:pt x="347" y="241"/>
                  </a:lnTo>
                  <a:lnTo>
                    <a:pt x="343" y="243"/>
                  </a:lnTo>
                  <a:lnTo>
                    <a:pt x="341" y="243"/>
                  </a:lnTo>
                  <a:lnTo>
                    <a:pt x="338" y="245"/>
                  </a:lnTo>
                  <a:lnTo>
                    <a:pt x="334" y="245"/>
                  </a:lnTo>
                  <a:lnTo>
                    <a:pt x="332" y="245"/>
                  </a:lnTo>
                  <a:lnTo>
                    <a:pt x="324" y="245"/>
                  </a:lnTo>
                  <a:lnTo>
                    <a:pt x="322" y="245"/>
                  </a:lnTo>
                  <a:lnTo>
                    <a:pt x="320" y="245"/>
                  </a:lnTo>
                  <a:lnTo>
                    <a:pt x="318" y="243"/>
                  </a:lnTo>
                  <a:lnTo>
                    <a:pt x="317" y="243"/>
                  </a:lnTo>
                  <a:lnTo>
                    <a:pt x="315" y="240"/>
                  </a:lnTo>
                  <a:lnTo>
                    <a:pt x="311" y="240"/>
                  </a:lnTo>
                  <a:lnTo>
                    <a:pt x="309" y="238"/>
                  </a:lnTo>
                  <a:lnTo>
                    <a:pt x="305" y="238"/>
                  </a:lnTo>
                  <a:lnTo>
                    <a:pt x="301" y="238"/>
                  </a:lnTo>
                  <a:lnTo>
                    <a:pt x="299" y="238"/>
                  </a:lnTo>
                  <a:lnTo>
                    <a:pt x="297" y="238"/>
                  </a:lnTo>
                  <a:lnTo>
                    <a:pt x="292" y="243"/>
                  </a:lnTo>
                  <a:lnTo>
                    <a:pt x="292" y="245"/>
                  </a:lnTo>
                  <a:lnTo>
                    <a:pt x="290" y="247"/>
                  </a:lnTo>
                  <a:lnTo>
                    <a:pt x="288" y="251"/>
                  </a:lnTo>
                  <a:lnTo>
                    <a:pt x="286" y="255"/>
                  </a:lnTo>
                  <a:lnTo>
                    <a:pt x="286" y="257"/>
                  </a:lnTo>
                  <a:lnTo>
                    <a:pt x="280" y="261"/>
                  </a:lnTo>
                  <a:lnTo>
                    <a:pt x="272" y="263"/>
                  </a:lnTo>
                  <a:lnTo>
                    <a:pt x="272" y="261"/>
                  </a:lnTo>
                  <a:lnTo>
                    <a:pt x="270" y="261"/>
                  </a:lnTo>
                  <a:lnTo>
                    <a:pt x="269" y="259"/>
                  </a:lnTo>
                  <a:lnTo>
                    <a:pt x="267" y="259"/>
                  </a:lnTo>
                  <a:lnTo>
                    <a:pt x="261" y="253"/>
                  </a:lnTo>
                  <a:lnTo>
                    <a:pt x="257" y="251"/>
                  </a:lnTo>
                  <a:lnTo>
                    <a:pt x="255" y="249"/>
                  </a:lnTo>
                  <a:lnTo>
                    <a:pt x="251" y="249"/>
                  </a:lnTo>
                  <a:lnTo>
                    <a:pt x="249" y="245"/>
                  </a:lnTo>
                  <a:lnTo>
                    <a:pt x="246" y="245"/>
                  </a:lnTo>
                  <a:lnTo>
                    <a:pt x="242" y="245"/>
                  </a:lnTo>
                  <a:lnTo>
                    <a:pt x="236" y="245"/>
                  </a:lnTo>
                  <a:lnTo>
                    <a:pt x="234" y="245"/>
                  </a:lnTo>
                  <a:lnTo>
                    <a:pt x="230" y="245"/>
                  </a:lnTo>
                  <a:lnTo>
                    <a:pt x="228" y="245"/>
                  </a:lnTo>
                  <a:lnTo>
                    <a:pt x="224" y="245"/>
                  </a:lnTo>
                  <a:lnTo>
                    <a:pt x="223" y="245"/>
                  </a:lnTo>
                  <a:lnTo>
                    <a:pt x="219" y="245"/>
                  </a:lnTo>
                  <a:lnTo>
                    <a:pt x="219" y="241"/>
                  </a:lnTo>
                  <a:lnTo>
                    <a:pt x="215" y="241"/>
                  </a:lnTo>
                  <a:lnTo>
                    <a:pt x="215" y="238"/>
                  </a:lnTo>
                  <a:lnTo>
                    <a:pt x="211" y="238"/>
                  </a:lnTo>
                  <a:lnTo>
                    <a:pt x="211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7" y="228"/>
                  </a:lnTo>
                  <a:lnTo>
                    <a:pt x="203" y="226"/>
                  </a:lnTo>
                  <a:lnTo>
                    <a:pt x="200" y="224"/>
                  </a:lnTo>
                  <a:lnTo>
                    <a:pt x="198" y="220"/>
                  </a:lnTo>
                  <a:lnTo>
                    <a:pt x="194" y="220"/>
                  </a:lnTo>
                  <a:lnTo>
                    <a:pt x="192" y="220"/>
                  </a:lnTo>
                  <a:lnTo>
                    <a:pt x="190" y="218"/>
                  </a:lnTo>
                  <a:lnTo>
                    <a:pt x="186" y="218"/>
                  </a:lnTo>
                  <a:lnTo>
                    <a:pt x="184" y="218"/>
                  </a:lnTo>
                  <a:lnTo>
                    <a:pt x="180" y="220"/>
                  </a:lnTo>
                  <a:lnTo>
                    <a:pt x="176" y="220"/>
                  </a:lnTo>
                  <a:lnTo>
                    <a:pt x="175" y="222"/>
                  </a:lnTo>
                  <a:lnTo>
                    <a:pt x="173" y="224"/>
                  </a:lnTo>
                  <a:lnTo>
                    <a:pt x="171" y="226"/>
                  </a:lnTo>
                  <a:lnTo>
                    <a:pt x="167" y="228"/>
                  </a:lnTo>
                  <a:lnTo>
                    <a:pt x="165" y="232"/>
                  </a:lnTo>
                  <a:lnTo>
                    <a:pt x="161" y="234"/>
                  </a:lnTo>
                  <a:lnTo>
                    <a:pt x="157" y="238"/>
                  </a:lnTo>
                  <a:lnTo>
                    <a:pt x="155" y="240"/>
                  </a:lnTo>
                  <a:lnTo>
                    <a:pt x="152" y="243"/>
                  </a:lnTo>
                  <a:lnTo>
                    <a:pt x="148" y="245"/>
                  </a:lnTo>
                  <a:lnTo>
                    <a:pt x="146" y="247"/>
                  </a:lnTo>
                  <a:lnTo>
                    <a:pt x="142" y="251"/>
                  </a:lnTo>
                  <a:lnTo>
                    <a:pt x="142" y="257"/>
                  </a:lnTo>
                  <a:lnTo>
                    <a:pt x="142" y="261"/>
                  </a:lnTo>
                  <a:lnTo>
                    <a:pt x="142" y="264"/>
                  </a:lnTo>
                  <a:lnTo>
                    <a:pt x="140" y="266"/>
                  </a:lnTo>
                  <a:lnTo>
                    <a:pt x="140" y="270"/>
                  </a:lnTo>
                  <a:lnTo>
                    <a:pt x="140" y="272"/>
                  </a:lnTo>
                  <a:lnTo>
                    <a:pt x="140" y="276"/>
                  </a:lnTo>
                  <a:lnTo>
                    <a:pt x="140" y="280"/>
                  </a:lnTo>
                  <a:lnTo>
                    <a:pt x="140" y="282"/>
                  </a:lnTo>
                  <a:lnTo>
                    <a:pt x="140" y="284"/>
                  </a:lnTo>
                  <a:lnTo>
                    <a:pt x="140" y="287"/>
                  </a:lnTo>
                  <a:lnTo>
                    <a:pt x="136" y="287"/>
                  </a:lnTo>
                  <a:lnTo>
                    <a:pt x="134" y="287"/>
                  </a:lnTo>
                  <a:lnTo>
                    <a:pt x="130" y="287"/>
                  </a:lnTo>
                  <a:lnTo>
                    <a:pt x="129" y="286"/>
                  </a:lnTo>
                  <a:lnTo>
                    <a:pt x="127" y="286"/>
                  </a:lnTo>
                  <a:lnTo>
                    <a:pt x="123" y="284"/>
                  </a:lnTo>
                  <a:lnTo>
                    <a:pt x="121" y="284"/>
                  </a:lnTo>
                  <a:lnTo>
                    <a:pt x="117" y="282"/>
                  </a:lnTo>
                  <a:lnTo>
                    <a:pt x="113" y="282"/>
                  </a:lnTo>
                  <a:lnTo>
                    <a:pt x="111" y="284"/>
                  </a:lnTo>
                  <a:lnTo>
                    <a:pt x="107" y="284"/>
                  </a:lnTo>
                  <a:lnTo>
                    <a:pt x="105" y="284"/>
                  </a:lnTo>
                  <a:lnTo>
                    <a:pt x="104" y="284"/>
                  </a:lnTo>
                  <a:lnTo>
                    <a:pt x="102" y="286"/>
                  </a:lnTo>
                  <a:lnTo>
                    <a:pt x="100" y="286"/>
                  </a:lnTo>
                  <a:lnTo>
                    <a:pt x="96" y="287"/>
                  </a:lnTo>
                  <a:lnTo>
                    <a:pt x="94" y="289"/>
                  </a:lnTo>
                  <a:lnTo>
                    <a:pt x="92" y="289"/>
                  </a:lnTo>
                  <a:lnTo>
                    <a:pt x="92" y="291"/>
                  </a:lnTo>
                  <a:lnTo>
                    <a:pt x="88" y="293"/>
                  </a:lnTo>
                  <a:lnTo>
                    <a:pt x="86" y="293"/>
                  </a:lnTo>
                  <a:lnTo>
                    <a:pt x="82" y="293"/>
                  </a:lnTo>
                  <a:lnTo>
                    <a:pt x="81" y="293"/>
                  </a:lnTo>
                  <a:lnTo>
                    <a:pt x="79" y="295"/>
                  </a:lnTo>
                  <a:lnTo>
                    <a:pt x="77" y="295"/>
                  </a:lnTo>
                  <a:lnTo>
                    <a:pt x="75" y="299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1" y="309"/>
                  </a:lnTo>
                  <a:lnTo>
                    <a:pt x="71" y="311"/>
                  </a:lnTo>
                  <a:lnTo>
                    <a:pt x="71" y="314"/>
                  </a:lnTo>
                  <a:lnTo>
                    <a:pt x="69" y="316"/>
                  </a:lnTo>
                  <a:lnTo>
                    <a:pt x="69" y="320"/>
                  </a:lnTo>
                  <a:lnTo>
                    <a:pt x="69" y="322"/>
                  </a:lnTo>
                  <a:lnTo>
                    <a:pt x="67" y="324"/>
                  </a:lnTo>
                  <a:lnTo>
                    <a:pt x="67" y="326"/>
                  </a:lnTo>
                  <a:lnTo>
                    <a:pt x="67" y="328"/>
                  </a:lnTo>
                  <a:lnTo>
                    <a:pt x="65" y="330"/>
                  </a:lnTo>
                  <a:lnTo>
                    <a:pt x="65" y="332"/>
                  </a:lnTo>
                  <a:lnTo>
                    <a:pt x="63" y="332"/>
                  </a:lnTo>
                  <a:lnTo>
                    <a:pt x="61" y="334"/>
                  </a:lnTo>
                  <a:lnTo>
                    <a:pt x="61" y="335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9" y="328"/>
                  </a:lnTo>
                  <a:lnTo>
                    <a:pt x="59" y="324"/>
                  </a:lnTo>
                  <a:lnTo>
                    <a:pt x="59" y="320"/>
                  </a:lnTo>
                  <a:lnTo>
                    <a:pt x="59" y="316"/>
                  </a:lnTo>
                  <a:lnTo>
                    <a:pt x="59" y="314"/>
                  </a:lnTo>
                  <a:lnTo>
                    <a:pt x="59" y="312"/>
                  </a:lnTo>
                  <a:lnTo>
                    <a:pt x="59" y="311"/>
                  </a:lnTo>
                  <a:lnTo>
                    <a:pt x="59" y="309"/>
                  </a:lnTo>
                  <a:lnTo>
                    <a:pt x="58" y="307"/>
                  </a:lnTo>
                  <a:lnTo>
                    <a:pt x="56" y="303"/>
                  </a:lnTo>
                  <a:lnTo>
                    <a:pt x="52" y="299"/>
                  </a:lnTo>
                  <a:lnTo>
                    <a:pt x="50" y="299"/>
                  </a:lnTo>
                  <a:lnTo>
                    <a:pt x="46" y="299"/>
                  </a:lnTo>
                  <a:lnTo>
                    <a:pt x="42" y="299"/>
                  </a:lnTo>
                  <a:lnTo>
                    <a:pt x="40" y="295"/>
                  </a:lnTo>
                  <a:lnTo>
                    <a:pt x="40" y="293"/>
                  </a:lnTo>
                  <a:lnTo>
                    <a:pt x="40" y="289"/>
                  </a:lnTo>
                  <a:lnTo>
                    <a:pt x="38" y="287"/>
                  </a:lnTo>
                  <a:lnTo>
                    <a:pt x="38" y="286"/>
                  </a:lnTo>
                  <a:lnTo>
                    <a:pt x="38" y="284"/>
                  </a:lnTo>
                  <a:lnTo>
                    <a:pt x="36" y="282"/>
                  </a:lnTo>
                  <a:lnTo>
                    <a:pt x="36" y="278"/>
                  </a:lnTo>
                  <a:lnTo>
                    <a:pt x="34" y="276"/>
                  </a:lnTo>
                  <a:lnTo>
                    <a:pt x="34" y="274"/>
                  </a:lnTo>
                  <a:lnTo>
                    <a:pt x="34" y="270"/>
                  </a:lnTo>
                  <a:lnTo>
                    <a:pt x="31" y="270"/>
                  </a:lnTo>
                  <a:lnTo>
                    <a:pt x="27" y="266"/>
                  </a:lnTo>
                  <a:lnTo>
                    <a:pt x="25" y="264"/>
                  </a:lnTo>
                  <a:lnTo>
                    <a:pt x="21" y="264"/>
                  </a:lnTo>
                  <a:lnTo>
                    <a:pt x="21" y="261"/>
                  </a:lnTo>
                  <a:lnTo>
                    <a:pt x="19" y="259"/>
                  </a:lnTo>
                  <a:lnTo>
                    <a:pt x="15" y="257"/>
                  </a:lnTo>
                  <a:lnTo>
                    <a:pt x="15" y="255"/>
                  </a:lnTo>
                  <a:lnTo>
                    <a:pt x="13" y="253"/>
                  </a:lnTo>
                  <a:lnTo>
                    <a:pt x="11" y="249"/>
                  </a:lnTo>
                  <a:lnTo>
                    <a:pt x="10" y="247"/>
                  </a:lnTo>
                  <a:lnTo>
                    <a:pt x="10" y="245"/>
                  </a:lnTo>
                  <a:lnTo>
                    <a:pt x="8" y="245"/>
                  </a:lnTo>
                  <a:lnTo>
                    <a:pt x="8" y="241"/>
                  </a:lnTo>
                  <a:lnTo>
                    <a:pt x="8" y="238"/>
                  </a:lnTo>
                  <a:lnTo>
                    <a:pt x="8" y="236"/>
                  </a:lnTo>
                  <a:lnTo>
                    <a:pt x="8" y="234"/>
                  </a:lnTo>
                  <a:lnTo>
                    <a:pt x="8" y="230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8"/>
                  </a:lnTo>
                  <a:lnTo>
                    <a:pt x="8" y="213"/>
                  </a:lnTo>
                  <a:lnTo>
                    <a:pt x="8" y="211"/>
                  </a:lnTo>
                  <a:lnTo>
                    <a:pt x="8" y="209"/>
                  </a:lnTo>
                  <a:lnTo>
                    <a:pt x="8" y="207"/>
                  </a:lnTo>
                  <a:lnTo>
                    <a:pt x="10" y="203"/>
                  </a:lnTo>
                  <a:lnTo>
                    <a:pt x="10" y="201"/>
                  </a:lnTo>
                  <a:lnTo>
                    <a:pt x="8" y="199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0"/>
                  </a:lnTo>
                  <a:lnTo>
                    <a:pt x="4" y="188"/>
                  </a:lnTo>
                  <a:lnTo>
                    <a:pt x="2" y="184"/>
                  </a:lnTo>
                  <a:lnTo>
                    <a:pt x="0" y="180"/>
                  </a:lnTo>
                  <a:lnTo>
                    <a:pt x="4" y="178"/>
                  </a:lnTo>
                  <a:lnTo>
                    <a:pt x="6" y="176"/>
                  </a:lnTo>
                  <a:lnTo>
                    <a:pt x="8" y="176"/>
                  </a:lnTo>
                  <a:lnTo>
                    <a:pt x="10" y="172"/>
                  </a:lnTo>
                  <a:lnTo>
                    <a:pt x="11" y="170"/>
                  </a:lnTo>
                  <a:lnTo>
                    <a:pt x="13" y="170"/>
                  </a:lnTo>
                  <a:lnTo>
                    <a:pt x="13" y="167"/>
                  </a:lnTo>
                  <a:lnTo>
                    <a:pt x="15" y="165"/>
                  </a:lnTo>
                  <a:lnTo>
                    <a:pt x="15" y="163"/>
                  </a:lnTo>
                  <a:lnTo>
                    <a:pt x="15" y="159"/>
                  </a:lnTo>
                  <a:lnTo>
                    <a:pt x="17" y="157"/>
                  </a:lnTo>
                  <a:lnTo>
                    <a:pt x="17" y="153"/>
                  </a:lnTo>
                  <a:lnTo>
                    <a:pt x="19" y="151"/>
                  </a:lnTo>
                  <a:lnTo>
                    <a:pt x="19" y="149"/>
                  </a:lnTo>
                  <a:lnTo>
                    <a:pt x="21" y="147"/>
                  </a:lnTo>
                  <a:lnTo>
                    <a:pt x="21" y="145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7" y="142"/>
                  </a:lnTo>
                  <a:lnTo>
                    <a:pt x="29" y="140"/>
                  </a:lnTo>
                  <a:lnTo>
                    <a:pt x="31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6" y="128"/>
                  </a:lnTo>
                  <a:lnTo>
                    <a:pt x="38" y="126"/>
                  </a:lnTo>
                  <a:lnTo>
                    <a:pt x="42" y="126"/>
                  </a:lnTo>
                  <a:lnTo>
                    <a:pt x="46" y="126"/>
                  </a:lnTo>
                  <a:lnTo>
                    <a:pt x="52" y="126"/>
                  </a:lnTo>
                  <a:lnTo>
                    <a:pt x="54" y="128"/>
                  </a:lnTo>
                  <a:lnTo>
                    <a:pt x="58" y="128"/>
                  </a:lnTo>
                  <a:lnTo>
                    <a:pt x="59" y="128"/>
                  </a:lnTo>
                  <a:lnTo>
                    <a:pt x="63" y="128"/>
                  </a:lnTo>
                  <a:lnTo>
                    <a:pt x="67" y="128"/>
                  </a:lnTo>
                  <a:lnTo>
                    <a:pt x="69" y="128"/>
                  </a:lnTo>
                  <a:lnTo>
                    <a:pt x="73" y="128"/>
                  </a:lnTo>
                  <a:lnTo>
                    <a:pt x="77" y="128"/>
                  </a:lnTo>
                  <a:lnTo>
                    <a:pt x="82" y="128"/>
                  </a:lnTo>
                  <a:lnTo>
                    <a:pt x="86" y="128"/>
                  </a:lnTo>
                  <a:lnTo>
                    <a:pt x="88" y="128"/>
                  </a:lnTo>
                  <a:lnTo>
                    <a:pt x="92" y="126"/>
                  </a:lnTo>
                  <a:lnTo>
                    <a:pt x="96" y="126"/>
                  </a:lnTo>
                  <a:lnTo>
                    <a:pt x="98" y="126"/>
                  </a:lnTo>
                  <a:lnTo>
                    <a:pt x="102" y="124"/>
                  </a:lnTo>
                  <a:lnTo>
                    <a:pt x="104" y="124"/>
                  </a:lnTo>
                  <a:lnTo>
                    <a:pt x="107" y="122"/>
                  </a:lnTo>
                  <a:lnTo>
                    <a:pt x="109" y="122"/>
                  </a:lnTo>
                  <a:lnTo>
                    <a:pt x="113" y="121"/>
                  </a:lnTo>
                  <a:lnTo>
                    <a:pt x="117" y="119"/>
                  </a:lnTo>
                  <a:lnTo>
                    <a:pt x="123" y="119"/>
                  </a:lnTo>
                  <a:lnTo>
                    <a:pt x="127" y="119"/>
                  </a:lnTo>
                  <a:lnTo>
                    <a:pt x="130" y="119"/>
                  </a:lnTo>
                  <a:lnTo>
                    <a:pt x="134" y="119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48" y="119"/>
                  </a:lnTo>
                  <a:lnTo>
                    <a:pt x="150" y="117"/>
                  </a:lnTo>
                  <a:lnTo>
                    <a:pt x="152" y="113"/>
                  </a:lnTo>
                  <a:lnTo>
                    <a:pt x="153" y="111"/>
                  </a:lnTo>
                  <a:lnTo>
                    <a:pt x="155" y="109"/>
                  </a:lnTo>
                  <a:lnTo>
                    <a:pt x="155" y="105"/>
                  </a:lnTo>
                  <a:lnTo>
                    <a:pt x="157" y="105"/>
                  </a:lnTo>
                  <a:lnTo>
                    <a:pt x="159" y="101"/>
                  </a:lnTo>
                  <a:lnTo>
                    <a:pt x="161" y="98"/>
                  </a:lnTo>
                  <a:lnTo>
                    <a:pt x="163" y="94"/>
                  </a:lnTo>
                  <a:lnTo>
                    <a:pt x="167" y="90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73" y="80"/>
                  </a:lnTo>
                  <a:lnTo>
                    <a:pt x="175" y="78"/>
                  </a:lnTo>
                  <a:lnTo>
                    <a:pt x="176" y="78"/>
                  </a:lnTo>
                  <a:lnTo>
                    <a:pt x="178" y="74"/>
                  </a:lnTo>
                  <a:lnTo>
                    <a:pt x="184" y="74"/>
                  </a:lnTo>
                  <a:lnTo>
                    <a:pt x="186" y="74"/>
                  </a:lnTo>
                  <a:lnTo>
                    <a:pt x="190" y="74"/>
                  </a:lnTo>
                  <a:lnTo>
                    <a:pt x="192" y="74"/>
                  </a:lnTo>
                  <a:lnTo>
                    <a:pt x="194" y="76"/>
                  </a:lnTo>
                  <a:lnTo>
                    <a:pt x="196" y="76"/>
                  </a:lnTo>
                  <a:lnTo>
                    <a:pt x="198" y="74"/>
                  </a:lnTo>
                  <a:lnTo>
                    <a:pt x="201" y="74"/>
                  </a:lnTo>
                  <a:lnTo>
                    <a:pt x="203" y="74"/>
                  </a:lnTo>
                  <a:lnTo>
                    <a:pt x="207" y="74"/>
                  </a:lnTo>
                  <a:lnTo>
                    <a:pt x="209" y="74"/>
                  </a:lnTo>
                  <a:lnTo>
                    <a:pt x="211" y="74"/>
                  </a:lnTo>
                  <a:lnTo>
                    <a:pt x="215" y="73"/>
                  </a:lnTo>
                  <a:lnTo>
                    <a:pt x="217" y="71"/>
                  </a:lnTo>
                  <a:lnTo>
                    <a:pt x="219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3" y="65"/>
                  </a:lnTo>
                  <a:lnTo>
                    <a:pt x="223" y="61"/>
                  </a:lnTo>
                  <a:lnTo>
                    <a:pt x="224" y="61"/>
                  </a:lnTo>
                  <a:lnTo>
                    <a:pt x="226" y="61"/>
                  </a:lnTo>
                  <a:lnTo>
                    <a:pt x="226" y="57"/>
                  </a:lnTo>
                  <a:lnTo>
                    <a:pt x="228" y="55"/>
                  </a:lnTo>
                  <a:lnTo>
                    <a:pt x="228" y="53"/>
                  </a:lnTo>
                  <a:lnTo>
                    <a:pt x="230" y="51"/>
                  </a:lnTo>
                  <a:lnTo>
                    <a:pt x="232" y="51"/>
                  </a:lnTo>
                  <a:lnTo>
                    <a:pt x="234" y="50"/>
                  </a:lnTo>
                  <a:lnTo>
                    <a:pt x="236" y="48"/>
                  </a:lnTo>
                  <a:lnTo>
                    <a:pt x="236" y="46"/>
                  </a:lnTo>
                  <a:lnTo>
                    <a:pt x="240" y="44"/>
                  </a:lnTo>
                  <a:lnTo>
                    <a:pt x="244" y="44"/>
                  </a:lnTo>
                  <a:lnTo>
                    <a:pt x="244" y="40"/>
                  </a:lnTo>
                  <a:lnTo>
                    <a:pt x="246" y="40"/>
                  </a:lnTo>
                  <a:lnTo>
                    <a:pt x="247" y="38"/>
                  </a:lnTo>
                  <a:lnTo>
                    <a:pt x="247" y="36"/>
                  </a:lnTo>
                  <a:lnTo>
                    <a:pt x="251" y="34"/>
                  </a:lnTo>
                  <a:lnTo>
                    <a:pt x="253" y="32"/>
                  </a:lnTo>
                  <a:lnTo>
                    <a:pt x="255" y="30"/>
                  </a:lnTo>
                  <a:lnTo>
                    <a:pt x="259" y="28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5" y="23"/>
                  </a:lnTo>
                  <a:lnTo>
                    <a:pt x="267" y="19"/>
                  </a:lnTo>
                  <a:lnTo>
                    <a:pt x="269" y="17"/>
                  </a:lnTo>
                  <a:lnTo>
                    <a:pt x="270" y="13"/>
                  </a:lnTo>
                  <a:lnTo>
                    <a:pt x="272" y="11"/>
                  </a:lnTo>
                  <a:lnTo>
                    <a:pt x="272" y="9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80" y="5"/>
                  </a:lnTo>
                  <a:lnTo>
                    <a:pt x="284" y="5"/>
                  </a:lnTo>
                  <a:lnTo>
                    <a:pt x="286" y="3"/>
                  </a:lnTo>
                  <a:lnTo>
                    <a:pt x="294" y="3"/>
                  </a:lnTo>
                  <a:lnTo>
                    <a:pt x="297" y="2"/>
                  </a:lnTo>
                  <a:lnTo>
                    <a:pt x="299" y="2"/>
                  </a:lnTo>
                  <a:lnTo>
                    <a:pt x="301" y="0"/>
                  </a:lnTo>
                  <a:lnTo>
                    <a:pt x="301" y="5"/>
                  </a:lnTo>
                  <a:lnTo>
                    <a:pt x="303" y="7"/>
                  </a:lnTo>
                  <a:lnTo>
                    <a:pt x="303" y="9"/>
                  </a:lnTo>
                  <a:lnTo>
                    <a:pt x="303" y="13"/>
                  </a:lnTo>
                  <a:lnTo>
                    <a:pt x="303" y="15"/>
                  </a:lnTo>
                  <a:lnTo>
                    <a:pt x="303" y="17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7" y="21"/>
                  </a:lnTo>
                  <a:lnTo>
                    <a:pt x="309" y="23"/>
                  </a:lnTo>
                  <a:lnTo>
                    <a:pt x="311" y="25"/>
                  </a:lnTo>
                  <a:lnTo>
                    <a:pt x="313" y="27"/>
                  </a:lnTo>
                  <a:lnTo>
                    <a:pt x="315" y="30"/>
                  </a:lnTo>
                  <a:lnTo>
                    <a:pt x="317" y="32"/>
                  </a:lnTo>
                  <a:lnTo>
                    <a:pt x="318" y="34"/>
                  </a:lnTo>
                  <a:lnTo>
                    <a:pt x="322" y="34"/>
                  </a:lnTo>
                  <a:lnTo>
                    <a:pt x="324" y="36"/>
                  </a:lnTo>
                  <a:lnTo>
                    <a:pt x="324" y="38"/>
                  </a:lnTo>
                  <a:lnTo>
                    <a:pt x="326" y="42"/>
                  </a:lnTo>
                  <a:lnTo>
                    <a:pt x="326" y="44"/>
                  </a:lnTo>
                  <a:lnTo>
                    <a:pt x="328" y="46"/>
                  </a:lnTo>
                  <a:lnTo>
                    <a:pt x="330" y="48"/>
                  </a:lnTo>
                  <a:lnTo>
                    <a:pt x="330" y="51"/>
                  </a:lnTo>
                  <a:lnTo>
                    <a:pt x="330" y="53"/>
                  </a:lnTo>
                  <a:lnTo>
                    <a:pt x="330" y="57"/>
                  </a:lnTo>
                  <a:lnTo>
                    <a:pt x="330" y="59"/>
                  </a:lnTo>
                  <a:lnTo>
                    <a:pt x="328" y="61"/>
                  </a:lnTo>
                  <a:lnTo>
                    <a:pt x="328" y="63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6"/>
                  </a:lnTo>
                  <a:lnTo>
                    <a:pt x="328" y="78"/>
                  </a:lnTo>
                  <a:lnTo>
                    <a:pt x="328" y="82"/>
                  </a:lnTo>
                  <a:lnTo>
                    <a:pt x="328" y="84"/>
                  </a:lnTo>
                  <a:lnTo>
                    <a:pt x="324" y="90"/>
                  </a:lnTo>
                  <a:lnTo>
                    <a:pt x="328" y="94"/>
                  </a:lnTo>
                  <a:lnTo>
                    <a:pt x="330" y="96"/>
                  </a:lnTo>
                  <a:lnTo>
                    <a:pt x="334" y="96"/>
                  </a:lnTo>
                  <a:lnTo>
                    <a:pt x="336" y="96"/>
                  </a:lnTo>
                  <a:lnTo>
                    <a:pt x="340" y="96"/>
                  </a:lnTo>
                  <a:lnTo>
                    <a:pt x="341" y="96"/>
                  </a:lnTo>
                  <a:lnTo>
                    <a:pt x="343" y="96"/>
                  </a:lnTo>
                  <a:lnTo>
                    <a:pt x="347" y="98"/>
                  </a:lnTo>
                  <a:lnTo>
                    <a:pt x="349" y="98"/>
                  </a:lnTo>
                  <a:lnTo>
                    <a:pt x="351" y="99"/>
                  </a:lnTo>
                  <a:lnTo>
                    <a:pt x="353" y="99"/>
                  </a:lnTo>
                  <a:lnTo>
                    <a:pt x="357" y="101"/>
                  </a:lnTo>
                  <a:lnTo>
                    <a:pt x="359" y="101"/>
                  </a:lnTo>
                  <a:lnTo>
                    <a:pt x="361" y="101"/>
                  </a:lnTo>
                  <a:lnTo>
                    <a:pt x="363" y="103"/>
                  </a:lnTo>
                  <a:lnTo>
                    <a:pt x="365" y="103"/>
                  </a:lnTo>
                  <a:lnTo>
                    <a:pt x="366" y="103"/>
                  </a:lnTo>
                  <a:lnTo>
                    <a:pt x="368" y="105"/>
                  </a:lnTo>
                  <a:lnTo>
                    <a:pt x="368" y="105"/>
                  </a:lnTo>
                  <a:lnTo>
                    <a:pt x="372" y="109"/>
                  </a:lnTo>
                  <a:lnTo>
                    <a:pt x="376" y="109"/>
                  </a:lnTo>
                  <a:lnTo>
                    <a:pt x="378" y="111"/>
                  </a:lnTo>
                  <a:lnTo>
                    <a:pt x="378" y="113"/>
                  </a:lnTo>
                  <a:lnTo>
                    <a:pt x="380" y="115"/>
                  </a:lnTo>
                  <a:lnTo>
                    <a:pt x="380" y="117"/>
                  </a:lnTo>
                  <a:lnTo>
                    <a:pt x="382" y="119"/>
                  </a:lnTo>
                  <a:lnTo>
                    <a:pt x="386" y="119"/>
                  </a:lnTo>
                  <a:lnTo>
                    <a:pt x="388" y="121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91" y="124"/>
                  </a:lnTo>
                  <a:lnTo>
                    <a:pt x="391" y="126"/>
                  </a:lnTo>
                  <a:lnTo>
                    <a:pt x="395" y="128"/>
                  </a:lnTo>
                  <a:lnTo>
                    <a:pt x="397" y="128"/>
                  </a:lnTo>
                  <a:lnTo>
                    <a:pt x="399" y="130"/>
                  </a:lnTo>
                  <a:lnTo>
                    <a:pt x="401" y="132"/>
                  </a:lnTo>
                  <a:lnTo>
                    <a:pt x="403" y="132"/>
                  </a:lnTo>
                  <a:lnTo>
                    <a:pt x="405" y="136"/>
                  </a:lnTo>
                  <a:lnTo>
                    <a:pt x="407" y="140"/>
                  </a:lnTo>
                  <a:lnTo>
                    <a:pt x="407" y="142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11" y="145"/>
                  </a:lnTo>
                  <a:lnTo>
                    <a:pt x="411" y="149"/>
                  </a:lnTo>
                  <a:lnTo>
                    <a:pt x="412" y="151"/>
                  </a:lnTo>
                  <a:lnTo>
                    <a:pt x="412" y="155"/>
                  </a:lnTo>
                  <a:lnTo>
                    <a:pt x="414" y="157"/>
                  </a:lnTo>
                  <a:lnTo>
                    <a:pt x="416" y="159"/>
                  </a:lnTo>
                  <a:lnTo>
                    <a:pt x="418" y="161"/>
                  </a:lnTo>
                  <a:lnTo>
                    <a:pt x="420" y="163"/>
                  </a:lnTo>
                  <a:lnTo>
                    <a:pt x="422" y="163"/>
                  </a:lnTo>
                  <a:lnTo>
                    <a:pt x="424" y="163"/>
                  </a:lnTo>
                  <a:lnTo>
                    <a:pt x="428" y="163"/>
                  </a:lnTo>
                  <a:lnTo>
                    <a:pt x="432" y="165"/>
                  </a:lnTo>
                  <a:lnTo>
                    <a:pt x="432" y="167"/>
                  </a:lnTo>
                  <a:lnTo>
                    <a:pt x="434" y="167"/>
                  </a:lnTo>
                  <a:lnTo>
                    <a:pt x="436" y="167"/>
                  </a:lnTo>
                  <a:lnTo>
                    <a:pt x="437" y="167"/>
                  </a:lnTo>
                  <a:lnTo>
                    <a:pt x="439" y="169"/>
                  </a:lnTo>
                  <a:lnTo>
                    <a:pt x="439" y="167"/>
                  </a:lnTo>
                  <a:lnTo>
                    <a:pt x="439" y="170"/>
                  </a:lnTo>
                  <a:lnTo>
                    <a:pt x="443" y="172"/>
                  </a:lnTo>
                  <a:lnTo>
                    <a:pt x="445" y="174"/>
                  </a:lnTo>
                  <a:lnTo>
                    <a:pt x="445" y="176"/>
                  </a:lnTo>
                  <a:lnTo>
                    <a:pt x="449" y="176"/>
                  </a:lnTo>
                  <a:lnTo>
                    <a:pt x="449" y="180"/>
                  </a:lnTo>
                  <a:lnTo>
                    <a:pt x="449" y="182"/>
                  </a:lnTo>
                  <a:lnTo>
                    <a:pt x="449" y="184"/>
                  </a:lnTo>
                  <a:lnTo>
                    <a:pt x="449" y="188"/>
                  </a:lnTo>
                  <a:lnTo>
                    <a:pt x="449" y="192"/>
                  </a:lnTo>
                  <a:lnTo>
                    <a:pt x="449" y="193"/>
                  </a:lnTo>
                  <a:lnTo>
                    <a:pt x="453" y="197"/>
                  </a:lnTo>
                  <a:lnTo>
                    <a:pt x="455" y="197"/>
                  </a:lnTo>
                  <a:lnTo>
                    <a:pt x="457" y="201"/>
                  </a:lnTo>
                  <a:lnTo>
                    <a:pt x="457" y="203"/>
                  </a:lnTo>
                  <a:lnTo>
                    <a:pt x="459" y="203"/>
                  </a:lnTo>
                  <a:lnTo>
                    <a:pt x="462" y="203"/>
                  </a:lnTo>
                  <a:lnTo>
                    <a:pt x="462" y="207"/>
                  </a:lnTo>
                  <a:lnTo>
                    <a:pt x="466" y="211"/>
                  </a:lnTo>
                  <a:lnTo>
                    <a:pt x="466" y="215"/>
                  </a:lnTo>
                  <a:lnTo>
                    <a:pt x="466" y="218"/>
                  </a:lnTo>
                  <a:lnTo>
                    <a:pt x="468" y="220"/>
                  </a:lnTo>
                  <a:lnTo>
                    <a:pt x="470" y="222"/>
                  </a:lnTo>
                  <a:lnTo>
                    <a:pt x="472" y="222"/>
                  </a:lnTo>
                  <a:lnTo>
                    <a:pt x="472" y="228"/>
                  </a:lnTo>
                  <a:lnTo>
                    <a:pt x="474" y="228"/>
                  </a:lnTo>
                  <a:lnTo>
                    <a:pt x="476" y="228"/>
                  </a:lnTo>
                  <a:lnTo>
                    <a:pt x="476" y="232"/>
                  </a:lnTo>
                  <a:lnTo>
                    <a:pt x="476" y="23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5" name="Freeform 41"/>
            <p:cNvSpPr>
              <a:spLocks/>
            </p:cNvSpPr>
            <p:nvPr/>
          </p:nvSpPr>
          <p:spPr bwMode="auto">
            <a:xfrm>
              <a:off x="1482" y="1843"/>
              <a:ext cx="282" cy="418"/>
            </a:xfrm>
            <a:custGeom>
              <a:avLst/>
              <a:gdLst/>
              <a:ahLst/>
              <a:cxnLst>
                <a:cxn ang="0">
                  <a:pos x="255" y="176"/>
                </a:cxn>
                <a:cxn ang="0">
                  <a:pos x="238" y="165"/>
                </a:cxn>
                <a:cxn ang="0">
                  <a:pos x="225" y="155"/>
                </a:cxn>
                <a:cxn ang="0">
                  <a:pos x="209" y="138"/>
                </a:cxn>
                <a:cxn ang="0">
                  <a:pos x="217" y="121"/>
                </a:cxn>
                <a:cxn ang="0">
                  <a:pos x="242" y="119"/>
                </a:cxn>
                <a:cxn ang="0">
                  <a:pos x="263" y="119"/>
                </a:cxn>
                <a:cxn ang="0">
                  <a:pos x="259" y="101"/>
                </a:cxn>
                <a:cxn ang="0">
                  <a:pos x="252" y="78"/>
                </a:cxn>
                <a:cxn ang="0">
                  <a:pos x="250" y="55"/>
                </a:cxn>
                <a:cxn ang="0">
                  <a:pos x="244" y="38"/>
                </a:cxn>
                <a:cxn ang="0">
                  <a:pos x="225" y="27"/>
                </a:cxn>
                <a:cxn ang="0">
                  <a:pos x="208" y="7"/>
                </a:cxn>
                <a:cxn ang="0">
                  <a:pos x="188" y="0"/>
                </a:cxn>
                <a:cxn ang="0">
                  <a:pos x="184" y="21"/>
                </a:cxn>
                <a:cxn ang="0">
                  <a:pos x="200" y="34"/>
                </a:cxn>
                <a:cxn ang="0">
                  <a:pos x="211" y="53"/>
                </a:cxn>
                <a:cxn ang="0">
                  <a:pos x="204" y="71"/>
                </a:cxn>
                <a:cxn ang="0">
                  <a:pos x="192" y="88"/>
                </a:cxn>
                <a:cxn ang="0">
                  <a:pos x="184" y="109"/>
                </a:cxn>
                <a:cxn ang="0">
                  <a:pos x="171" y="126"/>
                </a:cxn>
                <a:cxn ang="0">
                  <a:pos x="161" y="151"/>
                </a:cxn>
                <a:cxn ang="0">
                  <a:pos x="148" y="163"/>
                </a:cxn>
                <a:cxn ang="0">
                  <a:pos x="131" y="176"/>
                </a:cxn>
                <a:cxn ang="0">
                  <a:pos x="123" y="197"/>
                </a:cxn>
                <a:cxn ang="0">
                  <a:pos x="117" y="220"/>
                </a:cxn>
                <a:cxn ang="0">
                  <a:pos x="110" y="232"/>
                </a:cxn>
                <a:cxn ang="0">
                  <a:pos x="96" y="245"/>
                </a:cxn>
                <a:cxn ang="0">
                  <a:pos x="83" y="228"/>
                </a:cxn>
                <a:cxn ang="0">
                  <a:pos x="67" y="224"/>
                </a:cxn>
                <a:cxn ang="0">
                  <a:pos x="50" y="224"/>
                </a:cxn>
                <a:cxn ang="0">
                  <a:pos x="39" y="247"/>
                </a:cxn>
                <a:cxn ang="0">
                  <a:pos x="16" y="264"/>
                </a:cxn>
                <a:cxn ang="0">
                  <a:pos x="4" y="284"/>
                </a:cxn>
                <a:cxn ang="0">
                  <a:pos x="4" y="307"/>
                </a:cxn>
                <a:cxn ang="0">
                  <a:pos x="8" y="326"/>
                </a:cxn>
                <a:cxn ang="0">
                  <a:pos x="27" y="330"/>
                </a:cxn>
                <a:cxn ang="0">
                  <a:pos x="41" y="343"/>
                </a:cxn>
                <a:cxn ang="0">
                  <a:pos x="50" y="360"/>
                </a:cxn>
                <a:cxn ang="0">
                  <a:pos x="58" y="387"/>
                </a:cxn>
                <a:cxn ang="0">
                  <a:pos x="48" y="405"/>
                </a:cxn>
                <a:cxn ang="0">
                  <a:pos x="79" y="403"/>
                </a:cxn>
                <a:cxn ang="0">
                  <a:pos x="112" y="401"/>
                </a:cxn>
                <a:cxn ang="0">
                  <a:pos x="144" y="393"/>
                </a:cxn>
                <a:cxn ang="0">
                  <a:pos x="165" y="397"/>
                </a:cxn>
                <a:cxn ang="0">
                  <a:pos x="186" y="399"/>
                </a:cxn>
                <a:cxn ang="0">
                  <a:pos x="219" y="403"/>
                </a:cxn>
                <a:cxn ang="0">
                  <a:pos x="244" y="405"/>
                </a:cxn>
                <a:cxn ang="0">
                  <a:pos x="263" y="414"/>
                </a:cxn>
                <a:cxn ang="0">
                  <a:pos x="282" y="416"/>
                </a:cxn>
                <a:cxn ang="0">
                  <a:pos x="282" y="391"/>
                </a:cxn>
                <a:cxn ang="0">
                  <a:pos x="277" y="376"/>
                </a:cxn>
                <a:cxn ang="0">
                  <a:pos x="259" y="362"/>
                </a:cxn>
                <a:cxn ang="0">
                  <a:pos x="255" y="343"/>
                </a:cxn>
                <a:cxn ang="0">
                  <a:pos x="242" y="328"/>
                </a:cxn>
                <a:cxn ang="0">
                  <a:pos x="229" y="312"/>
                </a:cxn>
                <a:cxn ang="0">
                  <a:pos x="225" y="287"/>
                </a:cxn>
                <a:cxn ang="0">
                  <a:pos x="229" y="272"/>
                </a:cxn>
                <a:cxn ang="0">
                  <a:pos x="225" y="249"/>
                </a:cxn>
                <a:cxn ang="0">
                  <a:pos x="236" y="232"/>
                </a:cxn>
                <a:cxn ang="0">
                  <a:pos x="246" y="213"/>
                </a:cxn>
                <a:cxn ang="0">
                  <a:pos x="263" y="197"/>
                </a:cxn>
              </a:cxnLst>
              <a:rect l="0" t="0" r="r" b="b"/>
              <a:pathLst>
                <a:path w="282" h="418">
                  <a:moveTo>
                    <a:pt x="263" y="197"/>
                  </a:moveTo>
                  <a:lnTo>
                    <a:pt x="261" y="193"/>
                  </a:lnTo>
                  <a:lnTo>
                    <a:pt x="257" y="190"/>
                  </a:lnTo>
                  <a:lnTo>
                    <a:pt x="257" y="186"/>
                  </a:lnTo>
                  <a:lnTo>
                    <a:pt x="257" y="184"/>
                  </a:lnTo>
                  <a:lnTo>
                    <a:pt x="255" y="182"/>
                  </a:lnTo>
                  <a:lnTo>
                    <a:pt x="255" y="180"/>
                  </a:lnTo>
                  <a:lnTo>
                    <a:pt x="255" y="176"/>
                  </a:lnTo>
                  <a:lnTo>
                    <a:pt x="254" y="176"/>
                  </a:lnTo>
                  <a:lnTo>
                    <a:pt x="252" y="172"/>
                  </a:lnTo>
                  <a:lnTo>
                    <a:pt x="250" y="170"/>
                  </a:lnTo>
                  <a:lnTo>
                    <a:pt x="248" y="170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2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6" y="161"/>
                  </a:lnTo>
                  <a:lnTo>
                    <a:pt x="234" y="159"/>
                  </a:lnTo>
                  <a:lnTo>
                    <a:pt x="231" y="159"/>
                  </a:lnTo>
                  <a:lnTo>
                    <a:pt x="231" y="159"/>
                  </a:lnTo>
                  <a:lnTo>
                    <a:pt x="229" y="157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1"/>
                  </a:lnTo>
                  <a:lnTo>
                    <a:pt x="221" y="149"/>
                  </a:lnTo>
                  <a:lnTo>
                    <a:pt x="219" y="147"/>
                  </a:lnTo>
                  <a:lnTo>
                    <a:pt x="217" y="145"/>
                  </a:lnTo>
                  <a:lnTo>
                    <a:pt x="215" y="145"/>
                  </a:lnTo>
                  <a:lnTo>
                    <a:pt x="211" y="144"/>
                  </a:lnTo>
                  <a:lnTo>
                    <a:pt x="211" y="142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2"/>
                  </a:lnTo>
                  <a:lnTo>
                    <a:pt x="209" y="130"/>
                  </a:lnTo>
                  <a:lnTo>
                    <a:pt x="211" y="128"/>
                  </a:lnTo>
                  <a:lnTo>
                    <a:pt x="211" y="126"/>
                  </a:lnTo>
                  <a:lnTo>
                    <a:pt x="211" y="122"/>
                  </a:lnTo>
                  <a:lnTo>
                    <a:pt x="213" y="122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23" y="121"/>
                  </a:lnTo>
                  <a:lnTo>
                    <a:pt x="227" y="119"/>
                  </a:lnTo>
                  <a:lnTo>
                    <a:pt x="229" y="119"/>
                  </a:lnTo>
                  <a:lnTo>
                    <a:pt x="232" y="119"/>
                  </a:lnTo>
                  <a:lnTo>
                    <a:pt x="236" y="119"/>
                  </a:lnTo>
                  <a:lnTo>
                    <a:pt x="238" y="119"/>
                  </a:lnTo>
                  <a:lnTo>
                    <a:pt x="242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50" y="121"/>
                  </a:lnTo>
                  <a:lnTo>
                    <a:pt x="254" y="121"/>
                  </a:lnTo>
                  <a:lnTo>
                    <a:pt x="255" y="121"/>
                  </a:lnTo>
                  <a:lnTo>
                    <a:pt x="259" y="121"/>
                  </a:lnTo>
                  <a:lnTo>
                    <a:pt x="261" y="121"/>
                  </a:lnTo>
                  <a:lnTo>
                    <a:pt x="263" y="119"/>
                  </a:lnTo>
                  <a:lnTo>
                    <a:pt x="265" y="115"/>
                  </a:lnTo>
                  <a:lnTo>
                    <a:pt x="269" y="115"/>
                  </a:lnTo>
                  <a:lnTo>
                    <a:pt x="267" y="111"/>
                  </a:lnTo>
                  <a:lnTo>
                    <a:pt x="267" y="107"/>
                  </a:lnTo>
                  <a:lnTo>
                    <a:pt x="265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59" y="101"/>
                  </a:lnTo>
                  <a:lnTo>
                    <a:pt x="257" y="99"/>
                  </a:lnTo>
                  <a:lnTo>
                    <a:pt x="255" y="98"/>
                  </a:lnTo>
                  <a:lnTo>
                    <a:pt x="255" y="96"/>
                  </a:lnTo>
                  <a:lnTo>
                    <a:pt x="254" y="92"/>
                  </a:lnTo>
                  <a:lnTo>
                    <a:pt x="254" y="88"/>
                  </a:lnTo>
                  <a:lnTo>
                    <a:pt x="254" y="86"/>
                  </a:lnTo>
                  <a:lnTo>
                    <a:pt x="252" y="82"/>
                  </a:lnTo>
                  <a:lnTo>
                    <a:pt x="252" y="78"/>
                  </a:lnTo>
                  <a:lnTo>
                    <a:pt x="252" y="76"/>
                  </a:lnTo>
                  <a:lnTo>
                    <a:pt x="252" y="74"/>
                  </a:lnTo>
                  <a:lnTo>
                    <a:pt x="250" y="71"/>
                  </a:lnTo>
                  <a:lnTo>
                    <a:pt x="250" y="69"/>
                  </a:lnTo>
                  <a:lnTo>
                    <a:pt x="250" y="65"/>
                  </a:lnTo>
                  <a:lnTo>
                    <a:pt x="250" y="61"/>
                  </a:lnTo>
                  <a:lnTo>
                    <a:pt x="250" y="57"/>
                  </a:lnTo>
                  <a:lnTo>
                    <a:pt x="250" y="55"/>
                  </a:lnTo>
                  <a:lnTo>
                    <a:pt x="252" y="53"/>
                  </a:lnTo>
                  <a:lnTo>
                    <a:pt x="250" y="51"/>
                  </a:lnTo>
                  <a:lnTo>
                    <a:pt x="250" y="48"/>
                  </a:lnTo>
                  <a:lnTo>
                    <a:pt x="250" y="46"/>
                  </a:lnTo>
                  <a:lnTo>
                    <a:pt x="248" y="44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4" y="38"/>
                  </a:lnTo>
                  <a:lnTo>
                    <a:pt x="240" y="38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4" y="34"/>
                  </a:lnTo>
                  <a:lnTo>
                    <a:pt x="232" y="32"/>
                  </a:lnTo>
                  <a:lnTo>
                    <a:pt x="229" y="32"/>
                  </a:lnTo>
                  <a:lnTo>
                    <a:pt x="229" y="30"/>
                  </a:lnTo>
                  <a:lnTo>
                    <a:pt x="225" y="27"/>
                  </a:lnTo>
                  <a:lnTo>
                    <a:pt x="221" y="27"/>
                  </a:lnTo>
                  <a:lnTo>
                    <a:pt x="219" y="21"/>
                  </a:lnTo>
                  <a:lnTo>
                    <a:pt x="215" y="17"/>
                  </a:lnTo>
                  <a:lnTo>
                    <a:pt x="215" y="15"/>
                  </a:lnTo>
                  <a:lnTo>
                    <a:pt x="211" y="11"/>
                  </a:lnTo>
                  <a:lnTo>
                    <a:pt x="211" y="9"/>
                  </a:lnTo>
                  <a:lnTo>
                    <a:pt x="211" y="7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6" y="3"/>
                  </a:lnTo>
                  <a:lnTo>
                    <a:pt x="202" y="3"/>
                  </a:lnTo>
                  <a:lnTo>
                    <a:pt x="200" y="2"/>
                  </a:lnTo>
                  <a:lnTo>
                    <a:pt x="198" y="0"/>
                  </a:lnTo>
                  <a:lnTo>
                    <a:pt x="194" y="0"/>
                  </a:lnTo>
                  <a:lnTo>
                    <a:pt x="192" y="0"/>
                  </a:lnTo>
                  <a:lnTo>
                    <a:pt x="188" y="0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4" y="3"/>
                  </a:lnTo>
                  <a:lnTo>
                    <a:pt x="184" y="7"/>
                  </a:lnTo>
                  <a:lnTo>
                    <a:pt x="184" y="9"/>
                  </a:lnTo>
                  <a:lnTo>
                    <a:pt x="184" y="13"/>
                  </a:lnTo>
                  <a:lnTo>
                    <a:pt x="184" y="17"/>
                  </a:lnTo>
                  <a:lnTo>
                    <a:pt x="184" y="21"/>
                  </a:lnTo>
                  <a:lnTo>
                    <a:pt x="184" y="25"/>
                  </a:lnTo>
                  <a:lnTo>
                    <a:pt x="184" y="27"/>
                  </a:lnTo>
                  <a:lnTo>
                    <a:pt x="184" y="28"/>
                  </a:lnTo>
                  <a:lnTo>
                    <a:pt x="186" y="32"/>
                  </a:lnTo>
                  <a:lnTo>
                    <a:pt x="190" y="32"/>
                  </a:lnTo>
                  <a:lnTo>
                    <a:pt x="192" y="32"/>
                  </a:lnTo>
                  <a:lnTo>
                    <a:pt x="196" y="32"/>
                  </a:lnTo>
                  <a:lnTo>
                    <a:pt x="200" y="34"/>
                  </a:lnTo>
                  <a:lnTo>
                    <a:pt x="202" y="36"/>
                  </a:lnTo>
                  <a:lnTo>
                    <a:pt x="206" y="38"/>
                  </a:lnTo>
                  <a:lnTo>
                    <a:pt x="209" y="40"/>
                  </a:lnTo>
                  <a:lnTo>
                    <a:pt x="211" y="44"/>
                  </a:lnTo>
                  <a:lnTo>
                    <a:pt x="211" y="46"/>
                  </a:lnTo>
                  <a:lnTo>
                    <a:pt x="211" y="48"/>
                  </a:lnTo>
                  <a:lnTo>
                    <a:pt x="211" y="51"/>
                  </a:lnTo>
                  <a:lnTo>
                    <a:pt x="211" y="53"/>
                  </a:lnTo>
                  <a:lnTo>
                    <a:pt x="211" y="57"/>
                  </a:lnTo>
                  <a:lnTo>
                    <a:pt x="211" y="59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08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71"/>
                  </a:lnTo>
                  <a:lnTo>
                    <a:pt x="202" y="71"/>
                  </a:lnTo>
                  <a:lnTo>
                    <a:pt x="200" y="71"/>
                  </a:lnTo>
                  <a:lnTo>
                    <a:pt x="198" y="74"/>
                  </a:lnTo>
                  <a:lnTo>
                    <a:pt x="194" y="78"/>
                  </a:lnTo>
                  <a:lnTo>
                    <a:pt x="194" y="80"/>
                  </a:lnTo>
                  <a:lnTo>
                    <a:pt x="194" y="84"/>
                  </a:lnTo>
                  <a:lnTo>
                    <a:pt x="192" y="86"/>
                  </a:lnTo>
                  <a:lnTo>
                    <a:pt x="192" y="88"/>
                  </a:lnTo>
                  <a:lnTo>
                    <a:pt x="192" y="90"/>
                  </a:lnTo>
                  <a:lnTo>
                    <a:pt x="190" y="94"/>
                  </a:lnTo>
                  <a:lnTo>
                    <a:pt x="188" y="96"/>
                  </a:lnTo>
                  <a:lnTo>
                    <a:pt x="186" y="98"/>
                  </a:lnTo>
                  <a:lnTo>
                    <a:pt x="186" y="101"/>
                  </a:lnTo>
                  <a:lnTo>
                    <a:pt x="186" y="103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3"/>
                  </a:lnTo>
                  <a:lnTo>
                    <a:pt x="183" y="115"/>
                  </a:lnTo>
                  <a:lnTo>
                    <a:pt x="183" y="117"/>
                  </a:lnTo>
                  <a:lnTo>
                    <a:pt x="181" y="121"/>
                  </a:lnTo>
                  <a:lnTo>
                    <a:pt x="179" y="122"/>
                  </a:lnTo>
                  <a:lnTo>
                    <a:pt x="175" y="124"/>
                  </a:lnTo>
                  <a:lnTo>
                    <a:pt x="173" y="126"/>
                  </a:lnTo>
                  <a:lnTo>
                    <a:pt x="171" y="126"/>
                  </a:lnTo>
                  <a:lnTo>
                    <a:pt x="165" y="132"/>
                  </a:lnTo>
                  <a:lnTo>
                    <a:pt x="161" y="134"/>
                  </a:lnTo>
                  <a:lnTo>
                    <a:pt x="160" y="134"/>
                  </a:lnTo>
                  <a:lnTo>
                    <a:pt x="160" y="138"/>
                  </a:lnTo>
                  <a:lnTo>
                    <a:pt x="161" y="142"/>
                  </a:lnTo>
                  <a:lnTo>
                    <a:pt x="161" y="144"/>
                  </a:lnTo>
                  <a:lnTo>
                    <a:pt x="161" y="149"/>
                  </a:lnTo>
                  <a:lnTo>
                    <a:pt x="161" y="151"/>
                  </a:lnTo>
                  <a:lnTo>
                    <a:pt x="161" y="153"/>
                  </a:lnTo>
                  <a:lnTo>
                    <a:pt x="160" y="157"/>
                  </a:lnTo>
                  <a:lnTo>
                    <a:pt x="158" y="157"/>
                  </a:lnTo>
                  <a:lnTo>
                    <a:pt x="158" y="159"/>
                  </a:lnTo>
                  <a:lnTo>
                    <a:pt x="154" y="161"/>
                  </a:lnTo>
                  <a:lnTo>
                    <a:pt x="152" y="161"/>
                  </a:lnTo>
                  <a:lnTo>
                    <a:pt x="148" y="167"/>
                  </a:lnTo>
                  <a:lnTo>
                    <a:pt x="148" y="163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7" y="172"/>
                  </a:lnTo>
                  <a:lnTo>
                    <a:pt x="135" y="172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31" y="176"/>
                  </a:lnTo>
                  <a:lnTo>
                    <a:pt x="127" y="178"/>
                  </a:lnTo>
                  <a:lnTo>
                    <a:pt x="125" y="182"/>
                  </a:lnTo>
                  <a:lnTo>
                    <a:pt x="125" y="186"/>
                  </a:lnTo>
                  <a:lnTo>
                    <a:pt x="125" y="188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3" y="197"/>
                  </a:lnTo>
                  <a:lnTo>
                    <a:pt x="123" y="199"/>
                  </a:lnTo>
                  <a:lnTo>
                    <a:pt x="123" y="203"/>
                  </a:lnTo>
                  <a:lnTo>
                    <a:pt x="121" y="209"/>
                  </a:lnTo>
                  <a:lnTo>
                    <a:pt x="121" y="211"/>
                  </a:lnTo>
                  <a:lnTo>
                    <a:pt x="119" y="213"/>
                  </a:lnTo>
                  <a:lnTo>
                    <a:pt x="119" y="216"/>
                  </a:lnTo>
                  <a:lnTo>
                    <a:pt x="119" y="218"/>
                  </a:lnTo>
                  <a:lnTo>
                    <a:pt x="117" y="220"/>
                  </a:lnTo>
                  <a:lnTo>
                    <a:pt x="117" y="222"/>
                  </a:lnTo>
                  <a:lnTo>
                    <a:pt x="115" y="224"/>
                  </a:lnTo>
                  <a:lnTo>
                    <a:pt x="115" y="226"/>
                  </a:lnTo>
                  <a:lnTo>
                    <a:pt x="114" y="226"/>
                  </a:lnTo>
                  <a:lnTo>
                    <a:pt x="114" y="230"/>
                  </a:lnTo>
                  <a:lnTo>
                    <a:pt x="114" y="230"/>
                  </a:lnTo>
                  <a:lnTo>
                    <a:pt x="112" y="230"/>
                  </a:lnTo>
                  <a:lnTo>
                    <a:pt x="110" y="232"/>
                  </a:lnTo>
                  <a:lnTo>
                    <a:pt x="108" y="234"/>
                  </a:lnTo>
                  <a:lnTo>
                    <a:pt x="106" y="236"/>
                  </a:lnTo>
                  <a:lnTo>
                    <a:pt x="106" y="238"/>
                  </a:lnTo>
                  <a:lnTo>
                    <a:pt x="106" y="240"/>
                  </a:lnTo>
                  <a:lnTo>
                    <a:pt x="104" y="241"/>
                  </a:lnTo>
                  <a:lnTo>
                    <a:pt x="102" y="247"/>
                  </a:lnTo>
                  <a:lnTo>
                    <a:pt x="100" y="245"/>
                  </a:lnTo>
                  <a:lnTo>
                    <a:pt x="96" y="245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0" y="240"/>
                  </a:lnTo>
                  <a:lnTo>
                    <a:pt x="89" y="238"/>
                  </a:lnTo>
                  <a:lnTo>
                    <a:pt x="89" y="230"/>
                  </a:lnTo>
                  <a:lnTo>
                    <a:pt x="87" y="230"/>
                  </a:lnTo>
                  <a:lnTo>
                    <a:pt x="87" y="228"/>
                  </a:lnTo>
                  <a:lnTo>
                    <a:pt x="83" y="228"/>
                  </a:lnTo>
                  <a:lnTo>
                    <a:pt x="81" y="226"/>
                  </a:lnTo>
                  <a:lnTo>
                    <a:pt x="79" y="222"/>
                  </a:lnTo>
                  <a:lnTo>
                    <a:pt x="77" y="222"/>
                  </a:lnTo>
                  <a:lnTo>
                    <a:pt x="75" y="222"/>
                  </a:lnTo>
                  <a:lnTo>
                    <a:pt x="73" y="222"/>
                  </a:lnTo>
                  <a:lnTo>
                    <a:pt x="71" y="220"/>
                  </a:lnTo>
                  <a:lnTo>
                    <a:pt x="69" y="222"/>
                  </a:lnTo>
                  <a:lnTo>
                    <a:pt x="67" y="224"/>
                  </a:lnTo>
                  <a:lnTo>
                    <a:pt x="67" y="226"/>
                  </a:lnTo>
                  <a:lnTo>
                    <a:pt x="64" y="226"/>
                  </a:lnTo>
                  <a:lnTo>
                    <a:pt x="60" y="222"/>
                  </a:lnTo>
                  <a:lnTo>
                    <a:pt x="58" y="222"/>
                  </a:lnTo>
                  <a:lnTo>
                    <a:pt x="56" y="220"/>
                  </a:lnTo>
                  <a:lnTo>
                    <a:pt x="52" y="220"/>
                  </a:lnTo>
                  <a:lnTo>
                    <a:pt x="52" y="224"/>
                  </a:lnTo>
                  <a:lnTo>
                    <a:pt x="50" y="224"/>
                  </a:lnTo>
                  <a:lnTo>
                    <a:pt x="48" y="226"/>
                  </a:lnTo>
                  <a:lnTo>
                    <a:pt x="48" y="230"/>
                  </a:lnTo>
                  <a:lnTo>
                    <a:pt x="44" y="232"/>
                  </a:lnTo>
                  <a:lnTo>
                    <a:pt x="43" y="236"/>
                  </a:lnTo>
                  <a:lnTo>
                    <a:pt x="43" y="238"/>
                  </a:lnTo>
                  <a:lnTo>
                    <a:pt x="43" y="240"/>
                  </a:lnTo>
                  <a:lnTo>
                    <a:pt x="39" y="243"/>
                  </a:lnTo>
                  <a:lnTo>
                    <a:pt x="39" y="247"/>
                  </a:lnTo>
                  <a:lnTo>
                    <a:pt x="37" y="247"/>
                  </a:lnTo>
                  <a:lnTo>
                    <a:pt x="33" y="251"/>
                  </a:lnTo>
                  <a:lnTo>
                    <a:pt x="29" y="255"/>
                  </a:lnTo>
                  <a:lnTo>
                    <a:pt x="25" y="259"/>
                  </a:lnTo>
                  <a:lnTo>
                    <a:pt x="23" y="261"/>
                  </a:lnTo>
                  <a:lnTo>
                    <a:pt x="21" y="261"/>
                  </a:lnTo>
                  <a:lnTo>
                    <a:pt x="19" y="263"/>
                  </a:lnTo>
                  <a:lnTo>
                    <a:pt x="16" y="264"/>
                  </a:lnTo>
                  <a:lnTo>
                    <a:pt x="16" y="266"/>
                  </a:lnTo>
                  <a:lnTo>
                    <a:pt x="12" y="266"/>
                  </a:lnTo>
                  <a:lnTo>
                    <a:pt x="10" y="270"/>
                  </a:lnTo>
                  <a:lnTo>
                    <a:pt x="8" y="272"/>
                  </a:lnTo>
                  <a:lnTo>
                    <a:pt x="6" y="274"/>
                  </a:lnTo>
                  <a:lnTo>
                    <a:pt x="6" y="280"/>
                  </a:lnTo>
                  <a:lnTo>
                    <a:pt x="4" y="282"/>
                  </a:lnTo>
                  <a:lnTo>
                    <a:pt x="4" y="284"/>
                  </a:lnTo>
                  <a:lnTo>
                    <a:pt x="6" y="286"/>
                  </a:lnTo>
                  <a:lnTo>
                    <a:pt x="6" y="289"/>
                  </a:lnTo>
                  <a:lnTo>
                    <a:pt x="6" y="291"/>
                  </a:lnTo>
                  <a:lnTo>
                    <a:pt x="6" y="295"/>
                  </a:lnTo>
                  <a:lnTo>
                    <a:pt x="6" y="297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4" y="307"/>
                  </a:lnTo>
                  <a:lnTo>
                    <a:pt x="4" y="309"/>
                  </a:lnTo>
                  <a:lnTo>
                    <a:pt x="4" y="311"/>
                  </a:lnTo>
                  <a:lnTo>
                    <a:pt x="0" y="316"/>
                  </a:lnTo>
                  <a:lnTo>
                    <a:pt x="2" y="316"/>
                  </a:lnTo>
                  <a:lnTo>
                    <a:pt x="6" y="316"/>
                  </a:lnTo>
                  <a:lnTo>
                    <a:pt x="6" y="322"/>
                  </a:lnTo>
                  <a:lnTo>
                    <a:pt x="6" y="322"/>
                  </a:lnTo>
                  <a:lnTo>
                    <a:pt x="8" y="326"/>
                  </a:lnTo>
                  <a:lnTo>
                    <a:pt x="10" y="326"/>
                  </a:lnTo>
                  <a:lnTo>
                    <a:pt x="14" y="326"/>
                  </a:lnTo>
                  <a:lnTo>
                    <a:pt x="16" y="328"/>
                  </a:lnTo>
                  <a:lnTo>
                    <a:pt x="18" y="328"/>
                  </a:lnTo>
                  <a:lnTo>
                    <a:pt x="19" y="328"/>
                  </a:lnTo>
                  <a:lnTo>
                    <a:pt x="21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9" y="332"/>
                  </a:lnTo>
                  <a:lnTo>
                    <a:pt x="29" y="334"/>
                  </a:lnTo>
                  <a:lnTo>
                    <a:pt x="31" y="334"/>
                  </a:lnTo>
                  <a:lnTo>
                    <a:pt x="33" y="335"/>
                  </a:lnTo>
                  <a:lnTo>
                    <a:pt x="35" y="337"/>
                  </a:lnTo>
                  <a:lnTo>
                    <a:pt x="37" y="339"/>
                  </a:lnTo>
                  <a:lnTo>
                    <a:pt x="39" y="341"/>
                  </a:lnTo>
                  <a:lnTo>
                    <a:pt x="41" y="343"/>
                  </a:lnTo>
                  <a:lnTo>
                    <a:pt x="41" y="345"/>
                  </a:lnTo>
                  <a:lnTo>
                    <a:pt x="43" y="345"/>
                  </a:lnTo>
                  <a:lnTo>
                    <a:pt x="44" y="347"/>
                  </a:lnTo>
                  <a:lnTo>
                    <a:pt x="46" y="349"/>
                  </a:lnTo>
                  <a:lnTo>
                    <a:pt x="48" y="351"/>
                  </a:lnTo>
                  <a:lnTo>
                    <a:pt x="48" y="353"/>
                  </a:lnTo>
                  <a:lnTo>
                    <a:pt x="50" y="355"/>
                  </a:lnTo>
                  <a:lnTo>
                    <a:pt x="50" y="360"/>
                  </a:lnTo>
                  <a:lnTo>
                    <a:pt x="50" y="362"/>
                  </a:lnTo>
                  <a:lnTo>
                    <a:pt x="50" y="366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50" y="376"/>
                  </a:lnTo>
                  <a:lnTo>
                    <a:pt x="54" y="382"/>
                  </a:lnTo>
                  <a:lnTo>
                    <a:pt x="60" y="385"/>
                  </a:lnTo>
                  <a:lnTo>
                    <a:pt x="58" y="387"/>
                  </a:lnTo>
                  <a:lnTo>
                    <a:pt x="58" y="391"/>
                  </a:lnTo>
                  <a:lnTo>
                    <a:pt x="56" y="393"/>
                  </a:lnTo>
                  <a:lnTo>
                    <a:pt x="56" y="395"/>
                  </a:lnTo>
                  <a:lnTo>
                    <a:pt x="54" y="397"/>
                  </a:lnTo>
                  <a:lnTo>
                    <a:pt x="52" y="399"/>
                  </a:lnTo>
                  <a:lnTo>
                    <a:pt x="52" y="399"/>
                  </a:lnTo>
                  <a:lnTo>
                    <a:pt x="52" y="403"/>
                  </a:lnTo>
                  <a:lnTo>
                    <a:pt x="48" y="405"/>
                  </a:lnTo>
                  <a:lnTo>
                    <a:pt x="52" y="405"/>
                  </a:lnTo>
                  <a:lnTo>
                    <a:pt x="54" y="405"/>
                  </a:lnTo>
                  <a:lnTo>
                    <a:pt x="58" y="405"/>
                  </a:lnTo>
                  <a:lnTo>
                    <a:pt x="60" y="405"/>
                  </a:lnTo>
                  <a:lnTo>
                    <a:pt x="64" y="403"/>
                  </a:lnTo>
                  <a:lnTo>
                    <a:pt x="67" y="403"/>
                  </a:lnTo>
                  <a:lnTo>
                    <a:pt x="73" y="403"/>
                  </a:lnTo>
                  <a:lnTo>
                    <a:pt x="79" y="403"/>
                  </a:lnTo>
                  <a:lnTo>
                    <a:pt x="85" y="403"/>
                  </a:lnTo>
                  <a:lnTo>
                    <a:pt x="87" y="403"/>
                  </a:lnTo>
                  <a:lnTo>
                    <a:pt x="90" y="403"/>
                  </a:lnTo>
                  <a:lnTo>
                    <a:pt x="94" y="403"/>
                  </a:lnTo>
                  <a:lnTo>
                    <a:pt x="102" y="403"/>
                  </a:lnTo>
                  <a:lnTo>
                    <a:pt x="106" y="403"/>
                  </a:lnTo>
                  <a:lnTo>
                    <a:pt x="110" y="403"/>
                  </a:lnTo>
                  <a:lnTo>
                    <a:pt x="112" y="401"/>
                  </a:lnTo>
                  <a:lnTo>
                    <a:pt x="114" y="401"/>
                  </a:lnTo>
                  <a:lnTo>
                    <a:pt x="119" y="397"/>
                  </a:lnTo>
                  <a:lnTo>
                    <a:pt x="123" y="397"/>
                  </a:lnTo>
                  <a:lnTo>
                    <a:pt x="127" y="397"/>
                  </a:lnTo>
                  <a:lnTo>
                    <a:pt x="131" y="397"/>
                  </a:lnTo>
                  <a:lnTo>
                    <a:pt x="137" y="393"/>
                  </a:lnTo>
                  <a:lnTo>
                    <a:pt x="142" y="393"/>
                  </a:lnTo>
                  <a:lnTo>
                    <a:pt x="144" y="393"/>
                  </a:lnTo>
                  <a:lnTo>
                    <a:pt x="148" y="393"/>
                  </a:lnTo>
                  <a:lnTo>
                    <a:pt x="150" y="393"/>
                  </a:lnTo>
                  <a:lnTo>
                    <a:pt x="152" y="395"/>
                  </a:lnTo>
                  <a:lnTo>
                    <a:pt x="156" y="397"/>
                  </a:lnTo>
                  <a:lnTo>
                    <a:pt x="158" y="397"/>
                  </a:lnTo>
                  <a:lnTo>
                    <a:pt x="160" y="397"/>
                  </a:lnTo>
                  <a:lnTo>
                    <a:pt x="163" y="397"/>
                  </a:lnTo>
                  <a:lnTo>
                    <a:pt x="165" y="397"/>
                  </a:lnTo>
                  <a:lnTo>
                    <a:pt x="167" y="397"/>
                  </a:lnTo>
                  <a:lnTo>
                    <a:pt x="169" y="399"/>
                  </a:lnTo>
                  <a:lnTo>
                    <a:pt x="169" y="401"/>
                  </a:lnTo>
                  <a:lnTo>
                    <a:pt x="173" y="401"/>
                  </a:lnTo>
                  <a:lnTo>
                    <a:pt x="175" y="401"/>
                  </a:lnTo>
                  <a:lnTo>
                    <a:pt x="179" y="401"/>
                  </a:lnTo>
                  <a:lnTo>
                    <a:pt x="183" y="401"/>
                  </a:lnTo>
                  <a:lnTo>
                    <a:pt x="186" y="399"/>
                  </a:lnTo>
                  <a:lnTo>
                    <a:pt x="192" y="401"/>
                  </a:lnTo>
                  <a:lnTo>
                    <a:pt x="196" y="401"/>
                  </a:lnTo>
                  <a:lnTo>
                    <a:pt x="200" y="401"/>
                  </a:lnTo>
                  <a:lnTo>
                    <a:pt x="206" y="403"/>
                  </a:lnTo>
                  <a:lnTo>
                    <a:pt x="209" y="403"/>
                  </a:lnTo>
                  <a:lnTo>
                    <a:pt x="211" y="403"/>
                  </a:lnTo>
                  <a:lnTo>
                    <a:pt x="215" y="403"/>
                  </a:lnTo>
                  <a:lnTo>
                    <a:pt x="219" y="403"/>
                  </a:lnTo>
                  <a:lnTo>
                    <a:pt x="221" y="403"/>
                  </a:lnTo>
                  <a:lnTo>
                    <a:pt x="223" y="403"/>
                  </a:lnTo>
                  <a:lnTo>
                    <a:pt x="227" y="401"/>
                  </a:lnTo>
                  <a:lnTo>
                    <a:pt x="229" y="401"/>
                  </a:lnTo>
                  <a:lnTo>
                    <a:pt x="231" y="403"/>
                  </a:lnTo>
                  <a:lnTo>
                    <a:pt x="238" y="403"/>
                  </a:lnTo>
                  <a:lnTo>
                    <a:pt x="242" y="403"/>
                  </a:lnTo>
                  <a:lnTo>
                    <a:pt x="244" y="405"/>
                  </a:lnTo>
                  <a:lnTo>
                    <a:pt x="246" y="405"/>
                  </a:lnTo>
                  <a:lnTo>
                    <a:pt x="248" y="406"/>
                  </a:lnTo>
                  <a:lnTo>
                    <a:pt x="250" y="408"/>
                  </a:lnTo>
                  <a:lnTo>
                    <a:pt x="255" y="408"/>
                  </a:lnTo>
                  <a:lnTo>
                    <a:pt x="255" y="410"/>
                  </a:lnTo>
                  <a:lnTo>
                    <a:pt x="257" y="412"/>
                  </a:lnTo>
                  <a:lnTo>
                    <a:pt x="261" y="414"/>
                  </a:lnTo>
                  <a:lnTo>
                    <a:pt x="263" y="414"/>
                  </a:lnTo>
                  <a:lnTo>
                    <a:pt x="265" y="414"/>
                  </a:lnTo>
                  <a:lnTo>
                    <a:pt x="269" y="414"/>
                  </a:lnTo>
                  <a:lnTo>
                    <a:pt x="271" y="416"/>
                  </a:lnTo>
                  <a:lnTo>
                    <a:pt x="273" y="416"/>
                  </a:lnTo>
                  <a:lnTo>
                    <a:pt x="277" y="418"/>
                  </a:lnTo>
                  <a:lnTo>
                    <a:pt x="279" y="418"/>
                  </a:lnTo>
                  <a:lnTo>
                    <a:pt x="280" y="418"/>
                  </a:lnTo>
                  <a:lnTo>
                    <a:pt x="282" y="416"/>
                  </a:lnTo>
                  <a:lnTo>
                    <a:pt x="282" y="414"/>
                  </a:lnTo>
                  <a:lnTo>
                    <a:pt x="282" y="410"/>
                  </a:lnTo>
                  <a:lnTo>
                    <a:pt x="282" y="406"/>
                  </a:lnTo>
                  <a:lnTo>
                    <a:pt x="282" y="405"/>
                  </a:lnTo>
                  <a:lnTo>
                    <a:pt x="282" y="401"/>
                  </a:lnTo>
                  <a:lnTo>
                    <a:pt x="282" y="397"/>
                  </a:lnTo>
                  <a:lnTo>
                    <a:pt x="282" y="395"/>
                  </a:lnTo>
                  <a:lnTo>
                    <a:pt x="282" y="391"/>
                  </a:lnTo>
                  <a:lnTo>
                    <a:pt x="282" y="387"/>
                  </a:lnTo>
                  <a:lnTo>
                    <a:pt x="282" y="385"/>
                  </a:lnTo>
                  <a:lnTo>
                    <a:pt x="282" y="383"/>
                  </a:lnTo>
                  <a:lnTo>
                    <a:pt x="280" y="382"/>
                  </a:lnTo>
                  <a:lnTo>
                    <a:pt x="280" y="380"/>
                  </a:lnTo>
                  <a:lnTo>
                    <a:pt x="280" y="378"/>
                  </a:lnTo>
                  <a:lnTo>
                    <a:pt x="279" y="376"/>
                  </a:lnTo>
                  <a:lnTo>
                    <a:pt x="277" y="376"/>
                  </a:lnTo>
                  <a:lnTo>
                    <a:pt x="277" y="374"/>
                  </a:lnTo>
                  <a:lnTo>
                    <a:pt x="275" y="370"/>
                  </a:lnTo>
                  <a:lnTo>
                    <a:pt x="273" y="370"/>
                  </a:lnTo>
                  <a:lnTo>
                    <a:pt x="269" y="370"/>
                  </a:lnTo>
                  <a:lnTo>
                    <a:pt x="267" y="370"/>
                  </a:lnTo>
                  <a:lnTo>
                    <a:pt x="265" y="368"/>
                  </a:lnTo>
                  <a:lnTo>
                    <a:pt x="263" y="364"/>
                  </a:lnTo>
                  <a:lnTo>
                    <a:pt x="259" y="362"/>
                  </a:lnTo>
                  <a:lnTo>
                    <a:pt x="259" y="360"/>
                  </a:lnTo>
                  <a:lnTo>
                    <a:pt x="259" y="358"/>
                  </a:lnTo>
                  <a:lnTo>
                    <a:pt x="257" y="355"/>
                  </a:lnTo>
                  <a:lnTo>
                    <a:pt x="257" y="353"/>
                  </a:lnTo>
                  <a:lnTo>
                    <a:pt x="257" y="351"/>
                  </a:lnTo>
                  <a:lnTo>
                    <a:pt x="255" y="347"/>
                  </a:lnTo>
                  <a:lnTo>
                    <a:pt x="255" y="345"/>
                  </a:lnTo>
                  <a:lnTo>
                    <a:pt x="255" y="343"/>
                  </a:lnTo>
                  <a:lnTo>
                    <a:pt x="255" y="341"/>
                  </a:lnTo>
                  <a:lnTo>
                    <a:pt x="255" y="339"/>
                  </a:lnTo>
                  <a:lnTo>
                    <a:pt x="254" y="337"/>
                  </a:lnTo>
                  <a:lnTo>
                    <a:pt x="254" y="335"/>
                  </a:lnTo>
                  <a:lnTo>
                    <a:pt x="248" y="335"/>
                  </a:lnTo>
                  <a:lnTo>
                    <a:pt x="246" y="332"/>
                  </a:lnTo>
                  <a:lnTo>
                    <a:pt x="244" y="332"/>
                  </a:lnTo>
                  <a:lnTo>
                    <a:pt x="242" y="328"/>
                  </a:lnTo>
                  <a:lnTo>
                    <a:pt x="240" y="326"/>
                  </a:lnTo>
                  <a:lnTo>
                    <a:pt x="238" y="324"/>
                  </a:lnTo>
                  <a:lnTo>
                    <a:pt x="236" y="324"/>
                  </a:lnTo>
                  <a:lnTo>
                    <a:pt x="234" y="322"/>
                  </a:lnTo>
                  <a:lnTo>
                    <a:pt x="234" y="320"/>
                  </a:lnTo>
                  <a:lnTo>
                    <a:pt x="231" y="318"/>
                  </a:lnTo>
                  <a:lnTo>
                    <a:pt x="229" y="316"/>
                  </a:lnTo>
                  <a:lnTo>
                    <a:pt x="229" y="312"/>
                  </a:lnTo>
                  <a:lnTo>
                    <a:pt x="229" y="309"/>
                  </a:lnTo>
                  <a:lnTo>
                    <a:pt x="229" y="307"/>
                  </a:lnTo>
                  <a:lnTo>
                    <a:pt x="229" y="305"/>
                  </a:lnTo>
                  <a:lnTo>
                    <a:pt x="229" y="301"/>
                  </a:lnTo>
                  <a:lnTo>
                    <a:pt x="229" y="299"/>
                  </a:lnTo>
                  <a:lnTo>
                    <a:pt x="225" y="293"/>
                  </a:lnTo>
                  <a:lnTo>
                    <a:pt x="225" y="291"/>
                  </a:lnTo>
                  <a:lnTo>
                    <a:pt x="225" y="287"/>
                  </a:lnTo>
                  <a:lnTo>
                    <a:pt x="225" y="286"/>
                  </a:lnTo>
                  <a:lnTo>
                    <a:pt x="227" y="282"/>
                  </a:lnTo>
                  <a:lnTo>
                    <a:pt x="229" y="280"/>
                  </a:lnTo>
                  <a:lnTo>
                    <a:pt x="229" y="276"/>
                  </a:lnTo>
                  <a:lnTo>
                    <a:pt x="229" y="274"/>
                  </a:lnTo>
                  <a:lnTo>
                    <a:pt x="231" y="272"/>
                  </a:lnTo>
                  <a:lnTo>
                    <a:pt x="232" y="272"/>
                  </a:lnTo>
                  <a:lnTo>
                    <a:pt x="229" y="272"/>
                  </a:lnTo>
                  <a:lnTo>
                    <a:pt x="229" y="270"/>
                  </a:lnTo>
                  <a:lnTo>
                    <a:pt x="227" y="268"/>
                  </a:lnTo>
                  <a:lnTo>
                    <a:pt x="227" y="264"/>
                  </a:lnTo>
                  <a:lnTo>
                    <a:pt x="225" y="263"/>
                  </a:lnTo>
                  <a:lnTo>
                    <a:pt x="225" y="259"/>
                  </a:lnTo>
                  <a:lnTo>
                    <a:pt x="225" y="255"/>
                  </a:lnTo>
                  <a:lnTo>
                    <a:pt x="225" y="253"/>
                  </a:lnTo>
                  <a:lnTo>
                    <a:pt x="225" y="249"/>
                  </a:lnTo>
                  <a:lnTo>
                    <a:pt x="227" y="249"/>
                  </a:lnTo>
                  <a:lnTo>
                    <a:pt x="229" y="247"/>
                  </a:lnTo>
                  <a:lnTo>
                    <a:pt x="232" y="245"/>
                  </a:lnTo>
                  <a:lnTo>
                    <a:pt x="236" y="243"/>
                  </a:lnTo>
                  <a:lnTo>
                    <a:pt x="236" y="240"/>
                  </a:lnTo>
                  <a:lnTo>
                    <a:pt x="236" y="238"/>
                  </a:lnTo>
                  <a:lnTo>
                    <a:pt x="236" y="234"/>
                  </a:lnTo>
                  <a:lnTo>
                    <a:pt x="236" y="232"/>
                  </a:lnTo>
                  <a:lnTo>
                    <a:pt x="236" y="230"/>
                  </a:lnTo>
                  <a:lnTo>
                    <a:pt x="238" y="228"/>
                  </a:lnTo>
                  <a:lnTo>
                    <a:pt x="240" y="226"/>
                  </a:lnTo>
                  <a:lnTo>
                    <a:pt x="244" y="224"/>
                  </a:lnTo>
                  <a:lnTo>
                    <a:pt x="246" y="222"/>
                  </a:lnTo>
                  <a:lnTo>
                    <a:pt x="246" y="220"/>
                  </a:lnTo>
                  <a:lnTo>
                    <a:pt x="246" y="216"/>
                  </a:lnTo>
                  <a:lnTo>
                    <a:pt x="246" y="213"/>
                  </a:lnTo>
                  <a:lnTo>
                    <a:pt x="250" y="213"/>
                  </a:lnTo>
                  <a:lnTo>
                    <a:pt x="252" y="211"/>
                  </a:lnTo>
                  <a:lnTo>
                    <a:pt x="254" y="209"/>
                  </a:lnTo>
                  <a:lnTo>
                    <a:pt x="255" y="207"/>
                  </a:lnTo>
                  <a:lnTo>
                    <a:pt x="257" y="205"/>
                  </a:lnTo>
                  <a:lnTo>
                    <a:pt x="259" y="203"/>
                  </a:lnTo>
                  <a:lnTo>
                    <a:pt x="259" y="199"/>
                  </a:lnTo>
                  <a:lnTo>
                    <a:pt x="263" y="1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6" name="Freeform 42"/>
            <p:cNvSpPr>
              <a:spLocks/>
            </p:cNvSpPr>
            <p:nvPr/>
          </p:nvSpPr>
          <p:spPr bwMode="auto">
            <a:xfrm>
              <a:off x="1482" y="1843"/>
              <a:ext cx="282" cy="418"/>
            </a:xfrm>
            <a:custGeom>
              <a:avLst/>
              <a:gdLst/>
              <a:ahLst/>
              <a:cxnLst>
                <a:cxn ang="0">
                  <a:pos x="255" y="176"/>
                </a:cxn>
                <a:cxn ang="0">
                  <a:pos x="238" y="165"/>
                </a:cxn>
                <a:cxn ang="0">
                  <a:pos x="225" y="155"/>
                </a:cxn>
                <a:cxn ang="0">
                  <a:pos x="209" y="138"/>
                </a:cxn>
                <a:cxn ang="0">
                  <a:pos x="217" y="121"/>
                </a:cxn>
                <a:cxn ang="0">
                  <a:pos x="242" y="119"/>
                </a:cxn>
                <a:cxn ang="0">
                  <a:pos x="263" y="119"/>
                </a:cxn>
                <a:cxn ang="0">
                  <a:pos x="259" y="101"/>
                </a:cxn>
                <a:cxn ang="0">
                  <a:pos x="252" y="78"/>
                </a:cxn>
                <a:cxn ang="0">
                  <a:pos x="250" y="55"/>
                </a:cxn>
                <a:cxn ang="0">
                  <a:pos x="244" y="38"/>
                </a:cxn>
                <a:cxn ang="0">
                  <a:pos x="225" y="27"/>
                </a:cxn>
                <a:cxn ang="0">
                  <a:pos x="208" y="7"/>
                </a:cxn>
                <a:cxn ang="0">
                  <a:pos x="188" y="0"/>
                </a:cxn>
                <a:cxn ang="0">
                  <a:pos x="184" y="21"/>
                </a:cxn>
                <a:cxn ang="0">
                  <a:pos x="200" y="34"/>
                </a:cxn>
                <a:cxn ang="0">
                  <a:pos x="211" y="53"/>
                </a:cxn>
                <a:cxn ang="0">
                  <a:pos x="204" y="71"/>
                </a:cxn>
                <a:cxn ang="0">
                  <a:pos x="192" y="88"/>
                </a:cxn>
                <a:cxn ang="0">
                  <a:pos x="184" y="109"/>
                </a:cxn>
                <a:cxn ang="0">
                  <a:pos x="171" y="126"/>
                </a:cxn>
                <a:cxn ang="0">
                  <a:pos x="161" y="151"/>
                </a:cxn>
                <a:cxn ang="0">
                  <a:pos x="148" y="163"/>
                </a:cxn>
                <a:cxn ang="0">
                  <a:pos x="131" y="176"/>
                </a:cxn>
                <a:cxn ang="0">
                  <a:pos x="123" y="197"/>
                </a:cxn>
                <a:cxn ang="0">
                  <a:pos x="117" y="220"/>
                </a:cxn>
                <a:cxn ang="0">
                  <a:pos x="110" y="232"/>
                </a:cxn>
                <a:cxn ang="0">
                  <a:pos x="96" y="245"/>
                </a:cxn>
                <a:cxn ang="0">
                  <a:pos x="83" y="228"/>
                </a:cxn>
                <a:cxn ang="0">
                  <a:pos x="67" y="224"/>
                </a:cxn>
                <a:cxn ang="0">
                  <a:pos x="50" y="224"/>
                </a:cxn>
                <a:cxn ang="0">
                  <a:pos x="39" y="247"/>
                </a:cxn>
                <a:cxn ang="0">
                  <a:pos x="16" y="264"/>
                </a:cxn>
                <a:cxn ang="0">
                  <a:pos x="4" y="284"/>
                </a:cxn>
                <a:cxn ang="0">
                  <a:pos x="4" y="307"/>
                </a:cxn>
                <a:cxn ang="0">
                  <a:pos x="8" y="326"/>
                </a:cxn>
                <a:cxn ang="0">
                  <a:pos x="27" y="330"/>
                </a:cxn>
                <a:cxn ang="0">
                  <a:pos x="41" y="343"/>
                </a:cxn>
                <a:cxn ang="0">
                  <a:pos x="50" y="360"/>
                </a:cxn>
                <a:cxn ang="0">
                  <a:pos x="58" y="387"/>
                </a:cxn>
                <a:cxn ang="0">
                  <a:pos x="48" y="405"/>
                </a:cxn>
                <a:cxn ang="0">
                  <a:pos x="79" y="403"/>
                </a:cxn>
                <a:cxn ang="0">
                  <a:pos x="112" y="401"/>
                </a:cxn>
                <a:cxn ang="0">
                  <a:pos x="144" y="393"/>
                </a:cxn>
                <a:cxn ang="0">
                  <a:pos x="165" y="397"/>
                </a:cxn>
                <a:cxn ang="0">
                  <a:pos x="186" y="399"/>
                </a:cxn>
                <a:cxn ang="0">
                  <a:pos x="219" y="403"/>
                </a:cxn>
                <a:cxn ang="0">
                  <a:pos x="244" y="405"/>
                </a:cxn>
                <a:cxn ang="0">
                  <a:pos x="263" y="414"/>
                </a:cxn>
                <a:cxn ang="0">
                  <a:pos x="282" y="416"/>
                </a:cxn>
                <a:cxn ang="0">
                  <a:pos x="282" y="391"/>
                </a:cxn>
                <a:cxn ang="0">
                  <a:pos x="277" y="376"/>
                </a:cxn>
                <a:cxn ang="0">
                  <a:pos x="259" y="362"/>
                </a:cxn>
                <a:cxn ang="0">
                  <a:pos x="255" y="343"/>
                </a:cxn>
                <a:cxn ang="0">
                  <a:pos x="242" y="328"/>
                </a:cxn>
                <a:cxn ang="0">
                  <a:pos x="229" y="312"/>
                </a:cxn>
                <a:cxn ang="0">
                  <a:pos x="225" y="287"/>
                </a:cxn>
                <a:cxn ang="0">
                  <a:pos x="229" y="272"/>
                </a:cxn>
                <a:cxn ang="0">
                  <a:pos x="225" y="249"/>
                </a:cxn>
                <a:cxn ang="0">
                  <a:pos x="236" y="232"/>
                </a:cxn>
                <a:cxn ang="0">
                  <a:pos x="246" y="213"/>
                </a:cxn>
                <a:cxn ang="0">
                  <a:pos x="263" y="197"/>
                </a:cxn>
              </a:cxnLst>
              <a:rect l="0" t="0" r="r" b="b"/>
              <a:pathLst>
                <a:path w="282" h="418">
                  <a:moveTo>
                    <a:pt x="263" y="197"/>
                  </a:moveTo>
                  <a:lnTo>
                    <a:pt x="261" y="193"/>
                  </a:lnTo>
                  <a:lnTo>
                    <a:pt x="257" y="190"/>
                  </a:lnTo>
                  <a:lnTo>
                    <a:pt x="257" y="186"/>
                  </a:lnTo>
                  <a:lnTo>
                    <a:pt x="257" y="184"/>
                  </a:lnTo>
                  <a:lnTo>
                    <a:pt x="255" y="182"/>
                  </a:lnTo>
                  <a:lnTo>
                    <a:pt x="255" y="180"/>
                  </a:lnTo>
                  <a:lnTo>
                    <a:pt x="255" y="176"/>
                  </a:lnTo>
                  <a:lnTo>
                    <a:pt x="254" y="176"/>
                  </a:lnTo>
                  <a:lnTo>
                    <a:pt x="252" y="172"/>
                  </a:lnTo>
                  <a:lnTo>
                    <a:pt x="250" y="170"/>
                  </a:lnTo>
                  <a:lnTo>
                    <a:pt x="248" y="170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2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6" y="161"/>
                  </a:lnTo>
                  <a:lnTo>
                    <a:pt x="234" y="159"/>
                  </a:lnTo>
                  <a:lnTo>
                    <a:pt x="231" y="159"/>
                  </a:lnTo>
                  <a:lnTo>
                    <a:pt x="231" y="159"/>
                  </a:lnTo>
                  <a:lnTo>
                    <a:pt x="229" y="157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1"/>
                  </a:lnTo>
                  <a:lnTo>
                    <a:pt x="221" y="149"/>
                  </a:lnTo>
                  <a:lnTo>
                    <a:pt x="219" y="147"/>
                  </a:lnTo>
                  <a:lnTo>
                    <a:pt x="217" y="145"/>
                  </a:lnTo>
                  <a:lnTo>
                    <a:pt x="215" y="145"/>
                  </a:lnTo>
                  <a:lnTo>
                    <a:pt x="211" y="144"/>
                  </a:lnTo>
                  <a:lnTo>
                    <a:pt x="211" y="142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2"/>
                  </a:lnTo>
                  <a:lnTo>
                    <a:pt x="209" y="130"/>
                  </a:lnTo>
                  <a:lnTo>
                    <a:pt x="211" y="128"/>
                  </a:lnTo>
                  <a:lnTo>
                    <a:pt x="211" y="126"/>
                  </a:lnTo>
                  <a:lnTo>
                    <a:pt x="211" y="122"/>
                  </a:lnTo>
                  <a:lnTo>
                    <a:pt x="213" y="122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23" y="121"/>
                  </a:lnTo>
                  <a:lnTo>
                    <a:pt x="227" y="119"/>
                  </a:lnTo>
                  <a:lnTo>
                    <a:pt x="229" y="119"/>
                  </a:lnTo>
                  <a:lnTo>
                    <a:pt x="232" y="119"/>
                  </a:lnTo>
                  <a:lnTo>
                    <a:pt x="236" y="119"/>
                  </a:lnTo>
                  <a:lnTo>
                    <a:pt x="238" y="119"/>
                  </a:lnTo>
                  <a:lnTo>
                    <a:pt x="242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50" y="121"/>
                  </a:lnTo>
                  <a:lnTo>
                    <a:pt x="254" y="121"/>
                  </a:lnTo>
                  <a:lnTo>
                    <a:pt x="255" y="121"/>
                  </a:lnTo>
                  <a:lnTo>
                    <a:pt x="259" y="121"/>
                  </a:lnTo>
                  <a:lnTo>
                    <a:pt x="261" y="121"/>
                  </a:lnTo>
                  <a:lnTo>
                    <a:pt x="263" y="119"/>
                  </a:lnTo>
                  <a:lnTo>
                    <a:pt x="265" y="115"/>
                  </a:lnTo>
                  <a:lnTo>
                    <a:pt x="269" y="115"/>
                  </a:lnTo>
                  <a:lnTo>
                    <a:pt x="267" y="111"/>
                  </a:lnTo>
                  <a:lnTo>
                    <a:pt x="267" y="107"/>
                  </a:lnTo>
                  <a:lnTo>
                    <a:pt x="265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59" y="101"/>
                  </a:lnTo>
                  <a:lnTo>
                    <a:pt x="257" y="99"/>
                  </a:lnTo>
                  <a:lnTo>
                    <a:pt x="255" y="98"/>
                  </a:lnTo>
                  <a:lnTo>
                    <a:pt x="255" y="96"/>
                  </a:lnTo>
                  <a:lnTo>
                    <a:pt x="254" y="92"/>
                  </a:lnTo>
                  <a:lnTo>
                    <a:pt x="254" y="88"/>
                  </a:lnTo>
                  <a:lnTo>
                    <a:pt x="254" y="86"/>
                  </a:lnTo>
                  <a:lnTo>
                    <a:pt x="252" y="82"/>
                  </a:lnTo>
                  <a:lnTo>
                    <a:pt x="252" y="78"/>
                  </a:lnTo>
                  <a:lnTo>
                    <a:pt x="252" y="76"/>
                  </a:lnTo>
                  <a:lnTo>
                    <a:pt x="252" y="74"/>
                  </a:lnTo>
                  <a:lnTo>
                    <a:pt x="250" y="71"/>
                  </a:lnTo>
                  <a:lnTo>
                    <a:pt x="250" y="69"/>
                  </a:lnTo>
                  <a:lnTo>
                    <a:pt x="250" y="65"/>
                  </a:lnTo>
                  <a:lnTo>
                    <a:pt x="250" y="61"/>
                  </a:lnTo>
                  <a:lnTo>
                    <a:pt x="250" y="57"/>
                  </a:lnTo>
                  <a:lnTo>
                    <a:pt x="250" y="55"/>
                  </a:lnTo>
                  <a:lnTo>
                    <a:pt x="252" y="53"/>
                  </a:lnTo>
                  <a:lnTo>
                    <a:pt x="250" y="51"/>
                  </a:lnTo>
                  <a:lnTo>
                    <a:pt x="250" y="48"/>
                  </a:lnTo>
                  <a:lnTo>
                    <a:pt x="250" y="46"/>
                  </a:lnTo>
                  <a:lnTo>
                    <a:pt x="248" y="44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4" y="38"/>
                  </a:lnTo>
                  <a:lnTo>
                    <a:pt x="240" y="38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4" y="34"/>
                  </a:lnTo>
                  <a:lnTo>
                    <a:pt x="232" y="32"/>
                  </a:lnTo>
                  <a:lnTo>
                    <a:pt x="229" y="32"/>
                  </a:lnTo>
                  <a:lnTo>
                    <a:pt x="229" y="30"/>
                  </a:lnTo>
                  <a:lnTo>
                    <a:pt x="225" y="27"/>
                  </a:lnTo>
                  <a:lnTo>
                    <a:pt x="221" y="27"/>
                  </a:lnTo>
                  <a:lnTo>
                    <a:pt x="219" y="21"/>
                  </a:lnTo>
                  <a:lnTo>
                    <a:pt x="215" y="17"/>
                  </a:lnTo>
                  <a:lnTo>
                    <a:pt x="215" y="15"/>
                  </a:lnTo>
                  <a:lnTo>
                    <a:pt x="211" y="11"/>
                  </a:lnTo>
                  <a:lnTo>
                    <a:pt x="211" y="9"/>
                  </a:lnTo>
                  <a:lnTo>
                    <a:pt x="211" y="7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6" y="3"/>
                  </a:lnTo>
                  <a:lnTo>
                    <a:pt x="202" y="3"/>
                  </a:lnTo>
                  <a:lnTo>
                    <a:pt x="200" y="2"/>
                  </a:lnTo>
                  <a:lnTo>
                    <a:pt x="198" y="0"/>
                  </a:lnTo>
                  <a:lnTo>
                    <a:pt x="194" y="0"/>
                  </a:lnTo>
                  <a:lnTo>
                    <a:pt x="192" y="0"/>
                  </a:lnTo>
                  <a:lnTo>
                    <a:pt x="188" y="0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4" y="3"/>
                  </a:lnTo>
                  <a:lnTo>
                    <a:pt x="184" y="7"/>
                  </a:lnTo>
                  <a:lnTo>
                    <a:pt x="184" y="9"/>
                  </a:lnTo>
                  <a:lnTo>
                    <a:pt x="184" y="13"/>
                  </a:lnTo>
                  <a:lnTo>
                    <a:pt x="184" y="17"/>
                  </a:lnTo>
                  <a:lnTo>
                    <a:pt x="184" y="21"/>
                  </a:lnTo>
                  <a:lnTo>
                    <a:pt x="184" y="25"/>
                  </a:lnTo>
                  <a:lnTo>
                    <a:pt x="184" y="27"/>
                  </a:lnTo>
                  <a:lnTo>
                    <a:pt x="184" y="28"/>
                  </a:lnTo>
                  <a:lnTo>
                    <a:pt x="186" y="32"/>
                  </a:lnTo>
                  <a:lnTo>
                    <a:pt x="190" y="32"/>
                  </a:lnTo>
                  <a:lnTo>
                    <a:pt x="192" y="32"/>
                  </a:lnTo>
                  <a:lnTo>
                    <a:pt x="196" y="32"/>
                  </a:lnTo>
                  <a:lnTo>
                    <a:pt x="200" y="34"/>
                  </a:lnTo>
                  <a:lnTo>
                    <a:pt x="202" y="36"/>
                  </a:lnTo>
                  <a:lnTo>
                    <a:pt x="206" y="38"/>
                  </a:lnTo>
                  <a:lnTo>
                    <a:pt x="209" y="40"/>
                  </a:lnTo>
                  <a:lnTo>
                    <a:pt x="211" y="44"/>
                  </a:lnTo>
                  <a:lnTo>
                    <a:pt x="211" y="46"/>
                  </a:lnTo>
                  <a:lnTo>
                    <a:pt x="211" y="48"/>
                  </a:lnTo>
                  <a:lnTo>
                    <a:pt x="211" y="51"/>
                  </a:lnTo>
                  <a:lnTo>
                    <a:pt x="211" y="53"/>
                  </a:lnTo>
                  <a:lnTo>
                    <a:pt x="211" y="57"/>
                  </a:lnTo>
                  <a:lnTo>
                    <a:pt x="211" y="59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08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71"/>
                  </a:lnTo>
                  <a:lnTo>
                    <a:pt x="202" y="71"/>
                  </a:lnTo>
                  <a:lnTo>
                    <a:pt x="200" y="71"/>
                  </a:lnTo>
                  <a:lnTo>
                    <a:pt x="198" y="74"/>
                  </a:lnTo>
                  <a:lnTo>
                    <a:pt x="194" y="78"/>
                  </a:lnTo>
                  <a:lnTo>
                    <a:pt x="194" y="80"/>
                  </a:lnTo>
                  <a:lnTo>
                    <a:pt x="194" y="84"/>
                  </a:lnTo>
                  <a:lnTo>
                    <a:pt x="192" y="86"/>
                  </a:lnTo>
                  <a:lnTo>
                    <a:pt x="192" y="88"/>
                  </a:lnTo>
                  <a:lnTo>
                    <a:pt x="192" y="90"/>
                  </a:lnTo>
                  <a:lnTo>
                    <a:pt x="190" y="94"/>
                  </a:lnTo>
                  <a:lnTo>
                    <a:pt x="188" y="96"/>
                  </a:lnTo>
                  <a:lnTo>
                    <a:pt x="186" y="98"/>
                  </a:lnTo>
                  <a:lnTo>
                    <a:pt x="186" y="101"/>
                  </a:lnTo>
                  <a:lnTo>
                    <a:pt x="186" y="103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3"/>
                  </a:lnTo>
                  <a:lnTo>
                    <a:pt x="183" y="115"/>
                  </a:lnTo>
                  <a:lnTo>
                    <a:pt x="183" y="117"/>
                  </a:lnTo>
                  <a:lnTo>
                    <a:pt x="181" y="121"/>
                  </a:lnTo>
                  <a:lnTo>
                    <a:pt x="179" y="122"/>
                  </a:lnTo>
                  <a:lnTo>
                    <a:pt x="175" y="124"/>
                  </a:lnTo>
                  <a:lnTo>
                    <a:pt x="173" y="126"/>
                  </a:lnTo>
                  <a:lnTo>
                    <a:pt x="171" y="126"/>
                  </a:lnTo>
                  <a:lnTo>
                    <a:pt x="165" y="132"/>
                  </a:lnTo>
                  <a:lnTo>
                    <a:pt x="161" y="134"/>
                  </a:lnTo>
                  <a:lnTo>
                    <a:pt x="160" y="134"/>
                  </a:lnTo>
                  <a:lnTo>
                    <a:pt x="160" y="138"/>
                  </a:lnTo>
                  <a:lnTo>
                    <a:pt x="161" y="142"/>
                  </a:lnTo>
                  <a:lnTo>
                    <a:pt x="161" y="144"/>
                  </a:lnTo>
                  <a:lnTo>
                    <a:pt x="161" y="149"/>
                  </a:lnTo>
                  <a:lnTo>
                    <a:pt x="161" y="151"/>
                  </a:lnTo>
                  <a:lnTo>
                    <a:pt x="161" y="153"/>
                  </a:lnTo>
                  <a:lnTo>
                    <a:pt x="160" y="157"/>
                  </a:lnTo>
                  <a:lnTo>
                    <a:pt x="158" y="157"/>
                  </a:lnTo>
                  <a:lnTo>
                    <a:pt x="158" y="159"/>
                  </a:lnTo>
                  <a:lnTo>
                    <a:pt x="154" y="161"/>
                  </a:lnTo>
                  <a:lnTo>
                    <a:pt x="152" y="161"/>
                  </a:lnTo>
                  <a:lnTo>
                    <a:pt x="148" y="167"/>
                  </a:lnTo>
                  <a:lnTo>
                    <a:pt x="148" y="163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7" y="172"/>
                  </a:lnTo>
                  <a:lnTo>
                    <a:pt x="135" y="172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31" y="176"/>
                  </a:lnTo>
                  <a:lnTo>
                    <a:pt x="127" y="178"/>
                  </a:lnTo>
                  <a:lnTo>
                    <a:pt x="125" y="182"/>
                  </a:lnTo>
                  <a:lnTo>
                    <a:pt x="125" y="186"/>
                  </a:lnTo>
                  <a:lnTo>
                    <a:pt x="125" y="188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3" y="197"/>
                  </a:lnTo>
                  <a:lnTo>
                    <a:pt x="123" y="199"/>
                  </a:lnTo>
                  <a:lnTo>
                    <a:pt x="123" y="203"/>
                  </a:lnTo>
                  <a:lnTo>
                    <a:pt x="121" y="209"/>
                  </a:lnTo>
                  <a:lnTo>
                    <a:pt x="121" y="211"/>
                  </a:lnTo>
                  <a:lnTo>
                    <a:pt x="119" y="213"/>
                  </a:lnTo>
                  <a:lnTo>
                    <a:pt x="119" y="216"/>
                  </a:lnTo>
                  <a:lnTo>
                    <a:pt x="119" y="218"/>
                  </a:lnTo>
                  <a:lnTo>
                    <a:pt x="117" y="220"/>
                  </a:lnTo>
                  <a:lnTo>
                    <a:pt x="117" y="222"/>
                  </a:lnTo>
                  <a:lnTo>
                    <a:pt x="115" y="224"/>
                  </a:lnTo>
                  <a:lnTo>
                    <a:pt x="115" y="226"/>
                  </a:lnTo>
                  <a:lnTo>
                    <a:pt x="114" y="226"/>
                  </a:lnTo>
                  <a:lnTo>
                    <a:pt x="114" y="230"/>
                  </a:lnTo>
                  <a:lnTo>
                    <a:pt x="114" y="230"/>
                  </a:lnTo>
                  <a:lnTo>
                    <a:pt x="112" y="230"/>
                  </a:lnTo>
                  <a:lnTo>
                    <a:pt x="110" y="232"/>
                  </a:lnTo>
                  <a:lnTo>
                    <a:pt x="108" y="234"/>
                  </a:lnTo>
                  <a:lnTo>
                    <a:pt x="106" y="236"/>
                  </a:lnTo>
                  <a:lnTo>
                    <a:pt x="106" y="238"/>
                  </a:lnTo>
                  <a:lnTo>
                    <a:pt x="106" y="240"/>
                  </a:lnTo>
                  <a:lnTo>
                    <a:pt x="104" y="241"/>
                  </a:lnTo>
                  <a:lnTo>
                    <a:pt x="102" y="247"/>
                  </a:lnTo>
                  <a:lnTo>
                    <a:pt x="100" y="245"/>
                  </a:lnTo>
                  <a:lnTo>
                    <a:pt x="96" y="245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0" y="240"/>
                  </a:lnTo>
                  <a:lnTo>
                    <a:pt x="89" y="238"/>
                  </a:lnTo>
                  <a:lnTo>
                    <a:pt x="89" y="230"/>
                  </a:lnTo>
                  <a:lnTo>
                    <a:pt x="87" y="230"/>
                  </a:lnTo>
                  <a:lnTo>
                    <a:pt x="87" y="228"/>
                  </a:lnTo>
                  <a:lnTo>
                    <a:pt x="83" y="228"/>
                  </a:lnTo>
                  <a:lnTo>
                    <a:pt x="81" y="226"/>
                  </a:lnTo>
                  <a:lnTo>
                    <a:pt x="79" y="222"/>
                  </a:lnTo>
                  <a:lnTo>
                    <a:pt x="77" y="222"/>
                  </a:lnTo>
                  <a:lnTo>
                    <a:pt x="75" y="222"/>
                  </a:lnTo>
                  <a:lnTo>
                    <a:pt x="73" y="222"/>
                  </a:lnTo>
                  <a:lnTo>
                    <a:pt x="71" y="220"/>
                  </a:lnTo>
                  <a:lnTo>
                    <a:pt x="69" y="222"/>
                  </a:lnTo>
                  <a:lnTo>
                    <a:pt x="67" y="224"/>
                  </a:lnTo>
                  <a:lnTo>
                    <a:pt x="67" y="226"/>
                  </a:lnTo>
                  <a:lnTo>
                    <a:pt x="64" y="226"/>
                  </a:lnTo>
                  <a:lnTo>
                    <a:pt x="60" y="222"/>
                  </a:lnTo>
                  <a:lnTo>
                    <a:pt x="58" y="222"/>
                  </a:lnTo>
                  <a:lnTo>
                    <a:pt x="56" y="220"/>
                  </a:lnTo>
                  <a:lnTo>
                    <a:pt x="52" y="220"/>
                  </a:lnTo>
                  <a:lnTo>
                    <a:pt x="52" y="224"/>
                  </a:lnTo>
                  <a:lnTo>
                    <a:pt x="50" y="224"/>
                  </a:lnTo>
                  <a:lnTo>
                    <a:pt x="48" y="226"/>
                  </a:lnTo>
                  <a:lnTo>
                    <a:pt x="48" y="230"/>
                  </a:lnTo>
                  <a:lnTo>
                    <a:pt x="44" y="232"/>
                  </a:lnTo>
                  <a:lnTo>
                    <a:pt x="43" y="236"/>
                  </a:lnTo>
                  <a:lnTo>
                    <a:pt x="43" y="238"/>
                  </a:lnTo>
                  <a:lnTo>
                    <a:pt x="43" y="240"/>
                  </a:lnTo>
                  <a:lnTo>
                    <a:pt x="39" y="243"/>
                  </a:lnTo>
                  <a:lnTo>
                    <a:pt x="39" y="247"/>
                  </a:lnTo>
                  <a:lnTo>
                    <a:pt x="37" y="247"/>
                  </a:lnTo>
                  <a:lnTo>
                    <a:pt x="33" y="251"/>
                  </a:lnTo>
                  <a:lnTo>
                    <a:pt x="29" y="255"/>
                  </a:lnTo>
                  <a:lnTo>
                    <a:pt x="25" y="259"/>
                  </a:lnTo>
                  <a:lnTo>
                    <a:pt x="23" y="261"/>
                  </a:lnTo>
                  <a:lnTo>
                    <a:pt x="21" y="261"/>
                  </a:lnTo>
                  <a:lnTo>
                    <a:pt x="19" y="263"/>
                  </a:lnTo>
                  <a:lnTo>
                    <a:pt x="16" y="264"/>
                  </a:lnTo>
                  <a:lnTo>
                    <a:pt x="16" y="266"/>
                  </a:lnTo>
                  <a:lnTo>
                    <a:pt x="12" y="266"/>
                  </a:lnTo>
                  <a:lnTo>
                    <a:pt x="10" y="270"/>
                  </a:lnTo>
                  <a:lnTo>
                    <a:pt x="8" y="272"/>
                  </a:lnTo>
                  <a:lnTo>
                    <a:pt x="6" y="274"/>
                  </a:lnTo>
                  <a:lnTo>
                    <a:pt x="6" y="280"/>
                  </a:lnTo>
                  <a:lnTo>
                    <a:pt x="4" y="282"/>
                  </a:lnTo>
                  <a:lnTo>
                    <a:pt x="4" y="284"/>
                  </a:lnTo>
                  <a:lnTo>
                    <a:pt x="6" y="286"/>
                  </a:lnTo>
                  <a:lnTo>
                    <a:pt x="6" y="289"/>
                  </a:lnTo>
                  <a:lnTo>
                    <a:pt x="6" y="291"/>
                  </a:lnTo>
                  <a:lnTo>
                    <a:pt x="6" y="295"/>
                  </a:lnTo>
                  <a:lnTo>
                    <a:pt x="6" y="297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4" y="307"/>
                  </a:lnTo>
                  <a:lnTo>
                    <a:pt x="4" y="309"/>
                  </a:lnTo>
                  <a:lnTo>
                    <a:pt x="4" y="311"/>
                  </a:lnTo>
                  <a:lnTo>
                    <a:pt x="0" y="316"/>
                  </a:lnTo>
                  <a:lnTo>
                    <a:pt x="2" y="316"/>
                  </a:lnTo>
                  <a:lnTo>
                    <a:pt x="6" y="316"/>
                  </a:lnTo>
                  <a:lnTo>
                    <a:pt x="6" y="322"/>
                  </a:lnTo>
                  <a:lnTo>
                    <a:pt x="6" y="322"/>
                  </a:lnTo>
                  <a:lnTo>
                    <a:pt x="8" y="326"/>
                  </a:lnTo>
                  <a:lnTo>
                    <a:pt x="10" y="326"/>
                  </a:lnTo>
                  <a:lnTo>
                    <a:pt x="14" y="326"/>
                  </a:lnTo>
                  <a:lnTo>
                    <a:pt x="16" y="328"/>
                  </a:lnTo>
                  <a:lnTo>
                    <a:pt x="18" y="328"/>
                  </a:lnTo>
                  <a:lnTo>
                    <a:pt x="19" y="328"/>
                  </a:lnTo>
                  <a:lnTo>
                    <a:pt x="21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9" y="332"/>
                  </a:lnTo>
                  <a:lnTo>
                    <a:pt x="29" y="334"/>
                  </a:lnTo>
                  <a:lnTo>
                    <a:pt x="31" y="334"/>
                  </a:lnTo>
                  <a:lnTo>
                    <a:pt x="33" y="335"/>
                  </a:lnTo>
                  <a:lnTo>
                    <a:pt x="35" y="337"/>
                  </a:lnTo>
                  <a:lnTo>
                    <a:pt x="37" y="339"/>
                  </a:lnTo>
                  <a:lnTo>
                    <a:pt x="39" y="341"/>
                  </a:lnTo>
                  <a:lnTo>
                    <a:pt x="41" y="343"/>
                  </a:lnTo>
                  <a:lnTo>
                    <a:pt x="41" y="345"/>
                  </a:lnTo>
                  <a:lnTo>
                    <a:pt x="43" y="345"/>
                  </a:lnTo>
                  <a:lnTo>
                    <a:pt x="44" y="347"/>
                  </a:lnTo>
                  <a:lnTo>
                    <a:pt x="46" y="349"/>
                  </a:lnTo>
                  <a:lnTo>
                    <a:pt x="48" y="351"/>
                  </a:lnTo>
                  <a:lnTo>
                    <a:pt x="48" y="353"/>
                  </a:lnTo>
                  <a:lnTo>
                    <a:pt x="50" y="355"/>
                  </a:lnTo>
                  <a:lnTo>
                    <a:pt x="50" y="360"/>
                  </a:lnTo>
                  <a:lnTo>
                    <a:pt x="50" y="362"/>
                  </a:lnTo>
                  <a:lnTo>
                    <a:pt x="50" y="366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50" y="376"/>
                  </a:lnTo>
                  <a:lnTo>
                    <a:pt x="54" y="382"/>
                  </a:lnTo>
                  <a:lnTo>
                    <a:pt x="60" y="385"/>
                  </a:lnTo>
                  <a:lnTo>
                    <a:pt x="58" y="387"/>
                  </a:lnTo>
                  <a:lnTo>
                    <a:pt x="58" y="391"/>
                  </a:lnTo>
                  <a:lnTo>
                    <a:pt x="56" y="393"/>
                  </a:lnTo>
                  <a:lnTo>
                    <a:pt x="56" y="395"/>
                  </a:lnTo>
                  <a:lnTo>
                    <a:pt x="54" y="397"/>
                  </a:lnTo>
                  <a:lnTo>
                    <a:pt x="52" y="399"/>
                  </a:lnTo>
                  <a:lnTo>
                    <a:pt x="52" y="399"/>
                  </a:lnTo>
                  <a:lnTo>
                    <a:pt x="52" y="403"/>
                  </a:lnTo>
                  <a:lnTo>
                    <a:pt x="48" y="405"/>
                  </a:lnTo>
                  <a:lnTo>
                    <a:pt x="52" y="405"/>
                  </a:lnTo>
                  <a:lnTo>
                    <a:pt x="54" y="405"/>
                  </a:lnTo>
                  <a:lnTo>
                    <a:pt x="58" y="405"/>
                  </a:lnTo>
                  <a:lnTo>
                    <a:pt x="60" y="405"/>
                  </a:lnTo>
                  <a:lnTo>
                    <a:pt x="64" y="403"/>
                  </a:lnTo>
                  <a:lnTo>
                    <a:pt x="67" y="403"/>
                  </a:lnTo>
                  <a:lnTo>
                    <a:pt x="73" y="403"/>
                  </a:lnTo>
                  <a:lnTo>
                    <a:pt x="79" y="403"/>
                  </a:lnTo>
                  <a:lnTo>
                    <a:pt x="85" y="403"/>
                  </a:lnTo>
                  <a:lnTo>
                    <a:pt x="87" y="403"/>
                  </a:lnTo>
                  <a:lnTo>
                    <a:pt x="90" y="403"/>
                  </a:lnTo>
                  <a:lnTo>
                    <a:pt x="94" y="403"/>
                  </a:lnTo>
                  <a:lnTo>
                    <a:pt x="102" y="403"/>
                  </a:lnTo>
                  <a:lnTo>
                    <a:pt x="106" y="403"/>
                  </a:lnTo>
                  <a:lnTo>
                    <a:pt x="110" y="403"/>
                  </a:lnTo>
                  <a:lnTo>
                    <a:pt x="112" y="401"/>
                  </a:lnTo>
                  <a:lnTo>
                    <a:pt x="114" y="401"/>
                  </a:lnTo>
                  <a:lnTo>
                    <a:pt x="119" y="397"/>
                  </a:lnTo>
                  <a:lnTo>
                    <a:pt x="123" y="397"/>
                  </a:lnTo>
                  <a:lnTo>
                    <a:pt x="127" y="397"/>
                  </a:lnTo>
                  <a:lnTo>
                    <a:pt x="131" y="397"/>
                  </a:lnTo>
                  <a:lnTo>
                    <a:pt x="137" y="393"/>
                  </a:lnTo>
                  <a:lnTo>
                    <a:pt x="142" y="393"/>
                  </a:lnTo>
                  <a:lnTo>
                    <a:pt x="144" y="393"/>
                  </a:lnTo>
                  <a:lnTo>
                    <a:pt x="148" y="393"/>
                  </a:lnTo>
                  <a:lnTo>
                    <a:pt x="150" y="393"/>
                  </a:lnTo>
                  <a:lnTo>
                    <a:pt x="152" y="395"/>
                  </a:lnTo>
                  <a:lnTo>
                    <a:pt x="156" y="397"/>
                  </a:lnTo>
                  <a:lnTo>
                    <a:pt x="158" y="397"/>
                  </a:lnTo>
                  <a:lnTo>
                    <a:pt x="160" y="397"/>
                  </a:lnTo>
                  <a:lnTo>
                    <a:pt x="163" y="397"/>
                  </a:lnTo>
                  <a:lnTo>
                    <a:pt x="165" y="397"/>
                  </a:lnTo>
                  <a:lnTo>
                    <a:pt x="167" y="397"/>
                  </a:lnTo>
                  <a:lnTo>
                    <a:pt x="169" y="399"/>
                  </a:lnTo>
                  <a:lnTo>
                    <a:pt x="169" y="401"/>
                  </a:lnTo>
                  <a:lnTo>
                    <a:pt x="173" y="401"/>
                  </a:lnTo>
                  <a:lnTo>
                    <a:pt x="175" y="401"/>
                  </a:lnTo>
                  <a:lnTo>
                    <a:pt x="179" y="401"/>
                  </a:lnTo>
                  <a:lnTo>
                    <a:pt x="183" y="401"/>
                  </a:lnTo>
                  <a:lnTo>
                    <a:pt x="186" y="399"/>
                  </a:lnTo>
                  <a:lnTo>
                    <a:pt x="192" y="401"/>
                  </a:lnTo>
                  <a:lnTo>
                    <a:pt x="196" y="401"/>
                  </a:lnTo>
                  <a:lnTo>
                    <a:pt x="200" y="401"/>
                  </a:lnTo>
                  <a:lnTo>
                    <a:pt x="206" y="403"/>
                  </a:lnTo>
                  <a:lnTo>
                    <a:pt x="209" y="403"/>
                  </a:lnTo>
                  <a:lnTo>
                    <a:pt x="211" y="403"/>
                  </a:lnTo>
                  <a:lnTo>
                    <a:pt x="215" y="403"/>
                  </a:lnTo>
                  <a:lnTo>
                    <a:pt x="219" y="403"/>
                  </a:lnTo>
                  <a:lnTo>
                    <a:pt x="221" y="403"/>
                  </a:lnTo>
                  <a:lnTo>
                    <a:pt x="223" y="403"/>
                  </a:lnTo>
                  <a:lnTo>
                    <a:pt x="227" y="401"/>
                  </a:lnTo>
                  <a:lnTo>
                    <a:pt x="229" y="401"/>
                  </a:lnTo>
                  <a:lnTo>
                    <a:pt x="231" y="403"/>
                  </a:lnTo>
                  <a:lnTo>
                    <a:pt x="238" y="403"/>
                  </a:lnTo>
                  <a:lnTo>
                    <a:pt x="242" y="403"/>
                  </a:lnTo>
                  <a:lnTo>
                    <a:pt x="244" y="405"/>
                  </a:lnTo>
                  <a:lnTo>
                    <a:pt x="246" y="405"/>
                  </a:lnTo>
                  <a:lnTo>
                    <a:pt x="248" y="406"/>
                  </a:lnTo>
                  <a:lnTo>
                    <a:pt x="250" y="408"/>
                  </a:lnTo>
                  <a:lnTo>
                    <a:pt x="255" y="408"/>
                  </a:lnTo>
                  <a:lnTo>
                    <a:pt x="255" y="410"/>
                  </a:lnTo>
                  <a:lnTo>
                    <a:pt x="257" y="412"/>
                  </a:lnTo>
                  <a:lnTo>
                    <a:pt x="261" y="414"/>
                  </a:lnTo>
                  <a:lnTo>
                    <a:pt x="263" y="414"/>
                  </a:lnTo>
                  <a:lnTo>
                    <a:pt x="265" y="414"/>
                  </a:lnTo>
                  <a:lnTo>
                    <a:pt x="269" y="414"/>
                  </a:lnTo>
                  <a:lnTo>
                    <a:pt x="271" y="416"/>
                  </a:lnTo>
                  <a:lnTo>
                    <a:pt x="273" y="416"/>
                  </a:lnTo>
                  <a:lnTo>
                    <a:pt x="277" y="418"/>
                  </a:lnTo>
                  <a:lnTo>
                    <a:pt x="279" y="418"/>
                  </a:lnTo>
                  <a:lnTo>
                    <a:pt x="280" y="418"/>
                  </a:lnTo>
                  <a:lnTo>
                    <a:pt x="282" y="416"/>
                  </a:lnTo>
                  <a:lnTo>
                    <a:pt x="282" y="414"/>
                  </a:lnTo>
                  <a:lnTo>
                    <a:pt x="282" y="410"/>
                  </a:lnTo>
                  <a:lnTo>
                    <a:pt x="282" y="406"/>
                  </a:lnTo>
                  <a:lnTo>
                    <a:pt x="282" y="405"/>
                  </a:lnTo>
                  <a:lnTo>
                    <a:pt x="282" y="401"/>
                  </a:lnTo>
                  <a:lnTo>
                    <a:pt x="282" y="397"/>
                  </a:lnTo>
                  <a:lnTo>
                    <a:pt x="282" y="395"/>
                  </a:lnTo>
                  <a:lnTo>
                    <a:pt x="282" y="391"/>
                  </a:lnTo>
                  <a:lnTo>
                    <a:pt x="282" y="387"/>
                  </a:lnTo>
                  <a:lnTo>
                    <a:pt x="282" y="385"/>
                  </a:lnTo>
                  <a:lnTo>
                    <a:pt x="282" y="383"/>
                  </a:lnTo>
                  <a:lnTo>
                    <a:pt x="280" y="382"/>
                  </a:lnTo>
                  <a:lnTo>
                    <a:pt x="280" y="380"/>
                  </a:lnTo>
                  <a:lnTo>
                    <a:pt x="280" y="378"/>
                  </a:lnTo>
                  <a:lnTo>
                    <a:pt x="279" y="376"/>
                  </a:lnTo>
                  <a:lnTo>
                    <a:pt x="277" y="376"/>
                  </a:lnTo>
                  <a:lnTo>
                    <a:pt x="277" y="374"/>
                  </a:lnTo>
                  <a:lnTo>
                    <a:pt x="275" y="370"/>
                  </a:lnTo>
                  <a:lnTo>
                    <a:pt x="273" y="370"/>
                  </a:lnTo>
                  <a:lnTo>
                    <a:pt x="269" y="370"/>
                  </a:lnTo>
                  <a:lnTo>
                    <a:pt x="267" y="370"/>
                  </a:lnTo>
                  <a:lnTo>
                    <a:pt x="265" y="368"/>
                  </a:lnTo>
                  <a:lnTo>
                    <a:pt x="263" y="364"/>
                  </a:lnTo>
                  <a:lnTo>
                    <a:pt x="259" y="362"/>
                  </a:lnTo>
                  <a:lnTo>
                    <a:pt x="259" y="360"/>
                  </a:lnTo>
                  <a:lnTo>
                    <a:pt x="259" y="358"/>
                  </a:lnTo>
                  <a:lnTo>
                    <a:pt x="257" y="355"/>
                  </a:lnTo>
                  <a:lnTo>
                    <a:pt x="257" y="353"/>
                  </a:lnTo>
                  <a:lnTo>
                    <a:pt x="257" y="351"/>
                  </a:lnTo>
                  <a:lnTo>
                    <a:pt x="255" y="347"/>
                  </a:lnTo>
                  <a:lnTo>
                    <a:pt x="255" y="345"/>
                  </a:lnTo>
                  <a:lnTo>
                    <a:pt x="255" y="343"/>
                  </a:lnTo>
                  <a:lnTo>
                    <a:pt x="255" y="341"/>
                  </a:lnTo>
                  <a:lnTo>
                    <a:pt x="255" y="339"/>
                  </a:lnTo>
                  <a:lnTo>
                    <a:pt x="254" y="337"/>
                  </a:lnTo>
                  <a:lnTo>
                    <a:pt x="254" y="335"/>
                  </a:lnTo>
                  <a:lnTo>
                    <a:pt x="248" y="335"/>
                  </a:lnTo>
                  <a:lnTo>
                    <a:pt x="246" y="332"/>
                  </a:lnTo>
                  <a:lnTo>
                    <a:pt x="244" y="332"/>
                  </a:lnTo>
                  <a:lnTo>
                    <a:pt x="242" y="328"/>
                  </a:lnTo>
                  <a:lnTo>
                    <a:pt x="240" y="326"/>
                  </a:lnTo>
                  <a:lnTo>
                    <a:pt x="238" y="324"/>
                  </a:lnTo>
                  <a:lnTo>
                    <a:pt x="236" y="324"/>
                  </a:lnTo>
                  <a:lnTo>
                    <a:pt x="234" y="322"/>
                  </a:lnTo>
                  <a:lnTo>
                    <a:pt x="234" y="320"/>
                  </a:lnTo>
                  <a:lnTo>
                    <a:pt x="231" y="318"/>
                  </a:lnTo>
                  <a:lnTo>
                    <a:pt x="229" y="316"/>
                  </a:lnTo>
                  <a:lnTo>
                    <a:pt x="229" y="312"/>
                  </a:lnTo>
                  <a:lnTo>
                    <a:pt x="229" y="309"/>
                  </a:lnTo>
                  <a:lnTo>
                    <a:pt x="229" y="307"/>
                  </a:lnTo>
                  <a:lnTo>
                    <a:pt x="229" y="305"/>
                  </a:lnTo>
                  <a:lnTo>
                    <a:pt x="229" y="301"/>
                  </a:lnTo>
                  <a:lnTo>
                    <a:pt x="229" y="299"/>
                  </a:lnTo>
                  <a:lnTo>
                    <a:pt x="225" y="293"/>
                  </a:lnTo>
                  <a:lnTo>
                    <a:pt x="225" y="291"/>
                  </a:lnTo>
                  <a:lnTo>
                    <a:pt x="225" y="287"/>
                  </a:lnTo>
                  <a:lnTo>
                    <a:pt x="225" y="286"/>
                  </a:lnTo>
                  <a:lnTo>
                    <a:pt x="227" y="282"/>
                  </a:lnTo>
                  <a:lnTo>
                    <a:pt x="229" y="280"/>
                  </a:lnTo>
                  <a:lnTo>
                    <a:pt x="229" y="276"/>
                  </a:lnTo>
                  <a:lnTo>
                    <a:pt x="229" y="274"/>
                  </a:lnTo>
                  <a:lnTo>
                    <a:pt x="231" y="272"/>
                  </a:lnTo>
                  <a:lnTo>
                    <a:pt x="232" y="272"/>
                  </a:lnTo>
                  <a:lnTo>
                    <a:pt x="229" y="272"/>
                  </a:lnTo>
                  <a:lnTo>
                    <a:pt x="229" y="270"/>
                  </a:lnTo>
                  <a:lnTo>
                    <a:pt x="227" y="268"/>
                  </a:lnTo>
                  <a:lnTo>
                    <a:pt x="227" y="264"/>
                  </a:lnTo>
                  <a:lnTo>
                    <a:pt x="225" y="263"/>
                  </a:lnTo>
                  <a:lnTo>
                    <a:pt x="225" y="259"/>
                  </a:lnTo>
                  <a:lnTo>
                    <a:pt x="225" y="255"/>
                  </a:lnTo>
                  <a:lnTo>
                    <a:pt x="225" y="253"/>
                  </a:lnTo>
                  <a:lnTo>
                    <a:pt x="225" y="249"/>
                  </a:lnTo>
                  <a:lnTo>
                    <a:pt x="227" y="249"/>
                  </a:lnTo>
                  <a:lnTo>
                    <a:pt x="229" y="247"/>
                  </a:lnTo>
                  <a:lnTo>
                    <a:pt x="232" y="245"/>
                  </a:lnTo>
                  <a:lnTo>
                    <a:pt x="236" y="243"/>
                  </a:lnTo>
                  <a:lnTo>
                    <a:pt x="236" y="240"/>
                  </a:lnTo>
                  <a:lnTo>
                    <a:pt x="236" y="238"/>
                  </a:lnTo>
                  <a:lnTo>
                    <a:pt x="236" y="234"/>
                  </a:lnTo>
                  <a:lnTo>
                    <a:pt x="236" y="232"/>
                  </a:lnTo>
                  <a:lnTo>
                    <a:pt x="236" y="230"/>
                  </a:lnTo>
                  <a:lnTo>
                    <a:pt x="238" y="228"/>
                  </a:lnTo>
                  <a:lnTo>
                    <a:pt x="240" y="226"/>
                  </a:lnTo>
                  <a:lnTo>
                    <a:pt x="244" y="224"/>
                  </a:lnTo>
                  <a:lnTo>
                    <a:pt x="246" y="222"/>
                  </a:lnTo>
                  <a:lnTo>
                    <a:pt x="246" y="220"/>
                  </a:lnTo>
                  <a:lnTo>
                    <a:pt x="246" y="216"/>
                  </a:lnTo>
                  <a:lnTo>
                    <a:pt x="246" y="213"/>
                  </a:lnTo>
                  <a:lnTo>
                    <a:pt x="250" y="213"/>
                  </a:lnTo>
                  <a:lnTo>
                    <a:pt x="252" y="211"/>
                  </a:lnTo>
                  <a:lnTo>
                    <a:pt x="254" y="209"/>
                  </a:lnTo>
                  <a:lnTo>
                    <a:pt x="255" y="207"/>
                  </a:lnTo>
                  <a:lnTo>
                    <a:pt x="257" y="205"/>
                  </a:lnTo>
                  <a:lnTo>
                    <a:pt x="259" y="203"/>
                  </a:lnTo>
                  <a:lnTo>
                    <a:pt x="259" y="199"/>
                  </a:lnTo>
                  <a:lnTo>
                    <a:pt x="263" y="19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7" name="Freeform 43"/>
            <p:cNvSpPr>
              <a:spLocks/>
            </p:cNvSpPr>
            <p:nvPr/>
          </p:nvSpPr>
          <p:spPr bwMode="auto">
            <a:xfrm>
              <a:off x="1517" y="2246"/>
              <a:ext cx="75" cy="46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9" y="15"/>
                </a:cxn>
                <a:cxn ang="0">
                  <a:pos x="9" y="19"/>
                </a:cxn>
                <a:cxn ang="0">
                  <a:pos x="9" y="21"/>
                </a:cxn>
                <a:cxn ang="0">
                  <a:pos x="9" y="26"/>
                </a:cxn>
                <a:cxn ang="0">
                  <a:pos x="6" y="28"/>
                </a:cxn>
                <a:cxn ang="0">
                  <a:pos x="4" y="30"/>
                </a:cxn>
                <a:cxn ang="0">
                  <a:pos x="2" y="34"/>
                </a:cxn>
                <a:cxn ang="0">
                  <a:pos x="0" y="38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4" y="46"/>
                </a:cxn>
                <a:cxn ang="0">
                  <a:pos x="8" y="46"/>
                </a:cxn>
                <a:cxn ang="0">
                  <a:pos x="9" y="46"/>
                </a:cxn>
                <a:cxn ang="0">
                  <a:pos x="13" y="46"/>
                </a:cxn>
                <a:cxn ang="0">
                  <a:pos x="17" y="46"/>
                </a:cxn>
                <a:cxn ang="0">
                  <a:pos x="19" y="46"/>
                </a:cxn>
                <a:cxn ang="0">
                  <a:pos x="21" y="46"/>
                </a:cxn>
                <a:cxn ang="0">
                  <a:pos x="23" y="44"/>
                </a:cxn>
                <a:cxn ang="0">
                  <a:pos x="25" y="44"/>
                </a:cxn>
                <a:cxn ang="0">
                  <a:pos x="27" y="42"/>
                </a:cxn>
                <a:cxn ang="0">
                  <a:pos x="29" y="42"/>
                </a:cxn>
                <a:cxn ang="0">
                  <a:pos x="32" y="40"/>
                </a:cxn>
                <a:cxn ang="0">
                  <a:pos x="34" y="38"/>
                </a:cxn>
                <a:cxn ang="0">
                  <a:pos x="44" y="38"/>
                </a:cxn>
                <a:cxn ang="0">
                  <a:pos x="48" y="38"/>
                </a:cxn>
                <a:cxn ang="0">
                  <a:pos x="52" y="38"/>
                </a:cxn>
                <a:cxn ang="0">
                  <a:pos x="55" y="38"/>
                </a:cxn>
                <a:cxn ang="0">
                  <a:pos x="57" y="38"/>
                </a:cxn>
                <a:cxn ang="0">
                  <a:pos x="61" y="38"/>
                </a:cxn>
                <a:cxn ang="0">
                  <a:pos x="69" y="38"/>
                </a:cxn>
                <a:cxn ang="0">
                  <a:pos x="71" y="40"/>
                </a:cxn>
                <a:cxn ang="0">
                  <a:pos x="73" y="38"/>
                </a:cxn>
                <a:cxn ang="0">
                  <a:pos x="71" y="36"/>
                </a:cxn>
                <a:cxn ang="0">
                  <a:pos x="71" y="34"/>
                </a:cxn>
                <a:cxn ang="0">
                  <a:pos x="71" y="32"/>
                </a:cxn>
                <a:cxn ang="0">
                  <a:pos x="71" y="30"/>
                </a:cxn>
                <a:cxn ang="0">
                  <a:pos x="71" y="26"/>
                </a:cxn>
                <a:cxn ang="0">
                  <a:pos x="71" y="21"/>
                </a:cxn>
                <a:cxn ang="0">
                  <a:pos x="71" y="15"/>
                </a:cxn>
                <a:cxn ang="0">
                  <a:pos x="71" y="11"/>
                </a:cxn>
                <a:cxn ang="0">
                  <a:pos x="71" y="9"/>
                </a:cxn>
                <a:cxn ang="0">
                  <a:pos x="71" y="7"/>
                </a:cxn>
                <a:cxn ang="0">
                  <a:pos x="71" y="2"/>
                </a:cxn>
                <a:cxn ang="0">
                  <a:pos x="69" y="0"/>
                </a:cxn>
                <a:cxn ang="0">
                  <a:pos x="67" y="0"/>
                </a:cxn>
                <a:cxn ang="0">
                  <a:pos x="65" y="0"/>
                </a:cxn>
                <a:cxn ang="0">
                  <a:pos x="59" y="0"/>
                </a:cxn>
                <a:cxn ang="0">
                  <a:pos x="57" y="2"/>
                </a:cxn>
                <a:cxn ang="0">
                  <a:pos x="55" y="2"/>
                </a:cxn>
                <a:cxn ang="0">
                  <a:pos x="54" y="2"/>
                </a:cxn>
                <a:cxn ang="0">
                  <a:pos x="52" y="2"/>
                </a:cxn>
                <a:cxn ang="0">
                  <a:pos x="50" y="2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2" y="0"/>
                </a:cxn>
                <a:cxn ang="0">
                  <a:pos x="29" y="0"/>
                </a:cxn>
                <a:cxn ang="0">
                  <a:pos x="25" y="2"/>
                </a:cxn>
                <a:cxn ang="0">
                  <a:pos x="21" y="2"/>
                </a:cxn>
                <a:cxn ang="0">
                  <a:pos x="19" y="2"/>
                </a:cxn>
                <a:cxn ang="0">
                  <a:pos x="15" y="2"/>
                </a:cxn>
              </a:cxnLst>
              <a:rect l="0" t="0" r="r" b="b"/>
              <a:pathLst>
                <a:path w="75" h="46">
                  <a:moveTo>
                    <a:pt x="13" y="2"/>
                  </a:moveTo>
                  <a:lnTo>
                    <a:pt x="11" y="7"/>
                  </a:lnTo>
                  <a:lnTo>
                    <a:pt x="9" y="13"/>
                  </a:lnTo>
                  <a:lnTo>
                    <a:pt x="9" y="15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8" y="26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7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4" y="38"/>
                  </a:lnTo>
                  <a:lnTo>
                    <a:pt x="55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5" y="38"/>
                  </a:lnTo>
                  <a:lnTo>
                    <a:pt x="69" y="38"/>
                  </a:lnTo>
                  <a:lnTo>
                    <a:pt x="69" y="40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3" y="38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4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1" y="28"/>
                  </a:lnTo>
                  <a:lnTo>
                    <a:pt x="71" y="26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9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71" y="2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3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8" name="Freeform 44"/>
            <p:cNvSpPr>
              <a:spLocks/>
            </p:cNvSpPr>
            <p:nvPr/>
          </p:nvSpPr>
          <p:spPr bwMode="auto">
            <a:xfrm>
              <a:off x="1517" y="2246"/>
              <a:ext cx="75" cy="46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9" y="15"/>
                </a:cxn>
                <a:cxn ang="0">
                  <a:pos x="9" y="19"/>
                </a:cxn>
                <a:cxn ang="0">
                  <a:pos x="9" y="21"/>
                </a:cxn>
                <a:cxn ang="0">
                  <a:pos x="9" y="26"/>
                </a:cxn>
                <a:cxn ang="0">
                  <a:pos x="6" y="28"/>
                </a:cxn>
                <a:cxn ang="0">
                  <a:pos x="4" y="30"/>
                </a:cxn>
                <a:cxn ang="0">
                  <a:pos x="2" y="34"/>
                </a:cxn>
                <a:cxn ang="0">
                  <a:pos x="0" y="38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4" y="46"/>
                </a:cxn>
                <a:cxn ang="0">
                  <a:pos x="8" y="46"/>
                </a:cxn>
                <a:cxn ang="0">
                  <a:pos x="9" y="46"/>
                </a:cxn>
                <a:cxn ang="0">
                  <a:pos x="13" y="46"/>
                </a:cxn>
                <a:cxn ang="0">
                  <a:pos x="17" y="46"/>
                </a:cxn>
                <a:cxn ang="0">
                  <a:pos x="19" y="46"/>
                </a:cxn>
                <a:cxn ang="0">
                  <a:pos x="21" y="46"/>
                </a:cxn>
                <a:cxn ang="0">
                  <a:pos x="23" y="44"/>
                </a:cxn>
                <a:cxn ang="0">
                  <a:pos x="25" y="44"/>
                </a:cxn>
                <a:cxn ang="0">
                  <a:pos x="27" y="42"/>
                </a:cxn>
                <a:cxn ang="0">
                  <a:pos x="29" y="42"/>
                </a:cxn>
                <a:cxn ang="0">
                  <a:pos x="32" y="40"/>
                </a:cxn>
                <a:cxn ang="0">
                  <a:pos x="34" y="38"/>
                </a:cxn>
                <a:cxn ang="0">
                  <a:pos x="44" y="38"/>
                </a:cxn>
                <a:cxn ang="0">
                  <a:pos x="48" y="38"/>
                </a:cxn>
                <a:cxn ang="0">
                  <a:pos x="52" y="38"/>
                </a:cxn>
                <a:cxn ang="0">
                  <a:pos x="55" y="38"/>
                </a:cxn>
                <a:cxn ang="0">
                  <a:pos x="57" y="38"/>
                </a:cxn>
                <a:cxn ang="0">
                  <a:pos x="61" y="38"/>
                </a:cxn>
                <a:cxn ang="0">
                  <a:pos x="69" y="38"/>
                </a:cxn>
                <a:cxn ang="0">
                  <a:pos x="71" y="40"/>
                </a:cxn>
                <a:cxn ang="0">
                  <a:pos x="73" y="38"/>
                </a:cxn>
                <a:cxn ang="0">
                  <a:pos x="71" y="36"/>
                </a:cxn>
                <a:cxn ang="0">
                  <a:pos x="71" y="34"/>
                </a:cxn>
                <a:cxn ang="0">
                  <a:pos x="71" y="32"/>
                </a:cxn>
                <a:cxn ang="0">
                  <a:pos x="71" y="30"/>
                </a:cxn>
                <a:cxn ang="0">
                  <a:pos x="71" y="26"/>
                </a:cxn>
                <a:cxn ang="0">
                  <a:pos x="71" y="21"/>
                </a:cxn>
                <a:cxn ang="0">
                  <a:pos x="71" y="15"/>
                </a:cxn>
                <a:cxn ang="0">
                  <a:pos x="71" y="11"/>
                </a:cxn>
                <a:cxn ang="0">
                  <a:pos x="71" y="9"/>
                </a:cxn>
                <a:cxn ang="0">
                  <a:pos x="71" y="7"/>
                </a:cxn>
                <a:cxn ang="0">
                  <a:pos x="71" y="2"/>
                </a:cxn>
                <a:cxn ang="0">
                  <a:pos x="69" y="0"/>
                </a:cxn>
                <a:cxn ang="0">
                  <a:pos x="67" y="0"/>
                </a:cxn>
                <a:cxn ang="0">
                  <a:pos x="65" y="0"/>
                </a:cxn>
                <a:cxn ang="0">
                  <a:pos x="59" y="0"/>
                </a:cxn>
                <a:cxn ang="0">
                  <a:pos x="57" y="2"/>
                </a:cxn>
                <a:cxn ang="0">
                  <a:pos x="55" y="2"/>
                </a:cxn>
                <a:cxn ang="0">
                  <a:pos x="54" y="2"/>
                </a:cxn>
                <a:cxn ang="0">
                  <a:pos x="52" y="2"/>
                </a:cxn>
                <a:cxn ang="0">
                  <a:pos x="50" y="2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2" y="0"/>
                </a:cxn>
                <a:cxn ang="0">
                  <a:pos x="29" y="0"/>
                </a:cxn>
                <a:cxn ang="0">
                  <a:pos x="25" y="2"/>
                </a:cxn>
                <a:cxn ang="0">
                  <a:pos x="21" y="2"/>
                </a:cxn>
                <a:cxn ang="0">
                  <a:pos x="19" y="2"/>
                </a:cxn>
                <a:cxn ang="0">
                  <a:pos x="15" y="2"/>
                </a:cxn>
              </a:cxnLst>
              <a:rect l="0" t="0" r="r" b="b"/>
              <a:pathLst>
                <a:path w="75" h="46">
                  <a:moveTo>
                    <a:pt x="13" y="2"/>
                  </a:moveTo>
                  <a:lnTo>
                    <a:pt x="11" y="7"/>
                  </a:lnTo>
                  <a:lnTo>
                    <a:pt x="9" y="13"/>
                  </a:lnTo>
                  <a:lnTo>
                    <a:pt x="9" y="15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8" y="26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7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4" y="38"/>
                  </a:lnTo>
                  <a:lnTo>
                    <a:pt x="55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5" y="38"/>
                  </a:lnTo>
                  <a:lnTo>
                    <a:pt x="69" y="38"/>
                  </a:lnTo>
                  <a:lnTo>
                    <a:pt x="69" y="40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3" y="38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4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1" y="28"/>
                  </a:lnTo>
                  <a:lnTo>
                    <a:pt x="71" y="26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9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71" y="2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3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69" name="Freeform 45"/>
            <p:cNvSpPr>
              <a:spLocks/>
            </p:cNvSpPr>
            <p:nvPr/>
          </p:nvSpPr>
          <p:spPr bwMode="auto">
            <a:xfrm>
              <a:off x="1478" y="2236"/>
              <a:ext cx="231" cy="225"/>
            </a:xfrm>
            <a:custGeom>
              <a:avLst/>
              <a:gdLst/>
              <a:ahLst/>
              <a:cxnLst>
                <a:cxn ang="0">
                  <a:pos x="175" y="25"/>
                </a:cxn>
                <a:cxn ang="0">
                  <a:pos x="173" y="42"/>
                </a:cxn>
                <a:cxn ang="0">
                  <a:pos x="185" y="61"/>
                </a:cxn>
                <a:cxn ang="0">
                  <a:pos x="190" y="46"/>
                </a:cxn>
                <a:cxn ang="0">
                  <a:pos x="210" y="38"/>
                </a:cxn>
                <a:cxn ang="0">
                  <a:pos x="223" y="48"/>
                </a:cxn>
                <a:cxn ang="0">
                  <a:pos x="229" y="59"/>
                </a:cxn>
                <a:cxn ang="0">
                  <a:pos x="227" y="75"/>
                </a:cxn>
                <a:cxn ang="0">
                  <a:pos x="208" y="83"/>
                </a:cxn>
                <a:cxn ang="0">
                  <a:pos x="202" y="94"/>
                </a:cxn>
                <a:cxn ang="0">
                  <a:pos x="206" y="109"/>
                </a:cxn>
                <a:cxn ang="0">
                  <a:pos x="221" y="119"/>
                </a:cxn>
                <a:cxn ang="0">
                  <a:pos x="225" y="138"/>
                </a:cxn>
                <a:cxn ang="0">
                  <a:pos x="223" y="157"/>
                </a:cxn>
                <a:cxn ang="0">
                  <a:pos x="217" y="175"/>
                </a:cxn>
                <a:cxn ang="0">
                  <a:pos x="206" y="182"/>
                </a:cxn>
                <a:cxn ang="0">
                  <a:pos x="196" y="173"/>
                </a:cxn>
                <a:cxn ang="0">
                  <a:pos x="188" y="180"/>
                </a:cxn>
                <a:cxn ang="0">
                  <a:pos x="169" y="175"/>
                </a:cxn>
                <a:cxn ang="0">
                  <a:pos x="162" y="159"/>
                </a:cxn>
                <a:cxn ang="0">
                  <a:pos x="146" y="159"/>
                </a:cxn>
                <a:cxn ang="0">
                  <a:pos x="142" y="177"/>
                </a:cxn>
                <a:cxn ang="0">
                  <a:pos x="125" y="178"/>
                </a:cxn>
                <a:cxn ang="0">
                  <a:pos x="114" y="177"/>
                </a:cxn>
                <a:cxn ang="0">
                  <a:pos x="114" y="194"/>
                </a:cxn>
                <a:cxn ang="0">
                  <a:pos x="108" y="207"/>
                </a:cxn>
                <a:cxn ang="0">
                  <a:pos x="98" y="221"/>
                </a:cxn>
                <a:cxn ang="0">
                  <a:pos x="87" y="221"/>
                </a:cxn>
                <a:cxn ang="0">
                  <a:pos x="77" y="211"/>
                </a:cxn>
                <a:cxn ang="0">
                  <a:pos x="66" y="198"/>
                </a:cxn>
                <a:cxn ang="0">
                  <a:pos x="56" y="182"/>
                </a:cxn>
                <a:cxn ang="0">
                  <a:pos x="41" y="169"/>
                </a:cxn>
                <a:cxn ang="0">
                  <a:pos x="25" y="148"/>
                </a:cxn>
                <a:cxn ang="0">
                  <a:pos x="14" y="136"/>
                </a:cxn>
                <a:cxn ang="0">
                  <a:pos x="2" y="125"/>
                </a:cxn>
                <a:cxn ang="0">
                  <a:pos x="0" y="107"/>
                </a:cxn>
                <a:cxn ang="0">
                  <a:pos x="6" y="100"/>
                </a:cxn>
                <a:cxn ang="0">
                  <a:pos x="18" y="107"/>
                </a:cxn>
                <a:cxn ang="0">
                  <a:pos x="27" y="96"/>
                </a:cxn>
                <a:cxn ang="0">
                  <a:pos x="33" y="83"/>
                </a:cxn>
                <a:cxn ang="0">
                  <a:pos x="37" y="67"/>
                </a:cxn>
                <a:cxn ang="0">
                  <a:pos x="43" y="56"/>
                </a:cxn>
                <a:cxn ang="0">
                  <a:pos x="62" y="54"/>
                </a:cxn>
                <a:cxn ang="0">
                  <a:pos x="75" y="48"/>
                </a:cxn>
                <a:cxn ang="0">
                  <a:pos x="94" y="48"/>
                </a:cxn>
                <a:cxn ang="0">
                  <a:pos x="116" y="50"/>
                </a:cxn>
                <a:cxn ang="0">
                  <a:pos x="108" y="38"/>
                </a:cxn>
                <a:cxn ang="0">
                  <a:pos x="112" y="21"/>
                </a:cxn>
                <a:cxn ang="0">
                  <a:pos x="112" y="10"/>
                </a:cxn>
                <a:cxn ang="0">
                  <a:pos x="119" y="6"/>
                </a:cxn>
                <a:cxn ang="0">
                  <a:pos x="135" y="0"/>
                </a:cxn>
                <a:cxn ang="0">
                  <a:pos x="154" y="0"/>
                </a:cxn>
                <a:cxn ang="0">
                  <a:pos x="171" y="4"/>
                </a:cxn>
              </a:cxnLst>
              <a:rect l="0" t="0" r="r" b="b"/>
              <a:pathLst>
                <a:path w="231" h="225">
                  <a:moveTo>
                    <a:pt x="177" y="6"/>
                  </a:moveTo>
                  <a:lnTo>
                    <a:pt x="177" y="12"/>
                  </a:lnTo>
                  <a:lnTo>
                    <a:pt x="177" y="15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5" y="25"/>
                  </a:lnTo>
                  <a:lnTo>
                    <a:pt x="175" y="27"/>
                  </a:lnTo>
                  <a:lnTo>
                    <a:pt x="175" y="31"/>
                  </a:lnTo>
                  <a:lnTo>
                    <a:pt x="173" y="31"/>
                  </a:lnTo>
                  <a:lnTo>
                    <a:pt x="173" y="35"/>
                  </a:lnTo>
                  <a:lnTo>
                    <a:pt x="173" y="38"/>
                  </a:lnTo>
                  <a:lnTo>
                    <a:pt x="173" y="42"/>
                  </a:lnTo>
                  <a:lnTo>
                    <a:pt x="173" y="46"/>
                  </a:lnTo>
                  <a:lnTo>
                    <a:pt x="175" y="48"/>
                  </a:lnTo>
                  <a:lnTo>
                    <a:pt x="175" y="52"/>
                  </a:lnTo>
                  <a:lnTo>
                    <a:pt x="179" y="58"/>
                  </a:lnTo>
                  <a:lnTo>
                    <a:pt x="181" y="61"/>
                  </a:lnTo>
                  <a:lnTo>
                    <a:pt x="185" y="61"/>
                  </a:lnTo>
                  <a:lnTo>
                    <a:pt x="187" y="59"/>
                  </a:lnTo>
                  <a:lnTo>
                    <a:pt x="187" y="56"/>
                  </a:lnTo>
                  <a:lnTo>
                    <a:pt x="188" y="54"/>
                  </a:lnTo>
                  <a:lnTo>
                    <a:pt x="188" y="50"/>
                  </a:lnTo>
                  <a:lnTo>
                    <a:pt x="188" y="48"/>
                  </a:lnTo>
                  <a:lnTo>
                    <a:pt x="190" y="46"/>
                  </a:lnTo>
                  <a:lnTo>
                    <a:pt x="192" y="44"/>
                  </a:lnTo>
                  <a:lnTo>
                    <a:pt x="196" y="42"/>
                  </a:lnTo>
                  <a:lnTo>
                    <a:pt x="200" y="40"/>
                  </a:lnTo>
                  <a:lnTo>
                    <a:pt x="204" y="40"/>
                  </a:lnTo>
                  <a:lnTo>
                    <a:pt x="206" y="38"/>
                  </a:lnTo>
                  <a:lnTo>
                    <a:pt x="210" y="38"/>
                  </a:lnTo>
                  <a:lnTo>
                    <a:pt x="213" y="40"/>
                  </a:lnTo>
                  <a:lnTo>
                    <a:pt x="215" y="40"/>
                  </a:lnTo>
                  <a:lnTo>
                    <a:pt x="217" y="40"/>
                  </a:lnTo>
                  <a:lnTo>
                    <a:pt x="221" y="42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5" y="50"/>
                  </a:lnTo>
                  <a:lnTo>
                    <a:pt x="227" y="52"/>
                  </a:lnTo>
                  <a:lnTo>
                    <a:pt x="227" y="56"/>
                  </a:lnTo>
                  <a:lnTo>
                    <a:pt x="227" y="58"/>
                  </a:lnTo>
                  <a:lnTo>
                    <a:pt x="229" y="59"/>
                  </a:lnTo>
                  <a:lnTo>
                    <a:pt x="229" y="63"/>
                  </a:lnTo>
                  <a:lnTo>
                    <a:pt x="229" y="65"/>
                  </a:lnTo>
                  <a:lnTo>
                    <a:pt x="229" y="69"/>
                  </a:lnTo>
                  <a:lnTo>
                    <a:pt x="231" y="71"/>
                  </a:lnTo>
                  <a:lnTo>
                    <a:pt x="229" y="73"/>
                  </a:lnTo>
                  <a:lnTo>
                    <a:pt x="227" y="75"/>
                  </a:lnTo>
                  <a:lnTo>
                    <a:pt x="223" y="75"/>
                  </a:lnTo>
                  <a:lnTo>
                    <a:pt x="221" y="75"/>
                  </a:lnTo>
                  <a:lnTo>
                    <a:pt x="219" y="77"/>
                  </a:lnTo>
                  <a:lnTo>
                    <a:pt x="215" y="77"/>
                  </a:lnTo>
                  <a:lnTo>
                    <a:pt x="212" y="79"/>
                  </a:lnTo>
                  <a:lnTo>
                    <a:pt x="208" y="83"/>
                  </a:lnTo>
                  <a:lnTo>
                    <a:pt x="206" y="83"/>
                  </a:lnTo>
                  <a:lnTo>
                    <a:pt x="206" y="84"/>
                  </a:lnTo>
                  <a:lnTo>
                    <a:pt x="204" y="86"/>
                  </a:lnTo>
                  <a:lnTo>
                    <a:pt x="204" y="88"/>
                  </a:lnTo>
                  <a:lnTo>
                    <a:pt x="204" y="92"/>
                  </a:lnTo>
                  <a:lnTo>
                    <a:pt x="202" y="94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2" y="102"/>
                  </a:lnTo>
                  <a:lnTo>
                    <a:pt x="206" y="104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13"/>
                  </a:lnTo>
                  <a:lnTo>
                    <a:pt x="212" y="115"/>
                  </a:lnTo>
                  <a:lnTo>
                    <a:pt x="213" y="115"/>
                  </a:lnTo>
                  <a:lnTo>
                    <a:pt x="215" y="117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21"/>
                  </a:lnTo>
                  <a:lnTo>
                    <a:pt x="223" y="125"/>
                  </a:lnTo>
                  <a:lnTo>
                    <a:pt x="223" y="127"/>
                  </a:lnTo>
                  <a:lnTo>
                    <a:pt x="223" y="130"/>
                  </a:lnTo>
                  <a:lnTo>
                    <a:pt x="225" y="134"/>
                  </a:lnTo>
                  <a:lnTo>
                    <a:pt x="225" y="138"/>
                  </a:lnTo>
                  <a:lnTo>
                    <a:pt x="223" y="140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52"/>
                  </a:lnTo>
                  <a:lnTo>
                    <a:pt x="223" y="154"/>
                  </a:lnTo>
                  <a:lnTo>
                    <a:pt x="223" y="157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5"/>
                  </a:lnTo>
                  <a:lnTo>
                    <a:pt x="221" y="169"/>
                  </a:lnTo>
                  <a:lnTo>
                    <a:pt x="217" y="171"/>
                  </a:lnTo>
                  <a:lnTo>
                    <a:pt x="217" y="175"/>
                  </a:lnTo>
                  <a:lnTo>
                    <a:pt x="215" y="177"/>
                  </a:lnTo>
                  <a:lnTo>
                    <a:pt x="215" y="178"/>
                  </a:lnTo>
                  <a:lnTo>
                    <a:pt x="215" y="180"/>
                  </a:lnTo>
                  <a:lnTo>
                    <a:pt x="212" y="180"/>
                  </a:lnTo>
                  <a:lnTo>
                    <a:pt x="210" y="182"/>
                  </a:lnTo>
                  <a:lnTo>
                    <a:pt x="206" y="182"/>
                  </a:lnTo>
                  <a:lnTo>
                    <a:pt x="204" y="178"/>
                  </a:lnTo>
                  <a:lnTo>
                    <a:pt x="202" y="177"/>
                  </a:lnTo>
                  <a:lnTo>
                    <a:pt x="202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0" y="180"/>
                  </a:lnTo>
                  <a:lnTo>
                    <a:pt x="188" y="180"/>
                  </a:lnTo>
                  <a:lnTo>
                    <a:pt x="185" y="180"/>
                  </a:lnTo>
                  <a:lnTo>
                    <a:pt x="181" y="180"/>
                  </a:lnTo>
                  <a:lnTo>
                    <a:pt x="179" y="178"/>
                  </a:lnTo>
                  <a:lnTo>
                    <a:pt x="175" y="177"/>
                  </a:lnTo>
                  <a:lnTo>
                    <a:pt x="171" y="177"/>
                  </a:lnTo>
                  <a:lnTo>
                    <a:pt x="169" y="175"/>
                  </a:lnTo>
                  <a:lnTo>
                    <a:pt x="167" y="171"/>
                  </a:lnTo>
                  <a:lnTo>
                    <a:pt x="165" y="169"/>
                  </a:lnTo>
                  <a:lnTo>
                    <a:pt x="164" y="165"/>
                  </a:lnTo>
                  <a:lnTo>
                    <a:pt x="164" y="161"/>
                  </a:lnTo>
                  <a:lnTo>
                    <a:pt x="162" y="161"/>
                  </a:lnTo>
                  <a:lnTo>
                    <a:pt x="162" y="159"/>
                  </a:lnTo>
                  <a:lnTo>
                    <a:pt x="160" y="157"/>
                  </a:lnTo>
                  <a:lnTo>
                    <a:pt x="156" y="157"/>
                  </a:lnTo>
                  <a:lnTo>
                    <a:pt x="154" y="157"/>
                  </a:lnTo>
                  <a:lnTo>
                    <a:pt x="152" y="157"/>
                  </a:lnTo>
                  <a:lnTo>
                    <a:pt x="148" y="157"/>
                  </a:lnTo>
                  <a:lnTo>
                    <a:pt x="146" y="159"/>
                  </a:lnTo>
                  <a:lnTo>
                    <a:pt x="146" y="161"/>
                  </a:lnTo>
                  <a:lnTo>
                    <a:pt x="146" y="165"/>
                  </a:lnTo>
                  <a:lnTo>
                    <a:pt x="146" y="169"/>
                  </a:lnTo>
                  <a:lnTo>
                    <a:pt x="146" y="171"/>
                  </a:lnTo>
                  <a:lnTo>
                    <a:pt x="146" y="175"/>
                  </a:lnTo>
                  <a:lnTo>
                    <a:pt x="142" y="177"/>
                  </a:lnTo>
                  <a:lnTo>
                    <a:pt x="141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1" y="180"/>
                  </a:lnTo>
                  <a:lnTo>
                    <a:pt x="127" y="180"/>
                  </a:lnTo>
                  <a:lnTo>
                    <a:pt x="125" y="178"/>
                  </a:lnTo>
                  <a:lnTo>
                    <a:pt x="123" y="178"/>
                  </a:lnTo>
                  <a:lnTo>
                    <a:pt x="121" y="177"/>
                  </a:lnTo>
                  <a:lnTo>
                    <a:pt x="119" y="173"/>
                  </a:lnTo>
                  <a:lnTo>
                    <a:pt x="118" y="173"/>
                  </a:lnTo>
                  <a:lnTo>
                    <a:pt x="116" y="175"/>
                  </a:lnTo>
                  <a:lnTo>
                    <a:pt x="114" y="177"/>
                  </a:lnTo>
                  <a:lnTo>
                    <a:pt x="114" y="180"/>
                  </a:lnTo>
                  <a:lnTo>
                    <a:pt x="114" y="182"/>
                  </a:lnTo>
                  <a:lnTo>
                    <a:pt x="114" y="184"/>
                  </a:lnTo>
                  <a:lnTo>
                    <a:pt x="116" y="188"/>
                  </a:lnTo>
                  <a:lnTo>
                    <a:pt x="114" y="190"/>
                  </a:lnTo>
                  <a:lnTo>
                    <a:pt x="114" y="194"/>
                  </a:lnTo>
                  <a:lnTo>
                    <a:pt x="112" y="194"/>
                  </a:lnTo>
                  <a:lnTo>
                    <a:pt x="110" y="196"/>
                  </a:lnTo>
                  <a:lnTo>
                    <a:pt x="108" y="198"/>
                  </a:lnTo>
                  <a:lnTo>
                    <a:pt x="108" y="201"/>
                  </a:lnTo>
                  <a:lnTo>
                    <a:pt x="108" y="205"/>
                  </a:lnTo>
                  <a:lnTo>
                    <a:pt x="108" y="207"/>
                  </a:lnTo>
                  <a:lnTo>
                    <a:pt x="108" y="211"/>
                  </a:lnTo>
                  <a:lnTo>
                    <a:pt x="108" y="213"/>
                  </a:lnTo>
                  <a:lnTo>
                    <a:pt x="108" y="215"/>
                  </a:lnTo>
                  <a:lnTo>
                    <a:pt x="106" y="221"/>
                  </a:lnTo>
                  <a:lnTo>
                    <a:pt x="102" y="221"/>
                  </a:lnTo>
                  <a:lnTo>
                    <a:pt x="98" y="221"/>
                  </a:lnTo>
                  <a:lnTo>
                    <a:pt x="94" y="221"/>
                  </a:lnTo>
                  <a:lnTo>
                    <a:pt x="93" y="223"/>
                  </a:lnTo>
                  <a:lnTo>
                    <a:pt x="93" y="225"/>
                  </a:lnTo>
                  <a:lnTo>
                    <a:pt x="91" y="225"/>
                  </a:lnTo>
                  <a:lnTo>
                    <a:pt x="91" y="223"/>
                  </a:lnTo>
                  <a:lnTo>
                    <a:pt x="87" y="221"/>
                  </a:lnTo>
                  <a:lnTo>
                    <a:pt x="85" y="219"/>
                  </a:lnTo>
                  <a:lnTo>
                    <a:pt x="85" y="217"/>
                  </a:lnTo>
                  <a:lnTo>
                    <a:pt x="83" y="215"/>
                  </a:lnTo>
                  <a:lnTo>
                    <a:pt x="83" y="213"/>
                  </a:lnTo>
                  <a:lnTo>
                    <a:pt x="79" y="213"/>
                  </a:lnTo>
                  <a:lnTo>
                    <a:pt x="77" y="211"/>
                  </a:lnTo>
                  <a:lnTo>
                    <a:pt x="73" y="209"/>
                  </a:lnTo>
                  <a:lnTo>
                    <a:pt x="73" y="207"/>
                  </a:lnTo>
                  <a:lnTo>
                    <a:pt x="71" y="203"/>
                  </a:lnTo>
                  <a:lnTo>
                    <a:pt x="70" y="201"/>
                  </a:lnTo>
                  <a:lnTo>
                    <a:pt x="68" y="200"/>
                  </a:lnTo>
                  <a:lnTo>
                    <a:pt x="66" y="198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0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2"/>
                  </a:lnTo>
                  <a:lnTo>
                    <a:pt x="52" y="180"/>
                  </a:lnTo>
                  <a:lnTo>
                    <a:pt x="50" y="177"/>
                  </a:lnTo>
                  <a:lnTo>
                    <a:pt x="47" y="175"/>
                  </a:lnTo>
                  <a:lnTo>
                    <a:pt x="45" y="173"/>
                  </a:lnTo>
                  <a:lnTo>
                    <a:pt x="43" y="171"/>
                  </a:lnTo>
                  <a:lnTo>
                    <a:pt x="41" y="169"/>
                  </a:lnTo>
                  <a:lnTo>
                    <a:pt x="39" y="167"/>
                  </a:lnTo>
                  <a:lnTo>
                    <a:pt x="37" y="163"/>
                  </a:lnTo>
                  <a:lnTo>
                    <a:pt x="31" y="161"/>
                  </a:lnTo>
                  <a:lnTo>
                    <a:pt x="29" y="157"/>
                  </a:lnTo>
                  <a:lnTo>
                    <a:pt x="27" y="152"/>
                  </a:lnTo>
                  <a:lnTo>
                    <a:pt x="25" y="148"/>
                  </a:lnTo>
                  <a:lnTo>
                    <a:pt x="25" y="144"/>
                  </a:lnTo>
                  <a:lnTo>
                    <a:pt x="23" y="142"/>
                  </a:lnTo>
                  <a:lnTo>
                    <a:pt x="22" y="140"/>
                  </a:lnTo>
                  <a:lnTo>
                    <a:pt x="20" y="138"/>
                  </a:lnTo>
                  <a:lnTo>
                    <a:pt x="16" y="138"/>
                  </a:lnTo>
                  <a:lnTo>
                    <a:pt x="14" y="136"/>
                  </a:lnTo>
                  <a:lnTo>
                    <a:pt x="12" y="134"/>
                  </a:lnTo>
                  <a:lnTo>
                    <a:pt x="10" y="132"/>
                  </a:lnTo>
                  <a:lnTo>
                    <a:pt x="10" y="130"/>
                  </a:lnTo>
                  <a:lnTo>
                    <a:pt x="8" y="129"/>
                  </a:lnTo>
                  <a:lnTo>
                    <a:pt x="6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2" y="113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2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4" y="96"/>
                  </a:lnTo>
                  <a:lnTo>
                    <a:pt x="6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4"/>
                  </a:lnTo>
                  <a:lnTo>
                    <a:pt x="8" y="106"/>
                  </a:lnTo>
                  <a:lnTo>
                    <a:pt x="12" y="107"/>
                  </a:lnTo>
                  <a:lnTo>
                    <a:pt x="14" y="107"/>
                  </a:lnTo>
                  <a:lnTo>
                    <a:pt x="18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2" y="100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7" y="96"/>
                  </a:lnTo>
                  <a:lnTo>
                    <a:pt x="27" y="92"/>
                  </a:lnTo>
                  <a:lnTo>
                    <a:pt x="29" y="92"/>
                  </a:lnTo>
                  <a:lnTo>
                    <a:pt x="29" y="88"/>
                  </a:lnTo>
                  <a:lnTo>
                    <a:pt x="31" y="86"/>
                  </a:lnTo>
                  <a:lnTo>
                    <a:pt x="33" y="86"/>
                  </a:lnTo>
                  <a:lnTo>
                    <a:pt x="33" y="83"/>
                  </a:lnTo>
                  <a:lnTo>
                    <a:pt x="33" y="81"/>
                  </a:lnTo>
                  <a:lnTo>
                    <a:pt x="33" y="77"/>
                  </a:lnTo>
                  <a:lnTo>
                    <a:pt x="33" y="73"/>
                  </a:lnTo>
                  <a:lnTo>
                    <a:pt x="33" y="69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59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3" y="56"/>
                  </a:lnTo>
                  <a:lnTo>
                    <a:pt x="47" y="56"/>
                  </a:lnTo>
                  <a:lnTo>
                    <a:pt x="48" y="56"/>
                  </a:lnTo>
                  <a:lnTo>
                    <a:pt x="50" y="54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62" y="54"/>
                  </a:lnTo>
                  <a:lnTo>
                    <a:pt x="64" y="54"/>
                  </a:lnTo>
                  <a:lnTo>
                    <a:pt x="68" y="54"/>
                  </a:lnTo>
                  <a:lnTo>
                    <a:pt x="70" y="54"/>
                  </a:lnTo>
                  <a:lnTo>
                    <a:pt x="73" y="52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5" y="48"/>
                  </a:lnTo>
                  <a:lnTo>
                    <a:pt x="89" y="48"/>
                  </a:lnTo>
                  <a:lnTo>
                    <a:pt x="91" y="48"/>
                  </a:lnTo>
                  <a:lnTo>
                    <a:pt x="94" y="48"/>
                  </a:lnTo>
                  <a:lnTo>
                    <a:pt x="98" y="48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8" y="50"/>
                  </a:lnTo>
                  <a:lnTo>
                    <a:pt x="112" y="50"/>
                  </a:lnTo>
                  <a:lnTo>
                    <a:pt x="116" y="50"/>
                  </a:lnTo>
                  <a:lnTo>
                    <a:pt x="114" y="48"/>
                  </a:lnTo>
                  <a:lnTo>
                    <a:pt x="112" y="48"/>
                  </a:lnTo>
                  <a:lnTo>
                    <a:pt x="110" y="46"/>
                  </a:lnTo>
                  <a:lnTo>
                    <a:pt x="110" y="42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8" y="35"/>
                  </a:lnTo>
                  <a:lnTo>
                    <a:pt x="108" y="31"/>
                  </a:lnTo>
                  <a:lnTo>
                    <a:pt x="110" y="29"/>
                  </a:lnTo>
                  <a:lnTo>
                    <a:pt x="110" y="25"/>
                  </a:lnTo>
                  <a:lnTo>
                    <a:pt x="110" y="23"/>
                  </a:lnTo>
                  <a:lnTo>
                    <a:pt x="112" y="21"/>
                  </a:lnTo>
                  <a:lnTo>
                    <a:pt x="112" y="19"/>
                  </a:lnTo>
                  <a:lnTo>
                    <a:pt x="112" y="17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8" y="6"/>
                  </a:lnTo>
                  <a:lnTo>
                    <a:pt x="119" y="6"/>
                  </a:lnTo>
                  <a:lnTo>
                    <a:pt x="123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3" y="4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39" y="0"/>
                  </a:lnTo>
                  <a:lnTo>
                    <a:pt x="142" y="0"/>
                  </a:lnTo>
                  <a:lnTo>
                    <a:pt x="144" y="0"/>
                  </a:lnTo>
                  <a:lnTo>
                    <a:pt x="148" y="0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8" y="0"/>
                  </a:lnTo>
                  <a:lnTo>
                    <a:pt x="160" y="0"/>
                  </a:lnTo>
                  <a:lnTo>
                    <a:pt x="164" y="2"/>
                  </a:lnTo>
                  <a:lnTo>
                    <a:pt x="165" y="4"/>
                  </a:lnTo>
                  <a:lnTo>
                    <a:pt x="167" y="4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7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0" name="Freeform 46"/>
            <p:cNvSpPr>
              <a:spLocks/>
            </p:cNvSpPr>
            <p:nvPr/>
          </p:nvSpPr>
          <p:spPr bwMode="auto">
            <a:xfrm>
              <a:off x="1478" y="2236"/>
              <a:ext cx="231" cy="225"/>
            </a:xfrm>
            <a:custGeom>
              <a:avLst/>
              <a:gdLst/>
              <a:ahLst/>
              <a:cxnLst>
                <a:cxn ang="0">
                  <a:pos x="175" y="25"/>
                </a:cxn>
                <a:cxn ang="0">
                  <a:pos x="173" y="42"/>
                </a:cxn>
                <a:cxn ang="0">
                  <a:pos x="185" y="61"/>
                </a:cxn>
                <a:cxn ang="0">
                  <a:pos x="190" y="46"/>
                </a:cxn>
                <a:cxn ang="0">
                  <a:pos x="210" y="38"/>
                </a:cxn>
                <a:cxn ang="0">
                  <a:pos x="223" y="48"/>
                </a:cxn>
                <a:cxn ang="0">
                  <a:pos x="229" y="59"/>
                </a:cxn>
                <a:cxn ang="0">
                  <a:pos x="227" y="75"/>
                </a:cxn>
                <a:cxn ang="0">
                  <a:pos x="208" y="83"/>
                </a:cxn>
                <a:cxn ang="0">
                  <a:pos x="202" y="94"/>
                </a:cxn>
                <a:cxn ang="0">
                  <a:pos x="206" y="109"/>
                </a:cxn>
                <a:cxn ang="0">
                  <a:pos x="221" y="119"/>
                </a:cxn>
                <a:cxn ang="0">
                  <a:pos x="225" y="138"/>
                </a:cxn>
                <a:cxn ang="0">
                  <a:pos x="223" y="157"/>
                </a:cxn>
                <a:cxn ang="0">
                  <a:pos x="217" y="175"/>
                </a:cxn>
                <a:cxn ang="0">
                  <a:pos x="206" y="182"/>
                </a:cxn>
                <a:cxn ang="0">
                  <a:pos x="196" y="173"/>
                </a:cxn>
                <a:cxn ang="0">
                  <a:pos x="188" y="180"/>
                </a:cxn>
                <a:cxn ang="0">
                  <a:pos x="169" y="175"/>
                </a:cxn>
                <a:cxn ang="0">
                  <a:pos x="162" y="159"/>
                </a:cxn>
                <a:cxn ang="0">
                  <a:pos x="146" y="159"/>
                </a:cxn>
                <a:cxn ang="0">
                  <a:pos x="142" y="177"/>
                </a:cxn>
                <a:cxn ang="0">
                  <a:pos x="125" y="178"/>
                </a:cxn>
                <a:cxn ang="0">
                  <a:pos x="114" y="177"/>
                </a:cxn>
                <a:cxn ang="0">
                  <a:pos x="114" y="194"/>
                </a:cxn>
                <a:cxn ang="0">
                  <a:pos x="108" y="207"/>
                </a:cxn>
                <a:cxn ang="0">
                  <a:pos x="98" y="221"/>
                </a:cxn>
                <a:cxn ang="0">
                  <a:pos x="87" y="221"/>
                </a:cxn>
                <a:cxn ang="0">
                  <a:pos x="77" y="211"/>
                </a:cxn>
                <a:cxn ang="0">
                  <a:pos x="66" y="198"/>
                </a:cxn>
                <a:cxn ang="0">
                  <a:pos x="56" y="182"/>
                </a:cxn>
                <a:cxn ang="0">
                  <a:pos x="41" y="169"/>
                </a:cxn>
                <a:cxn ang="0">
                  <a:pos x="25" y="148"/>
                </a:cxn>
                <a:cxn ang="0">
                  <a:pos x="14" y="136"/>
                </a:cxn>
                <a:cxn ang="0">
                  <a:pos x="2" y="125"/>
                </a:cxn>
                <a:cxn ang="0">
                  <a:pos x="0" y="107"/>
                </a:cxn>
                <a:cxn ang="0">
                  <a:pos x="6" y="100"/>
                </a:cxn>
                <a:cxn ang="0">
                  <a:pos x="18" y="107"/>
                </a:cxn>
                <a:cxn ang="0">
                  <a:pos x="27" y="96"/>
                </a:cxn>
                <a:cxn ang="0">
                  <a:pos x="33" y="83"/>
                </a:cxn>
                <a:cxn ang="0">
                  <a:pos x="37" y="67"/>
                </a:cxn>
                <a:cxn ang="0">
                  <a:pos x="43" y="56"/>
                </a:cxn>
                <a:cxn ang="0">
                  <a:pos x="62" y="54"/>
                </a:cxn>
                <a:cxn ang="0">
                  <a:pos x="75" y="48"/>
                </a:cxn>
                <a:cxn ang="0">
                  <a:pos x="94" y="48"/>
                </a:cxn>
                <a:cxn ang="0">
                  <a:pos x="116" y="50"/>
                </a:cxn>
                <a:cxn ang="0">
                  <a:pos x="108" y="38"/>
                </a:cxn>
                <a:cxn ang="0">
                  <a:pos x="112" y="21"/>
                </a:cxn>
                <a:cxn ang="0">
                  <a:pos x="112" y="10"/>
                </a:cxn>
                <a:cxn ang="0">
                  <a:pos x="119" y="6"/>
                </a:cxn>
                <a:cxn ang="0">
                  <a:pos x="135" y="0"/>
                </a:cxn>
                <a:cxn ang="0">
                  <a:pos x="154" y="0"/>
                </a:cxn>
                <a:cxn ang="0">
                  <a:pos x="171" y="4"/>
                </a:cxn>
              </a:cxnLst>
              <a:rect l="0" t="0" r="r" b="b"/>
              <a:pathLst>
                <a:path w="231" h="225">
                  <a:moveTo>
                    <a:pt x="177" y="6"/>
                  </a:moveTo>
                  <a:lnTo>
                    <a:pt x="177" y="12"/>
                  </a:lnTo>
                  <a:lnTo>
                    <a:pt x="177" y="15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5" y="25"/>
                  </a:lnTo>
                  <a:lnTo>
                    <a:pt x="175" y="27"/>
                  </a:lnTo>
                  <a:lnTo>
                    <a:pt x="175" y="31"/>
                  </a:lnTo>
                  <a:lnTo>
                    <a:pt x="173" y="31"/>
                  </a:lnTo>
                  <a:lnTo>
                    <a:pt x="173" y="35"/>
                  </a:lnTo>
                  <a:lnTo>
                    <a:pt x="173" y="38"/>
                  </a:lnTo>
                  <a:lnTo>
                    <a:pt x="173" y="42"/>
                  </a:lnTo>
                  <a:lnTo>
                    <a:pt x="173" y="46"/>
                  </a:lnTo>
                  <a:lnTo>
                    <a:pt x="175" y="48"/>
                  </a:lnTo>
                  <a:lnTo>
                    <a:pt x="175" y="52"/>
                  </a:lnTo>
                  <a:lnTo>
                    <a:pt x="179" y="58"/>
                  </a:lnTo>
                  <a:lnTo>
                    <a:pt x="181" y="61"/>
                  </a:lnTo>
                  <a:lnTo>
                    <a:pt x="185" y="61"/>
                  </a:lnTo>
                  <a:lnTo>
                    <a:pt x="187" y="59"/>
                  </a:lnTo>
                  <a:lnTo>
                    <a:pt x="187" y="56"/>
                  </a:lnTo>
                  <a:lnTo>
                    <a:pt x="188" y="54"/>
                  </a:lnTo>
                  <a:lnTo>
                    <a:pt x="188" y="50"/>
                  </a:lnTo>
                  <a:lnTo>
                    <a:pt x="188" y="48"/>
                  </a:lnTo>
                  <a:lnTo>
                    <a:pt x="190" y="46"/>
                  </a:lnTo>
                  <a:lnTo>
                    <a:pt x="192" y="44"/>
                  </a:lnTo>
                  <a:lnTo>
                    <a:pt x="196" y="42"/>
                  </a:lnTo>
                  <a:lnTo>
                    <a:pt x="200" y="40"/>
                  </a:lnTo>
                  <a:lnTo>
                    <a:pt x="204" y="40"/>
                  </a:lnTo>
                  <a:lnTo>
                    <a:pt x="206" y="38"/>
                  </a:lnTo>
                  <a:lnTo>
                    <a:pt x="210" y="38"/>
                  </a:lnTo>
                  <a:lnTo>
                    <a:pt x="213" y="40"/>
                  </a:lnTo>
                  <a:lnTo>
                    <a:pt x="215" y="40"/>
                  </a:lnTo>
                  <a:lnTo>
                    <a:pt x="217" y="40"/>
                  </a:lnTo>
                  <a:lnTo>
                    <a:pt x="221" y="42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5" y="50"/>
                  </a:lnTo>
                  <a:lnTo>
                    <a:pt x="227" y="52"/>
                  </a:lnTo>
                  <a:lnTo>
                    <a:pt x="227" y="56"/>
                  </a:lnTo>
                  <a:lnTo>
                    <a:pt x="227" y="58"/>
                  </a:lnTo>
                  <a:lnTo>
                    <a:pt x="229" y="59"/>
                  </a:lnTo>
                  <a:lnTo>
                    <a:pt x="229" y="63"/>
                  </a:lnTo>
                  <a:lnTo>
                    <a:pt x="229" y="65"/>
                  </a:lnTo>
                  <a:lnTo>
                    <a:pt x="229" y="69"/>
                  </a:lnTo>
                  <a:lnTo>
                    <a:pt x="231" y="71"/>
                  </a:lnTo>
                  <a:lnTo>
                    <a:pt x="229" y="73"/>
                  </a:lnTo>
                  <a:lnTo>
                    <a:pt x="227" y="75"/>
                  </a:lnTo>
                  <a:lnTo>
                    <a:pt x="223" y="75"/>
                  </a:lnTo>
                  <a:lnTo>
                    <a:pt x="221" y="75"/>
                  </a:lnTo>
                  <a:lnTo>
                    <a:pt x="219" y="77"/>
                  </a:lnTo>
                  <a:lnTo>
                    <a:pt x="215" y="77"/>
                  </a:lnTo>
                  <a:lnTo>
                    <a:pt x="212" y="79"/>
                  </a:lnTo>
                  <a:lnTo>
                    <a:pt x="208" y="83"/>
                  </a:lnTo>
                  <a:lnTo>
                    <a:pt x="206" y="83"/>
                  </a:lnTo>
                  <a:lnTo>
                    <a:pt x="206" y="84"/>
                  </a:lnTo>
                  <a:lnTo>
                    <a:pt x="204" y="86"/>
                  </a:lnTo>
                  <a:lnTo>
                    <a:pt x="204" y="88"/>
                  </a:lnTo>
                  <a:lnTo>
                    <a:pt x="204" y="92"/>
                  </a:lnTo>
                  <a:lnTo>
                    <a:pt x="202" y="94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2" y="102"/>
                  </a:lnTo>
                  <a:lnTo>
                    <a:pt x="206" y="104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13"/>
                  </a:lnTo>
                  <a:lnTo>
                    <a:pt x="212" y="115"/>
                  </a:lnTo>
                  <a:lnTo>
                    <a:pt x="213" y="115"/>
                  </a:lnTo>
                  <a:lnTo>
                    <a:pt x="215" y="117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21"/>
                  </a:lnTo>
                  <a:lnTo>
                    <a:pt x="223" y="125"/>
                  </a:lnTo>
                  <a:lnTo>
                    <a:pt x="223" y="127"/>
                  </a:lnTo>
                  <a:lnTo>
                    <a:pt x="223" y="130"/>
                  </a:lnTo>
                  <a:lnTo>
                    <a:pt x="225" y="134"/>
                  </a:lnTo>
                  <a:lnTo>
                    <a:pt x="225" y="138"/>
                  </a:lnTo>
                  <a:lnTo>
                    <a:pt x="223" y="140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52"/>
                  </a:lnTo>
                  <a:lnTo>
                    <a:pt x="223" y="154"/>
                  </a:lnTo>
                  <a:lnTo>
                    <a:pt x="223" y="157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5"/>
                  </a:lnTo>
                  <a:lnTo>
                    <a:pt x="221" y="169"/>
                  </a:lnTo>
                  <a:lnTo>
                    <a:pt x="217" y="171"/>
                  </a:lnTo>
                  <a:lnTo>
                    <a:pt x="217" y="175"/>
                  </a:lnTo>
                  <a:lnTo>
                    <a:pt x="215" y="177"/>
                  </a:lnTo>
                  <a:lnTo>
                    <a:pt x="215" y="178"/>
                  </a:lnTo>
                  <a:lnTo>
                    <a:pt x="215" y="180"/>
                  </a:lnTo>
                  <a:lnTo>
                    <a:pt x="212" y="180"/>
                  </a:lnTo>
                  <a:lnTo>
                    <a:pt x="210" y="182"/>
                  </a:lnTo>
                  <a:lnTo>
                    <a:pt x="206" y="182"/>
                  </a:lnTo>
                  <a:lnTo>
                    <a:pt x="204" y="178"/>
                  </a:lnTo>
                  <a:lnTo>
                    <a:pt x="202" y="177"/>
                  </a:lnTo>
                  <a:lnTo>
                    <a:pt x="202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0" y="180"/>
                  </a:lnTo>
                  <a:lnTo>
                    <a:pt x="188" y="180"/>
                  </a:lnTo>
                  <a:lnTo>
                    <a:pt x="185" y="180"/>
                  </a:lnTo>
                  <a:lnTo>
                    <a:pt x="181" y="180"/>
                  </a:lnTo>
                  <a:lnTo>
                    <a:pt x="179" y="178"/>
                  </a:lnTo>
                  <a:lnTo>
                    <a:pt x="175" y="177"/>
                  </a:lnTo>
                  <a:lnTo>
                    <a:pt x="171" y="177"/>
                  </a:lnTo>
                  <a:lnTo>
                    <a:pt x="169" y="175"/>
                  </a:lnTo>
                  <a:lnTo>
                    <a:pt x="167" y="171"/>
                  </a:lnTo>
                  <a:lnTo>
                    <a:pt x="165" y="169"/>
                  </a:lnTo>
                  <a:lnTo>
                    <a:pt x="164" y="165"/>
                  </a:lnTo>
                  <a:lnTo>
                    <a:pt x="164" y="161"/>
                  </a:lnTo>
                  <a:lnTo>
                    <a:pt x="162" y="161"/>
                  </a:lnTo>
                  <a:lnTo>
                    <a:pt x="162" y="159"/>
                  </a:lnTo>
                  <a:lnTo>
                    <a:pt x="160" y="157"/>
                  </a:lnTo>
                  <a:lnTo>
                    <a:pt x="156" y="157"/>
                  </a:lnTo>
                  <a:lnTo>
                    <a:pt x="154" y="157"/>
                  </a:lnTo>
                  <a:lnTo>
                    <a:pt x="152" y="157"/>
                  </a:lnTo>
                  <a:lnTo>
                    <a:pt x="148" y="157"/>
                  </a:lnTo>
                  <a:lnTo>
                    <a:pt x="146" y="159"/>
                  </a:lnTo>
                  <a:lnTo>
                    <a:pt x="146" y="161"/>
                  </a:lnTo>
                  <a:lnTo>
                    <a:pt x="146" y="165"/>
                  </a:lnTo>
                  <a:lnTo>
                    <a:pt x="146" y="169"/>
                  </a:lnTo>
                  <a:lnTo>
                    <a:pt x="146" y="171"/>
                  </a:lnTo>
                  <a:lnTo>
                    <a:pt x="146" y="175"/>
                  </a:lnTo>
                  <a:lnTo>
                    <a:pt x="142" y="177"/>
                  </a:lnTo>
                  <a:lnTo>
                    <a:pt x="141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1" y="180"/>
                  </a:lnTo>
                  <a:lnTo>
                    <a:pt x="127" y="180"/>
                  </a:lnTo>
                  <a:lnTo>
                    <a:pt x="125" y="178"/>
                  </a:lnTo>
                  <a:lnTo>
                    <a:pt x="123" y="178"/>
                  </a:lnTo>
                  <a:lnTo>
                    <a:pt x="121" y="177"/>
                  </a:lnTo>
                  <a:lnTo>
                    <a:pt x="119" y="173"/>
                  </a:lnTo>
                  <a:lnTo>
                    <a:pt x="118" y="173"/>
                  </a:lnTo>
                  <a:lnTo>
                    <a:pt x="116" y="175"/>
                  </a:lnTo>
                  <a:lnTo>
                    <a:pt x="114" y="177"/>
                  </a:lnTo>
                  <a:lnTo>
                    <a:pt x="114" y="180"/>
                  </a:lnTo>
                  <a:lnTo>
                    <a:pt x="114" y="182"/>
                  </a:lnTo>
                  <a:lnTo>
                    <a:pt x="114" y="184"/>
                  </a:lnTo>
                  <a:lnTo>
                    <a:pt x="116" y="188"/>
                  </a:lnTo>
                  <a:lnTo>
                    <a:pt x="114" y="190"/>
                  </a:lnTo>
                  <a:lnTo>
                    <a:pt x="114" y="194"/>
                  </a:lnTo>
                  <a:lnTo>
                    <a:pt x="112" y="194"/>
                  </a:lnTo>
                  <a:lnTo>
                    <a:pt x="110" y="196"/>
                  </a:lnTo>
                  <a:lnTo>
                    <a:pt x="108" y="198"/>
                  </a:lnTo>
                  <a:lnTo>
                    <a:pt x="108" y="201"/>
                  </a:lnTo>
                  <a:lnTo>
                    <a:pt x="108" y="205"/>
                  </a:lnTo>
                  <a:lnTo>
                    <a:pt x="108" y="207"/>
                  </a:lnTo>
                  <a:lnTo>
                    <a:pt x="108" y="211"/>
                  </a:lnTo>
                  <a:lnTo>
                    <a:pt x="108" y="213"/>
                  </a:lnTo>
                  <a:lnTo>
                    <a:pt x="108" y="215"/>
                  </a:lnTo>
                  <a:lnTo>
                    <a:pt x="106" y="221"/>
                  </a:lnTo>
                  <a:lnTo>
                    <a:pt x="102" y="221"/>
                  </a:lnTo>
                  <a:lnTo>
                    <a:pt x="98" y="221"/>
                  </a:lnTo>
                  <a:lnTo>
                    <a:pt x="94" y="221"/>
                  </a:lnTo>
                  <a:lnTo>
                    <a:pt x="93" y="223"/>
                  </a:lnTo>
                  <a:lnTo>
                    <a:pt x="93" y="225"/>
                  </a:lnTo>
                  <a:lnTo>
                    <a:pt x="91" y="225"/>
                  </a:lnTo>
                  <a:lnTo>
                    <a:pt x="91" y="223"/>
                  </a:lnTo>
                  <a:lnTo>
                    <a:pt x="87" y="221"/>
                  </a:lnTo>
                  <a:lnTo>
                    <a:pt x="85" y="219"/>
                  </a:lnTo>
                  <a:lnTo>
                    <a:pt x="85" y="217"/>
                  </a:lnTo>
                  <a:lnTo>
                    <a:pt x="83" y="215"/>
                  </a:lnTo>
                  <a:lnTo>
                    <a:pt x="83" y="213"/>
                  </a:lnTo>
                  <a:lnTo>
                    <a:pt x="79" y="213"/>
                  </a:lnTo>
                  <a:lnTo>
                    <a:pt x="77" y="211"/>
                  </a:lnTo>
                  <a:lnTo>
                    <a:pt x="73" y="209"/>
                  </a:lnTo>
                  <a:lnTo>
                    <a:pt x="73" y="207"/>
                  </a:lnTo>
                  <a:lnTo>
                    <a:pt x="71" y="203"/>
                  </a:lnTo>
                  <a:lnTo>
                    <a:pt x="70" y="201"/>
                  </a:lnTo>
                  <a:lnTo>
                    <a:pt x="68" y="200"/>
                  </a:lnTo>
                  <a:lnTo>
                    <a:pt x="66" y="198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0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2"/>
                  </a:lnTo>
                  <a:lnTo>
                    <a:pt x="52" y="180"/>
                  </a:lnTo>
                  <a:lnTo>
                    <a:pt x="50" y="177"/>
                  </a:lnTo>
                  <a:lnTo>
                    <a:pt x="47" y="175"/>
                  </a:lnTo>
                  <a:lnTo>
                    <a:pt x="45" y="173"/>
                  </a:lnTo>
                  <a:lnTo>
                    <a:pt x="43" y="171"/>
                  </a:lnTo>
                  <a:lnTo>
                    <a:pt x="41" y="169"/>
                  </a:lnTo>
                  <a:lnTo>
                    <a:pt x="39" y="167"/>
                  </a:lnTo>
                  <a:lnTo>
                    <a:pt x="37" y="163"/>
                  </a:lnTo>
                  <a:lnTo>
                    <a:pt x="31" y="161"/>
                  </a:lnTo>
                  <a:lnTo>
                    <a:pt x="29" y="157"/>
                  </a:lnTo>
                  <a:lnTo>
                    <a:pt x="27" y="152"/>
                  </a:lnTo>
                  <a:lnTo>
                    <a:pt x="25" y="148"/>
                  </a:lnTo>
                  <a:lnTo>
                    <a:pt x="25" y="144"/>
                  </a:lnTo>
                  <a:lnTo>
                    <a:pt x="23" y="142"/>
                  </a:lnTo>
                  <a:lnTo>
                    <a:pt x="22" y="140"/>
                  </a:lnTo>
                  <a:lnTo>
                    <a:pt x="20" y="138"/>
                  </a:lnTo>
                  <a:lnTo>
                    <a:pt x="16" y="138"/>
                  </a:lnTo>
                  <a:lnTo>
                    <a:pt x="14" y="136"/>
                  </a:lnTo>
                  <a:lnTo>
                    <a:pt x="12" y="134"/>
                  </a:lnTo>
                  <a:lnTo>
                    <a:pt x="10" y="132"/>
                  </a:lnTo>
                  <a:lnTo>
                    <a:pt x="10" y="130"/>
                  </a:lnTo>
                  <a:lnTo>
                    <a:pt x="8" y="129"/>
                  </a:lnTo>
                  <a:lnTo>
                    <a:pt x="6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2" y="113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2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4" y="96"/>
                  </a:lnTo>
                  <a:lnTo>
                    <a:pt x="6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4"/>
                  </a:lnTo>
                  <a:lnTo>
                    <a:pt x="8" y="106"/>
                  </a:lnTo>
                  <a:lnTo>
                    <a:pt x="12" y="107"/>
                  </a:lnTo>
                  <a:lnTo>
                    <a:pt x="14" y="107"/>
                  </a:lnTo>
                  <a:lnTo>
                    <a:pt x="18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2" y="100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7" y="96"/>
                  </a:lnTo>
                  <a:lnTo>
                    <a:pt x="27" y="92"/>
                  </a:lnTo>
                  <a:lnTo>
                    <a:pt x="29" y="92"/>
                  </a:lnTo>
                  <a:lnTo>
                    <a:pt x="29" y="88"/>
                  </a:lnTo>
                  <a:lnTo>
                    <a:pt x="31" y="86"/>
                  </a:lnTo>
                  <a:lnTo>
                    <a:pt x="33" y="86"/>
                  </a:lnTo>
                  <a:lnTo>
                    <a:pt x="33" y="83"/>
                  </a:lnTo>
                  <a:lnTo>
                    <a:pt x="33" y="81"/>
                  </a:lnTo>
                  <a:lnTo>
                    <a:pt x="33" y="77"/>
                  </a:lnTo>
                  <a:lnTo>
                    <a:pt x="33" y="73"/>
                  </a:lnTo>
                  <a:lnTo>
                    <a:pt x="33" y="69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59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3" y="56"/>
                  </a:lnTo>
                  <a:lnTo>
                    <a:pt x="47" y="56"/>
                  </a:lnTo>
                  <a:lnTo>
                    <a:pt x="48" y="56"/>
                  </a:lnTo>
                  <a:lnTo>
                    <a:pt x="50" y="54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62" y="54"/>
                  </a:lnTo>
                  <a:lnTo>
                    <a:pt x="64" y="54"/>
                  </a:lnTo>
                  <a:lnTo>
                    <a:pt x="68" y="54"/>
                  </a:lnTo>
                  <a:lnTo>
                    <a:pt x="70" y="54"/>
                  </a:lnTo>
                  <a:lnTo>
                    <a:pt x="73" y="52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5" y="48"/>
                  </a:lnTo>
                  <a:lnTo>
                    <a:pt x="89" y="48"/>
                  </a:lnTo>
                  <a:lnTo>
                    <a:pt x="91" y="48"/>
                  </a:lnTo>
                  <a:lnTo>
                    <a:pt x="94" y="48"/>
                  </a:lnTo>
                  <a:lnTo>
                    <a:pt x="98" y="48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8" y="50"/>
                  </a:lnTo>
                  <a:lnTo>
                    <a:pt x="112" y="50"/>
                  </a:lnTo>
                  <a:lnTo>
                    <a:pt x="116" y="50"/>
                  </a:lnTo>
                  <a:lnTo>
                    <a:pt x="114" y="48"/>
                  </a:lnTo>
                  <a:lnTo>
                    <a:pt x="112" y="48"/>
                  </a:lnTo>
                  <a:lnTo>
                    <a:pt x="110" y="46"/>
                  </a:lnTo>
                  <a:lnTo>
                    <a:pt x="110" y="42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8" y="35"/>
                  </a:lnTo>
                  <a:lnTo>
                    <a:pt x="108" y="31"/>
                  </a:lnTo>
                  <a:lnTo>
                    <a:pt x="110" y="29"/>
                  </a:lnTo>
                  <a:lnTo>
                    <a:pt x="110" y="25"/>
                  </a:lnTo>
                  <a:lnTo>
                    <a:pt x="110" y="23"/>
                  </a:lnTo>
                  <a:lnTo>
                    <a:pt x="112" y="21"/>
                  </a:lnTo>
                  <a:lnTo>
                    <a:pt x="112" y="19"/>
                  </a:lnTo>
                  <a:lnTo>
                    <a:pt x="112" y="17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8" y="6"/>
                  </a:lnTo>
                  <a:lnTo>
                    <a:pt x="119" y="6"/>
                  </a:lnTo>
                  <a:lnTo>
                    <a:pt x="123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3" y="4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39" y="0"/>
                  </a:lnTo>
                  <a:lnTo>
                    <a:pt x="142" y="0"/>
                  </a:lnTo>
                  <a:lnTo>
                    <a:pt x="144" y="0"/>
                  </a:lnTo>
                  <a:lnTo>
                    <a:pt x="148" y="0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8" y="0"/>
                  </a:lnTo>
                  <a:lnTo>
                    <a:pt x="160" y="0"/>
                  </a:lnTo>
                  <a:lnTo>
                    <a:pt x="164" y="2"/>
                  </a:lnTo>
                  <a:lnTo>
                    <a:pt x="165" y="4"/>
                  </a:lnTo>
                  <a:lnTo>
                    <a:pt x="167" y="4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7" y="6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1" name="Freeform 47"/>
            <p:cNvSpPr>
              <a:spLocks/>
            </p:cNvSpPr>
            <p:nvPr/>
          </p:nvSpPr>
          <p:spPr bwMode="auto">
            <a:xfrm>
              <a:off x="1569" y="2196"/>
              <a:ext cx="276" cy="326"/>
            </a:xfrm>
            <a:custGeom>
              <a:avLst/>
              <a:gdLst/>
              <a:ahLst/>
              <a:cxnLst>
                <a:cxn ang="0">
                  <a:pos x="13" y="291"/>
                </a:cxn>
                <a:cxn ang="0">
                  <a:pos x="27" y="314"/>
                </a:cxn>
                <a:cxn ang="0">
                  <a:pos x="44" y="324"/>
                </a:cxn>
                <a:cxn ang="0">
                  <a:pos x="53" y="312"/>
                </a:cxn>
                <a:cxn ang="0">
                  <a:pos x="65" y="297"/>
                </a:cxn>
                <a:cxn ang="0">
                  <a:pos x="84" y="289"/>
                </a:cxn>
                <a:cxn ang="0">
                  <a:pos x="105" y="295"/>
                </a:cxn>
                <a:cxn ang="0">
                  <a:pos x="130" y="295"/>
                </a:cxn>
                <a:cxn ang="0">
                  <a:pos x="132" y="311"/>
                </a:cxn>
                <a:cxn ang="0">
                  <a:pos x="155" y="307"/>
                </a:cxn>
                <a:cxn ang="0">
                  <a:pos x="168" y="286"/>
                </a:cxn>
                <a:cxn ang="0">
                  <a:pos x="188" y="261"/>
                </a:cxn>
                <a:cxn ang="0">
                  <a:pos x="201" y="245"/>
                </a:cxn>
                <a:cxn ang="0">
                  <a:pos x="199" y="220"/>
                </a:cxn>
                <a:cxn ang="0">
                  <a:pos x="199" y="195"/>
                </a:cxn>
                <a:cxn ang="0">
                  <a:pos x="215" y="178"/>
                </a:cxn>
                <a:cxn ang="0">
                  <a:pos x="232" y="159"/>
                </a:cxn>
                <a:cxn ang="0">
                  <a:pos x="249" y="140"/>
                </a:cxn>
                <a:cxn ang="0">
                  <a:pos x="263" y="119"/>
                </a:cxn>
                <a:cxn ang="0">
                  <a:pos x="268" y="90"/>
                </a:cxn>
                <a:cxn ang="0">
                  <a:pos x="263" y="73"/>
                </a:cxn>
                <a:cxn ang="0">
                  <a:pos x="264" y="40"/>
                </a:cxn>
                <a:cxn ang="0">
                  <a:pos x="274" y="25"/>
                </a:cxn>
                <a:cxn ang="0">
                  <a:pos x="272" y="4"/>
                </a:cxn>
                <a:cxn ang="0">
                  <a:pos x="255" y="2"/>
                </a:cxn>
                <a:cxn ang="0">
                  <a:pos x="234" y="0"/>
                </a:cxn>
                <a:cxn ang="0">
                  <a:pos x="220" y="11"/>
                </a:cxn>
                <a:cxn ang="0">
                  <a:pos x="205" y="25"/>
                </a:cxn>
                <a:cxn ang="0">
                  <a:pos x="203" y="38"/>
                </a:cxn>
                <a:cxn ang="0">
                  <a:pos x="195" y="55"/>
                </a:cxn>
                <a:cxn ang="0">
                  <a:pos x="178" y="65"/>
                </a:cxn>
                <a:cxn ang="0">
                  <a:pos x="165" y="57"/>
                </a:cxn>
                <a:cxn ang="0">
                  <a:pos x="142" y="50"/>
                </a:cxn>
                <a:cxn ang="0">
                  <a:pos x="119" y="50"/>
                </a:cxn>
                <a:cxn ang="0">
                  <a:pos x="94" y="48"/>
                </a:cxn>
                <a:cxn ang="0">
                  <a:pos x="80" y="57"/>
                </a:cxn>
                <a:cxn ang="0">
                  <a:pos x="86" y="96"/>
                </a:cxn>
                <a:cxn ang="0">
                  <a:pos x="97" y="96"/>
                </a:cxn>
                <a:cxn ang="0">
                  <a:pos x="103" y="84"/>
                </a:cxn>
                <a:cxn ang="0">
                  <a:pos x="132" y="86"/>
                </a:cxn>
                <a:cxn ang="0">
                  <a:pos x="138" y="105"/>
                </a:cxn>
                <a:cxn ang="0">
                  <a:pos x="128" y="115"/>
                </a:cxn>
                <a:cxn ang="0">
                  <a:pos x="113" y="124"/>
                </a:cxn>
                <a:cxn ang="0">
                  <a:pos x="113" y="146"/>
                </a:cxn>
                <a:cxn ang="0">
                  <a:pos x="121" y="159"/>
                </a:cxn>
                <a:cxn ang="0">
                  <a:pos x="128" y="169"/>
                </a:cxn>
                <a:cxn ang="0">
                  <a:pos x="130" y="211"/>
                </a:cxn>
                <a:cxn ang="0">
                  <a:pos x="117" y="220"/>
                </a:cxn>
                <a:cxn ang="0">
                  <a:pos x="107" y="211"/>
                </a:cxn>
                <a:cxn ang="0">
                  <a:pos x="96" y="222"/>
                </a:cxn>
                <a:cxn ang="0">
                  <a:pos x="80" y="215"/>
                </a:cxn>
                <a:cxn ang="0">
                  <a:pos x="71" y="201"/>
                </a:cxn>
                <a:cxn ang="0">
                  <a:pos x="57" y="199"/>
                </a:cxn>
                <a:cxn ang="0">
                  <a:pos x="50" y="220"/>
                </a:cxn>
                <a:cxn ang="0">
                  <a:pos x="30" y="217"/>
                </a:cxn>
                <a:cxn ang="0">
                  <a:pos x="21" y="238"/>
                </a:cxn>
                <a:cxn ang="0">
                  <a:pos x="13" y="253"/>
                </a:cxn>
                <a:cxn ang="0">
                  <a:pos x="2" y="265"/>
                </a:cxn>
                <a:cxn ang="0">
                  <a:pos x="0" y="268"/>
                </a:cxn>
              </a:cxnLst>
              <a:rect l="0" t="0" r="r" b="b"/>
              <a:pathLst>
                <a:path w="276" h="326">
                  <a:moveTo>
                    <a:pt x="0" y="268"/>
                  </a:moveTo>
                  <a:lnTo>
                    <a:pt x="3" y="272"/>
                  </a:lnTo>
                  <a:lnTo>
                    <a:pt x="3" y="276"/>
                  </a:lnTo>
                  <a:lnTo>
                    <a:pt x="5" y="282"/>
                  </a:lnTo>
                  <a:lnTo>
                    <a:pt x="9" y="286"/>
                  </a:lnTo>
                  <a:lnTo>
                    <a:pt x="13" y="291"/>
                  </a:lnTo>
                  <a:lnTo>
                    <a:pt x="17" y="299"/>
                  </a:lnTo>
                  <a:lnTo>
                    <a:pt x="17" y="305"/>
                  </a:lnTo>
                  <a:lnTo>
                    <a:pt x="19" y="307"/>
                  </a:lnTo>
                  <a:lnTo>
                    <a:pt x="23" y="309"/>
                  </a:lnTo>
                  <a:lnTo>
                    <a:pt x="27" y="311"/>
                  </a:lnTo>
                  <a:lnTo>
                    <a:pt x="27" y="314"/>
                  </a:lnTo>
                  <a:lnTo>
                    <a:pt x="28" y="316"/>
                  </a:lnTo>
                  <a:lnTo>
                    <a:pt x="28" y="318"/>
                  </a:lnTo>
                  <a:lnTo>
                    <a:pt x="34" y="322"/>
                  </a:lnTo>
                  <a:lnTo>
                    <a:pt x="36" y="326"/>
                  </a:lnTo>
                  <a:lnTo>
                    <a:pt x="44" y="326"/>
                  </a:lnTo>
                  <a:lnTo>
                    <a:pt x="44" y="324"/>
                  </a:lnTo>
                  <a:lnTo>
                    <a:pt x="46" y="324"/>
                  </a:lnTo>
                  <a:lnTo>
                    <a:pt x="48" y="322"/>
                  </a:lnTo>
                  <a:lnTo>
                    <a:pt x="50" y="318"/>
                  </a:lnTo>
                  <a:lnTo>
                    <a:pt x="50" y="316"/>
                  </a:lnTo>
                  <a:lnTo>
                    <a:pt x="51" y="314"/>
                  </a:lnTo>
                  <a:lnTo>
                    <a:pt x="53" y="312"/>
                  </a:lnTo>
                  <a:lnTo>
                    <a:pt x="55" y="311"/>
                  </a:lnTo>
                  <a:lnTo>
                    <a:pt x="55" y="309"/>
                  </a:lnTo>
                  <a:lnTo>
                    <a:pt x="61" y="305"/>
                  </a:lnTo>
                  <a:lnTo>
                    <a:pt x="61" y="303"/>
                  </a:lnTo>
                  <a:lnTo>
                    <a:pt x="63" y="299"/>
                  </a:lnTo>
                  <a:lnTo>
                    <a:pt x="65" y="297"/>
                  </a:lnTo>
                  <a:lnTo>
                    <a:pt x="69" y="295"/>
                  </a:lnTo>
                  <a:lnTo>
                    <a:pt x="71" y="293"/>
                  </a:lnTo>
                  <a:lnTo>
                    <a:pt x="71" y="291"/>
                  </a:lnTo>
                  <a:lnTo>
                    <a:pt x="73" y="289"/>
                  </a:lnTo>
                  <a:lnTo>
                    <a:pt x="73" y="289"/>
                  </a:lnTo>
                  <a:lnTo>
                    <a:pt x="84" y="289"/>
                  </a:lnTo>
                  <a:lnTo>
                    <a:pt x="88" y="289"/>
                  </a:lnTo>
                  <a:lnTo>
                    <a:pt x="88" y="291"/>
                  </a:lnTo>
                  <a:lnTo>
                    <a:pt x="90" y="293"/>
                  </a:lnTo>
                  <a:lnTo>
                    <a:pt x="94" y="293"/>
                  </a:lnTo>
                  <a:lnTo>
                    <a:pt x="97" y="295"/>
                  </a:lnTo>
                  <a:lnTo>
                    <a:pt x="105" y="295"/>
                  </a:lnTo>
                  <a:lnTo>
                    <a:pt x="115" y="295"/>
                  </a:lnTo>
                  <a:lnTo>
                    <a:pt x="115" y="293"/>
                  </a:lnTo>
                  <a:lnTo>
                    <a:pt x="121" y="293"/>
                  </a:lnTo>
                  <a:lnTo>
                    <a:pt x="124" y="293"/>
                  </a:lnTo>
                  <a:lnTo>
                    <a:pt x="128" y="295"/>
                  </a:lnTo>
                  <a:lnTo>
                    <a:pt x="130" y="295"/>
                  </a:lnTo>
                  <a:lnTo>
                    <a:pt x="132" y="297"/>
                  </a:lnTo>
                  <a:lnTo>
                    <a:pt x="132" y="299"/>
                  </a:lnTo>
                  <a:lnTo>
                    <a:pt x="132" y="301"/>
                  </a:lnTo>
                  <a:lnTo>
                    <a:pt x="132" y="305"/>
                  </a:lnTo>
                  <a:lnTo>
                    <a:pt x="132" y="309"/>
                  </a:lnTo>
                  <a:lnTo>
                    <a:pt x="132" y="311"/>
                  </a:lnTo>
                  <a:lnTo>
                    <a:pt x="132" y="312"/>
                  </a:lnTo>
                  <a:lnTo>
                    <a:pt x="144" y="312"/>
                  </a:lnTo>
                  <a:lnTo>
                    <a:pt x="145" y="312"/>
                  </a:lnTo>
                  <a:lnTo>
                    <a:pt x="149" y="311"/>
                  </a:lnTo>
                  <a:lnTo>
                    <a:pt x="151" y="309"/>
                  </a:lnTo>
                  <a:lnTo>
                    <a:pt x="155" y="307"/>
                  </a:lnTo>
                  <a:lnTo>
                    <a:pt x="157" y="303"/>
                  </a:lnTo>
                  <a:lnTo>
                    <a:pt x="159" y="301"/>
                  </a:lnTo>
                  <a:lnTo>
                    <a:pt x="161" y="299"/>
                  </a:lnTo>
                  <a:lnTo>
                    <a:pt x="163" y="293"/>
                  </a:lnTo>
                  <a:lnTo>
                    <a:pt x="167" y="291"/>
                  </a:lnTo>
                  <a:lnTo>
                    <a:pt x="168" y="286"/>
                  </a:lnTo>
                  <a:lnTo>
                    <a:pt x="174" y="282"/>
                  </a:lnTo>
                  <a:lnTo>
                    <a:pt x="176" y="276"/>
                  </a:lnTo>
                  <a:lnTo>
                    <a:pt x="176" y="274"/>
                  </a:lnTo>
                  <a:lnTo>
                    <a:pt x="180" y="272"/>
                  </a:lnTo>
                  <a:lnTo>
                    <a:pt x="184" y="266"/>
                  </a:lnTo>
                  <a:lnTo>
                    <a:pt x="188" y="261"/>
                  </a:lnTo>
                  <a:lnTo>
                    <a:pt x="192" y="259"/>
                  </a:lnTo>
                  <a:lnTo>
                    <a:pt x="193" y="257"/>
                  </a:lnTo>
                  <a:lnTo>
                    <a:pt x="195" y="255"/>
                  </a:lnTo>
                  <a:lnTo>
                    <a:pt x="197" y="253"/>
                  </a:lnTo>
                  <a:lnTo>
                    <a:pt x="199" y="251"/>
                  </a:lnTo>
                  <a:lnTo>
                    <a:pt x="201" y="245"/>
                  </a:lnTo>
                  <a:lnTo>
                    <a:pt x="201" y="243"/>
                  </a:lnTo>
                  <a:lnTo>
                    <a:pt x="203" y="240"/>
                  </a:lnTo>
                  <a:lnTo>
                    <a:pt x="203" y="228"/>
                  </a:lnTo>
                  <a:lnTo>
                    <a:pt x="201" y="224"/>
                  </a:lnTo>
                  <a:lnTo>
                    <a:pt x="201" y="222"/>
                  </a:lnTo>
                  <a:lnTo>
                    <a:pt x="199" y="220"/>
                  </a:lnTo>
                  <a:lnTo>
                    <a:pt x="199" y="218"/>
                  </a:lnTo>
                  <a:lnTo>
                    <a:pt x="197" y="215"/>
                  </a:lnTo>
                  <a:lnTo>
                    <a:pt x="197" y="209"/>
                  </a:lnTo>
                  <a:lnTo>
                    <a:pt x="197" y="203"/>
                  </a:lnTo>
                  <a:lnTo>
                    <a:pt x="199" y="199"/>
                  </a:lnTo>
                  <a:lnTo>
                    <a:pt x="199" y="195"/>
                  </a:lnTo>
                  <a:lnTo>
                    <a:pt x="201" y="194"/>
                  </a:lnTo>
                  <a:lnTo>
                    <a:pt x="203" y="190"/>
                  </a:lnTo>
                  <a:lnTo>
                    <a:pt x="209" y="186"/>
                  </a:lnTo>
                  <a:lnTo>
                    <a:pt x="209" y="184"/>
                  </a:lnTo>
                  <a:lnTo>
                    <a:pt x="213" y="182"/>
                  </a:lnTo>
                  <a:lnTo>
                    <a:pt x="215" y="178"/>
                  </a:lnTo>
                  <a:lnTo>
                    <a:pt x="218" y="176"/>
                  </a:lnTo>
                  <a:lnTo>
                    <a:pt x="220" y="174"/>
                  </a:lnTo>
                  <a:lnTo>
                    <a:pt x="224" y="170"/>
                  </a:lnTo>
                  <a:lnTo>
                    <a:pt x="228" y="165"/>
                  </a:lnTo>
                  <a:lnTo>
                    <a:pt x="230" y="161"/>
                  </a:lnTo>
                  <a:lnTo>
                    <a:pt x="232" y="159"/>
                  </a:lnTo>
                  <a:lnTo>
                    <a:pt x="234" y="157"/>
                  </a:lnTo>
                  <a:lnTo>
                    <a:pt x="238" y="153"/>
                  </a:lnTo>
                  <a:lnTo>
                    <a:pt x="241" y="149"/>
                  </a:lnTo>
                  <a:lnTo>
                    <a:pt x="243" y="146"/>
                  </a:lnTo>
                  <a:lnTo>
                    <a:pt x="245" y="144"/>
                  </a:lnTo>
                  <a:lnTo>
                    <a:pt x="249" y="140"/>
                  </a:lnTo>
                  <a:lnTo>
                    <a:pt x="251" y="138"/>
                  </a:lnTo>
                  <a:lnTo>
                    <a:pt x="253" y="134"/>
                  </a:lnTo>
                  <a:lnTo>
                    <a:pt x="257" y="132"/>
                  </a:lnTo>
                  <a:lnTo>
                    <a:pt x="257" y="128"/>
                  </a:lnTo>
                  <a:lnTo>
                    <a:pt x="259" y="123"/>
                  </a:lnTo>
                  <a:lnTo>
                    <a:pt x="263" y="119"/>
                  </a:lnTo>
                  <a:lnTo>
                    <a:pt x="263" y="113"/>
                  </a:lnTo>
                  <a:lnTo>
                    <a:pt x="263" y="107"/>
                  </a:lnTo>
                  <a:lnTo>
                    <a:pt x="264" y="105"/>
                  </a:lnTo>
                  <a:lnTo>
                    <a:pt x="266" y="101"/>
                  </a:lnTo>
                  <a:lnTo>
                    <a:pt x="268" y="99"/>
                  </a:lnTo>
                  <a:lnTo>
                    <a:pt x="268" y="90"/>
                  </a:lnTo>
                  <a:lnTo>
                    <a:pt x="266" y="88"/>
                  </a:lnTo>
                  <a:lnTo>
                    <a:pt x="264" y="86"/>
                  </a:lnTo>
                  <a:lnTo>
                    <a:pt x="264" y="82"/>
                  </a:lnTo>
                  <a:lnTo>
                    <a:pt x="264" y="78"/>
                  </a:lnTo>
                  <a:lnTo>
                    <a:pt x="264" y="76"/>
                  </a:lnTo>
                  <a:lnTo>
                    <a:pt x="263" y="73"/>
                  </a:lnTo>
                  <a:lnTo>
                    <a:pt x="263" y="63"/>
                  </a:lnTo>
                  <a:lnTo>
                    <a:pt x="263" y="53"/>
                  </a:lnTo>
                  <a:lnTo>
                    <a:pt x="264" y="50"/>
                  </a:lnTo>
                  <a:lnTo>
                    <a:pt x="264" y="46"/>
                  </a:lnTo>
                  <a:lnTo>
                    <a:pt x="264" y="44"/>
                  </a:lnTo>
                  <a:lnTo>
                    <a:pt x="264" y="40"/>
                  </a:lnTo>
                  <a:lnTo>
                    <a:pt x="264" y="38"/>
                  </a:lnTo>
                  <a:lnTo>
                    <a:pt x="268" y="34"/>
                  </a:lnTo>
                  <a:lnTo>
                    <a:pt x="270" y="32"/>
                  </a:lnTo>
                  <a:lnTo>
                    <a:pt x="272" y="29"/>
                  </a:lnTo>
                  <a:lnTo>
                    <a:pt x="272" y="27"/>
                  </a:lnTo>
                  <a:lnTo>
                    <a:pt x="274" y="25"/>
                  </a:lnTo>
                  <a:lnTo>
                    <a:pt x="274" y="23"/>
                  </a:lnTo>
                  <a:lnTo>
                    <a:pt x="274" y="17"/>
                  </a:lnTo>
                  <a:lnTo>
                    <a:pt x="276" y="11"/>
                  </a:lnTo>
                  <a:lnTo>
                    <a:pt x="276" y="0"/>
                  </a:lnTo>
                  <a:lnTo>
                    <a:pt x="274" y="0"/>
                  </a:lnTo>
                  <a:lnTo>
                    <a:pt x="272" y="4"/>
                  </a:lnTo>
                  <a:lnTo>
                    <a:pt x="268" y="5"/>
                  </a:lnTo>
                  <a:lnTo>
                    <a:pt x="264" y="5"/>
                  </a:lnTo>
                  <a:lnTo>
                    <a:pt x="259" y="5"/>
                  </a:lnTo>
                  <a:lnTo>
                    <a:pt x="259" y="4"/>
                  </a:lnTo>
                  <a:lnTo>
                    <a:pt x="257" y="4"/>
                  </a:lnTo>
                  <a:lnTo>
                    <a:pt x="255" y="2"/>
                  </a:lnTo>
                  <a:lnTo>
                    <a:pt x="253" y="2"/>
                  </a:lnTo>
                  <a:lnTo>
                    <a:pt x="251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4" y="0"/>
                  </a:lnTo>
                  <a:lnTo>
                    <a:pt x="230" y="4"/>
                  </a:lnTo>
                  <a:lnTo>
                    <a:pt x="228" y="4"/>
                  </a:lnTo>
                  <a:lnTo>
                    <a:pt x="224" y="7"/>
                  </a:lnTo>
                  <a:lnTo>
                    <a:pt x="222" y="9"/>
                  </a:lnTo>
                  <a:lnTo>
                    <a:pt x="220" y="9"/>
                  </a:lnTo>
                  <a:lnTo>
                    <a:pt x="220" y="11"/>
                  </a:lnTo>
                  <a:lnTo>
                    <a:pt x="213" y="11"/>
                  </a:lnTo>
                  <a:lnTo>
                    <a:pt x="211" y="15"/>
                  </a:lnTo>
                  <a:lnTo>
                    <a:pt x="209" y="17"/>
                  </a:lnTo>
                  <a:lnTo>
                    <a:pt x="207" y="19"/>
                  </a:lnTo>
                  <a:lnTo>
                    <a:pt x="207" y="23"/>
                  </a:lnTo>
                  <a:lnTo>
                    <a:pt x="205" y="25"/>
                  </a:lnTo>
                  <a:lnTo>
                    <a:pt x="205" y="27"/>
                  </a:lnTo>
                  <a:lnTo>
                    <a:pt x="205" y="29"/>
                  </a:lnTo>
                  <a:lnTo>
                    <a:pt x="205" y="30"/>
                  </a:lnTo>
                  <a:lnTo>
                    <a:pt x="203" y="34"/>
                  </a:lnTo>
                  <a:lnTo>
                    <a:pt x="203" y="36"/>
                  </a:lnTo>
                  <a:lnTo>
                    <a:pt x="203" y="38"/>
                  </a:lnTo>
                  <a:lnTo>
                    <a:pt x="199" y="44"/>
                  </a:lnTo>
                  <a:lnTo>
                    <a:pt x="199" y="46"/>
                  </a:lnTo>
                  <a:lnTo>
                    <a:pt x="197" y="48"/>
                  </a:lnTo>
                  <a:lnTo>
                    <a:pt x="195" y="50"/>
                  </a:lnTo>
                  <a:lnTo>
                    <a:pt x="195" y="53"/>
                  </a:lnTo>
                  <a:lnTo>
                    <a:pt x="195" y="55"/>
                  </a:lnTo>
                  <a:lnTo>
                    <a:pt x="193" y="57"/>
                  </a:lnTo>
                  <a:lnTo>
                    <a:pt x="192" y="61"/>
                  </a:lnTo>
                  <a:lnTo>
                    <a:pt x="190" y="67"/>
                  </a:lnTo>
                  <a:lnTo>
                    <a:pt x="186" y="67"/>
                  </a:lnTo>
                  <a:lnTo>
                    <a:pt x="180" y="67"/>
                  </a:lnTo>
                  <a:lnTo>
                    <a:pt x="178" y="65"/>
                  </a:lnTo>
                  <a:lnTo>
                    <a:pt x="176" y="63"/>
                  </a:lnTo>
                  <a:lnTo>
                    <a:pt x="174" y="61"/>
                  </a:lnTo>
                  <a:lnTo>
                    <a:pt x="170" y="61"/>
                  </a:lnTo>
                  <a:lnTo>
                    <a:pt x="168" y="61"/>
                  </a:lnTo>
                  <a:lnTo>
                    <a:pt x="168" y="57"/>
                  </a:lnTo>
                  <a:lnTo>
                    <a:pt x="165" y="57"/>
                  </a:lnTo>
                  <a:lnTo>
                    <a:pt x="161" y="55"/>
                  </a:lnTo>
                  <a:lnTo>
                    <a:pt x="159" y="53"/>
                  </a:lnTo>
                  <a:lnTo>
                    <a:pt x="155" y="52"/>
                  </a:lnTo>
                  <a:lnTo>
                    <a:pt x="149" y="52"/>
                  </a:lnTo>
                  <a:lnTo>
                    <a:pt x="145" y="50"/>
                  </a:lnTo>
                  <a:lnTo>
                    <a:pt x="142" y="50"/>
                  </a:lnTo>
                  <a:lnTo>
                    <a:pt x="138" y="50"/>
                  </a:lnTo>
                  <a:lnTo>
                    <a:pt x="134" y="48"/>
                  </a:lnTo>
                  <a:lnTo>
                    <a:pt x="130" y="48"/>
                  </a:lnTo>
                  <a:lnTo>
                    <a:pt x="124" y="48"/>
                  </a:lnTo>
                  <a:lnTo>
                    <a:pt x="122" y="50"/>
                  </a:lnTo>
                  <a:lnTo>
                    <a:pt x="119" y="50"/>
                  </a:lnTo>
                  <a:lnTo>
                    <a:pt x="115" y="50"/>
                  </a:lnTo>
                  <a:lnTo>
                    <a:pt x="111" y="50"/>
                  </a:lnTo>
                  <a:lnTo>
                    <a:pt x="107" y="52"/>
                  </a:lnTo>
                  <a:lnTo>
                    <a:pt x="105" y="50"/>
                  </a:lnTo>
                  <a:lnTo>
                    <a:pt x="99" y="50"/>
                  </a:lnTo>
                  <a:lnTo>
                    <a:pt x="94" y="48"/>
                  </a:lnTo>
                  <a:lnTo>
                    <a:pt x="88" y="48"/>
                  </a:lnTo>
                  <a:lnTo>
                    <a:pt x="86" y="48"/>
                  </a:lnTo>
                  <a:lnTo>
                    <a:pt x="82" y="46"/>
                  </a:lnTo>
                  <a:lnTo>
                    <a:pt x="82" y="50"/>
                  </a:lnTo>
                  <a:lnTo>
                    <a:pt x="80" y="53"/>
                  </a:lnTo>
                  <a:lnTo>
                    <a:pt x="80" y="57"/>
                  </a:lnTo>
                  <a:lnTo>
                    <a:pt x="80" y="78"/>
                  </a:lnTo>
                  <a:lnTo>
                    <a:pt x="80" y="80"/>
                  </a:lnTo>
                  <a:lnTo>
                    <a:pt x="80" y="88"/>
                  </a:lnTo>
                  <a:lnTo>
                    <a:pt x="80" y="94"/>
                  </a:lnTo>
                  <a:lnTo>
                    <a:pt x="84" y="94"/>
                  </a:lnTo>
                  <a:lnTo>
                    <a:pt x="86" y="96"/>
                  </a:lnTo>
                  <a:lnTo>
                    <a:pt x="88" y="99"/>
                  </a:lnTo>
                  <a:lnTo>
                    <a:pt x="90" y="101"/>
                  </a:lnTo>
                  <a:lnTo>
                    <a:pt x="96" y="101"/>
                  </a:lnTo>
                  <a:lnTo>
                    <a:pt x="96" y="98"/>
                  </a:lnTo>
                  <a:lnTo>
                    <a:pt x="97" y="96"/>
                  </a:lnTo>
                  <a:lnTo>
                    <a:pt x="97" y="96"/>
                  </a:lnTo>
                  <a:lnTo>
                    <a:pt x="97" y="92"/>
                  </a:lnTo>
                  <a:lnTo>
                    <a:pt x="99" y="90"/>
                  </a:lnTo>
                  <a:lnTo>
                    <a:pt x="99" y="88"/>
                  </a:lnTo>
                  <a:lnTo>
                    <a:pt x="101" y="88"/>
                  </a:lnTo>
                  <a:lnTo>
                    <a:pt x="103" y="88"/>
                  </a:lnTo>
                  <a:lnTo>
                    <a:pt x="103" y="84"/>
                  </a:lnTo>
                  <a:lnTo>
                    <a:pt x="105" y="82"/>
                  </a:lnTo>
                  <a:lnTo>
                    <a:pt x="105" y="80"/>
                  </a:lnTo>
                  <a:lnTo>
                    <a:pt x="113" y="80"/>
                  </a:lnTo>
                  <a:lnTo>
                    <a:pt x="121" y="80"/>
                  </a:lnTo>
                  <a:lnTo>
                    <a:pt x="128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4" y="88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8" y="98"/>
                  </a:lnTo>
                  <a:lnTo>
                    <a:pt x="138" y="105"/>
                  </a:lnTo>
                  <a:lnTo>
                    <a:pt x="138" y="111"/>
                  </a:lnTo>
                  <a:lnTo>
                    <a:pt x="134" y="111"/>
                  </a:lnTo>
                  <a:lnTo>
                    <a:pt x="132" y="113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28" y="115"/>
                  </a:lnTo>
                  <a:lnTo>
                    <a:pt x="124" y="119"/>
                  </a:lnTo>
                  <a:lnTo>
                    <a:pt x="121" y="121"/>
                  </a:lnTo>
                  <a:lnTo>
                    <a:pt x="117" y="121"/>
                  </a:lnTo>
                  <a:lnTo>
                    <a:pt x="115" y="123"/>
                  </a:lnTo>
                  <a:lnTo>
                    <a:pt x="115" y="123"/>
                  </a:lnTo>
                  <a:lnTo>
                    <a:pt x="113" y="124"/>
                  </a:lnTo>
                  <a:lnTo>
                    <a:pt x="113" y="128"/>
                  </a:lnTo>
                  <a:lnTo>
                    <a:pt x="111" y="130"/>
                  </a:lnTo>
                  <a:lnTo>
                    <a:pt x="111" y="134"/>
                  </a:lnTo>
                  <a:lnTo>
                    <a:pt x="111" y="140"/>
                  </a:lnTo>
                  <a:lnTo>
                    <a:pt x="113" y="142"/>
                  </a:lnTo>
                  <a:lnTo>
                    <a:pt x="113" y="146"/>
                  </a:lnTo>
                  <a:lnTo>
                    <a:pt x="113" y="147"/>
                  </a:lnTo>
                  <a:lnTo>
                    <a:pt x="115" y="151"/>
                  </a:lnTo>
                  <a:lnTo>
                    <a:pt x="115" y="153"/>
                  </a:lnTo>
                  <a:lnTo>
                    <a:pt x="115" y="157"/>
                  </a:lnTo>
                  <a:lnTo>
                    <a:pt x="117" y="159"/>
                  </a:lnTo>
                  <a:lnTo>
                    <a:pt x="121" y="159"/>
                  </a:lnTo>
                  <a:lnTo>
                    <a:pt x="121" y="161"/>
                  </a:lnTo>
                  <a:lnTo>
                    <a:pt x="122" y="163"/>
                  </a:lnTo>
                  <a:lnTo>
                    <a:pt x="124" y="165"/>
                  </a:lnTo>
                  <a:lnTo>
                    <a:pt x="124" y="167"/>
                  </a:lnTo>
                  <a:lnTo>
                    <a:pt x="126" y="169"/>
                  </a:lnTo>
                  <a:lnTo>
                    <a:pt x="128" y="169"/>
                  </a:lnTo>
                  <a:lnTo>
                    <a:pt x="130" y="172"/>
                  </a:lnTo>
                  <a:lnTo>
                    <a:pt x="130" y="176"/>
                  </a:lnTo>
                  <a:lnTo>
                    <a:pt x="132" y="178"/>
                  </a:lnTo>
                  <a:lnTo>
                    <a:pt x="132" y="188"/>
                  </a:lnTo>
                  <a:lnTo>
                    <a:pt x="130" y="195"/>
                  </a:lnTo>
                  <a:lnTo>
                    <a:pt x="130" y="211"/>
                  </a:lnTo>
                  <a:lnTo>
                    <a:pt x="128" y="215"/>
                  </a:lnTo>
                  <a:lnTo>
                    <a:pt x="128" y="217"/>
                  </a:lnTo>
                  <a:lnTo>
                    <a:pt x="126" y="218"/>
                  </a:lnTo>
                  <a:lnTo>
                    <a:pt x="124" y="220"/>
                  </a:lnTo>
                  <a:lnTo>
                    <a:pt x="121" y="220"/>
                  </a:lnTo>
                  <a:lnTo>
                    <a:pt x="117" y="220"/>
                  </a:lnTo>
                  <a:lnTo>
                    <a:pt x="115" y="220"/>
                  </a:lnTo>
                  <a:lnTo>
                    <a:pt x="113" y="218"/>
                  </a:lnTo>
                  <a:lnTo>
                    <a:pt x="113" y="217"/>
                  </a:lnTo>
                  <a:lnTo>
                    <a:pt x="111" y="215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5" y="213"/>
                  </a:lnTo>
                  <a:lnTo>
                    <a:pt x="103" y="213"/>
                  </a:lnTo>
                  <a:lnTo>
                    <a:pt x="101" y="217"/>
                  </a:lnTo>
                  <a:lnTo>
                    <a:pt x="99" y="220"/>
                  </a:lnTo>
                  <a:lnTo>
                    <a:pt x="97" y="220"/>
                  </a:lnTo>
                  <a:lnTo>
                    <a:pt x="96" y="222"/>
                  </a:lnTo>
                  <a:lnTo>
                    <a:pt x="92" y="222"/>
                  </a:lnTo>
                  <a:lnTo>
                    <a:pt x="90" y="222"/>
                  </a:lnTo>
                  <a:lnTo>
                    <a:pt x="88" y="220"/>
                  </a:lnTo>
                  <a:lnTo>
                    <a:pt x="84" y="220"/>
                  </a:lnTo>
                  <a:lnTo>
                    <a:pt x="82" y="218"/>
                  </a:lnTo>
                  <a:lnTo>
                    <a:pt x="80" y="215"/>
                  </a:lnTo>
                  <a:lnTo>
                    <a:pt x="78" y="215"/>
                  </a:lnTo>
                  <a:lnTo>
                    <a:pt x="76" y="213"/>
                  </a:lnTo>
                  <a:lnTo>
                    <a:pt x="74" y="211"/>
                  </a:lnTo>
                  <a:lnTo>
                    <a:pt x="73" y="211"/>
                  </a:lnTo>
                  <a:lnTo>
                    <a:pt x="73" y="203"/>
                  </a:lnTo>
                  <a:lnTo>
                    <a:pt x="71" y="201"/>
                  </a:lnTo>
                  <a:lnTo>
                    <a:pt x="71" y="197"/>
                  </a:lnTo>
                  <a:lnTo>
                    <a:pt x="67" y="195"/>
                  </a:lnTo>
                  <a:lnTo>
                    <a:pt x="67" y="194"/>
                  </a:lnTo>
                  <a:lnTo>
                    <a:pt x="63" y="194"/>
                  </a:lnTo>
                  <a:lnTo>
                    <a:pt x="61" y="197"/>
                  </a:lnTo>
                  <a:lnTo>
                    <a:pt x="57" y="199"/>
                  </a:lnTo>
                  <a:lnTo>
                    <a:pt x="55" y="201"/>
                  </a:lnTo>
                  <a:lnTo>
                    <a:pt x="53" y="207"/>
                  </a:lnTo>
                  <a:lnTo>
                    <a:pt x="53" y="211"/>
                  </a:lnTo>
                  <a:lnTo>
                    <a:pt x="53" y="213"/>
                  </a:lnTo>
                  <a:lnTo>
                    <a:pt x="53" y="217"/>
                  </a:lnTo>
                  <a:lnTo>
                    <a:pt x="50" y="220"/>
                  </a:lnTo>
                  <a:lnTo>
                    <a:pt x="46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36" y="220"/>
                  </a:lnTo>
                  <a:lnTo>
                    <a:pt x="32" y="220"/>
                  </a:lnTo>
                  <a:lnTo>
                    <a:pt x="30" y="217"/>
                  </a:lnTo>
                  <a:lnTo>
                    <a:pt x="28" y="213"/>
                  </a:lnTo>
                  <a:lnTo>
                    <a:pt x="27" y="213"/>
                  </a:lnTo>
                  <a:lnTo>
                    <a:pt x="23" y="217"/>
                  </a:lnTo>
                  <a:lnTo>
                    <a:pt x="21" y="220"/>
                  </a:lnTo>
                  <a:lnTo>
                    <a:pt x="21" y="230"/>
                  </a:lnTo>
                  <a:lnTo>
                    <a:pt x="21" y="238"/>
                  </a:lnTo>
                  <a:lnTo>
                    <a:pt x="19" y="240"/>
                  </a:lnTo>
                  <a:lnTo>
                    <a:pt x="19" y="243"/>
                  </a:lnTo>
                  <a:lnTo>
                    <a:pt x="17" y="245"/>
                  </a:lnTo>
                  <a:lnTo>
                    <a:pt x="17" y="247"/>
                  </a:lnTo>
                  <a:lnTo>
                    <a:pt x="17" y="251"/>
                  </a:lnTo>
                  <a:lnTo>
                    <a:pt x="13" y="253"/>
                  </a:lnTo>
                  <a:lnTo>
                    <a:pt x="13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9" y="263"/>
                  </a:lnTo>
                  <a:lnTo>
                    <a:pt x="5" y="265"/>
                  </a:lnTo>
                  <a:lnTo>
                    <a:pt x="2" y="265"/>
                  </a:lnTo>
                  <a:lnTo>
                    <a:pt x="2" y="266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2" name="Freeform 48"/>
            <p:cNvSpPr>
              <a:spLocks/>
            </p:cNvSpPr>
            <p:nvPr/>
          </p:nvSpPr>
          <p:spPr bwMode="auto">
            <a:xfrm>
              <a:off x="1569" y="2196"/>
              <a:ext cx="276" cy="326"/>
            </a:xfrm>
            <a:custGeom>
              <a:avLst/>
              <a:gdLst/>
              <a:ahLst/>
              <a:cxnLst>
                <a:cxn ang="0">
                  <a:pos x="13" y="291"/>
                </a:cxn>
                <a:cxn ang="0">
                  <a:pos x="27" y="314"/>
                </a:cxn>
                <a:cxn ang="0">
                  <a:pos x="44" y="324"/>
                </a:cxn>
                <a:cxn ang="0">
                  <a:pos x="53" y="312"/>
                </a:cxn>
                <a:cxn ang="0">
                  <a:pos x="65" y="297"/>
                </a:cxn>
                <a:cxn ang="0">
                  <a:pos x="84" y="289"/>
                </a:cxn>
                <a:cxn ang="0">
                  <a:pos x="105" y="295"/>
                </a:cxn>
                <a:cxn ang="0">
                  <a:pos x="130" y="295"/>
                </a:cxn>
                <a:cxn ang="0">
                  <a:pos x="132" y="311"/>
                </a:cxn>
                <a:cxn ang="0">
                  <a:pos x="155" y="307"/>
                </a:cxn>
                <a:cxn ang="0">
                  <a:pos x="168" y="286"/>
                </a:cxn>
                <a:cxn ang="0">
                  <a:pos x="188" y="261"/>
                </a:cxn>
                <a:cxn ang="0">
                  <a:pos x="201" y="245"/>
                </a:cxn>
                <a:cxn ang="0">
                  <a:pos x="199" y="220"/>
                </a:cxn>
                <a:cxn ang="0">
                  <a:pos x="199" y="195"/>
                </a:cxn>
                <a:cxn ang="0">
                  <a:pos x="215" y="178"/>
                </a:cxn>
                <a:cxn ang="0">
                  <a:pos x="232" y="159"/>
                </a:cxn>
                <a:cxn ang="0">
                  <a:pos x="249" y="140"/>
                </a:cxn>
                <a:cxn ang="0">
                  <a:pos x="263" y="119"/>
                </a:cxn>
                <a:cxn ang="0">
                  <a:pos x="268" y="90"/>
                </a:cxn>
                <a:cxn ang="0">
                  <a:pos x="263" y="73"/>
                </a:cxn>
                <a:cxn ang="0">
                  <a:pos x="264" y="40"/>
                </a:cxn>
                <a:cxn ang="0">
                  <a:pos x="274" y="25"/>
                </a:cxn>
                <a:cxn ang="0">
                  <a:pos x="272" y="4"/>
                </a:cxn>
                <a:cxn ang="0">
                  <a:pos x="255" y="2"/>
                </a:cxn>
                <a:cxn ang="0">
                  <a:pos x="234" y="0"/>
                </a:cxn>
                <a:cxn ang="0">
                  <a:pos x="220" y="11"/>
                </a:cxn>
                <a:cxn ang="0">
                  <a:pos x="205" y="25"/>
                </a:cxn>
                <a:cxn ang="0">
                  <a:pos x="203" y="38"/>
                </a:cxn>
                <a:cxn ang="0">
                  <a:pos x="195" y="55"/>
                </a:cxn>
                <a:cxn ang="0">
                  <a:pos x="178" y="65"/>
                </a:cxn>
                <a:cxn ang="0">
                  <a:pos x="165" y="57"/>
                </a:cxn>
                <a:cxn ang="0">
                  <a:pos x="142" y="50"/>
                </a:cxn>
                <a:cxn ang="0">
                  <a:pos x="119" y="50"/>
                </a:cxn>
                <a:cxn ang="0">
                  <a:pos x="94" y="48"/>
                </a:cxn>
                <a:cxn ang="0">
                  <a:pos x="80" y="57"/>
                </a:cxn>
                <a:cxn ang="0">
                  <a:pos x="86" y="96"/>
                </a:cxn>
                <a:cxn ang="0">
                  <a:pos x="97" y="96"/>
                </a:cxn>
                <a:cxn ang="0">
                  <a:pos x="103" y="84"/>
                </a:cxn>
                <a:cxn ang="0">
                  <a:pos x="132" y="86"/>
                </a:cxn>
                <a:cxn ang="0">
                  <a:pos x="138" y="105"/>
                </a:cxn>
                <a:cxn ang="0">
                  <a:pos x="128" y="115"/>
                </a:cxn>
                <a:cxn ang="0">
                  <a:pos x="113" y="124"/>
                </a:cxn>
                <a:cxn ang="0">
                  <a:pos x="113" y="146"/>
                </a:cxn>
                <a:cxn ang="0">
                  <a:pos x="121" y="159"/>
                </a:cxn>
                <a:cxn ang="0">
                  <a:pos x="128" y="169"/>
                </a:cxn>
                <a:cxn ang="0">
                  <a:pos x="130" y="211"/>
                </a:cxn>
                <a:cxn ang="0">
                  <a:pos x="117" y="220"/>
                </a:cxn>
                <a:cxn ang="0">
                  <a:pos x="107" y="211"/>
                </a:cxn>
                <a:cxn ang="0">
                  <a:pos x="96" y="222"/>
                </a:cxn>
                <a:cxn ang="0">
                  <a:pos x="80" y="215"/>
                </a:cxn>
                <a:cxn ang="0">
                  <a:pos x="71" y="201"/>
                </a:cxn>
                <a:cxn ang="0">
                  <a:pos x="57" y="199"/>
                </a:cxn>
                <a:cxn ang="0">
                  <a:pos x="50" y="220"/>
                </a:cxn>
                <a:cxn ang="0">
                  <a:pos x="30" y="217"/>
                </a:cxn>
                <a:cxn ang="0">
                  <a:pos x="21" y="238"/>
                </a:cxn>
                <a:cxn ang="0">
                  <a:pos x="13" y="253"/>
                </a:cxn>
                <a:cxn ang="0">
                  <a:pos x="2" y="265"/>
                </a:cxn>
                <a:cxn ang="0">
                  <a:pos x="0" y="268"/>
                </a:cxn>
              </a:cxnLst>
              <a:rect l="0" t="0" r="r" b="b"/>
              <a:pathLst>
                <a:path w="276" h="326">
                  <a:moveTo>
                    <a:pt x="0" y="268"/>
                  </a:moveTo>
                  <a:lnTo>
                    <a:pt x="3" y="272"/>
                  </a:lnTo>
                  <a:lnTo>
                    <a:pt x="3" y="276"/>
                  </a:lnTo>
                  <a:lnTo>
                    <a:pt x="5" y="282"/>
                  </a:lnTo>
                  <a:lnTo>
                    <a:pt x="9" y="286"/>
                  </a:lnTo>
                  <a:lnTo>
                    <a:pt x="13" y="291"/>
                  </a:lnTo>
                  <a:lnTo>
                    <a:pt x="17" y="299"/>
                  </a:lnTo>
                  <a:lnTo>
                    <a:pt x="17" y="305"/>
                  </a:lnTo>
                  <a:lnTo>
                    <a:pt x="19" y="307"/>
                  </a:lnTo>
                  <a:lnTo>
                    <a:pt x="23" y="309"/>
                  </a:lnTo>
                  <a:lnTo>
                    <a:pt x="27" y="311"/>
                  </a:lnTo>
                  <a:lnTo>
                    <a:pt x="27" y="314"/>
                  </a:lnTo>
                  <a:lnTo>
                    <a:pt x="28" y="316"/>
                  </a:lnTo>
                  <a:lnTo>
                    <a:pt x="28" y="318"/>
                  </a:lnTo>
                  <a:lnTo>
                    <a:pt x="34" y="322"/>
                  </a:lnTo>
                  <a:lnTo>
                    <a:pt x="36" y="326"/>
                  </a:lnTo>
                  <a:lnTo>
                    <a:pt x="44" y="326"/>
                  </a:lnTo>
                  <a:lnTo>
                    <a:pt x="44" y="324"/>
                  </a:lnTo>
                  <a:lnTo>
                    <a:pt x="46" y="324"/>
                  </a:lnTo>
                  <a:lnTo>
                    <a:pt x="48" y="322"/>
                  </a:lnTo>
                  <a:lnTo>
                    <a:pt x="50" y="318"/>
                  </a:lnTo>
                  <a:lnTo>
                    <a:pt x="50" y="316"/>
                  </a:lnTo>
                  <a:lnTo>
                    <a:pt x="51" y="314"/>
                  </a:lnTo>
                  <a:lnTo>
                    <a:pt x="53" y="312"/>
                  </a:lnTo>
                  <a:lnTo>
                    <a:pt x="55" y="311"/>
                  </a:lnTo>
                  <a:lnTo>
                    <a:pt x="55" y="309"/>
                  </a:lnTo>
                  <a:lnTo>
                    <a:pt x="61" y="305"/>
                  </a:lnTo>
                  <a:lnTo>
                    <a:pt x="61" y="303"/>
                  </a:lnTo>
                  <a:lnTo>
                    <a:pt x="63" y="299"/>
                  </a:lnTo>
                  <a:lnTo>
                    <a:pt x="65" y="297"/>
                  </a:lnTo>
                  <a:lnTo>
                    <a:pt x="69" y="295"/>
                  </a:lnTo>
                  <a:lnTo>
                    <a:pt x="71" y="293"/>
                  </a:lnTo>
                  <a:lnTo>
                    <a:pt x="71" y="291"/>
                  </a:lnTo>
                  <a:lnTo>
                    <a:pt x="73" y="289"/>
                  </a:lnTo>
                  <a:lnTo>
                    <a:pt x="73" y="289"/>
                  </a:lnTo>
                  <a:lnTo>
                    <a:pt x="84" y="289"/>
                  </a:lnTo>
                  <a:lnTo>
                    <a:pt x="88" y="289"/>
                  </a:lnTo>
                  <a:lnTo>
                    <a:pt x="88" y="291"/>
                  </a:lnTo>
                  <a:lnTo>
                    <a:pt x="90" y="293"/>
                  </a:lnTo>
                  <a:lnTo>
                    <a:pt x="94" y="293"/>
                  </a:lnTo>
                  <a:lnTo>
                    <a:pt x="97" y="295"/>
                  </a:lnTo>
                  <a:lnTo>
                    <a:pt x="105" y="295"/>
                  </a:lnTo>
                  <a:lnTo>
                    <a:pt x="115" y="295"/>
                  </a:lnTo>
                  <a:lnTo>
                    <a:pt x="115" y="293"/>
                  </a:lnTo>
                  <a:lnTo>
                    <a:pt x="121" y="293"/>
                  </a:lnTo>
                  <a:lnTo>
                    <a:pt x="124" y="293"/>
                  </a:lnTo>
                  <a:lnTo>
                    <a:pt x="128" y="295"/>
                  </a:lnTo>
                  <a:lnTo>
                    <a:pt x="130" y="295"/>
                  </a:lnTo>
                  <a:lnTo>
                    <a:pt x="132" y="297"/>
                  </a:lnTo>
                  <a:lnTo>
                    <a:pt x="132" y="299"/>
                  </a:lnTo>
                  <a:lnTo>
                    <a:pt x="132" y="301"/>
                  </a:lnTo>
                  <a:lnTo>
                    <a:pt x="132" y="305"/>
                  </a:lnTo>
                  <a:lnTo>
                    <a:pt x="132" y="309"/>
                  </a:lnTo>
                  <a:lnTo>
                    <a:pt x="132" y="311"/>
                  </a:lnTo>
                  <a:lnTo>
                    <a:pt x="132" y="312"/>
                  </a:lnTo>
                  <a:lnTo>
                    <a:pt x="144" y="312"/>
                  </a:lnTo>
                  <a:lnTo>
                    <a:pt x="145" y="312"/>
                  </a:lnTo>
                  <a:lnTo>
                    <a:pt x="149" y="311"/>
                  </a:lnTo>
                  <a:lnTo>
                    <a:pt x="151" y="309"/>
                  </a:lnTo>
                  <a:lnTo>
                    <a:pt x="155" y="307"/>
                  </a:lnTo>
                  <a:lnTo>
                    <a:pt x="157" y="303"/>
                  </a:lnTo>
                  <a:lnTo>
                    <a:pt x="159" y="301"/>
                  </a:lnTo>
                  <a:lnTo>
                    <a:pt x="161" y="299"/>
                  </a:lnTo>
                  <a:lnTo>
                    <a:pt x="163" y="293"/>
                  </a:lnTo>
                  <a:lnTo>
                    <a:pt x="167" y="291"/>
                  </a:lnTo>
                  <a:lnTo>
                    <a:pt x="168" y="286"/>
                  </a:lnTo>
                  <a:lnTo>
                    <a:pt x="174" y="282"/>
                  </a:lnTo>
                  <a:lnTo>
                    <a:pt x="176" y="276"/>
                  </a:lnTo>
                  <a:lnTo>
                    <a:pt x="176" y="274"/>
                  </a:lnTo>
                  <a:lnTo>
                    <a:pt x="180" y="272"/>
                  </a:lnTo>
                  <a:lnTo>
                    <a:pt x="184" y="266"/>
                  </a:lnTo>
                  <a:lnTo>
                    <a:pt x="188" y="261"/>
                  </a:lnTo>
                  <a:lnTo>
                    <a:pt x="192" y="259"/>
                  </a:lnTo>
                  <a:lnTo>
                    <a:pt x="193" y="257"/>
                  </a:lnTo>
                  <a:lnTo>
                    <a:pt x="195" y="255"/>
                  </a:lnTo>
                  <a:lnTo>
                    <a:pt x="197" y="253"/>
                  </a:lnTo>
                  <a:lnTo>
                    <a:pt x="199" y="251"/>
                  </a:lnTo>
                  <a:lnTo>
                    <a:pt x="201" y="245"/>
                  </a:lnTo>
                  <a:lnTo>
                    <a:pt x="201" y="243"/>
                  </a:lnTo>
                  <a:lnTo>
                    <a:pt x="203" y="240"/>
                  </a:lnTo>
                  <a:lnTo>
                    <a:pt x="203" y="228"/>
                  </a:lnTo>
                  <a:lnTo>
                    <a:pt x="201" y="224"/>
                  </a:lnTo>
                  <a:lnTo>
                    <a:pt x="201" y="222"/>
                  </a:lnTo>
                  <a:lnTo>
                    <a:pt x="199" y="220"/>
                  </a:lnTo>
                  <a:lnTo>
                    <a:pt x="199" y="218"/>
                  </a:lnTo>
                  <a:lnTo>
                    <a:pt x="197" y="215"/>
                  </a:lnTo>
                  <a:lnTo>
                    <a:pt x="197" y="209"/>
                  </a:lnTo>
                  <a:lnTo>
                    <a:pt x="197" y="203"/>
                  </a:lnTo>
                  <a:lnTo>
                    <a:pt x="199" y="199"/>
                  </a:lnTo>
                  <a:lnTo>
                    <a:pt x="199" y="195"/>
                  </a:lnTo>
                  <a:lnTo>
                    <a:pt x="201" y="194"/>
                  </a:lnTo>
                  <a:lnTo>
                    <a:pt x="203" y="190"/>
                  </a:lnTo>
                  <a:lnTo>
                    <a:pt x="209" y="186"/>
                  </a:lnTo>
                  <a:lnTo>
                    <a:pt x="209" y="184"/>
                  </a:lnTo>
                  <a:lnTo>
                    <a:pt x="213" y="182"/>
                  </a:lnTo>
                  <a:lnTo>
                    <a:pt x="215" y="178"/>
                  </a:lnTo>
                  <a:lnTo>
                    <a:pt x="218" y="176"/>
                  </a:lnTo>
                  <a:lnTo>
                    <a:pt x="220" y="174"/>
                  </a:lnTo>
                  <a:lnTo>
                    <a:pt x="224" y="170"/>
                  </a:lnTo>
                  <a:lnTo>
                    <a:pt x="228" y="165"/>
                  </a:lnTo>
                  <a:lnTo>
                    <a:pt x="230" y="161"/>
                  </a:lnTo>
                  <a:lnTo>
                    <a:pt x="232" y="159"/>
                  </a:lnTo>
                  <a:lnTo>
                    <a:pt x="234" y="157"/>
                  </a:lnTo>
                  <a:lnTo>
                    <a:pt x="238" y="153"/>
                  </a:lnTo>
                  <a:lnTo>
                    <a:pt x="241" y="149"/>
                  </a:lnTo>
                  <a:lnTo>
                    <a:pt x="243" y="146"/>
                  </a:lnTo>
                  <a:lnTo>
                    <a:pt x="245" y="144"/>
                  </a:lnTo>
                  <a:lnTo>
                    <a:pt x="249" y="140"/>
                  </a:lnTo>
                  <a:lnTo>
                    <a:pt x="251" y="138"/>
                  </a:lnTo>
                  <a:lnTo>
                    <a:pt x="253" y="134"/>
                  </a:lnTo>
                  <a:lnTo>
                    <a:pt x="257" y="132"/>
                  </a:lnTo>
                  <a:lnTo>
                    <a:pt x="257" y="128"/>
                  </a:lnTo>
                  <a:lnTo>
                    <a:pt x="259" y="123"/>
                  </a:lnTo>
                  <a:lnTo>
                    <a:pt x="263" y="119"/>
                  </a:lnTo>
                  <a:lnTo>
                    <a:pt x="263" y="113"/>
                  </a:lnTo>
                  <a:lnTo>
                    <a:pt x="263" y="107"/>
                  </a:lnTo>
                  <a:lnTo>
                    <a:pt x="264" y="105"/>
                  </a:lnTo>
                  <a:lnTo>
                    <a:pt x="266" y="101"/>
                  </a:lnTo>
                  <a:lnTo>
                    <a:pt x="268" y="99"/>
                  </a:lnTo>
                  <a:lnTo>
                    <a:pt x="268" y="90"/>
                  </a:lnTo>
                  <a:lnTo>
                    <a:pt x="266" y="88"/>
                  </a:lnTo>
                  <a:lnTo>
                    <a:pt x="264" y="86"/>
                  </a:lnTo>
                  <a:lnTo>
                    <a:pt x="264" y="82"/>
                  </a:lnTo>
                  <a:lnTo>
                    <a:pt x="264" y="78"/>
                  </a:lnTo>
                  <a:lnTo>
                    <a:pt x="264" y="76"/>
                  </a:lnTo>
                  <a:lnTo>
                    <a:pt x="263" y="73"/>
                  </a:lnTo>
                  <a:lnTo>
                    <a:pt x="263" y="63"/>
                  </a:lnTo>
                  <a:lnTo>
                    <a:pt x="263" y="53"/>
                  </a:lnTo>
                  <a:lnTo>
                    <a:pt x="264" y="50"/>
                  </a:lnTo>
                  <a:lnTo>
                    <a:pt x="264" y="46"/>
                  </a:lnTo>
                  <a:lnTo>
                    <a:pt x="264" y="44"/>
                  </a:lnTo>
                  <a:lnTo>
                    <a:pt x="264" y="40"/>
                  </a:lnTo>
                  <a:lnTo>
                    <a:pt x="264" y="38"/>
                  </a:lnTo>
                  <a:lnTo>
                    <a:pt x="268" y="34"/>
                  </a:lnTo>
                  <a:lnTo>
                    <a:pt x="270" y="32"/>
                  </a:lnTo>
                  <a:lnTo>
                    <a:pt x="272" y="29"/>
                  </a:lnTo>
                  <a:lnTo>
                    <a:pt x="272" y="27"/>
                  </a:lnTo>
                  <a:lnTo>
                    <a:pt x="274" y="25"/>
                  </a:lnTo>
                  <a:lnTo>
                    <a:pt x="274" y="23"/>
                  </a:lnTo>
                  <a:lnTo>
                    <a:pt x="274" y="17"/>
                  </a:lnTo>
                  <a:lnTo>
                    <a:pt x="276" y="11"/>
                  </a:lnTo>
                  <a:lnTo>
                    <a:pt x="276" y="0"/>
                  </a:lnTo>
                  <a:lnTo>
                    <a:pt x="274" y="0"/>
                  </a:lnTo>
                  <a:lnTo>
                    <a:pt x="272" y="4"/>
                  </a:lnTo>
                  <a:lnTo>
                    <a:pt x="268" y="5"/>
                  </a:lnTo>
                  <a:lnTo>
                    <a:pt x="264" y="5"/>
                  </a:lnTo>
                  <a:lnTo>
                    <a:pt x="259" y="5"/>
                  </a:lnTo>
                  <a:lnTo>
                    <a:pt x="259" y="4"/>
                  </a:lnTo>
                  <a:lnTo>
                    <a:pt x="257" y="4"/>
                  </a:lnTo>
                  <a:lnTo>
                    <a:pt x="255" y="2"/>
                  </a:lnTo>
                  <a:lnTo>
                    <a:pt x="253" y="2"/>
                  </a:lnTo>
                  <a:lnTo>
                    <a:pt x="251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4" y="0"/>
                  </a:lnTo>
                  <a:lnTo>
                    <a:pt x="230" y="4"/>
                  </a:lnTo>
                  <a:lnTo>
                    <a:pt x="228" y="4"/>
                  </a:lnTo>
                  <a:lnTo>
                    <a:pt x="224" y="7"/>
                  </a:lnTo>
                  <a:lnTo>
                    <a:pt x="222" y="9"/>
                  </a:lnTo>
                  <a:lnTo>
                    <a:pt x="220" y="9"/>
                  </a:lnTo>
                  <a:lnTo>
                    <a:pt x="220" y="11"/>
                  </a:lnTo>
                  <a:lnTo>
                    <a:pt x="213" y="11"/>
                  </a:lnTo>
                  <a:lnTo>
                    <a:pt x="211" y="15"/>
                  </a:lnTo>
                  <a:lnTo>
                    <a:pt x="209" y="17"/>
                  </a:lnTo>
                  <a:lnTo>
                    <a:pt x="207" y="19"/>
                  </a:lnTo>
                  <a:lnTo>
                    <a:pt x="207" y="23"/>
                  </a:lnTo>
                  <a:lnTo>
                    <a:pt x="205" y="25"/>
                  </a:lnTo>
                  <a:lnTo>
                    <a:pt x="205" y="27"/>
                  </a:lnTo>
                  <a:lnTo>
                    <a:pt x="205" y="29"/>
                  </a:lnTo>
                  <a:lnTo>
                    <a:pt x="205" y="30"/>
                  </a:lnTo>
                  <a:lnTo>
                    <a:pt x="203" y="34"/>
                  </a:lnTo>
                  <a:lnTo>
                    <a:pt x="203" y="36"/>
                  </a:lnTo>
                  <a:lnTo>
                    <a:pt x="203" y="38"/>
                  </a:lnTo>
                  <a:lnTo>
                    <a:pt x="199" y="44"/>
                  </a:lnTo>
                  <a:lnTo>
                    <a:pt x="199" y="46"/>
                  </a:lnTo>
                  <a:lnTo>
                    <a:pt x="197" y="48"/>
                  </a:lnTo>
                  <a:lnTo>
                    <a:pt x="195" y="50"/>
                  </a:lnTo>
                  <a:lnTo>
                    <a:pt x="195" y="53"/>
                  </a:lnTo>
                  <a:lnTo>
                    <a:pt x="195" y="55"/>
                  </a:lnTo>
                  <a:lnTo>
                    <a:pt x="193" y="57"/>
                  </a:lnTo>
                  <a:lnTo>
                    <a:pt x="192" y="61"/>
                  </a:lnTo>
                  <a:lnTo>
                    <a:pt x="190" y="67"/>
                  </a:lnTo>
                  <a:lnTo>
                    <a:pt x="186" y="67"/>
                  </a:lnTo>
                  <a:lnTo>
                    <a:pt x="180" y="67"/>
                  </a:lnTo>
                  <a:lnTo>
                    <a:pt x="178" y="65"/>
                  </a:lnTo>
                  <a:lnTo>
                    <a:pt x="176" y="63"/>
                  </a:lnTo>
                  <a:lnTo>
                    <a:pt x="174" y="61"/>
                  </a:lnTo>
                  <a:lnTo>
                    <a:pt x="170" y="61"/>
                  </a:lnTo>
                  <a:lnTo>
                    <a:pt x="168" y="61"/>
                  </a:lnTo>
                  <a:lnTo>
                    <a:pt x="168" y="57"/>
                  </a:lnTo>
                  <a:lnTo>
                    <a:pt x="165" y="57"/>
                  </a:lnTo>
                  <a:lnTo>
                    <a:pt x="161" y="55"/>
                  </a:lnTo>
                  <a:lnTo>
                    <a:pt x="159" y="53"/>
                  </a:lnTo>
                  <a:lnTo>
                    <a:pt x="155" y="52"/>
                  </a:lnTo>
                  <a:lnTo>
                    <a:pt x="149" y="52"/>
                  </a:lnTo>
                  <a:lnTo>
                    <a:pt x="145" y="50"/>
                  </a:lnTo>
                  <a:lnTo>
                    <a:pt x="142" y="50"/>
                  </a:lnTo>
                  <a:lnTo>
                    <a:pt x="138" y="50"/>
                  </a:lnTo>
                  <a:lnTo>
                    <a:pt x="134" y="48"/>
                  </a:lnTo>
                  <a:lnTo>
                    <a:pt x="130" y="48"/>
                  </a:lnTo>
                  <a:lnTo>
                    <a:pt x="124" y="48"/>
                  </a:lnTo>
                  <a:lnTo>
                    <a:pt x="122" y="50"/>
                  </a:lnTo>
                  <a:lnTo>
                    <a:pt x="119" y="50"/>
                  </a:lnTo>
                  <a:lnTo>
                    <a:pt x="115" y="50"/>
                  </a:lnTo>
                  <a:lnTo>
                    <a:pt x="111" y="50"/>
                  </a:lnTo>
                  <a:lnTo>
                    <a:pt x="107" y="52"/>
                  </a:lnTo>
                  <a:lnTo>
                    <a:pt x="105" y="50"/>
                  </a:lnTo>
                  <a:lnTo>
                    <a:pt x="99" y="50"/>
                  </a:lnTo>
                  <a:lnTo>
                    <a:pt x="94" y="48"/>
                  </a:lnTo>
                  <a:lnTo>
                    <a:pt x="88" y="48"/>
                  </a:lnTo>
                  <a:lnTo>
                    <a:pt x="86" y="48"/>
                  </a:lnTo>
                  <a:lnTo>
                    <a:pt x="82" y="46"/>
                  </a:lnTo>
                  <a:lnTo>
                    <a:pt x="82" y="50"/>
                  </a:lnTo>
                  <a:lnTo>
                    <a:pt x="80" y="53"/>
                  </a:lnTo>
                  <a:lnTo>
                    <a:pt x="80" y="57"/>
                  </a:lnTo>
                  <a:lnTo>
                    <a:pt x="80" y="78"/>
                  </a:lnTo>
                  <a:lnTo>
                    <a:pt x="80" y="80"/>
                  </a:lnTo>
                  <a:lnTo>
                    <a:pt x="80" y="88"/>
                  </a:lnTo>
                  <a:lnTo>
                    <a:pt x="80" y="94"/>
                  </a:lnTo>
                  <a:lnTo>
                    <a:pt x="84" y="94"/>
                  </a:lnTo>
                  <a:lnTo>
                    <a:pt x="86" y="96"/>
                  </a:lnTo>
                  <a:lnTo>
                    <a:pt x="88" y="99"/>
                  </a:lnTo>
                  <a:lnTo>
                    <a:pt x="90" y="101"/>
                  </a:lnTo>
                  <a:lnTo>
                    <a:pt x="96" y="101"/>
                  </a:lnTo>
                  <a:lnTo>
                    <a:pt x="96" y="98"/>
                  </a:lnTo>
                  <a:lnTo>
                    <a:pt x="97" y="96"/>
                  </a:lnTo>
                  <a:lnTo>
                    <a:pt x="97" y="96"/>
                  </a:lnTo>
                  <a:lnTo>
                    <a:pt x="97" y="92"/>
                  </a:lnTo>
                  <a:lnTo>
                    <a:pt x="99" y="90"/>
                  </a:lnTo>
                  <a:lnTo>
                    <a:pt x="99" y="88"/>
                  </a:lnTo>
                  <a:lnTo>
                    <a:pt x="101" y="88"/>
                  </a:lnTo>
                  <a:lnTo>
                    <a:pt x="103" y="88"/>
                  </a:lnTo>
                  <a:lnTo>
                    <a:pt x="103" y="84"/>
                  </a:lnTo>
                  <a:lnTo>
                    <a:pt x="105" y="82"/>
                  </a:lnTo>
                  <a:lnTo>
                    <a:pt x="105" y="80"/>
                  </a:lnTo>
                  <a:lnTo>
                    <a:pt x="113" y="80"/>
                  </a:lnTo>
                  <a:lnTo>
                    <a:pt x="121" y="80"/>
                  </a:lnTo>
                  <a:lnTo>
                    <a:pt x="128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4" y="88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8" y="98"/>
                  </a:lnTo>
                  <a:lnTo>
                    <a:pt x="138" y="105"/>
                  </a:lnTo>
                  <a:lnTo>
                    <a:pt x="138" y="111"/>
                  </a:lnTo>
                  <a:lnTo>
                    <a:pt x="134" y="111"/>
                  </a:lnTo>
                  <a:lnTo>
                    <a:pt x="132" y="113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28" y="115"/>
                  </a:lnTo>
                  <a:lnTo>
                    <a:pt x="124" y="119"/>
                  </a:lnTo>
                  <a:lnTo>
                    <a:pt x="121" y="121"/>
                  </a:lnTo>
                  <a:lnTo>
                    <a:pt x="117" y="121"/>
                  </a:lnTo>
                  <a:lnTo>
                    <a:pt x="115" y="123"/>
                  </a:lnTo>
                  <a:lnTo>
                    <a:pt x="115" y="123"/>
                  </a:lnTo>
                  <a:lnTo>
                    <a:pt x="113" y="124"/>
                  </a:lnTo>
                  <a:lnTo>
                    <a:pt x="113" y="128"/>
                  </a:lnTo>
                  <a:lnTo>
                    <a:pt x="111" y="130"/>
                  </a:lnTo>
                  <a:lnTo>
                    <a:pt x="111" y="134"/>
                  </a:lnTo>
                  <a:lnTo>
                    <a:pt x="111" y="140"/>
                  </a:lnTo>
                  <a:lnTo>
                    <a:pt x="113" y="142"/>
                  </a:lnTo>
                  <a:lnTo>
                    <a:pt x="113" y="146"/>
                  </a:lnTo>
                  <a:lnTo>
                    <a:pt x="113" y="147"/>
                  </a:lnTo>
                  <a:lnTo>
                    <a:pt x="115" y="151"/>
                  </a:lnTo>
                  <a:lnTo>
                    <a:pt x="115" y="153"/>
                  </a:lnTo>
                  <a:lnTo>
                    <a:pt x="115" y="157"/>
                  </a:lnTo>
                  <a:lnTo>
                    <a:pt x="117" y="159"/>
                  </a:lnTo>
                  <a:lnTo>
                    <a:pt x="121" y="159"/>
                  </a:lnTo>
                  <a:lnTo>
                    <a:pt x="121" y="161"/>
                  </a:lnTo>
                  <a:lnTo>
                    <a:pt x="122" y="163"/>
                  </a:lnTo>
                  <a:lnTo>
                    <a:pt x="124" y="165"/>
                  </a:lnTo>
                  <a:lnTo>
                    <a:pt x="124" y="167"/>
                  </a:lnTo>
                  <a:lnTo>
                    <a:pt x="126" y="169"/>
                  </a:lnTo>
                  <a:lnTo>
                    <a:pt x="128" y="169"/>
                  </a:lnTo>
                  <a:lnTo>
                    <a:pt x="130" y="172"/>
                  </a:lnTo>
                  <a:lnTo>
                    <a:pt x="130" y="176"/>
                  </a:lnTo>
                  <a:lnTo>
                    <a:pt x="132" y="178"/>
                  </a:lnTo>
                  <a:lnTo>
                    <a:pt x="132" y="188"/>
                  </a:lnTo>
                  <a:lnTo>
                    <a:pt x="130" y="195"/>
                  </a:lnTo>
                  <a:lnTo>
                    <a:pt x="130" y="211"/>
                  </a:lnTo>
                  <a:lnTo>
                    <a:pt x="128" y="215"/>
                  </a:lnTo>
                  <a:lnTo>
                    <a:pt x="128" y="217"/>
                  </a:lnTo>
                  <a:lnTo>
                    <a:pt x="126" y="218"/>
                  </a:lnTo>
                  <a:lnTo>
                    <a:pt x="124" y="220"/>
                  </a:lnTo>
                  <a:lnTo>
                    <a:pt x="121" y="220"/>
                  </a:lnTo>
                  <a:lnTo>
                    <a:pt x="117" y="220"/>
                  </a:lnTo>
                  <a:lnTo>
                    <a:pt x="115" y="220"/>
                  </a:lnTo>
                  <a:lnTo>
                    <a:pt x="113" y="218"/>
                  </a:lnTo>
                  <a:lnTo>
                    <a:pt x="113" y="217"/>
                  </a:lnTo>
                  <a:lnTo>
                    <a:pt x="111" y="215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5" y="213"/>
                  </a:lnTo>
                  <a:lnTo>
                    <a:pt x="103" y="213"/>
                  </a:lnTo>
                  <a:lnTo>
                    <a:pt x="101" y="217"/>
                  </a:lnTo>
                  <a:lnTo>
                    <a:pt x="99" y="220"/>
                  </a:lnTo>
                  <a:lnTo>
                    <a:pt x="97" y="220"/>
                  </a:lnTo>
                  <a:lnTo>
                    <a:pt x="96" y="222"/>
                  </a:lnTo>
                  <a:lnTo>
                    <a:pt x="92" y="222"/>
                  </a:lnTo>
                  <a:lnTo>
                    <a:pt x="90" y="222"/>
                  </a:lnTo>
                  <a:lnTo>
                    <a:pt x="88" y="220"/>
                  </a:lnTo>
                  <a:lnTo>
                    <a:pt x="84" y="220"/>
                  </a:lnTo>
                  <a:lnTo>
                    <a:pt x="82" y="218"/>
                  </a:lnTo>
                  <a:lnTo>
                    <a:pt x="80" y="215"/>
                  </a:lnTo>
                  <a:lnTo>
                    <a:pt x="78" y="215"/>
                  </a:lnTo>
                  <a:lnTo>
                    <a:pt x="76" y="213"/>
                  </a:lnTo>
                  <a:lnTo>
                    <a:pt x="74" y="211"/>
                  </a:lnTo>
                  <a:lnTo>
                    <a:pt x="73" y="211"/>
                  </a:lnTo>
                  <a:lnTo>
                    <a:pt x="73" y="203"/>
                  </a:lnTo>
                  <a:lnTo>
                    <a:pt x="71" y="201"/>
                  </a:lnTo>
                  <a:lnTo>
                    <a:pt x="71" y="197"/>
                  </a:lnTo>
                  <a:lnTo>
                    <a:pt x="67" y="195"/>
                  </a:lnTo>
                  <a:lnTo>
                    <a:pt x="67" y="194"/>
                  </a:lnTo>
                  <a:lnTo>
                    <a:pt x="63" y="194"/>
                  </a:lnTo>
                  <a:lnTo>
                    <a:pt x="61" y="197"/>
                  </a:lnTo>
                  <a:lnTo>
                    <a:pt x="57" y="199"/>
                  </a:lnTo>
                  <a:lnTo>
                    <a:pt x="55" y="201"/>
                  </a:lnTo>
                  <a:lnTo>
                    <a:pt x="53" y="207"/>
                  </a:lnTo>
                  <a:lnTo>
                    <a:pt x="53" y="211"/>
                  </a:lnTo>
                  <a:lnTo>
                    <a:pt x="53" y="213"/>
                  </a:lnTo>
                  <a:lnTo>
                    <a:pt x="53" y="217"/>
                  </a:lnTo>
                  <a:lnTo>
                    <a:pt x="50" y="220"/>
                  </a:lnTo>
                  <a:lnTo>
                    <a:pt x="46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36" y="220"/>
                  </a:lnTo>
                  <a:lnTo>
                    <a:pt x="32" y="220"/>
                  </a:lnTo>
                  <a:lnTo>
                    <a:pt x="30" y="217"/>
                  </a:lnTo>
                  <a:lnTo>
                    <a:pt x="28" y="213"/>
                  </a:lnTo>
                  <a:lnTo>
                    <a:pt x="27" y="213"/>
                  </a:lnTo>
                  <a:lnTo>
                    <a:pt x="23" y="217"/>
                  </a:lnTo>
                  <a:lnTo>
                    <a:pt x="21" y="220"/>
                  </a:lnTo>
                  <a:lnTo>
                    <a:pt x="21" y="230"/>
                  </a:lnTo>
                  <a:lnTo>
                    <a:pt x="21" y="238"/>
                  </a:lnTo>
                  <a:lnTo>
                    <a:pt x="19" y="240"/>
                  </a:lnTo>
                  <a:lnTo>
                    <a:pt x="19" y="243"/>
                  </a:lnTo>
                  <a:lnTo>
                    <a:pt x="17" y="245"/>
                  </a:lnTo>
                  <a:lnTo>
                    <a:pt x="17" y="247"/>
                  </a:lnTo>
                  <a:lnTo>
                    <a:pt x="17" y="251"/>
                  </a:lnTo>
                  <a:lnTo>
                    <a:pt x="13" y="253"/>
                  </a:lnTo>
                  <a:lnTo>
                    <a:pt x="13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9" y="263"/>
                  </a:lnTo>
                  <a:lnTo>
                    <a:pt x="5" y="265"/>
                  </a:lnTo>
                  <a:lnTo>
                    <a:pt x="2" y="265"/>
                  </a:lnTo>
                  <a:lnTo>
                    <a:pt x="2" y="266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68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3" name="Freeform 49"/>
            <p:cNvSpPr>
              <a:spLocks/>
            </p:cNvSpPr>
            <p:nvPr/>
          </p:nvSpPr>
          <p:spPr bwMode="auto">
            <a:xfrm>
              <a:off x="1609" y="2485"/>
              <a:ext cx="54" cy="70"/>
            </a:xfrm>
            <a:custGeom>
              <a:avLst/>
              <a:gdLst/>
              <a:ahLst/>
              <a:cxnLst>
                <a:cxn ang="0">
                  <a:pos x="17" y="66"/>
                </a:cxn>
                <a:cxn ang="0">
                  <a:pos x="15" y="64"/>
                </a:cxn>
                <a:cxn ang="0">
                  <a:pos x="15" y="62"/>
                </a:cxn>
                <a:cxn ang="0">
                  <a:pos x="13" y="58"/>
                </a:cxn>
                <a:cxn ang="0">
                  <a:pos x="13" y="56"/>
                </a:cxn>
                <a:cxn ang="0">
                  <a:pos x="13" y="54"/>
                </a:cxn>
                <a:cxn ang="0">
                  <a:pos x="15" y="50"/>
                </a:cxn>
                <a:cxn ang="0">
                  <a:pos x="19" y="47"/>
                </a:cxn>
                <a:cxn ang="0">
                  <a:pos x="21" y="45"/>
                </a:cxn>
                <a:cxn ang="0">
                  <a:pos x="23" y="43"/>
                </a:cxn>
                <a:cxn ang="0">
                  <a:pos x="25" y="41"/>
                </a:cxn>
                <a:cxn ang="0">
                  <a:pos x="29" y="37"/>
                </a:cxn>
                <a:cxn ang="0">
                  <a:pos x="29" y="35"/>
                </a:cxn>
                <a:cxn ang="0">
                  <a:pos x="31" y="33"/>
                </a:cxn>
                <a:cxn ang="0">
                  <a:pos x="33" y="29"/>
                </a:cxn>
                <a:cxn ang="0">
                  <a:pos x="33" y="25"/>
                </a:cxn>
                <a:cxn ang="0">
                  <a:pos x="34" y="22"/>
                </a:cxn>
                <a:cxn ang="0">
                  <a:pos x="38" y="20"/>
                </a:cxn>
                <a:cxn ang="0">
                  <a:pos x="42" y="16"/>
                </a:cxn>
                <a:cxn ang="0">
                  <a:pos x="48" y="12"/>
                </a:cxn>
                <a:cxn ang="0">
                  <a:pos x="50" y="8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6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9" y="4"/>
                </a:cxn>
                <a:cxn ang="0">
                  <a:pos x="27" y="8"/>
                </a:cxn>
                <a:cxn ang="0">
                  <a:pos x="25" y="10"/>
                </a:cxn>
                <a:cxn ang="0">
                  <a:pos x="21" y="12"/>
                </a:cxn>
                <a:cxn ang="0">
                  <a:pos x="19" y="14"/>
                </a:cxn>
                <a:cxn ang="0">
                  <a:pos x="19" y="18"/>
                </a:cxn>
                <a:cxn ang="0">
                  <a:pos x="15" y="20"/>
                </a:cxn>
                <a:cxn ang="0">
                  <a:pos x="13" y="23"/>
                </a:cxn>
                <a:cxn ang="0">
                  <a:pos x="10" y="27"/>
                </a:cxn>
                <a:cxn ang="0">
                  <a:pos x="8" y="31"/>
                </a:cxn>
                <a:cxn ang="0">
                  <a:pos x="6" y="33"/>
                </a:cxn>
                <a:cxn ang="0">
                  <a:pos x="4" y="37"/>
                </a:cxn>
                <a:cxn ang="0">
                  <a:pos x="0" y="39"/>
                </a:cxn>
                <a:cxn ang="0">
                  <a:pos x="4" y="43"/>
                </a:cxn>
                <a:cxn ang="0">
                  <a:pos x="6" y="47"/>
                </a:cxn>
                <a:cxn ang="0">
                  <a:pos x="8" y="48"/>
                </a:cxn>
                <a:cxn ang="0">
                  <a:pos x="10" y="54"/>
                </a:cxn>
                <a:cxn ang="0">
                  <a:pos x="11" y="54"/>
                </a:cxn>
                <a:cxn ang="0">
                  <a:pos x="13" y="54"/>
                </a:cxn>
                <a:cxn ang="0">
                  <a:pos x="13" y="58"/>
                </a:cxn>
                <a:cxn ang="0">
                  <a:pos x="15" y="62"/>
                </a:cxn>
                <a:cxn ang="0">
                  <a:pos x="15" y="64"/>
                </a:cxn>
                <a:cxn ang="0">
                  <a:pos x="17" y="68"/>
                </a:cxn>
                <a:cxn ang="0">
                  <a:pos x="17" y="70"/>
                </a:cxn>
              </a:cxnLst>
              <a:rect l="0" t="0" r="r" b="b"/>
              <a:pathLst>
                <a:path w="54" h="70">
                  <a:moveTo>
                    <a:pt x="19" y="70"/>
                  </a:moveTo>
                  <a:lnTo>
                    <a:pt x="17" y="68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5" y="64"/>
                  </a:lnTo>
                  <a:lnTo>
                    <a:pt x="15" y="64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5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3" y="23"/>
                  </a:lnTo>
                  <a:lnTo>
                    <a:pt x="34" y="23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2" y="6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17" y="18"/>
                  </a:lnTo>
                  <a:lnTo>
                    <a:pt x="17" y="20"/>
                  </a:lnTo>
                  <a:lnTo>
                    <a:pt x="15" y="20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4"/>
                  </a:lnTo>
                  <a:lnTo>
                    <a:pt x="17" y="64"/>
                  </a:lnTo>
                  <a:lnTo>
                    <a:pt x="17" y="66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9" y="7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4" name="Freeform 50"/>
            <p:cNvSpPr>
              <a:spLocks/>
            </p:cNvSpPr>
            <p:nvPr/>
          </p:nvSpPr>
          <p:spPr bwMode="auto">
            <a:xfrm>
              <a:off x="1609" y="2485"/>
              <a:ext cx="54" cy="70"/>
            </a:xfrm>
            <a:custGeom>
              <a:avLst/>
              <a:gdLst/>
              <a:ahLst/>
              <a:cxnLst>
                <a:cxn ang="0">
                  <a:pos x="17" y="66"/>
                </a:cxn>
                <a:cxn ang="0">
                  <a:pos x="15" y="64"/>
                </a:cxn>
                <a:cxn ang="0">
                  <a:pos x="15" y="62"/>
                </a:cxn>
                <a:cxn ang="0">
                  <a:pos x="13" y="58"/>
                </a:cxn>
                <a:cxn ang="0">
                  <a:pos x="13" y="56"/>
                </a:cxn>
                <a:cxn ang="0">
                  <a:pos x="13" y="54"/>
                </a:cxn>
                <a:cxn ang="0">
                  <a:pos x="15" y="50"/>
                </a:cxn>
                <a:cxn ang="0">
                  <a:pos x="19" y="47"/>
                </a:cxn>
                <a:cxn ang="0">
                  <a:pos x="21" y="45"/>
                </a:cxn>
                <a:cxn ang="0">
                  <a:pos x="23" y="43"/>
                </a:cxn>
                <a:cxn ang="0">
                  <a:pos x="25" y="41"/>
                </a:cxn>
                <a:cxn ang="0">
                  <a:pos x="29" y="37"/>
                </a:cxn>
                <a:cxn ang="0">
                  <a:pos x="29" y="35"/>
                </a:cxn>
                <a:cxn ang="0">
                  <a:pos x="31" y="33"/>
                </a:cxn>
                <a:cxn ang="0">
                  <a:pos x="33" y="29"/>
                </a:cxn>
                <a:cxn ang="0">
                  <a:pos x="33" y="25"/>
                </a:cxn>
                <a:cxn ang="0">
                  <a:pos x="34" y="22"/>
                </a:cxn>
                <a:cxn ang="0">
                  <a:pos x="38" y="20"/>
                </a:cxn>
                <a:cxn ang="0">
                  <a:pos x="42" y="16"/>
                </a:cxn>
                <a:cxn ang="0">
                  <a:pos x="48" y="12"/>
                </a:cxn>
                <a:cxn ang="0">
                  <a:pos x="50" y="8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6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9" y="4"/>
                </a:cxn>
                <a:cxn ang="0">
                  <a:pos x="27" y="8"/>
                </a:cxn>
                <a:cxn ang="0">
                  <a:pos x="25" y="10"/>
                </a:cxn>
                <a:cxn ang="0">
                  <a:pos x="21" y="12"/>
                </a:cxn>
                <a:cxn ang="0">
                  <a:pos x="19" y="14"/>
                </a:cxn>
                <a:cxn ang="0">
                  <a:pos x="19" y="18"/>
                </a:cxn>
                <a:cxn ang="0">
                  <a:pos x="15" y="20"/>
                </a:cxn>
                <a:cxn ang="0">
                  <a:pos x="13" y="23"/>
                </a:cxn>
                <a:cxn ang="0">
                  <a:pos x="10" y="27"/>
                </a:cxn>
                <a:cxn ang="0">
                  <a:pos x="8" y="31"/>
                </a:cxn>
                <a:cxn ang="0">
                  <a:pos x="6" y="33"/>
                </a:cxn>
                <a:cxn ang="0">
                  <a:pos x="4" y="37"/>
                </a:cxn>
                <a:cxn ang="0">
                  <a:pos x="0" y="39"/>
                </a:cxn>
                <a:cxn ang="0">
                  <a:pos x="4" y="43"/>
                </a:cxn>
                <a:cxn ang="0">
                  <a:pos x="6" y="47"/>
                </a:cxn>
                <a:cxn ang="0">
                  <a:pos x="8" y="48"/>
                </a:cxn>
                <a:cxn ang="0">
                  <a:pos x="10" y="54"/>
                </a:cxn>
                <a:cxn ang="0">
                  <a:pos x="11" y="54"/>
                </a:cxn>
                <a:cxn ang="0">
                  <a:pos x="13" y="54"/>
                </a:cxn>
                <a:cxn ang="0">
                  <a:pos x="13" y="58"/>
                </a:cxn>
                <a:cxn ang="0">
                  <a:pos x="15" y="62"/>
                </a:cxn>
                <a:cxn ang="0">
                  <a:pos x="15" y="64"/>
                </a:cxn>
                <a:cxn ang="0">
                  <a:pos x="17" y="68"/>
                </a:cxn>
                <a:cxn ang="0">
                  <a:pos x="17" y="70"/>
                </a:cxn>
              </a:cxnLst>
              <a:rect l="0" t="0" r="r" b="b"/>
              <a:pathLst>
                <a:path w="54" h="70">
                  <a:moveTo>
                    <a:pt x="19" y="70"/>
                  </a:moveTo>
                  <a:lnTo>
                    <a:pt x="17" y="68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5" y="64"/>
                  </a:lnTo>
                  <a:lnTo>
                    <a:pt x="15" y="64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5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3" y="23"/>
                  </a:lnTo>
                  <a:lnTo>
                    <a:pt x="34" y="23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2" y="6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17" y="18"/>
                  </a:lnTo>
                  <a:lnTo>
                    <a:pt x="17" y="20"/>
                  </a:lnTo>
                  <a:lnTo>
                    <a:pt x="15" y="20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4"/>
                  </a:lnTo>
                  <a:lnTo>
                    <a:pt x="17" y="64"/>
                  </a:lnTo>
                  <a:lnTo>
                    <a:pt x="17" y="66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9" y="7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5" name="Freeform 51"/>
            <p:cNvSpPr>
              <a:spLocks/>
            </p:cNvSpPr>
            <p:nvPr/>
          </p:nvSpPr>
          <p:spPr bwMode="auto">
            <a:xfrm>
              <a:off x="1620" y="2130"/>
              <a:ext cx="684" cy="691"/>
            </a:xfrm>
            <a:custGeom>
              <a:avLst/>
              <a:gdLst/>
              <a:ahLst/>
              <a:cxnLst>
                <a:cxn ang="0">
                  <a:pos x="29" y="373"/>
                </a:cxn>
                <a:cxn ang="0">
                  <a:pos x="81" y="361"/>
                </a:cxn>
                <a:cxn ang="0">
                  <a:pos x="100" y="373"/>
                </a:cxn>
                <a:cxn ang="0">
                  <a:pos x="125" y="340"/>
                </a:cxn>
                <a:cxn ang="0">
                  <a:pos x="152" y="307"/>
                </a:cxn>
                <a:cxn ang="0">
                  <a:pos x="148" y="265"/>
                </a:cxn>
                <a:cxn ang="0">
                  <a:pos x="175" y="233"/>
                </a:cxn>
                <a:cxn ang="0">
                  <a:pos x="202" y="198"/>
                </a:cxn>
                <a:cxn ang="0">
                  <a:pos x="217" y="154"/>
                </a:cxn>
                <a:cxn ang="0">
                  <a:pos x="213" y="104"/>
                </a:cxn>
                <a:cxn ang="0">
                  <a:pos x="225" y="62"/>
                </a:cxn>
                <a:cxn ang="0">
                  <a:pos x="242" y="20"/>
                </a:cxn>
                <a:cxn ang="0">
                  <a:pos x="281" y="2"/>
                </a:cxn>
                <a:cxn ang="0">
                  <a:pos x="309" y="31"/>
                </a:cxn>
                <a:cxn ang="0">
                  <a:pos x="353" y="45"/>
                </a:cxn>
                <a:cxn ang="0">
                  <a:pos x="380" y="24"/>
                </a:cxn>
                <a:cxn ang="0">
                  <a:pos x="424" y="27"/>
                </a:cxn>
                <a:cxn ang="0">
                  <a:pos x="461" y="10"/>
                </a:cxn>
                <a:cxn ang="0">
                  <a:pos x="501" y="6"/>
                </a:cxn>
                <a:cxn ang="0">
                  <a:pos x="551" y="12"/>
                </a:cxn>
                <a:cxn ang="0">
                  <a:pos x="586" y="37"/>
                </a:cxn>
                <a:cxn ang="0">
                  <a:pos x="624" y="25"/>
                </a:cxn>
                <a:cxn ang="0">
                  <a:pos x="653" y="43"/>
                </a:cxn>
                <a:cxn ang="0">
                  <a:pos x="680" y="70"/>
                </a:cxn>
                <a:cxn ang="0">
                  <a:pos x="680" y="116"/>
                </a:cxn>
                <a:cxn ang="0">
                  <a:pos x="676" y="154"/>
                </a:cxn>
                <a:cxn ang="0">
                  <a:pos x="643" y="173"/>
                </a:cxn>
                <a:cxn ang="0">
                  <a:pos x="630" y="217"/>
                </a:cxn>
                <a:cxn ang="0">
                  <a:pos x="626" y="265"/>
                </a:cxn>
                <a:cxn ang="0">
                  <a:pos x="611" y="306"/>
                </a:cxn>
                <a:cxn ang="0">
                  <a:pos x="622" y="352"/>
                </a:cxn>
                <a:cxn ang="0">
                  <a:pos x="637" y="396"/>
                </a:cxn>
                <a:cxn ang="0">
                  <a:pos x="643" y="440"/>
                </a:cxn>
                <a:cxn ang="0">
                  <a:pos x="664" y="478"/>
                </a:cxn>
                <a:cxn ang="0">
                  <a:pos x="666" y="503"/>
                </a:cxn>
                <a:cxn ang="0">
                  <a:pos x="616" y="513"/>
                </a:cxn>
                <a:cxn ang="0">
                  <a:pos x="597" y="547"/>
                </a:cxn>
                <a:cxn ang="0">
                  <a:pos x="595" y="586"/>
                </a:cxn>
                <a:cxn ang="0">
                  <a:pos x="582" y="622"/>
                </a:cxn>
                <a:cxn ang="0">
                  <a:pos x="622" y="641"/>
                </a:cxn>
                <a:cxn ang="0">
                  <a:pos x="666" y="632"/>
                </a:cxn>
                <a:cxn ang="0">
                  <a:pos x="678" y="674"/>
                </a:cxn>
                <a:cxn ang="0">
                  <a:pos x="641" y="691"/>
                </a:cxn>
                <a:cxn ang="0">
                  <a:pos x="597" y="674"/>
                </a:cxn>
                <a:cxn ang="0">
                  <a:pos x="570" y="636"/>
                </a:cxn>
                <a:cxn ang="0">
                  <a:pos x="522" y="630"/>
                </a:cxn>
                <a:cxn ang="0">
                  <a:pos x="482" y="626"/>
                </a:cxn>
                <a:cxn ang="0">
                  <a:pos x="453" y="599"/>
                </a:cxn>
                <a:cxn ang="0">
                  <a:pos x="411" y="591"/>
                </a:cxn>
                <a:cxn ang="0">
                  <a:pos x="365" y="590"/>
                </a:cxn>
                <a:cxn ang="0">
                  <a:pos x="353" y="549"/>
                </a:cxn>
                <a:cxn ang="0">
                  <a:pos x="342" y="509"/>
                </a:cxn>
                <a:cxn ang="0">
                  <a:pos x="329" y="465"/>
                </a:cxn>
                <a:cxn ang="0">
                  <a:pos x="286" y="455"/>
                </a:cxn>
                <a:cxn ang="0">
                  <a:pos x="258" y="480"/>
                </a:cxn>
                <a:cxn ang="0">
                  <a:pos x="217" y="496"/>
                </a:cxn>
                <a:cxn ang="0">
                  <a:pos x="187" y="471"/>
                </a:cxn>
                <a:cxn ang="0">
                  <a:pos x="162" y="444"/>
                </a:cxn>
                <a:cxn ang="0">
                  <a:pos x="141" y="409"/>
                </a:cxn>
                <a:cxn ang="0">
                  <a:pos x="87" y="405"/>
                </a:cxn>
                <a:cxn ang="0">
                  <a:pos x="35" y="413"/>
                </a:cxn>
              </a:cxnLst>
              <a:rect l="0" t="0" r="r" b="b"/>
              <a:pathLst>
                <a:path w="684" h="691">
                  <a:moveTo>
                    <a:pt x="0" y="407"/>
                  </a:moveTo>
                  <a:lnTo>
                    <a:pt x="4" y="403"/>
                  </a:lnTo>
                  <a:lnTo>
                    <a:pt x="8" y="400"/>
                  </a:lnTo>
                  <a:lnTo>
                    <a:pt x="10" y="398"/>
                  </a:lnTo>
                  <a:lnTo>
                    <a:pt x="12" y="398"/>
                  </a:lnTo>
                  <a:lnTo>
                    <a:pt x="14" y="398"/>
                  </a:lnTo>
                  <a:lnTo>
                    <a:pt x="16" y="396"/>
                  </a:lnTo>
                  <a:lnTo>
                    <a:pt x="18" y="394"/>
                  </a:lnTo>
                  <a:lnTo>
                    <a:pt x="20" y="392"/>
                  </a:lnTo>
                  <a:lnTo>
                    <a:pt x="20" y="386"/>
                  </a:lnTo>
                  <a:lnTo>
                    <a:pt x="22" y="386"/>
                  </a:lnTo>
                  <a:lnTo>
                    <a:pt x="22" y="382"/>
                  </a:lnTo>
                  <a:lnTo>
                    <a:pt x="22" y="380"/>
                  </a:lnTo>
                  <a:lnTo>
                    <a:pt x="22" y="378"/>
                  </a:lnTo>
                  <a:lnTo>
                    <a:pt x="25" y="377"/>
                  </a:lnTo>
                  <a:lnTo>
                    <a:pt x="25" y="375"/>
                  </a:lnTo>
                  <a:lnTo>
                    <a:pt x="29" y="373"/>
                  </a:lnTo>
                  <a:lnTo>
                    <a:pt x="31" y="371"/>
                  </a:lnTo>
                  <a:lnTo>
                    <a:pt x="33" y="367"/>
                  </a:lnTo>
                  <a:lnTo>
                    <a:pt x="37" y="365"/>
                  </a:lnTo>
                  <a:lnTo>
                    <a:pt x="37" y="363"/>
                  </a:lnTo>
                  <a:lnTo>
                    <a:pt x="41" y="361"/>
                  </a:lnTo>
                  <a:lnTo>
                    <a:pt x="43" y="361"/>
                  </a:lnTo>
                  <a:lnTo>
                    <a:pt x="46" y="361"/>
                  </a:lnTo>
                  <a:lnTo>
                    <a:pt x="50" y="361"/>
                  </a:lnTo>
                  <a:lnTo>
                    <a:pt x="54" y="361"/>
                  </a:lnTo>
                  <a:lnTo>
                    <a:pt x="58" y="361"/>
                  </a:lnTo>
                  <a:lnTo>
                    <a:pt x="62" y="361"/>
                  </a:lnTo>
                  <a:lnTo>
                    <a:pt x="64" y="359"/>
                  </a:lnTo>
                  <a:lnTo>
                    <a:pt x="68" y="359"/>
                  </a:lnTo>
                  <a:lnTo>
                    <a:pt x="71" y="357"/>
                  </a:lnTo>
                  <a:lnTo>
                    <a:pt x="73" y="359"/>
                  </a:lnTo>
                  <a:lnTo>
                    <a:pt x="77" y="361"/>
                  </a:lnTo>
                  <a:lnTo>
                    <a:pt x="81" y="361"/>
                  </a:lnTo>
                  <a:lnTo>
                    <a:pt x="81" y="363"/>
                  </a:lnTo>
                  <a:lnTo>
                    <a:pt x="81" y="365"/>
                  </a:lnTo>
                  <a:lnTo>
                    <a:pt x="81" y="369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5" y="378"/>
                  </a:lnTo>
                  <a:lnTo>
                    <a:pt x="89" y="378"/>
                  </a:lnTo>
                  <a:lnTo>
                    <a:pt x="91" y="377"/>
                  </a:lnTo>
                  <a:lnTo>
                    <a:pt x="93" y="377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100" y="375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4" y="373"/>
                  </a:lnTo>
                  <a:lnTo>
                    <a:pt x="106" y="371"/>
                  </a:lnTo>
                  <a:lnTo>
                    <a:pt x="106" y="367"/>
                  </a:lnTo>
                  <a:lnTo>
                    <a:pt x="108" y="365"/>
                  </a:lnTo>
                  <a:lnTo>
                    <a:pt x="110" y="363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7"/>
                  </a:lnTo>
                  <a:lnTo>
                    <a:pt x="116" y="357"/>
                  </a:lnTo>
                  <a:lnTo>
                    <a:pt x="117" y="355"/>
                  </a:lnTo>
                  <a:lnTo>
                    <a:pt x="117" y="354"/>
                  </a:lnTo>
                  <a:lnTo>
                    <a:pt x="121" y="354"/>
                  </a:lnTo>
                  <a:lnTo>
                    <a:pt x="121" y="350"/>
                  </a:lnTo>
                  <a:lnTo>
                    <a:pt x="123" y="348"/>
                  </a:lnTo>
                  <a:lnTo>
                    <a:pt x="123" y="344"/>
                  </a:lnTo>
                  <a:lnTo>
                    <a:pt x="125" y="342"/>
                  </a:lnTo>
                  <a:lnTo>
                    <a:pt x="125" y="340"/>
                  </a:lnTo>
                  <a:lnTo>
                    <a:pt x="127" y="338"/>
                  </a:lnTo>
                  <a:lnTo>
                    <a:pt x="129" y="336"/>
                  </a:lnTo>
                  <a:lnTo>
                    <a:pt x="131" y="334"/>
                  </a:lnTo>
                  <a:lnTo>
                    <a:pt x="133" y="332"/>
                  </a:lnTo>
                  <a:lnTo>
                    <a:pt x="135" y="331"/>
                  </a:lnTo>
                  <a:lnTo>
                    <a:pt x="135" y="327"/>
                  </a:lnTo>
                  <a:lnTo>
                    <a:pt x="137" y="327"/>
                  </a:lnTo>
                  <a:lnTo>
                    <a:pt x="139" y="325"/>
                  </a:lnTo>
                  <a:lnTo>
                    <a:pt x="141" y="323"/>
                  </a:lnTo>
                  <a:lnTo>
                    <a:pt x="141" y="321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7"/>
                  </a:lnTo>
                  <a:lnTo>
                    <a:pt x="148" y="315"/>
                  </a:lnTo>
                  <a:lnTo>
                    <a:pt x="148" y="311"/>
                  </a:lnTo>
                  <a:lnTo>
                    <a:pt x="150" y="309"/>
                  </a:lnTo>
                  <a:lnTo>
                    <a:pt x="152" y="307"/>
                  </a:lnTo>
                  <a:lnTo>
                    <a:pt x="152" y="306"/>
                  </a:lnTo>
                  <a:lnTo>
                    <a:pt x="150" y="304"/>
                  </a:lnTo>
                  <a:lnTo>
                    <a:pt x="150" y="300"/>
                  </a:lnTo>
                  <a:lnTo>
                    <a:pt x="150" y="296"/>
                  </a:lnTo>
                  <a:lnTo>
                    <a:pt x="150" y="294"/>
                  </a:lnTo>
                  <a:lnTo>
                    <a:pt x="150" y="290"/>
                  </a:lnTo>
                  <a:lnTo>
                    <a:pt x="150" y="288"/>
                  </a:lnTo>
                  <a:lnTo>
                    <a:pt x="148" y="286"/>
                  </a:lnTo>
                  <a:lnTo>
                    <a:pt x="148" y="284"/>
                  </a:lnTo>
                  <a:lnTo>
                    <a:pt x="148" y="283"/>
                  </a:lnTo>
                  <a:lnTo>
                    <a:pt x="146" y="281"/>
                  </a:lnTo>
                  <a:lnTo>
                    <a:pt x="146" y="277"/>
                  </a:lnTo>
                  <a:lnTo>
                    <a:pt x="146" y="275"/>
                  </a:lnTo>
                  <a:lnTo>
                    <a:pt x="146" y="271"/>
                  </a:lnTo>
                  <a:lnTo>
                    <a:pt x="146" y="269"/>
                  </a:lnTo>
                  <a:lnTo>
                    <a:pt x="148" y="267"/>
                  </a:lnTo>
                  <a:lnTo>
                    <a:pt x="148" y="265"/>
                  </a:lnTo>
                  <a:lnTo>
                    <a:pt x="148" y="261"/>
                  </a:lnTo>
                  <a:lnTo>
                    <a:pt x="150" y="260"/>
                  </a:lnTo>
                  <a:lnTo>
                    <a:pt x="150" y="256"/>
                  </a:lnTo>
                  <a:lnTo>
                    <a:pt x="154" y="256"/>
                  </a:lnTo>
                  <a:lnTo>
                    <a:pt x="156" y="252"/>
                  </a:lnTo>
                  <a:lnTo>
                    <a:pt x="158" y="250"/>
                  </a:lnTo>
                  <a:lnTo>
                    <a:pt x="162" y="250"/>
                  </a:lnTo>
                  <a:lnTo>
                    <a:pt x="162" y="248"/>
                  </a:lnTo>
                  <a:lnTo>
                    <a:pt x="164" y="246"/>
                  </a:lnTo>
                  <a:lnTo>
                    <a:pt x="164" y="244"/>
                  </a:lnTo>
                  <a:lnTo>
                    <a:pt x="165" y="242"/>
                  </a:lnTo>
                  <a:lnTo>
                    <a:pt x="167" y="240"/>
                  </a:lnTo>
                  <a:lnTo>
                    <a:pt x="169" y="238"/>
                  </a:lnTo>
                  <a:lnTo>
                    <a:pt x="171" y="236"/>
                  </a:lnTo>
                  <a:lnTo>
                    <a:pt x="171" y="236"/>
                  </a:lnTo>
                  <a:lnTo>
                    <a:pt x="173" y="235"/>
                  </a:lnTo>
                  <a:lnTo>
                    <a:pt x="175" y="233"/>
                  </a:lnTo>
                  <a:lnTo>
                    <a:pt x="179" y="231"/>
                  </a:lnTo>
                  <a:lnTo>
                    <a:pt x="179" y="227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5" y="223"/>
                  </a:lnTo>
                  <a:lnTo>
                    <a:pt x="187" y="219"/>
                  </a:lnTo>
                  <a:lnTo>
                    <a:pt x="190" y="215"/>
                  </a:lnTo>
                  <a:lnTo>
                    <a:pt x="190" y="213"/>
                  </a:lnTo>
                  <a:lnTo>
                    <a:pt x="192" y="212"/>
                  </a:lnTo>
                  <a:lnTo>
                    <a:pt x="194" y="212"/>
                  </a:lnTo>
                  <a:lnTo>
                    <a:pt x="196" y="210"/>
                  </a:lnTo>
                  <a:lnTo>
                    <a:pt x="198" y="208"/>
                  </a:lnTo>
                  <a:lnTo>
                    <a:pt x="198" y="206"/>
                  </a:lnTo>
                  <a:lnTo>
                    <a:pt x="200" y="204"/>
                  </a:lnTo>
                  <a:lnTo>
                    <a:pt x="202" y="202"/>
                  </a:lnTo>
                  <a:lnTo>
                    <a:pt x="202" y="198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2"/>
                  </a:lnTo>
                  <a:lnTo>
                    <a:pt x="208" y="190"/>
                  </a:lnTo>
                  <a:lnTo>
                    <a:pt x="210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1"/>
                  </a:lnTo>
                  <a:lnTo>
                    <a:pt x="212" y="177"/>
                  </a:lnTo>
                  <a:lnTo>
                    <a:pt x="212" y="175"/>
                  </a:lnTo>
                  <a:lnTo>
                    <a:pt x="212" y="171"/>
                  </a:lnTo>
                  <a:lnTo>
                    <a:pt x="212" y="167"/>
                  </a:lnTo>
                  <a:lnTo>
                    <a:pt x="215" y="165"/>
                  </a:lnTo>
                  <a:lnTo>
                    <a:pt x="217" y="164"/>
                  </a:lnTo>
                  <a:lnTo>
                    <a:pt x="217" y="160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5" y="152"/>
                  </a:lnTo>
                  <a:lnTo>
                    <a:pt x="213" y="150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1"/>
                  </a:lnTo>
                  <a:lnTo>
                    <a:pt x="213" y="137"/>
                  </a:lnTo>
                  <a:lnTo>
                    <a:pt x="212" y="135"/>
                  </a:lnTo>
                  <a:lnTo>
                    <a:pt x="212" y="131"/>
                  </a:lnTo>
                  <a:lnTo>
                    <a:pt x="212" y="127"/>
                  </a:lnTo>
                  <a:lnTo>
                    <a:pt x="212" y="125"/>
                  </a:lnTo>
                  <a:lnTo>
                    <a:pt x="212" y="121"/>
                  </a:lnTo>
                  <a:lnTo>
                    <a:pt x="212" y="118"/>
                  </a:lnTo>
                  <a:lnTo>
                    <a:pt x="212" y="116"/>
                  </a:lnTo>
                  <a:lnTo>
                    <a:pt x="212" y="112"/>
                  </a:lnTo>
                  <a:lnTo>
                    <a:pt x="212" y="110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3" y="102"/>
                  </a:lnTo>
                  <a:lnTo>
                    <a:pt x="215" y="100"/>
                  </a:lnTo>
                  <a:lnTo>
                    <a:pt x="215" y="96"/>
                  </a:lnTo>
                  <a:lnTo>
                    <a:pt x="217" y="96"/>
                  </a:lnTo>
                  <a:lnTo>
                    <a:pt x="219" y="95"/>
                  </a:lnTo>
                  <a:lnTo>
                    <a:pt x="219" y="91"/>
                  </a:lnTo>
                  <a:lnTo>
                    <a:pt x="221" y="91"/>
                  </a:lnTo>
                  <a:lnTo>
                    <a:pt x="221" y="89"/>
                  </a:lnTo>
                  <a:lnTo>
                    <a:pt x="223" y="87"/>
                  </a:lnTo>
                  <a:lnTo>
                    <a:pt x="225" y="85"/>
                  </a:lnTo>
                  <a:lnTo>
                    <a:pt x="225" y="81"/>
                  </a:lnTo>
                  <a:lnTo>
                    <a:pt x="225" y="77"/>
                  </a:lnTo>
                  <a:lnTo>
                    <a:pt x="225" y="75"/>
                  </a:lnTo>
                  <a:lnTo>
                    <a:pt x="225" y="71"/>
                  </a:lnTo>
                  <a:lnTo>
                    <a:pt x="225" y="68"/>
                  </a:lnTo>
                  <a:lnTo>
                    <a:pt x="225" y="66"/>
                  </a:lnTo>
                  <a:lnTo>
                    <a:pt x="225" y="62"/>
                  </a:lnTo>
                  <a:lnTo>
                    <a:pt x="225" y="58"/>
                  </a:lnTo>
                  <a:lnTo>
                    <a:pt x="225" y="56"/>
                  </a:lnTo>
                  <a:lnTo>
                    <a:pt x="225" y="52"/>
                  </a:lnTo>
                  <a:lnTo>
                    <a:pt x="227" y="50"/>
                  </a:lnTo>
                  <a:lnTo>
                    <a:pt x="227" y="47"/>
                  </a:lnTo>
                  <a:lnTo>
                    <a:pt x="227" y="45"/>
                  </a:lnTo>
                  <a:lnTo>
                    <a:pt x="227" y="41"/>
                  </a:lnTo>
                  <a:lnTo>
                    <a:pt x="229" y="39"/>
                  </a:lnTo>
                  <a:lnTo>
                    <a:pt x="229" y="35"/>
                  </a:lnTo>
                  <a:lnTo>
                    <a:pt x="229" y="33"/>
                  </a:lnTo>
                  <a:lnTo>
                    <a:pt x="231" y="31"/>
                  </a:lnTo>
                  <a:lnTo>
                    <a:pt x="231" y="27"/>
                  </a:lnTo>
                  <a:lnTo>
                    <a:pt x="235" y="25"/>
                  </a:lnTo>
                  <a:lnTo>
                    <a:pt x="235" y="25"/>
                  </a:lnTo>
                  <a:lnTo>
                    <a:pt x="236" y="24"/>
                  </a:lnTo>
                  <a:lnTo>
                    <a:pt x="240" y="22"/>
                  </a:lnTo>
                  <a:lnTo>
                    <a:pt x="242" y="20"/>
                  </a:lnTo>
                  <a:lnTo>
                    <a:pt x="246" y="18"/>
                  </a:lnTo>
                  <a:lnTo>
                    <a:pt x="248" y="16"/>
                  </a:lnTo>
                  <a:lnTo>
                    <a:pt x="250" y="16"/>
                  </a:lnTo>
                  <a:lnTo>
                    <a:pt x="250" y="12"/>
                  </a:lnTo>
                  <a:lnTo>
                    <a:pt x="252" y="12"/>
                  </a:lnTo>
                  <a:lnTo>
                    <a:pt x="254" y="10"/>
                  </a:lnTo>
                  <a:lnTo>
                    <a:pt x="256" y="6"/>
                  </a:lnTo>
                  <a:lnTo>
                    <a:pt x="259" y="6"/>
                  </a:lnTo>
                  <a:lnTo>
                    <a:pt x="261" y="2"/>
                  </a:lnTo>
                  <a:lnTo>
                    <a:pt x="261" y="2"/>
                  </a:lnTo>
                  <a:lnTo>
                    <a:pt x="265" y="2"/>
                  </a:lnTo>
                  <a:lnTo>
                    <a:pt x="267" y="0"/>
                  </a:lnTo>
                  <a:lnTo>
                    <a:pt x="271" y="0"/>
                  </a:lnTo>
                  <a:lnTo>
                    <a:pt x="273" y="0"/>
                  </a:lnTo>
                  <a:lnTo>
                    <a:pt x="277" y="0"/>
                  </a:lnTo>
                  <a:lnTo>
                    <a:pt x="277" y="2"/>
                  </a:lnTo>
                  <a:lnTo>
                    <a:pt x="281" y="2"/>
                  </a:lnTo>
                  <a:lnTo>
                    <a:pt x="281" y="4"/>
                  </a:lnTo>
                  <a:lnTo>
                    <a:pt x="281" y="6"/>
                  </a:lnTo>
                  <a:lnTo>
                    <a:pt x="284" y="6"/>
                  </a:lnTo>
                  <a:lnTo>
                    <a:pt x="288" y="6"/>
                  </a:lnTo>
                  <a:lnTo>
                    <a:pt x="290" y="10"/>
                  </a:lnTo>
                  <a:lnTo>
                    <a:pt x="292" y="12"/>
                  </a:lnTo>
                  <a:lnTo>
                    <a:pt x="294" y="14"/>
                  </a:lnTo>
                  <a:lnTo>
                    <a:pt x="296" y="16"/>
                  </a:lnTo>
                  <a:lnTo>
                    <a:pt x="296" y="18"/>
                  </a:lnTo>
                  <a:lnTo>
                    <a:pt x="298" y="20"/>
                  </a:lnTo>
                  <a:lnTo>
                    <a:pt x="300" y="24"/>
                  </a:lnTo>
                  <a:lnTo>
                    <a:pt x="302" y="24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4" y="29"/>
                  </a:lnTo>
                  <a:lnTo>
                    <a:pt x="306" y="31"/>
                  </a:lnTo>
                  <a:lnTo>
                    <a:pt x="309" y="31"/>
                  </a:lnTo>
                  <a:lnTo>
                    <a:pt x="311" y="31"/>
                  </a:lnTo>
                  <a:lnTo>
                    <a:pt x="315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5" y="31"/>
                  </a:lnTo>
                  <a:lnTo>
                    <a:pt x="329" y="31"/>
                  </a:lnTo>
                  <a:lnTo>
                    <a:pt x="330" y="31"/>
                  </a:lnTo>
                  <a:lnTo>
                    <a:pt x="334" y="31"/>
                  </a:lnTo>
                  <a:lnTo>
                    <a:pt x="338" y="31"/>
                  </a:lnTo>
                  <a:lnTo>
                    <a:pt x="338" y="33"/>
                  </a:lnTo>
                  <a:lnTo>
                    <a:pt x="340" y="35"/>
                  </a:lnTo>
                  <a:lnTo>
                    <a:pt x="342" y="37"/>
                  </a:lnTo>
                  <a:lnTo>
                    <a:pt x="344" y="37"/>
                  </a:lnTo>
                  <a:lnTo>
                    <a:pt x="348" y="39"/>
                  </a:lnTo>
                  <a:lnTo>
                    <a:pt x="348" y="43"/>
                  </a:lnTo>
                  <a:lnTo>
                    <a:pt x="352" y="45"/>
                  </a:lnTo>
                  <a:lnTo>
                    <a:pt x="353" y="45"/>
                  </a:lnTo>
                  <a:lnTo>
                    <a:pt x="357" y="45"/>
                  </a:lnTo>
                  <a:lnTo>
                    <a:pt x="361" y="47"/>
                  </a:lnTo>
                  <a:lnTo>
                    <a:pt x="361" y="45"/>
                  </a:lnTo>
                  <a:lnTo>
                    <a:pt x="363" y="45"/>
                  </a:lnTo>
                  <a:lnTo>
                    <a:pt x="365" y="43"/>
                  </a:lnTo>
                  <a:lnTo>
                    <a:pt x="367" y="43"/>
                  </a:lnTo>
                  <a:lnTo>
                    <a:pt x="367" y="39"/>
                  </a:lnTo>
                  <a:lnTo>
                    <a:pt x="369" y="39"/>
                  </a:lnTo>
                  <a:lnTo>
                    <a:pt x="369" y="35"/>
                  </a:lnTo>
                  <a:lnTo>
                    <a:pt x="371" y="35"/>
                  </a:lnTo>
                  <a:lnTo>
                    <a:pt x="371" y="33"/>
                  </a:lnTo>
                  <a:lnTo>
                    <a:pt x="371" y="31"/>
                  </a:lnTo>
                  <a:lnTo>
                    <a:pt x="373" y="29"/>
                  </a:lnTo>
                  <a:lnTo>
                    <a:pt x="375" y="27"/>
                  </a:lnTo>
                  <a:lnTo>
                    <a:pt x="377" y="25"/>
                  </a:lnTo>
                  <a:lnTo>
                    <a:pt x="378" y="25"/>
                  </a:lnTo>
                  <a:lnTo>
                    <a:pt x="380" y="24"/>
                  </a:lnTo>
                  <a:lnTo>
                    <a:pt x="382" y="24"/>
                  </a:lnTo>
                  <a:lnTo>
                    <a:pt x="384" y="22"/>
                  </a:lnTo>
                  <a:lnTo>
                    <a:pt x="388" y="22"/>
                  </a:lnTo>
                  <a:lnTo>
                    <a:pt x="390" y="22"/>
                  </a:lnTo>
                  <a:lnTo>
                    <a:pt x="392" y="22"/>
                  </a:lnTo>
                  <a:lnTo>
                    <a:pt x="394" y="24"/>
                  </a:lnTo>
                  <a:lnTo>
                    <a:pt x="396" y="25"/>
                  </a:lnTo>
                  <a:lnTo>
                    <a:pt x="400" y="25"/>
                  </a:lnTo>
                  <a:lnTo>
                    <a:pt x="401" y="25"/>
                  </a:lnTo>
                  <a:lnTo>
                    <a:pt x="403" y="25"/>
                  </a:lnTo>
                  <a:lnTo>
                    <a:pt x="405" y="27"/>
                  </a:lnTo>
                  <a:lnTo>
                    <a:pt x="409" y="27"/>
                  </a:lnTo>
                  <a:lnTo>
                    <a:pt x="411" y="27"/>
                  </a:lnTo>
                  <a:lnTo>
                    <a:pt x="415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4" y="27"/>
                  </a:lnTo>
                  <a:lnTo>
                    <a:pt x="426" y="27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2" y="25"/>
                  </a:lnTo>
                  <a:lnTo>
                    <a:pt x="434" y="24"/>
                  </a:lnTo>
                  <a:lnTo>
                    <a:pt x="436" y="22"/>
                  </a:lnTo>
                  <a:lnTo>
                    <a:pt x="436" y="20"/>
                  </a:lnTo>
                  <a:lnTo>
                    <a:pt x="438" y="18"/>
                  </a:lnTo>
                  <a:lnTo>
                    <a:pt x="442" y="18"/>
                  </a:lnTo>
                  <a:lnTo>
                    <a:pt x="444" y="18"/>
                  </a:lnTo>
                  <a:lnTo>
                    <a:pt x="448" y="18"/>
                  </a:lnTo>
                  <a:lnTo>
                    <a:pt x="449" y="16"/>
                  </a:lnTo>
                  <a:lnTo>
                    <a:pt x="451" y="16"/>
                  </a:lnTo>
                  <a:lnTo>
                    <a:pt x="453" y="14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1" y="10"/>
                  </a:lnTo>
                  <a:lnTo>
                    <a:pt x="463" y="10"/>
                  </a:lnTo>
                  <a:lnTo>
                    <a:pt x="467" y="10"/>
                  </a:lnTo>
                  <a:lnTo>
                    <a:pt x="467" y="8"/>
                  </a:lnTo>
                  <a:lnTo>
                    <a:pt x="471" y="8"/>
                  </a:lnTo>
                  <a:lnTo>
                    <a:pt x="471" y="6"/>
                  </a:lnTo>
                  <a:lnTo>
                    <a:pt x="472" y="6"/>
                  </a:lnTo>
                  <a:lnTo>
                    <a:pt x="474" y="6"/>
                  </a:lnTo>
                  <a:lnTo>
                    <a:pt x="478" y="6"/>
                  </a:lnTo>
                  <a:lnTo>
                    <a:pt x="480" y="4"/>
                  </a:lnTo>
                  <a:lnTo>
                    <a:pt x="482" y="4"/>
                  </a:lnTo>
                  <a:lnTo>
                    <a:pt x="486" y="4"/>
                  </a:lnTo>
                  <a:lnTo>
                    <a:pt x="490" y="4"/>
                  </a:lnTo>
                  <a:lnTo>
                    <a:pt x="492" y="4"/>
                  </a:lnTo>
                  <a:lnTo>
                    <a:pt x="494" y="4"/>
                  </a:lnTo>
                  <a:lnTo>
                    <a:pt x="495" y="6"/>
                  </a:lnTo>
                  <a:lnTo>
                    <a:pt x="499" y="6"/>
                  </a:lnTo>
                  <a:lnTo>
                    <a:pt x="501" y="6"/>
                  </a:lnTo>
                  <a:lnTo>
                    <a:pt x="505" y="8"/>
                  </a:lnTo>
                  <a:lnTo>
                    <a:pt x="507" y="10"/>
                  </a:lnTo>
                  <a:lnTo>
                    <a:pt x="511" y="10"/>
                  </a:lnTo>
                  <a:lnTo>
                    <a:pt x="513" y="10"/>
                  </a:lnTo>
                  <a:lnTo>
                    <a:pt x="517" y="10"/>
                  </a:lnTo>
                  <a:lnTo>
                    <a:pt x="520" y="10"/>
                  </a:lnTo>
                  <a:lnTo>
                    <a:pt x="522" y="10"/>
                  </a:lnTo>
                  <a:lnTo>
                    <a:pt x="526" y="10"/>
                  </a:lnTo>
                  <a:lnTo>
                    <a:pt x="530" y="10"/>
                  </a:lnTo>
                  <a:lnTo>
                    <a:pt x="532" y="10"/>
                  </a:lnTo>
                  <a:lnTo>
                    <a:pt x="536" y="10"/>
                  </a:lnTo>
                  <a:lnTo>
                    <a:pt x="540" y="10"/>
                  </a:lnTo>
                  <a:lnTo>
                    <a:pt x="542" y="10"/>
                  </a:lnTo>
                  <a:lnTo>
                    <a:pt x="545" y="10"/>
                  </a:lnTo>
                  <a:lnTo>
                    <a:pt x="547" y="10"/>
                  </a:lnTo>
                  <a:lnTo>
                    <a:pt x="549" y="10"/>
                  </a:lnTo>
                  <a:lnTo>
                    <a:pt x="551" y="12"/>
                  </a:lnTo>
                  <a:lnTo>
                    <a:pt x="555" y="14"/>
                  </a:lnTo>
                  <a:lnTo>
                    <a:pt x="559" y="14"/>
                  </a:lnTo>
                  <a:lnTo>
                    <a:pt x="561" y="16"/>
                  </a:lnTo>
                  <a:lnTo>
                    <a:pt x="565" y="16"/>
                  </a:lnTo>
                  <a:lnTo>
                    <a:pt x="566" y="18"/>
                  </a:lnTo>
                  <a:lnTo>
                    <a:pt x="566" y="20"/>
                  </a:lnTo>
                  <a:lnTo>
                    <a:pt x="570" y="20"/>
                  </a:lnTo>
                  <a:lnTo>
                    <a:pt x="572" y="22"/>
                  </a:lnTo>
                  <a:lnTo>
                    <a:pt x="572" y="24"/>
                  </a:lnTo>
                  <a:lnTo>
                    <a:pt x="572" y="25"/>
                  </a:lnTo>
                  <a:lnTo>
                    <a:pt x="576" y="25"/>
                  </a:lnTo>
                  <a:lnTo>
                    <a:pt x="578" y="27"/>
                  </a:lnTo>
                  <a:lnTo>
                    <a:pt x="578" y="31"/>
                  </a:lnTo>
                  <a:lnTo>
                    <a:pt x="580" y="33"/>
                  </a:lnTo>
                  <a:lnTo>
                    <a:pt x="582" y="35"/>
                  </a:lnTo>
                  <a:lnTo>
                    <a:pt x="582" y="37"/>
                  </a:lnTo>
                  <a:lnTo>
                    <a:pt x="586" y="37"/>
                  </a:lnTo>
                  <a:lnTo>
                    <a:pt x="590" y="37"/>
                  </a:lnTo>
                  <a:lnTo>
                    <a:pt x="591" y="37"/>
                  </a:lnTo>
                  <a:lnTo>
                    <a:pt x="595" y="37"/>
                  </a:lnTo>
                  <a:lnTo>
                    <a:pt x="599" y="37"/>
                  </a:lnTo>
                  <a:lnTo>
                    <a:pt x="599" y="37"/>
                  </a:lnTo>
                  <a:lnTo>
                    <a:pt x="601" y="35"/>
                  </a:lnTo>
                  <a:lnTo>
                    <a:pt x="603" y="35"/>
                  </a:lnTo>
                  <a:lnTo>
                    <a:pt x="605" y="33"/>
                  </a:lnTo>
                  <a:lnTo>
                    <a:pt x="605" y="31"/>
                  </a:lnTo>
                  <a:lnTo>
                    <a:pt x="611" y="31"/>
                  </a:lnTo>
                  <a:lnTo>
                    <a:pt x="611" y="29"/>
                  </a:lnTo>
                  <a:lnTo>
                    <a:pt x="613" y="29"/>
                  </a:lnTo>
                  <a:lnTo>
                    <a:pt x="614" y="27"/>
                  </a:lnTo>
                  <a:lnTo>
                    <a:pt x="616" y="27"/>
                  </a:lnTo>
                  <a:lnTo>
                    <a:pt x="620" y="25"/>
                  </a:lnTo>
                  <a:lnTo>
                    <a:pt x="622" y="25"/>
                  </a:lnTo>
                  <a:lnTo>
                    <a:pt x="624" y="25"/>
                  </a:lnTo>
                  <a:lnTo>
                    <a:pt x="630" y="25"/>
                  </a:lnTo>
                  <a:lnTo>
                    <a:pt x="632" y="24"/>
                  </a:lnTo>
                  <a:lnTo>
                    <a:pt x="634" y="24"/>
                  </a:lnTo>
                  <a:lnTo>
                    <a:pt x="636" y="22"/>
                  </a:lnTo>
                  <a:lnTo>
                    <a:pt x="637" y="22"/>
                  </a:lnTo>
                  <a:lnTo>
                    <a:pt x="637" y="20"/>
                  </a:lnTo>
                  <a:lnTo>
                    <a:pt x="641" y="20"/>
                  </a:lnTo>
                  <a:lnTo>
                    <a:pt x="641" y="24"/>
                  </a:lnTo>
                  <a:lnTo>
                    <a:pt x="641" y="25"/>
                  </a:lnTo>
                  <a:lnTo>
                    <a:pt x="643" y="29"/>
                  </a:lnTo>
                  <a:lnTo>
                    <a:pt x="645" y="31"/>
                  </a:lnTo>
                  <a:lnTo>
                    <a:pt x="647" y="33"/>
                  </a:lnTo>
                  <a:lnTo>
                    <a:pt x="647" y="35"/>
                  </a:lnTo>
                  <a:lnTo>
                    <a:pt x="649" y="37"/>
                  </a:lnTo>
                  <a:lnTo>
                    <a:pt x="651" y="41"/>
                  </a:lnTo>
                  <a:lnTo>
                    <a:pt x="651" y="43"/>
                  </a:lnTo>
                  <a:lnTo>
                    <a:pt x="653" y="43"/>
                  </a:lnTo>
                  <a:lnTo>
                    <a:pt x="655" y="45"/>
                  </a:lnTo>
                  <a:lnTo>
                    <a:pt x="657" y="47"/>
                  </a:lnTo>
                  <a:lnTo>
                    <a:pt x="657" y="48"/>
                  </a:lnTo>
                  <a:lnTo>
                    <a:pt x="659" y="50"/>
                  </a:lnTo>
                  <a:lnTo>
                    <a:pt x="662" y="50"/>
                  </a:lnTo>
                  <a:lnTo>
                    <a:pt x="662" y="52"/>
                  </a:lnTo>
                  <a:lnTo>
                    <a:pt x="662" y="56"/>
                  </a:lnTo>
                  <a:lnTo>
                    <a:pt x="666" y="56"/>
                  </a:lnTo>
                  <a:lnTo>
                    <a:pt x="668" y="56"/>
                  </a:lnTo>
                  <a:lnTo>
                    <a:pt x="670" y="56"/>
                  </a:lnTo>
                  <a:lnTo>
                    <a:pt x="670" y="58"/>
                  </a:lnTo>
                  <a:lnTo>
                    <a:pt x="672" y="60"/>
                  </a:lnTo>
                  <a:lnTo>
                    <a:pt x="674" y="60"/>
                  </a:lnTo>
                  <a:lnTo>
                    <a:pt x="676" y="62"/>
                  </a:lnTo>
                  <a:lnTo>
                    <a:pt x="678" y="64"/>
                  </a:lnTo>
                  <a:lnTo>
                    <a:pt x="680" y="66"/>
                  </a:lnTo>
                  <a:lnTo>
                    <a:pt x="680" y="70"/>
                  </a:lnTo>
                  <a:lnTo>
                    <a:pt x="680" y="73"/>
                  </a:lnTo>
                  <a:lnTo>
                    <a:pt x="680" y="75"/>
                  </a:lnTo>
                  <a:lnTo>
                    <a:pt x="680" y="79"/>
                  </a:lnTo>
                  <a:lnTo>
                    <a:pt x="680" y="81"/>
                  </a:lnTo>
                  <a:lnTo>
                    <a:pt x="680" y="85"/>
                  </a:lnTo>
                  <a:lnTo>
                    <a:pt x="678" y="87"/>
                  </a:lnTo>
                  <a:lnTo>
                    <a:pt x="676" y="89"/>
                  </a:lnTo>
                  <a:lnTo>
                    <a:pt x="672" y="89"/>
                  </a:lnTo>
                  <a:lnTo>
                    <a:pt x="672" y="93"/>
                  </a:lnTo>
                  <a:lnTo>
                    <a:pt x="672" y="96"/>
                  </a:lnTo>
                  <a:lnTo>
                    <a:pt x="672" y="98"/>
                  </a:lnTo>
                  <a:lnTo>
                    <a:pt x="672" y="102"/>
                  </a:lnTo>
                  <a:lnTo>
                    <a:pt x="672" y="106"/>
                  </a:lnTo>
                  <a:lnTo>
                    <a:pt x="672" y="108"/>
                  </a:lnTo>
                  <a:lnTo>
                    <a:pt x="676" y="110"/>
                  </a:lnTo>
                  <a:lnTo>
                    <a:pt x="678" y="114"/>
                  </a:lnTo>
                  <a:lnTo>
                    <a:pt x="680" y="116"/>
                  </a:lnTo>
                  <a:lnTo>
                    <a:pt x="682" y="118"/>
                  </a:lnTo>
                  <a:lnTo>
                    <a:pt x="684" y="119"/>
                  </a:lnTo>
                  <a:lnTo>
                    <a:pt x="684" y="123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2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9"/>
                  </a:lnTo>
                  <a:lnTo>
                    <a:pt x="682" y="141"/>
                  </a:lnTo>
                  <a:lnTo>
                    <a:pt x="682" y="142"/>
                  </a:lnTo>
                  <a:lnTo>
                    <a:pt x="682" y="146"/>
                  </a:lnTo>
                  <a:lnTo>
                    <a:pt x="682" y="148"/>
                  </a:lnTo>
                  <a:lnTo>
                    <a:pt x="682" y="150"/>
                  </a:lnTo>
                  <a:lnTo>
                    <a:pt x="682" y="152"/>
                  </a:lnTo>
                  <a:lnTo>
                    <a:pt x="678" y="152"/>
                  </a:lnTo>
                  <a:lnTo>
                    <a:pt x="676" y="154"/>
                  </a:lnTo>
                  <a:lnTo>
                    <a:pt x="674" y="156"/>
                  </a:lnTo>
                  <a:lnTo>
                    <a:pt x="674" y="158"/>
                  </a:lnTo>
                  <a:lnTo>
                    <a:pt x="672" y="160"/>
                  </a:lnTo>
                  <a:lnTo>
                    <a:pt x="668" y="160"/>
                  </a:lnTo>
                  <a:lnTo>
                    <a:pt x="666" y="162"/>
                  </a:lnTo>
                  <a:lnTo>
                    <a:pt x="662" y="162"/>
                  </a:lnTo>
                  <a:lnTo>
                    <a:pt x="662" y="164"/>
                  </a:lnTo>
                  <a:lnTo>
                    <a:pt x="659" y="164"/>
                  </a:lnTo>
                  <a:lnTo>
                    <a:pt x="657" y="164"/>
                  </a:lnTo>
                  <a:lnTo>
                    <a:pt x="655" y="164"/>
                  </a:lnTo>
                  <a:lnTo>
                    <a:pt x="653" y="165"/>
                  </a:lnTo>
                  <a:lnTo>
                    <a:pt x="653" y="165"/>
                  </a:lnTo>
                  <a:lnTo>
                    <a:pt x="651" y="165"/>
                  </a:lnTo>
                  <a:lnTo>
                    <a:pt x="649" y="167"/>
                  </a:lnTo>
                  <a:lnTo>
                    <a:pt x="647" y="167"/>
                  </a:lnTo>
                  <a:lnTo>
                    <a:pt x="645" y="171"/>
                  </a:lnTo>
                  <a:lnTo>
                    <a:pt x="643" y="173"/>
                  </a:lnTo>
                  <a:lnTo>
                    <a:pt x="641" y="177"/>
                  </a:lnTo>
                  <a:lnTo>
                    <a:pt x="641" y="181"/>
                  </a:lnTo>
                  <a:lnTo>
                    <a:pt x="641" y="185"/>
                  </a:lnTo>
                  <a:lnTo>
                    <a:pt x="641" y="185"/>
                  </a:lnTo>
                  <a:lnTo>
                    <a:pt x="641" y="189"/>
                  </a:lnTo>
                  <a:lnTo>
                    <a:pt x="641" y="192"/>
                  </a:lnTo>
                  <a:lnTo>
                    <a:pt x="639" y="192"/>
                  </a:lnTo>
                  <a:lnTo>
                    <a:pt x="639" y="196"/>
                  </a:lnTo>
                  <a:lnTo>
                    <a:pt x="637" y="198"/>
                  </a:lnTo>
                  <a:lnTo>
                    <a:pt x="636" y="200"/>
                  </a:lnTo>
                  <a:lnTo>
                    <a:pt x="634" y="204"/>
                  </a:lnTo>
                  <a:lnTo>
                    <a:pt x="634" y="206"/>
                  </a:lnTo>
                  <a:lnTo>
                    <a:pt x="634" y="208"/>
                  </a:lnTo>
                  <a:lnTo>
                    <a:pt x="632" y="210"/>
                  </a:lnTo>
                  <a:lnTo>
                    <a:pt x="632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0" y="219"/>
                  </a:lnTo>
                  <a:lnTo>
                    <a:pt x="628" y="223"/>
                  </a:lnTo>
                  <a:lnTo>
                    <a:pt x="628" y="225"/>
                  </a:lnTo>
                  <a:lnTo>
                    <a:pt x="628" y="229"/>
                  </a:lnTo>
                  <a:lnTo>
                    <a:pt x="628" y="231"/>
                  </a:lnTo>
                  <a:lnTo>
                    <a:pt x="630" y="235"/>
                  </a:lnTo>
                  <a:lnTo>
                    <a:pt x="630" y="236"/>
                  </a:lnTo>
                  <a:lnTo>
                    <a:pt x="630" y="240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30" y="250"/>
                  </a:lnTo>
                  <a:lnTo>
                    <a:pt x="630" y="252"/>
                  </a:lnTo>
                  <a:lnTo>
                    <a:pt x="628" y="254"/>
                  </a:lnTo>
                  <a:lnTo>
                    <a:pt x="628" y="256"/>
                  </a:lnTo>
                  <a:lnTo>
                    <a:pt x="626" y="258"/>
                  </a:lnTo>
                  <a:lnTo>
                    <a:pt x="626" y="261"/>
                  </a:lnTo>
                  <a:lnTo>
                    <a:pt x="626" y="265"/>
                  </a:lnTo>
                  <a:lnTo>
                    <a:pt x="626" y="267"/>
                  </a:lnTo>
                  <a:lnTo>
                    <a:pt x="626" y="269"/>
                  </a:lnTo>
                  <a:lnTo>
                    <a:pt x="624" y="271"/>
                  </a:lnTo>
                  <a:lnTo>
                    <a:pt x="624" y="273"/>
                  </a:lnTo>
                  <a:lnTo>
                    <a:pt x="622" y="275"/>
                  </a:lnTo>
                  <a:lnTo>
                    <a:pt x="622" y="277"/>
                  </a:lnTo>
                  <a:lnTo>
                    <a:pt x="618" y="279"/>
                  </a:lnTo>
                  <a:lnTo>
                    <a:pt x="618" y="281"/>
                  </a:lnTo>
                  <a:lnTo>
                    <a:pt x="616" y="281"/>
                  </a:lnTo>
                  <a:lnTo>
                    <a:pt x="614" y="283"/>
                  </a:lnTo>
                  <a:lnTo>
                    <a:pt x="614" y="284"/>
                  </a:lnTo>
                  <a:lnTo>
                    <a:pt x="613" y="286"/>
                  </a:lnTo>
                  <a:lnTo>
                    <a:pt x="611" y="290"/>
                  </a:lnTo>
                  <a:lnTo>
                    <a:pt x="611" y="296"/>
                  </a:lnTo>
                  <a:lnTo>
                    <a:pt x="611" y="298"/>
                  </a:lnTo>
                  <a:lnTo>
                    <a:pt x="611" y="302"/>
                  </a:lnTo>
                  <a:lnTo>
                    <a:pt x="611" y="306"/>
                  </a:lnTo>
                  <a:lnTo>
                    <a:pt x="611" y="307"/>
                  </a:lnTo>
                  <a:lnTo>
                    <a:pt x="611" y="311"/>
                  </a:lnTo>
                  <a:lnTo>
                    <a:pt x="611" y="315"/>
                  </a:lnTo>
                  <a:lnTo>
                    <a:pt x="611" y="317"/>
                  </a:lnTo>
                  <a:lnTo>
                    <a:pt x="611" y="321"/>
                  </a:lnTo>
                  <a:lnTo>
                    <a:pt x="611" y="323"/>
                  </a:lnTo>
                  <a:lnTo>
                    <a:pt x="614" y="323"/>
                  </a:lnTo>
                  <a:lnTo>
                    <a:pt x="616" y="325"/>
                  </a:lnTo>
                  <a:lnTo>
                    <a:pt x="618" y="325"/>
                  </a:lnTo>
                  <a:lnTo>
                    <a:pt x="620" y="329"/>
                  </a:lnTo>
                  <a:lnTo>
                    <a:pt x="622" y="332"/>
                  </a:lnTo>
                  <a:lnTo>
                    <a:pt x="622" y="336"/>
                  </a:lnTo>
                  <a:lnTo>
                    <a:pt x="622" y="338"/>
                  </a:lnTo>
                  <a:lnTo>
                    <a:pt x="622" y="342"/>
                  </a:lnTo>
                  <a:lnTo>
                    <a:pt x="622" y="346"/>
                  </a:lnTo>
                  <a:lnTo>
                    <a:pt x="622" y="348"/>
                  </a:lnTo>
                  <a:lnTo>
                    <a:pt x="622" y="352"/>
                  </a:lnTo>
                  <a:lnTo>
                    <a:pt x="622" y="355"/>
                  </a:lnTo>
                  <a:lnTo>
                    <a:pt x="622" y="357"/>
                  </a:lnTo>
                  <a:lnTo>
                    <a:pt x="622" y="359"/>
                  </a:lnTo>
                  <a:lnTo>
                    <a:pt x="624" y="361"/>
                  </a:lnTo>
                  <a:lnTo>
                    <a:pt x="624" y="363"/>
                  </a:lnTo>
                  <a:lnTo>
                    <a:pt x="628" y="367"/>
                  </a:lnTo>
                  <a:lnTo>
                    <a:pt x="628" y="371"/>
                  </a:lnTo>
                  <a:lnTo>
                    <a:pt x="630" y="373"/>
                  </a:lnTo>
                  <a:lnTo>
                    <a:pt x="630" y="377"/>
                  </a:lnTo>
                  <a:lnTo>
                    <a:pt x="630" y="380"/>
                  </a:lnTo>
                  <a:lnTo>
                    <a:pt x="630" y="382"/>
                  </a:lnTo>
                  <a:lnTo>
                    <a:pt x="630" y="384"/>
                  </a:lnTo>
                  <a:lnTo>
                    <a:pt x="632" y="386"/>
                  </a:lnTo>
                  <a:lnTo>
                    <a:pt x="632" y="388"/>
                  </a:lnTo>
                  <a:lnTo>
                    <a:pt x="634" y="392"/>
                  </a:lnTo>
                  <a:lnTo>
                    <a:pt x="636" y="394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7" y="402"/>
                  </a:lnTo>
                  <a:lnTo>
                    <a:pt x="637" y="405"/>
                  </a:lnTo>
                  <a:lnTo>
                    <a:pt x="637" y="407"/>
                  </a:lnTo>
                  <a:lnTo>
                    <a:pt x="637" y="411"/>
                  </a:lnTo>
                  <a:lnTo>
                    <a:pt x="637" y="415"/>
                  </a:lnTo>
                  <a:lnTo>
                    <a:pt x="637" y="417"/>
                  </a:lnTo>
                  <a:lnTo>
                    <a:pt x="637" y="421"/>
                  </a:lnTo>
                  <a:lnTo>
                    <a:pt x="637" y="423"/>
                  </a:lnTo>
                  <a:lnTo>
                    <a:pt x="639" y="425"/>
                  </a:lnTo>
                  <a:lnTo>
                    <a:pt x="639" y="428"/>
                  </a:lnTo>
                  <a:lnTo>
                    <a:pt x="639" y="430"/>
                  </a:lnTo>
                  <a:lnTo>
                    <a:pt x="639" y="432"/>
                  </a:lnTo>
                  <a:lnTo>
                    <a:pt x="641" y="436"/>
                  </a:lnTo>
                  <a:lnTo>
                    <a:pt x="641" y="436"/>
                  </a:lnTo>
                  <a:lnTo>
                    <a:pt x="641" y="438"/>
                  </a:lnTo>
                  <a:lnTo>
                    <a:pt x="643" y="440"/>
                  </a:lnTo>
                  <a:lnTo>
                    <a:pt x="643" y="444"/>
                  </a:lnTo>
                  <a:lnTo>
                    <a:pt x="645" y="446"/>
                  </a:lnTo>
                  <a:lnTo>
                    <a:pt x="645" y="449"/>
                  </a:lnTo>
                  <a:lnTo>
                    <a:pt x="647" y="451"/>
                  </a:lnTo>
                  <a:lnTo>
                    <a:pt x="647" y="455"/>
                  </a:lnTo>
                  <a:lnTo>
                    <a:pt x="649" y="455"/>
                  </a:lnTo>
                  <a:lnTo>
                    <a:pt x="649" y="457"/>
                  </a:lnTo>
                  <a:lnTo>
                    <a:pt x="651" y="459"/>
                  </a:lnTo>
                  <a:lnTo>
                    <a:pt x="651" y="461"/>
                  </a:lnTo>
                  <a:lnTo>
                    <a:pt x="651" y="463"/>
                  </a:lnTo>
                  <a:lnTo>
                    <a:pt x="655" y="465"/>
                  </a:lnTo>
                  <a:lnTo>
                    <a:pt x="657" y="469"/>
                  </a:lnTo>
                  <a:lnTo>
                    <a:pt x="659" y="473"/>
                  </a:lnTo>
                  <a:lnTo>
                    <a:pt x="660" y="474"/>
                  </a:lnTo>
                  <a:lnTo>
                    <a:pt x="662" y="476"/>
                  </a:lnTo>
                  <a:lnTo>
                    <a:pt x="662" y="478"/>
                  </a:lnTo>
                  <a:lnTo>
                    <a:pt x="664" y="478"/>
                  </a:lnTo>
                  <a:lnTo>
                    <a:pt x="664" y="482"/>
                  </a:lnTo>
                  <a:lnTo>
                    <a:pt x="666" y="482"/>
                  </a:lnTo>
                  <a:lnTo>
                    <a:pt x="666" y="486"/>
                  </a:lnTo>
                  <a:lnTo>
                    <a:pt x="670" y="486"/>
                  </a:lnTo>
                  <a:lnTo>
                    <a:pt x="670" y="486"/>
                  </a:lnTo>
                  <a:lnTo>
                    <a:pt x="672" y="486"/>
                  </a:lnTo>
                  <a:lnTo>
                    <a:pt x="674" y="488"/>
                  </a:lnTo>
                  <a:lnTo>
                    <a:pt x="676" y="490"/>
                  </a:lnTo>
                  <a:lnTo>
                    <a:pt x="680" y="494"/>
                  </a:lnTo>
                  <a:lnTo>
                    <a:pt x="680" y="497"/>
                  </a:lnTo>
                  <a:lnTo>
                    <a:pt x="680" y="499"/>
                  </a:lnTo>
                  <a:lnTo>
                    <a:pt x="682" y="501"/>
                  </a:lnTo>
                  <a:lnTo>
                    <a:pt x="678" y="503"/>
                  </a:lnTo>
                  <a:lnTo>
                    <a:pt x="674" y="503"/>
                  </a:lnTo>
                  <a:lnTo>
                    <a:pt x="672" y="503"/>
                  </a:lnTo>
                  <a:lnTo>
                    <a:pt x="668" y="503"/>
                  </a:lnTo>
                  <a:lnTo>
                    <a:pt x="666" y="503"/>
                  </a:lnTo>
                  <a:lnTo>
                    <a:pt x="662" y="505"/>
                  </a:lnTo>
                  <a:lnTo>
                    <a:pt x="660" y="505"/>
                  </a:lnTo>
                  <a:lnTo>
                    <a:pt x="657" y="505"/>
                  </a:lnTo>
                  <a:lnTo>
                    <a:pt x="653" y="505"/>
                  </a:lnTo>
                  <a:lnTo>
                    <a:pt x="651" y="505"/>
                  </a:lnTo>
                  <a:lnTo>
                    <a:pt x="647" y="507"/>
                  </a:lnTo>
                  <a:lnTo>
                    <a:pt x="643" y="507"/>
                  </a:lnTo>
                  <a:lnTo>
                    <a:pt x="641" y="507"/>
                  </a:lnTo>
                  <a:lnTo>
                    <a:pt x="639" y="509"/>
                  </a:lnTo>
                  <a:lnTo>
                    <a:pt x="637" y="511"/>
                  </a:lnTo>
                  <a:lnTo>
                    <a:pt x="636" y="513"/>
                  </a:lnTo>
                  <a:lnTo>
                    <a:pt x="632" y="513"/>
                  </a:lnTo>
                  <a:lnTo>
                    <a:pt x="630" y="513"/>
                  </a:lnTo>
                  <a:lnTo>
                    <a:pt x="626" y="513"/>
                  </a:lnTo>
                  <a:lnTo>
                    <a:pt x="622" y="513"/>
                  </a:lnTo>
                  <a:lnTo>
                    <a:pt x="620" y="513"/>
                  </a:lnTo>
                  <a:lnTo>
                    <a:pt x="616" y="513"/>
                  </a:lnTo>
                  <a:lnTo>
                    <a:pt x="614" y="515"/>
                  </a:lnTo>
                  <a:lnTo>
                    <a:pt x="611" y="515"/>
                  </a:lnTo>
                  <a:lnTo>
                    <a:pt x="609" y="515"/>
                  </a:lnTo>
                  <a:lnTo>
                    <a:pt x="605" y="515"/>
                  </a:lnTo>
                  <a:lnTo>
                    <a:pt x="603" y="517"/>
                  </a:lnTo>
                  <a:lnTo>
                    <a:pt x="601" y="517"/>
                  </a:lnTo>
                  <a:lnTo>
                    <a:pt x="597" y="519"/>
                  </a:lnTo>
                  <a:lnTo>
                    <a:pt x="595" y="519"/>
                  </a:lnTo>
                  <a:lnTo>
                    <a:pt x="595" y="522"/>
                  </a:lnTo>
                  <a:lnTo>
                    <a:pt x="595" y="526"/>
                  </a:lnTo>
                  <a:lnTo>
                    <a:pt x="595" y="528"/>
                  </a:lnTo>
                  <a:lnTo>
                    <a:pt x="597" y="532"/>
                  </a:lnTo>
                  <a:lnTo>
                    <a:pt x="597" y="536"/>
                  </a:lnTo>
                  <a:lnTo>
                    <a:pt x="597" y="538"/>
                  </a:lnTo>
                  <a:lnTo>
                    <a:pt x="597" y="542"/>
                  </a:lnTo>
                  <a:lnTo>
                    <a:pt x="597" y="545"/>
                  </a:lnTo>
                  <a:lnTo>
                    <a:pt x="597" y="547"/>
                  </a:lnTo>
                  <a:lnTo>
                    <a:pt x="597" y="551"/>
                  </a:lnTo>
                  <a:lnTo>
                    <a:pt x="597" y="555"/>
                  </a:lnTo>
                  <a:lnTo>
                    <a:pt x="597" y="557"/>
                  </a:lnTo>
                  <a:lnTo>
                    <a:pt x="597" y="561"/>
                  </a:lnTo>
                  <a:lnTo>
                    <a:pt x="597" y="563"/>
                  </a:lnTo>
                  <a:lnTo>
                    <a:pt x="595" y="565"/>
                  </a:lnTo>
                  <a:lnTo>
                    <a:pt x="597" y="567"/>
                  </a:lnTo>
                  <a:lnTo>
                    <a:pt x="599" y="567"/>
                  </a:lnTo>
                  <a:lnTo>
                    <a:pt x="599" y="568"/>
                  </a:lnTo>
                  <a:lnTo>
                    <a:pt x="601" y="570"/>
                  </a:lnTo>
                  <a:lnTo>
                    <a:pt x="599" y="572"/>
                  </a:lnTo>
                  <a:lnTo>
                    <a:pt x="599" y="576"/>
                  </a:lnTo>
                  <a:lnTo>
                    <a:pt x="599" y="578"/>
                  </a:lnTo>
                  <a:lnTo>
                    <a:pt x="599" y="580"/>
                  </a:lnTo>
                  <a:lnTo>
                    <a:pt x="597" y="582"/>
                  </a:lnTo>
                  <a:lnTo>
                    <a:pt x="597" y="584"/>
                  </a:lnTo>
                  <a:lnTo>
                    <a:pt x="595" y="586"/>
                  </a:lnTo>
                  <a:lnTo>
                    <a:pt x="593" y="586"/>
                  </a:lnTo>
                  <a:lnTo>
                    <a:pt x="593" y="591"/>
                  </a:lnTo>
                  <a:lnTo>
                    <a:pt x="593" y="593"/>
                  </a:lnTo>
                  <a:lnTo>
                    <a:pt x="591" y="595"/>
                  </a:lnTo>
                  <a:lnTo>
                    <a:pt x="591" y="597"/>
                  </a:lnTo>
                  <a:lnTo>
                    <a:pt x="590" y="599"/>
                  </a:lnTo>
                  <a:lnTo>
                    <a:pt x="590" y="603"/>
                  </a:lnTo>
                  <a:lnTo>
                    <a:pt x="588" y="603"/>
                  </a:lnTo>
                  <a:lnTo>
                    <a:pt x="588" y="605"/>
                  </a:lnTo>
                  <a:lnTo>
                    <a:pt x="586" y="607"/>
                  </a:lnTo>
                  <a:lnTo>
                    <a:pt x="586" y="611"/>
                  </a:lnTo>
                  <a:lnTo>
                    <a:pt x="584" y="613"/>
                  </a:lnTo>
                  <a:lnTo>
                    <a:pt x="584" y="615"/>
                  </a:lnTo>
                  <a:lnTo>
                    <a:pt x="584" y="618"/>
                  </a:lnTo>
                  <a:lnTo>
                    <a:pt x="582" y="620"/>
                  </a:lnTo>
                  <a:lnTo>
                    <a:pt x="582" y="620"/>
                  </a:lnTo>
                  <a:lnTo>
                    <a:pt x="582" y="622"/>
                  </a:lnTo>
                  <a:lnTo>
                    <a:pt x="586" y="624"/>
                  </a:lnTo>
                  <a:lnTo>
                    <a:pt x="588" y="624"/>
                  </a:lnTo>
                  <a:lnTo>
                    <a:pt x="591" y="624"/>
                  </a:lnTo>
                  <a:lnTo>
                    <a:pt x="593" y="626"/>
                  </a:lnTo>
                  <a:lnTo>
                    <a:pt x="595" y="628"/>
                  </a:lnTo>
                  <a:lnTo>
                    <a:pt x="597" y="628"/>
                  </a:lnTo>
                  <a:lnTo>
                    <a:pt x="599" y="632"/>
                  </a:lnTo>
                  <a:lnTo>
                    <a:pt x="601" y="634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7" y="638"/>
                  </a:lnTo>
                  <a:lnTo>
                    <a:pt x="607" y="639"/>
                  </a:lnTo>
                  <a:lnTo>
                    <a:pt x="611" y="639"/>
                  </a:lnTo>
                  <a:lnTo>
                    <a:pt x="613" y="641"/>
                  </a:lnTo>
                  <a:lnTo>
                    <a:pt x="616" y="641"/>
                  </a:lnTo>
                  <a:lnTo>
                    <a:pt x="620" y="641"/>
                  </a:lnTo>
                  <a:lnTo>
                    <a:pt x="622" y="641"/>
                  </a:lnTo>
                  <a:lnTo>
                    <a:pt x="626" y="641"/>
                  </a:lnTo>
                  <a:lnTo>
                    <a:pt x="626" y="639"/>
                  </a:lnTo>
                  <a:lnTo>
                    <a:pt x="628" y="638"/>
                  </a:lnTo>
                  <a:lnTo>
                    <a:pt x="632" y="638"/>
                  </a:lnTo>
                  <a:lnTo>
                    <a:pt x="634" y="638"/>
                  </a:lnTo>
                  <a:lnTo>
                    <a:pt x="636" y="636"/>
                  </a:lnTo>
                  <a:lnTo>
                    <a:pt x="637" y="636"/>
                  </a:lnTo>
                  <a:lnTo>
                    <a:pt x="639" y="636"/>
                  </a:lnTo>
                  <a:lnTo>
                    <a:pt x="641" y="634"/>
                  </a:lnTo>
                  <a:lnTo>
                    <a:pt x="645" y="634"/>
                  </a:lnTo>
                  <a:lnTo>
                    <a:pt x="649" y="634"/>
                  </a:lnTo>
                  <a:lnTo>
                    <a:pt x="651" y="632"/>
                  </a:lnTo>
                  <a:lnTo>
                    <a:pt x="653" y="632"/>
                  </a:lnTo>
                  <a:lnTo>
                    <a:pt x="657" y="632"/>
                  </a:lnTo>
                  <a:lnTo>
                    <a:pt x="660" y="632"/>
                  </a:lnTo>
                  <a:lnTo>
                    <a:pt x="662" y="632"/>
                  </a:lnTo>
                  <a:lnTo>
                    <a:pt x="666" y="632"/>
                  </a:lnTo>
                  <a:lnTo>
                    <a:pt x="670" y="632"/>
                  </a:lnTo>
                  <a:lnTo>
                    <a:pt x="672" y="632"/>
                  </a:lnTo>
                  <a:lnTo>
                    <a:pt x="674" y="632"/>
                  </a:lnTo>
                  <a:lnTo>
                    <a:pt x="674" y="636"/>
                  </a:lnTo>
                  <a:lnTo>
                    <a:pt x="672" y="639"/>
                  </a:lnTo>
                  <a:lnTo>
                    <a:pt x="672" y="643"/>
                  </a:lnTo>
                  <a:lnTo>
                    <a:pt x="672" y="647"/>
                  </a:lnTo>
                  <a:lnTo>
                    <a:pt x="672" y="651"/>
                  </a:lnTo>
                  <a:lnTo>
                    <a:pt x="672" y="653"/>
                  </a:lnTo>
                  <a:lnTo>
                    <a:pt x="672" y="655"/>
                  </a:lnTo>
                  <a:lnTo>
                    <a:pt x="674" y="657"/>
                  </a:lnTo>
                  <a:lnTo>
                    <a:pt x="674" y="659"/>
                  </a:lnTo>
                  <a:lnTo>
                    <a:pt x="676" y="661"/>
                  </a:lnTo>
                  <a:lnTo>
                    <a:pt x="676" y="664"/>
                  </a:lnTo>
                  <a:lnTo>
                    <a:pt x="678" y="666"/>
                  </a:lnTo>
                  <a:lnTo>
                    <a:pt x="678" y="670"/>
                  </a:lnTo>
                  <a:lnTo>
                    <a:pt x="678" y="674"/>
                  </a:lnTo>
                  <a:lnTo>
                    <a:pt x="678" y="678"/>
                  </a:lnTo>
                  <a:lnTo>
                    <a:pt x="680" y="682"/>
                  </a:lnTo>
                  <a:lnTo>
                    <a:pt x="678" y="682"/>
                  </a:lnTo>
                  <a:lnTo>
                    <a:pt x="676" y="684"/>
                  </a:lnTo>
                  <a:lnTo>
                    <a:pt x="676" y="686"/>
                  </a:lnTo>
                  <a:lnTo>
                    <a:pt x="672" y="686"/>
                  </a:lnTo>
                  <a:lnTo>
                    <a:pt x="670" y="687"/>
                  </a:lnTo>
                  <a:lnTo>
                    <a:pt x="666" y="687"/>
                  </a:lnTo>
                  <a:lnTo>
                    <a:pt x="662" y="687"/>
                  </a:lnTo>
                  <a:lnTo>
                    <a:pt x="662" y="689"/>
                  </a:lnTo>
                  <a:lnTo>
                    <a:pt x="659" y="689"/>
                  </a:lnTo>
                  <a:lnTo>
                    <a:pt x="655" y="689"/>
                  </a:lnTo>
                  <a:lnTo>
                    <a:pt x="653" y="689"/>
                  </a:lnTo>
                  <a:lnTo>
                    <a:pt x="651" y="689"/>
                  </a:lnTo>
                  <a:lnTo>
                    <a:pt x="647" y="691"/>
                  </a:lnTo>
                  <a:lnTo>
                    <a:pt x="643" y="691"/>
                  </a:lnTo>
                  <a:lnTo>
                    <a:pt x="641" y="691"/>
                  </a:lnTo>
                  <a:lnTo>
                    <a:pt x="637" y="691"/>
                  </a:lnTo>
                  <a:lnTo>
                    <a:pt x="634" y="691"/>
                  </a:lnTo>
                  <a:lnTo>
                    <a:pt x="632" y="691"/>
                  </a:lnTo>
                  <a:lnTo>
                    <a:pt x="628" y="691"/>
                  </a:lnTo>
                  <a:lnTo>
                    <a:pt x="626" y="687"/>
                  </a:lnTo>
                  <a:lnTo>
                    <a:pt x="624" y="687"/>
                  </a:lnTo>
                  <a:lnTo>
                    <a:pt x="622" y="686"/>
                  </a:lnTo>
                  <a:lnTo>
                    <a:pt x="620" y="686"/>
                  </a:lnTo>
                  <a:lnTo>
                    <a:pt x="616" y="682"/>
                  </a:lnTo>
                  <a:lnTo>
                    <a:pt x="614" y="682"/>
                  </a:lnTo>
                  <a:lnTo>
                    <a:pt x="613" y="680"/>
                  </a:lnTo>
                  <a:lnTo>
                    <a:pt x="611" y="678"/>
                  </a:lnTo>
                  <a:lnTo>
                    <a:pt x="609" y="678"/>
                  </a:lnTo>
                  <a:lnTo>
                    <a:pt x="607" y="676"/>
                  </a:lnTo>
                  <a:lnTo>
                    <a:pt x="603" y="676"/>
                  </a:lnTo>
                  <a:lnTo>
                    <a:pt x="601" y="676"/>
                  </a:lnTo>
                  <a:lnTo>
                    <a:pt x="597" y="674"/>
                  </a:lnTo>
                  <a:lnTo>
                    <a:pt x="597" y="672"/>
                  </a:lnTo>
                  <a:lnTo>
                    <a:pt x="595" y="670"/>
                  </a:lnTo>
                  <a:lnTo>
                    <a:pt x="591" y="670"/>
                  </a:lnTo>
                  <a:lnTo>
                    <a:pt x="590" y="666"/>
                  </a:lnTo>
                  <a:lnTo>
                    <a:pt x="588" y="662"/>
                  </a:lnTo>
                  <a:lnTo>
                    <a:pt x="586" y="657"/>
                  </a:lnTo>
                  <a:lnTo>
                    <a:pt x="582" y="655"/>
                  </a:lnTo>
                  <a:lnTo>
                    <a:pt x="582" y="651"/>
                  </a:lnTo>
                  <a:lnTo>
                    <a:pt x="582" y="649"/>
                  </a:lnTo>
                  <a:lnTo>
                    <a:pt x="582" y="647"/>
                  </a:lnTo>
                  <a:lnTo>
                    <a:pt x="582" y="645"/>
                  </a:lnTo>
                  <a:lnTo>
                    <a:pt x="580" y="643"/>
                  </a:lnTo>
                  <a:lnTo>
                    <a:pt x="576" y="643"/>
                  </a:lnTo>
                  <a:lnTo>
                    <a:pt x="574" y="643"/>
                  </a:lnTo>
                  <a:lnTo>
                    <a:pt x="572" y="641"/>
                  </a:lnTo>
                  <a:lnTo>
                    <a:pt x="572" y="638"/>
                  </a:lnTo>
                  <a:lnTo>
                    <a:pt x="570" y="636"/>
                  </a:lnTo>
                  <a:lnTo>
                    <a:pt x="566" y="636"/>
                  </a:lnTo>
                  <a:lnTo>
                    <a:pt x="565" y="636"/>
                  </a:lnTo>
                  <a:lnTo>
                    <a:pt x="561" y="636"/>
                  </a:lnTo>
                  <a:lnTo>
                    <a:pt x="561" y="632"/>
                  </a:lnTo>
                  <a:lnTo>
                    <a:pt x="557" y="632"/>
                  </a:lnTo>
                  <a:lnTo>
                    <a:pt x="553" y="632"/>
                  </a:lnTo>
                  <a:lnTo>
                    <a:pt x="551" y="632"/>
                  </a:lnTo>
                  <a:lnTo>
                    <a:pt x="547" y="632"/>
                  </a:lnTo>
                  <a:lnTo>
                    <a:pt x="543" y="632"/>
                  </a:lnTo>
                  <a:lnTo>
                    <a:pt x="542" y="632"/>
                  </a:lnTo>
                  <a:lnTo>
                    <a:pt x="538" y="632"/>
                  </a:lnTo>
                  <a:lnTo>
                    <a:pt x="534" y="632"/>
                  </a:lnTo>
                  <a:lnTo>
                    <a:pt x="532" y="632"/>
                  </a:lnTo>
                  <a:lnTo>
                    <a:pt x="528" y="632"/>
                  </a:lnTo>
                  <a:lnTo>
                    <a:pt x="526" y="632"/>
                  </a:lnTo>
                  <a:lnTo>
                    <a:pt x="524" y="630"/>
                  </a:lnTo>
                  <a:lnTo>
                    <a:pt x="522" y="630"/>
                  </a:lnTo>
                  <a:lnTo>
                    <a:pt x="519" y="630"/>
                  </a:lnTo>
                  <a:lnTo>
                    <a:pt x="515" y="630"/>
                  </a:lnTo>
                  <a:lnTo>
                    <a:pt x="511" y="630"/>
                  </a:lnTo>
                  <a:lnTo>
                    <a:pt x="509" y="630"/>
                  </a:lnTo>
                  <a:lnTo>
                    <a:pt x="507" y="632"/>
                  </a:lnTo>
                  <a:lnTo>
                    <a:pt x="505" y="632"/>
                  </a:lnTo>
                  <a:lnTo>
                    <a:pt x="501" y="632"/>
                  </a:lnTo>
                  <a:lnTo>
                    <a:pt x="501" y="634"/>
                  </a:lnTo>
                  <a:lnTo>
                    <a:pt x="499" y="634"/>
                  </a:lnTo>
                  <a:lnTo>
                    <a:pt x="497" y="636"/>
                  </a:lnTo>
                  <a:lnTo>
                    <a:pt x="494" y="636"/>
                  </a:lnTo>
                  <a:lnTo>
                    <a:pt x="492" y="636"/>
                  </a:lnTo>
                  <a:lnTo>
                    <a:pt x="488" y="636"/>
                  </a:lnTo>
                  <a:lnTo>
                    <a:pt x="486" y="632"/>
                  </a:lnTo>
                  <a:lnTo>
                    <a:pt x="486" y="630"/>
                  </a:lnTo>
                  <a:lnTo>
                    <a:pt x="484" y="628"/>
                  </a:lnTo>
                  <a:lnTo>
                    <a:pt x="482" y="626"/>
                  </a:lnTo>
                  <a:lnTo>
                    <a:pt x="482" y="626"/>
                  </a:lnTo>
                  <a:lnTo>
                    <a:pt x="478" y="624"/>
                  </a:lnTo>
                  <a:lnTo>
                    <a:pt x="476" y="624"/>
                  </a:lnTo>
                  <a:lnTo>
                    <a:pt x="474" y="622"/>
                  </a:lnTo>
                  <a:lnTo>
                    <a:pt x="472" y="620"/>
                  </a:lnTo>
                  <a:lnTo>
                    <a:pt x="471" y="618"/>
                  </a:lnTo>
                  <a:lnTo>
                    <a:pt x="469" y="616"/>
                  </a:lnTo>
                  <a:lnTo>
                    <a:pt x="469" y="615"/>
                  </a:lnTo>
                  <a:lnTo>
                    <a:pt x="467" y="613"/>
                  </a:lnTo>
                  <a:lnTo>
                    <a:pt x="467" y="609"/>
                  </a:lnTo>
                  <a:lnTo>
                    <a:pt x="467" y="607"/>
                  </a:lnTo>
                  <a:lnTo>
                    <a:pt x="465" y="603"/>
                  </a:lnTo>
                  <a:lnTo>
                    <a:pt x="463" y="601"/>
                  </a:lnTo>
                  <a:lnTo>
                    <a:pt x="463" y="599"/>
                  </a:lnTo>
                  <a:lnTo>
                    <a:pt x="461" y="599"/>
                  </a:lnTo>
                  <a:lnTo>
                    <a:pt x="457" y="599"/>
                  </a:lnTo>
                  <a:lnTo>
                    <a:pt x="453" y="599"/>
                  </a:lnTo>
                  <a:lnTo>
                    <a:pt x="451" y="599"/>
                  </a:lnTo>
                  <a:lnTo>
                    <a:pt x="448" y="599"/>
                  </a:lnTo>
                  <a:lnTo>
                    <a:pt x="444" y="599"/>
                  </a:lnTo>
                  <a:lnTo>
                    <a:pt x="442" y="599"/>
                  </a:lnTo>
                  <a:lnTo>
                    <a:pt x="438" y="599"/>
                  </a:lnTo>
                  <a:lnTo>
                    <a:pt x="434" y="599"/>
                  </a:lnTo>
                  <a:lnTo>
                    <a:pt x="432" y="599"/>
                  </a:lnTo>
                  <a:lnTo>
                    <a:pt x="430" y="599"/>
                  </a:lnTo>
                  <a:lnTo>
                    <a:pt x="426" y="601"/>
                  </a:lnTo>
                  <a:lnTo>
                    <a:pt x="424" y="601"/>
                  </a:lnTo>
                  <a:lnTo>
                    <a:pt x="421" y="601"/>
                  </a:lnTo>
                  <a:lnTo>
                    <a:pt x="421" y="599"/>
                  </a:lnTo>
                  <a:lnTo>
                    <a:pt x="419" y="597"/>
                  </a:lnTo>
                  <a:lnTo>
                    <a:pt x="417" y="595"/>
                  </a:lnTo>
                  <a:lnTo>
                    <a:pt x="417" y="593"/>
                  </a:lnTo>
                  <a:lnTo>
                    <a:pt x="415" y="591"/>
                  </a:lnTo>
                  <a:lnTo>
                    <a:pt x="411" y="591"/>
                  </a:lnTo>
                  <a:lnTo>
                    <a:pt x="411" y="590"/>
                  </a:lnTo>
                  <a:lnTo>
                    <a:pt x="407" y="590"/>
                  </a:lnTo>
                  <a:lnTo>
                    <a:pt x="403" y="590"/>
                  </a:lnTo>
                  <a:lnTo>
                    <a:pt x="401" y="590"/>
                  </a:lnTo>
                  <a:lnTo>
                    <a:pt x="400" y="591"/>
                  </a:lnTo>
                  <a:lnTo>
                    <a:pt x="396" y="591"/>
                  </a:lnTo>
                  <a:lnTo>
                    <a:pt x="392" y="591"/>
                  </a:lnTo>
                  <a:lnTo>
                    <a:pt x="390" y="591"/>
                  </a:lnTo>
                  <a:lnTo>
                    <a:pt x="386" y="591"/>
                  </a:lnTo>
                  <a:lnTo>
                    <a:pt x="382" y="591"/>
                  </a:lnTo>
                  <a:lnTo>
                    <a:pt x="380" y="591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1" y="593"/>
                  </a:lnTo>
                  <a:lnTo>
                    <a:pt x="367" y="593"/>
                  </a:lnTo>
                  <a:lnTo>
                    <a:pt x="365" y="595"/>
                  </a:lnTo>
                  <a:lnTo>
                    <a:pt x="365" y="590"/>
                  </a:lnTo>
                  <a:lnTo>
                    <a:pt x="367" y="586"/>
                  </a:lnTo>
                  <a:lnTo>
                    <a:pt x="367" y="582"/>
                  </a:lnTo>
                  <a:lnTo>
                    <a:pt x="367" y="580"/>
                  </a:lnTo>
                  <a:lnTo>
                    <a:pt x="367" y="576"/>
                  </a:lnTo>
                  <a:lnTo>
                    <a:pt x="363" y="576"/>
                  </a:lnTo>
                  <a:lnTo>
                    <a:pt x="361" y="574"/>
                  </a:lnTo>
                  <a:lnTo>
                    <a:pt x="361" y="570"/>
                  </a:lnTo>
                  <a:lnTo>
                    <a:pt x="361" y="568"/>
                  </a:lnTo>
                  <a:lnTo>
                    <a:pt x="361" y="567"/>
                  </a:lnTo>
                  <a:lnTo>
                    <a:pt x="361" y="565"/>
                  </a:lnTo>
                  <a:lnTo>
                    <a:pt x="357" y="563"/>
                  </a:lnTo>
                  <a:lnTo>
                    <a:pt x="357" y="561"/>
                  </a:lnTo>
                  <a:lnTo>
                    <a:pt x="355" y="561"/>
                  </a:lnTo>
                  <a:lnTo>
                    <a:pt x="353" y="559"/>
                  </a:lnTo>
                  <a:lnTo>
                    <a:pt x="353" y="555"/>
                  </a:lnTo>
                  <a:lnTo>
                    <a:pt x="353" y="553"/>
                  </a:lnTo>
                  <a:lnTo>
                    <a:pt x="353" y="549"/>
                  </a:lnTo>
                  <a:lnTo>
                    <a:pt x="353" y="545"/>
                  </a:lnTo>
                  <a:lnTo>
                    <a:pt x="353" y="544"/>
                  </a:lnTo>
                  <a:lnTo>
                    <a:pt x="352" y="542"/>
                  </a:lnTo>
                  <a:lnTo>
                    <a:pt x="350" y="540"/>
                  </a:lnTo>
                  <a:lnTo>
                    <a:pt x="348" y="540"/>
                  </a:lnTo>
                  <a:lnTo>
                    <a:pt x="346" y="538"/>
                  </a:lnTo>
                  <a:lnTo>
                    <a:pt x="344" y="536"/>
                  </a:lnTo>
                  <a:lnTo>
                    <a:pt x="342" y="534"/>
                  </a:lnTo>
                  <a:lnTo>
                    <a:pt x="342" y="530"/>
                  </a:lnTo>
                  <a:lnTo>
                    <a:pt x="342" y="528"/>
                  </a:lnTo>
                  <a:lnTo>
                    <a:pt x="342" y="526"/>
                  </a:lnTo>
                  <a:lnTo>
                    <a:pt x="342" y="524"/>
                  </a:lnTo>
                  <a:lnTo>
                    <a:pt x="342" y="520"/>
                  </a:lnTo>
                  <a:lnTo>
                    <a:pt x="342" y="517"/>
                  </a:lnTo>
                  <a:lnTo>
                    <a:pt x="342" y="515"/>
                  </a:lnTo>
                  <a:lnTo>
                    <a:pt x="342" y="511"/>
                  </a:lnTo>
                  <a:lnTo>
                    <a:pt x="342" y="509"/>
                  </a:lnTo>
                  <a:lnTo>
                    <a:pt x="342" y="505"/>
                  </a:lnTo>
                  <a:lnTo>
                    <a:pt x="342" y="501"/>
                  </a:lnTo>
                  <a:lnTo>
                    <a:pt x="342" y="499"/>
                  </a:lnTo>
                  <a:lnTo>
                    <a:pt x="342" y="496"/>
                  </a:lnTo>
                  <a:lnTo>
                    <a:pt x="344" y="494"/>
                  </a:lnTo>
                  <a:lnTo>
                    <a:pt x="344" y="490"/>
                  </a:lnTo>
                  <a:lnTo>
                    <a:pt x="346" y="486"/>
                  </a:lnTo>
                  <a:lnTo>
                    <a:pt x="346" y="484"/>
                  </a:lnTo>
                  <a:lnTo>
                    <a:pt x="346" y="480"/>
                  </a:lnTo>
                  <a:lnTo>
                    <a:pt x="346" y="476"/>
                  </a:lnTo>
                  <a:lnTo>
                    <a:pt x="344" y="476"/>
                  </a:lnTo>
                  <a:lnTo>
                    <a:pt x="342" y="474"/>
                  </a:lnTo>
                  <a:lnTo>
                    <a:pt x="342" y="473"/>
                  </a:lnTo>
                  <a:lnTo>
                    <a:pt x="340" y="469"/>
                  </a:lnTo>
                  <a:lnTo>
                    <a:pt x="338" y="467"/>
                  </a:lnTo>
                  <a:lnTo>
                    <a:pt x="334" y="465"/>
                  </a:lnTo>
                  <a:lnTo>
                    <a:pt x="329" y="465"/>
                  </a:lnTo>
                  <a:lnTo>
                    <a:pt x="327" y="465"/>
                  </a:lnTo>
                  <a:lnTo>
                    <a:pt x="323" y="465"/>
                  </a:lnTo>
                  <a:lnTo>
                    <a:pt x="321" y="465"/>
                  </a:lnTo>
                  <a:lnTo>
                    <a:pt x="317" y="465"/>
                  </a:lnTo>
                  <a:lnTo>
                    <a:pt x="313" y="465"/>
                  </a:lnTo>
                  <a:lnTo>
                    <a:pt x="311" y="465"/>
                  </a:lnTo>
                  <a:lnTo>
                    <a:pt x="309" y="465"/>
                  </a:lnTo>
                  <a:lnTo>
                    <a:pt x="309" y="461"/>
                  </a:lnTo>
                  <a:lnTo>
                    <a:pt x="307" y="459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2" y="455"/>
                  </a:lnTo>
                  <a:lnTo>
                    <a:pt x="300" y="455"/>
                  </a:lnTo>
                  <a:lnTo>
                    <a:pt x="296" y="455"/>
                  </a:lnTo>
                  <a:lnTo>
                    <a:pt x="292" y="455"/>
                  </a:lnTo>
                  <a:lnTo>
                    <a:pt x="290" y="455"/>
                  </a:lnTo>
                  <a:lnTo>
                    <a:pt x="286" y="455"/>
                  </a:lnTo>
                  <a:lnTo>
                    <a:pt x="283" y="455"/>
                  </a:lnTo>
                  <a:lnTo>
                    <a:pt x="281" y="455"/>
                  </a:lnTo>
                  <a:lnTo>
                    <a:pt x="279" y="455"/>
                  </a:lnTo>
                  <a:lnTo>
                    <a:pt x="277" y="455"/>
                  </a:lnTo>
                  <a:lnTo>
                    <a:pt x="275" y="459"/>
                  </a:lnTo>
                  <a:lnTo>
                    <a:pt x="275" y="463"/>
                  </a:lnTo>
                  <a:lnTo>
                    <a:pt x="275" y="465"/>
                  </a:lnTo>
                  <a:lnTo>
                    <a:pt x="275" y="469"/>
                  </a:lnTo>
                  <a:lnTo>
                    <a:pt x="273" y="471"/>
                  </a:lnTo>
                  <a:lnTo>
                    <a:pt x="273" y="473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6"/>
                  </a:lnTo>
                  <a:lnTo>
                    <a:pt x="265" y="476"/>
                  </a:lnTo>
                  <a:lnTo>
                    <a:pt x="261" y="476"/>
                  </a:lnTo>
                  <a:lnTo>
                    <a:pt x="259" y="478"/>
                  </a:lnTo>
                  <a:lnTo>
                    <a:pt x="258" y="480"/>
                  </a:lnTo>
                  <a:lnTo>
                    <a:pt x="256" y="482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0" y="484"/>
                  </a:lnTo>
                  <a:lnTo>
                    <a:pt x="248" y="484"/>
                  </a:lnTo>
                  <a:lnTo>
                    <a:pt x="246" y="486"/>
                  </a:lnTo>
                  <a:lnTo>
                    <a:pt x="242" y="486"/>
                  </a:lnTo>
                  <a:lnTo>
                    <a:pt x="238" y="486"/>
                  </a:lnTo>
                  <a:lnTo>
                    <a:pt x="235" y="486"/>
                  </a:lnTo>
                  <a:lnTo>
                    <a:pt x="233" y="488"/>
                  </a:lnTo>
                  <a:lnTo>
                    <a:pt x="231" y="490"/>
                  </a:lnTo>
                  <a:lnTo>
                    <a:pt x="231" y="494"/>
                  </a:lnTo>
                  <a:lnTo>
                    <a:pt x="227" y="496"/>
                  </a:lnTo>
                  <a:lnTo>
                    <a:pt x="225" y="496"/>
                  </a:lnTo>
                  <a:lnTo>
                    <a:pt x="221" y="496"/>
                  </a:lnTo>
                  <a:lnTo>
                    <a:pt x="221" y="496"/>
                  </a:lnTo>
                  <a:lnTo>
                    <a:pt x="217" y="496"/>
                  </a:lnTo>
                  <a:lnTo>
                    <a:pt x="215" y="496"/>
                  </a:lnTo>
                  <a:lnTo>
                    <a:pt x="212" y="496"/>
                  </a:lnTo>
                  <a:lnTo>
                    <a:pt x="212" y="496"/>
                  </a:lnTo>
                  <a:lnTo>
                    <a:pt x="208" y="496"/>
                  </a:lnTo>
                  <a:lnTo>
                    <a:pt x="206" y="496"/>
                  </a:lnTo>
                  <a:lnTo>
                    <a:pt x="204" y="494"/>
                  </a:lnTo>
                  <a:lnTo>
                    <a:pt x="202" y="494"/>
                  </a:lnTo>
                  <a:lnTo>
                    <a:pt x="200" y="492"/>
                  </a:lnTo>
                  <a:lnTo>
                    <a:pt x="198" y="492"/>
                  </a:lnTo>
                  <a:lnTo>
                    <a:pt x="196" y="490"/>
                  </a:lnTo>
                  <a:lnTo>
                    <a:pt x="192" y="488"/>
                  </a:lnTo>
                  <a:lnTo>
                    <a:pt x="190" y="486"/>
                  </a:lnTo>
                  <a:lnTo>
                    <a:pt x="190" y="482"/>
                  </a:lnTo>
                  <a:lnTo>
                    <a:pt x="190" y="480"/>
                  </a:lnTo>
                  <a:lnTo>
                    <a:pt x="190" y="476"/>
                  </a:lnTo>
                  <a:lnTo>
                    <a:pt x="188" y="474"/>
                  </a:lnTo>
                  <a:lnTo>
                    <a:pt x="187" y="471"/>
                  </a:lnTo>
                  <a:lnTo>
                    <a:pt x="185" y="471"/>
                  </a:lnTo>
                  <a:lnTo>
                    <a:pt x="181" y="471"/>
                  </a:lnTo>
                  <a:lnTo>
                    <a:pt x="181" y="469"/>
                  </a:lnTo>
                  <a:lnTo>
                    <a:pt x="179" y="465"/>
                  </a:lnTo>
                  <a:lnTo>
                    <a:pt x="177" y="465"/>
                  </a:lnTo>
                  <a:lnTo>
                    <a:pt x="175" y="465"/>
                  </a:lnTo>
                  <a:lnTo>
                    <a:pt x="173" y="461"/>
                  </a:lnTo>
                  <a:lnTo>
                    <a:pt x="173" y="459"/>
                  </a:lnTo>
                  <a:lnTo>
                    <a:pt x="173" y="455"/>
                  </a:lnTo>
                  <a:lnTo>
                    <a:pt x="171" y="455"/>
                  </a:lnTo>
                  <a:lnTo>
                    <a:pt x="171" y="451"/>
                  </a:lnTo>
                  <a:lnTo>
                    <a:pt x="171" y="449"/>
                  </a:lnTo>
                  <a:lnTo>
                    <a:pt x="169" y="449"/>
                  </a:lnTo>
                  <a:lnTo>
                    <a:pt x="167" y="448"/>
                  </a:lnTo>
                  <a:lnTo>
                    <a:pt x="165" y="446"/>
                  </a:lnTo>
                  <a:lnTo>
                    <a:pt x="164" y="446"/>
                  </a:lnTo>
                  <a:lnTo>
                    <a:pt x="162" y="444"/>
                  </a:lnTo>
                  <a:lnTo>
                    <a:pt x="162" y="442"/>
                  </a:lnTo>
                  <a:lnTo>
                    <a:pt x="160" y="440"/>
                  </a:lnTo>
                  <a:lnTo>
                    <a:pt x="158" y="438"/>
                  </a:lnTo>
                  <a:lnTo>
                    <a:pt x="156" y="436"/>
                  </a:lnTo>
                  <a:lnTo>
                    <a:pt x="154" y="436"/>
                  </a:lnTo>
                  <a:lnTo>
                    <a:pt x="154" y="432"/>
                  </a:lnTo>
                  <a:lnTo>
                    <a:pt x="152" y="430"/>
                  </a:lnTo>
                  <a:lnTo>
                    <a:pt x="150" y="430"/>
                  </a:lnTo>
                  <a:lnTo>
                    <a:pt x="150" y="428"/>
                  </a:lnTo>
                  <a:lnTo>
                    <a:pt x="150" y="425"/>
                  </a:lnTo>
                  <a:lnTo>
                    <a:pt x="148" y="425"/>
                  </a:lnTo>
                  <a:lnTo>
                    <a:pt x="146" y="425"/>
                  </a:lnTo>
                  <a:lnTo>
                    <a:pt x="146" y="417"/>
                  </a:lnTo>
                  <a:lnTo>
                    <a:pt x="144" y="415"/>
                  </a:lnTo>
                  <a:lnTo>
                    <a:pt x="144" y="413"/>
                  </a:lnTo>
                  <a:lnTo>
                    <a:pt x="142" y="411"/>
                  </a:lnTo>
                  <a:lnTo>
                    <a:pt x="141" y="409"/>
                  </a:lnTo>
                  <a:lnTo>
                    <a:pt x="137" y="407"/>
                  </a:lnTo>
                  <a:lnTo>
                    <a:pt x="133" y="407"/>
                  </a:lnTo>
                  <a:lnTo>
                    <a:pt x="131" y="407"/>
                  </a:lnTo>
                  <a:lnTo>
                    <a:pt x="127" y="407"/>
                  </a:lnTo>
                  <a:lnTo>
                    <a:pt x="121" y="407"/>
                  </a:lnTo>
                  <a:lnTo>
                    <a:pt x="119" y="407"/>
                  </a:lnTo>
                  <a:lnTo>
                    <a:pt x="116" y="407"/>
                  </a:lnTo>
                  <a:lnTo>
                    <a:pt x="112" y="405"/>
                  </a:lnTo>
                  <a:lnTo>
                    <a:pt x="110" y="405"/>
                  </a:lnTo>
                  <a:lnTo>
                    <a:pt x="106" y="405"/>
                  </a:lnTo>
                  <a:lnTo>
                    <a:pt x="102" y="405"/>
                  </a:lnTo>
                  <a:lnTo>
                    <a:pt x="98" y="405"/>
                  </a:lnTo>
                  <a:lnTo>
                    <a:pt x="94" y="405"/>
                  </a:lnTo>
                  <a:lnTo>
                    <a:pt x="93" y="405"/>
                  </a:lnTo>
                  <a:lnTo>
                    <a:pt x="91" y="405"/>
                  </a:lnTo>
                  <a:lnTo>
                    <a:pt x="89" y="405"/>
                  </a:lnTo>
                  <a:lnTo>
                    <a:pt x="87" y="405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77" y="400"/>
                  </a:lnTo>
                  <a:lnTo>
                    <a:pt x="71" y="400"/>
                  </a:lnTo>
                  <a:lnTo>
                    <a:pt x="70" y="400"/>
                  </a:lnTo>
                  <a:lnTo>
                    <a:pt x="66" y="400"/>
                  </a:lnTo>
                  <a:lnTo>
                    <a:pt x="62" y="400"/>
                  </a:lnTo>
                  <a:lnTo>
                    <a:pt x="58" y="402"/>
                  </a:lnTo>
                  <a:lnTo>
                    <a:pt x="52" y="402"/>
                  </a:lnTo>
                  <a:lnTo>
                    <a:pt x="48" y="403"/>
                  </a:lnTo>
                  <a:lnTo>
                    <a:pt x="46" y="405"/>
                  </a:lnTo>
                  <a:lnTo>
                    <a:pt x="43" y="405"/>
                  </a:lnTo>
                  <a:lnTo>
                    <a:pt x="41" y="409"/>
                  </a:lnTo>
                  <a:lnTo>
                    <a:pt x="39" y="409"/>
                  </a:lnTo>
                  <a:lnTo>
                    <a:pt x="37" y="411"/>
                  </a:lnTo>
                  <a:lnTo>
                    <a:pt x="35" y="411"/>
                  </a:lnTo>
                  <a:lnTo>
                    <a:pt x="35" y="413"/>
                  </a:lnTo>
                  <a:lnTo>
                    <a:pt x="31" y="413"/>
                  </a:lnTo>
                  <a:lnTo>
                    <a:pt x="29" y="415"/>
                  </a:lnTo>
                  <a:lnTo>
                    <a:pt x="25" y="415"/>
                  </a:lnTo>
                  <a:lnTo>
                    <a:pt x="23" y="419"/>
                  </a:lnTo>
                  <a:lnTo>
                    <a:pt x="22" y="419"/>
                  </a:lnTo>
                  <a:lnTo>
                    <a:pt x="20" y="419"/>
                  </a:lnTo>
                  <a:lnTo>
                    <a:pt x="16" y="421"/>
                  </a:lnTo>
                  <a:lnTo>
                    <a:pt x="14" y="423"/>
                  </a:lnTo>
                  <a:lnTo>
                    <a:pt x="10" y="423"/>
                  </a:lnTo>
                  <a:lnTo>
                    <a:pt x="8" y="425"/>
                  </a:lnTo>
                  <a:lnTo>
                    <a:pt x="6" y="423"/>
                  </a:lnTo>
                  <a:lnTo>
                    <a:pt x="6" y="421"/>
                  </a:lnTo>
                  <a:lnTo>
                    <a:pt x="6" y="417"/>
                  </a:lnTo>
                  <a:lnTo>
                    <a:pt x="4" y="415"/>
                  </a:lnTo>
                  <a:lnTo>
                    <a:pt x="4" y="413"/>
                  </a:lnTo>
                  <a:lnTo>
                    <a:pt x="0" y="4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6" name="Freeform 52"/>
            <p:cNvSpPr>
              <a:spLocks/>
            </p:cNvSpPr>
            <p:nvPr/>
          </p:nvSpPr>
          <p:spPr bwMode="auto">
            <a:xfrm>
              <a:off x="1620" y="2130"/>
              <a:ext cx="684" cy="691"/>
            </a:xfrm>
            <a:custGeom>
              <a:avLst/>
              <a:gdLst/>
              <a:ahLst/>
              <a:cxnLst>
                <a:cxn ang="0">
                  <a:pos x="29" y="373"/>
                </a:cxn>
                <a:cxn ang="0">
                  <a:pos x="81" y="361"/>
                </a:cxn>
                <a:cxn ang="0">
                  <a:pos x="100" y="373"/>
                </a:cxn>
                <a:cxn ang="0">
                  <a:pos x="125" y="340"/>
                </a:cxn>
                <a:cxn ang="0">
                  <a:pos x="152" y="307"/>
                </a:cxn>
                <a:cxn ang="0">
                  <a:pos x="148" y="265"/>
                </a:cxn>
                <a:cxn ang="0">
                  <a:pos x="175" y="233"/>
                </a:cxn>
                <a:cxn ang="0">
                  <a:pos x="202" y="198"/>
                </a:cxn>
                <a:cxn ang="0">
                  <a:pos x="217" y="154"/>
                </a:cxn>
                <a:cxn ang="0">
                  <a:pos x="213" y="104"/>
                </a:cxn>
                <a:cxn ang="0">
                  <a:pos x="225" y="62"/>
                </a:cxn>
                <a:cxn ang="0">
                  <a:pos x="242" y="20"/>
                </a:cxn>
                <a:cxn ang="0">
                  <a:pos x="281" y="2"/>
                </a:cxn>
                <a:cxn ang="0">
                  <a:pos x="309" y="31"/>
                </a:cxn>
                <a:cxn ang="0">
                  <a:pos x="353" y="45"/>
                </a:cxn>
                <a:cxn ang="0">
                  <a:pos x="380" y="24"/>
                </a:cxn>
                <a:cxn ang="0">
                  <a:pos x="424" y="27"/>
                </a:cxn>
                <a:cxn ang="0">
                  <a:pos x="461" y="10"/>
                </a:cxn>
                <a:cxn ang="0">
                  <a:pos x="501" y="6"/>
                </a:cxn>
                <a:cxn ang="0">
                  <a:pos x="551" y="12"/>
                </a:cxn>
                <a:cxn ang="0">
                  <a:pos x="586" y="37"/>
                </a:cxn>
                <a:cxn ang="0">
                  <a:pos x="624" y="25"/>
                </a:cxn>
                <a:cxn ang="0">
                  <a:pos x="653" y="43"/>
                </a:cxn>
                <a:cxn ang="0">
                  <a:pos x="680" y="70"/>
                </a:cxn>
                <a:cxn ang="0">
                  <a:pos x="680" y="116"/>
                </a:cxn>
                <a:cxn ang="0">
                  <a:pos x="676" y="154"/>
                </a:cxn>
                <a:cxn ang="0">
                  <a:pos x="643" y="173"/>
                </a:cxn>
                <a:cxn ang="0">
                  <a:pos x="630" y="217"/>
                </a:cxn>
                <a:cxn ang="0">
                  <a:pos x="626" y="265"/>
                </a:cxn>
                <a:cxn ang="0">
                  <a:pos x="611" y="306"/>
                </a:cxn>
                <a:cxn ang="0">
                  <a:pos x="622" y="352"/>
                </a:cxn>
                <a:cxn ang="0">
                  <a:pos x="637" y="396"/>
                </a:cxn>
                <a:cxn ang="0">
                  <a:pos x="643" y="440"/>
                </a:cxn>
                <a:cxn ang="0">
                  <a:pos x="664" y="478"/>
                </a:cxn>
                <a:cxn ang="0">
                  <a:pos x="666" y="503"/>
                </a:cxn>
                <a:cxn ang="0">
                  <a:pos x="616" y="513"/>
                </a:cxn>
                <a:cxn ang="0">
                  <a:pos x="597" y="547"/>
                </a:cxn>
                <a:cxn ang="0">
                  <a:pos x="595" y="586"/>
                </a:cxn>
                <a:cxn ang="0">
                  <a:pos x="582" y="622"/>
                </a:cxn>
                <a:cxn ang="0">
                  <a:pos x="622" y="641"/>
                </a:cxn>
                <a:cxn ang="0">
                  <a:pos x="666" y="632"/>
                </a:cxn>
                <a:cxn ang="0">
                  <a:pos x="678" y="674"/>
                </a:cxn>
                <a:cxn ang="0">
                  <a:pos x="641" y="691"/>
                </a:cxn>
                <a:cxn ang="0">
                  <a:pos x="597" y="674"/>
                </a:cxn>
                <a:cxn ang="0">
                  <a:pos x="570" y="636"/>
                </a:cxn>
                <a:cxn ang="0">
                  <a:pos x="522" y="630"/>
                </a:cxn>
                <a:cxn ang="0">
                  <a:pos x="482" y="626"/>
                </a:cxn>
                <a:cxn ang="0">
                  <a:pos x="453" y="599"/>
                </a:cxn>
                <a:cxn ang="0">
                  <a:pos x="411" y="591"/>
                </a:cxn>
                <a:cxn ang="0">
                  <a:pos x="365" y="590"/>
                </a:cxn>
                <a:cxn ang="0">
                  <a:pos x="353" y="549"/>
                </a:cxn>
                <a:cxn ang="0">
                  <a:pos x="342" y="509"/>
                </a:cxn>
                <a:cxn ang="0">
                  <a:pos x="329" y="465"/>
                </a:cxn>
                <a:cxn ang="0">
                  <a:pos x="286" y="455"/>
                </a:cxn>
                <a:cxn ang="0">
                  <a:pos x="258" y="480"/>
                </a:cxn>
                <a:cxn ang="0">
                  <a:pos x="217" y="496"/>
                </a:cxn>
                <a:cxn ang="0">
                  <a:pos x="187" y="471"/>
                </a:cxn>
                <a:cxn ang="0">
                  <a:pos x="162" y="444"/>
                </a:cxn>
                <a:cxn ang="0">
                  <a:pos x="141" y="409"/>
                </a:cxn>
                <a:cxn ang="0">
                  <a:pos x="87" y="405"/>
                </a:cxn>
                <a:cxn ang="0">
                  <a:pos x="35" y="413"/>
                </a:cxn>
              </a:cxnLst>
              <a:rect l="0" t="0" r="r" b="b"/>
              <a:pathLst>
                <a:path w="684" h="691">
                  <a:moveTo>
                    <a:pt x="0" y="407"/>
                  </a:moveTo>
                  <a:lnTo>
                    <a:pt x="4" y="403"/>
                  </a:lnTo>
                  <a:lnTo>
                    <a:pt x="8" y="400"/>
                  </a:lnTo>
                  <a:lnTo>
                    <a:pt x="10" y="398"/>
                  </a:lnTo>
                  <a:lnTo>
                    <a:pt x="12" y="398"/>
                  </a:lnTo>
                  <a:lnTo>
                    <a:pt x="14" y="398"/>
                  </a:lnTo>
                  <a:lnTo>
                    <a:pt x="16" y="396"/>
                  </a:lnTo>
                  <a:lnTo>
                    <a:pt x="18" y="394"/>
                  </a:lnTo>
                  <a:lnTo>
                    <a:pt x="20" y="392"/>
                  </a:lnTo>
                  <a:lnTo>
                    <a:pt x="20" y="386"/>
                  </a:lnTo>
                  <a:lnTo>
                    <a:pt x="22" y="386"/>
                  </a:lnTo>
                  <a:lnTo>
                    <a:pt x="22" y="382"/>
                  </a:lnTo>
                  <a:lnTo>
                    <a:pt x="22" y="380"/>
                  </a:lnTo>
                  <a:lnTo>
                    <a:pt x="22" y="378"/>
                  </a:lnTo>
                  <a:lnTo>
                    <a:pt x="25" y="377"/>
                  </a:lnTo>
                  <a:lnTo>
                    <a:pt x="25" y="375"/>
                  </a:lnTo>
                  <a:lnTo>
                    <a:pt x="29" y="373"/>
                  </a:lnTo>
                  <a:lnTo>
                    <a:pt x="31" y="371"/>
                  </a:lnTo>
                  <a:lnTo>
                    <a:pt x="33" y="367"/>
                  </a:lnTo>
                  <a:lnTo>
                    <a:pt x="37" y="365"/>
                  </a:lnTo>
                  <a:lnTo>
                    <a:pt x="37" y="363"/>
                  </a:lnTo>
                  <a:lnTo>
                    <a:pt x="41" y="361"/>
                  </a:lnTo>
                  <a:lnTo>
                    <a:pt x="43" y="361"/>
                  </a:lnTo>
                  <a:lnTo>
                    <a:pt x="46" y="361"/>
                  </a:lnTo>
                  <a:lnTo>
                    <a:pt x="50" y="361"/>
                  </a:lnTo>
                  <a:lnTo>
                    <a:pt x="54" y="361"/>
                  </a:lnTo>
                  <a:lnTo>
                    <a:pt x="58" y="361"/>
                  </a:lnTo>
                  <a:lnTo>
                    <a:pt x="62" y="361"/>
                  </a:lnTo>
                  <a:lnTo>
                    <a:pt x="64" y="359"/>
                  </a:lnTo>
                  <a:lnTo>
                    <a:pt x="68" y="359"/>
                  </a:lnTo>
                  <a:lnTo>
                    <a:pt x="71" y="357"/>
                  </a:lnTo>
                  <a:lnTo>
                    <a:pt x="73" y="359"/>
                  </a:lnTo>
                  <a:lnTo>
                    <a:pt x="77" y="361"/>
                  </a:lnTo>
                  <a:lnTo>
                    <a:pt x="81" y="361"/>
                  </a:lnTo>
                  <a:lnTo>
                    <a:pt x="81" y="363"/>
                  </a:lnTo>
                  <a:lnTo>
                    <a:pt x="81" y="365"/>
                  </a:lnTo>
                  <a:lnTo>
                    <a:pt x="81" y="369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5" y="378"/>
                  </a:lnTo>
                  <a:lnTo>
                    <a:pt x="89" y="378"/>
                  </a:lnTo>
                  <a:lnTo>
                    <a:pt x="91" y="377"/>
                  </a:lnTo>
                  <a:lnTo>
                    <a:pt x="93" y="377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100" y="375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4" y="373"/>
                  </a:lnTo>
                  <a:lnTo>
                    <a:pt x="106" y="371"/>
                  </a:lnTo>
                  <a:lnTo>
                    <a:pt x="106" y="367"/>
                  </a:lnTo>
                  <a:lnTo>
                    <a:pt x="108" y="365"/>
                  </a:lnTo>
                  <a:lnTo>
                    <a:pt x="110" y="363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7"/>
                  </a:lnTo>
                  <a:lnTo>
                    <a:pt x="116" y="357"/>
                  </a:lnTo>
                  <a:lnTo>
                    <a:pt x="117" y="355"/>
                  </a:lnTo>
                  <a:lnTo>
                    <a:pt x="117" y="354"/>
                  </a:lnTo>
                  <a:lnTo>
                    <a:pt x="121" y="354"/>
                  </a:lnTo>
                  <a:lnTo>
                    <a:pt x="121" y="350"/>
                  </a:lnTo>
                  <a:lnTo>
                    <a:pt x="123" y="348"/>
                  </a:lnTo>
                  <a:lnTo>
                    <a:pt x="123" y="344"/>
                  </a:lnTo>
                  <a:lnTo>
                    <a:pt x="125" y="342"/>
                  </a:lnTo>
                  <a:lnTo>
                    <a:pt x="125" y="340"/>
                  </a:lnTo>
                  <a:lnTo>
                    <a:pt x="127" y="338"/>
                  </a:lnTo>
                  <a:lnTo>
                    <a:pt x="129" y="336"/>
                  </a:lnTo>
                  <a:lnTo>
                    <a:pt x="131" y="334"/>
                  </a:lnTo>
                  <a:lnTo>
                    <a:pt x="133" y="332"/>
                  </a:lnTo>
                  <a:lnTo>
                    <a:pt x="135" y="331"/>
                  </a:lnTo>
                  <a:lnTo>
                    <a:pt x="135" y="327"/>
                  </a:lnTo>
                  <a:lnTo>
                    <a:pt x="137" y="327"/>
                  </a:lnTo>
                  <a:lnTo>
                    <a:pt x="139" y="325"/>
                  </a:lnTo>
                  <a:lnTo>
                    <a:pt x="141" y="323"/>
                  </a:lnTo>
                  <a:lnTo>
                    <a:pt x="141" y="321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7"/>
                  </a:lnTo>
                  <a:lnTo>
                    <a:pt x="148" y="315"/>
                  </a:lnTo>
                  <a:lnTo>
                    <a:pt x="148" y="311"/>
                  </a:lnTo>
                  <a:lnTo>
                    <a:pt x="150" y="309"/>
                  </a:lnTo>
                  <a:lnTo>
                    <a:pt x="152" y="307"/>
                  </a:lnTo>
                  <a:lnTo>
                    <a:pt x="152" y="306"/>
                  </a:lnTo>
                  <a:lnTo>
                    <a:pt x="150" y="304"/>
                  </a:lnTo>
                  <a:lnTo>
                    <a:pt x="150" y="300"/>
                  </a:lnTo>
                  <a:lnTo>
                    <a:pt x="150" y="296"/>
                  </a:lnTo>
                  <a:lnTo>
                    <a:pt x="150" y="294"/>
                  </a:lnTo>
                  <a:lnTo>
                    <a:pt x="150" y="290"/>
                  </a:lnTo>
                  <a:lnTo>
                    <a:pt x="150" y="288"/>
                  </a:lnTo>
                  <a:lnTo>
                    <a:pt x="148" y="286"/>
                  </a:lnTo>
                  <a:lnTo>
                    <a:pt x="148" y="284"/>
                  </a:lnTo>
                  <a:lnTo>
                    <a:pt x="148" y="283"/>
                  </a:lnTo>
                  <a:lnTo>
                    <a:pt x="146" y="281"/>
                  </a:lnTo>
                  <a:lnTo>
                    <a:pt x="146" y="277"/>
                  </a:lnTo>
                  <a:lnTo>
                    <a:pt x="146" y="275"/>
                  </a:lnTo>
                  <a:lnTo>
                    <a:pt x="146" y="271"/>
                  </a:lnTo>
                  <a:lnTo>
                    <a:pt x="146" y="269"/>
                  </a:lnTo>
                  <a:lnTo>
                    <a:pt x="148" y="267"/>
                  </a:lnTo>
                  <a:lnTo>
                    <a:pt x="148" y="265"/>
                  </a:lnTo>
                  <a:lnTo>
                    <a:pt x="148" y="261"/>
                  </a:lnTo>
                  <a:lnTo>
                    <a:pt x="150" y="260"/>
                  </a:lnTo>
                  <a:lnTo>
                    <a:pt x="150" y="256"/>
                  </a:lnTo>
                  <a:lnTo>
                    <a:pt x="154" y="256"/>
                  </a:lnTo>
                  <a:lnTo>
                    <a:pt x="156" y="252"/>
                  </a:lnTo>
                  <a:lnTo>
                    <a:pt x="158" y="250"/>
                  </a:lnTo>
                  <a:lnTo>
                    <a:pt x="162" y="250"/>
                  </a:lnTo>
                  <a:lnTo>
                    <a:pt x="162" y="248"/>
                  </a:lnTo>
                  <a:lnTo>
                    <a:pt x="164" y="246"/>
                  </a:lnTo>
                  <a:lnTo>
                    <a:pt x="164" y="244"/>
                  </a:lnTo>
                  <a:lnTo>
                    <a:pt x="165" y="242"/>
                  </a:lnTo>
                  <a:lnTo>
                    <a:pt x="167" y="240"/>
                  </a:lnTo>
                  <a:lnTo>
                    <a:pt x="169" y="238"/>
                  </a:lnTo>
                  <a:lnTo>
                    <a:pt x="171" y="236"/>
                  </a:lnTo>
                  <a:lnTo>
                    <a:pt x="171" y="236"/>
                  </a:lnTo>
                  <a:lnTo>
                    <a:pt x="173" y="235"/>
                  </a:lnTo>
                  <a:lnTo>
                    <a:pt x="175" y="233"/>
                  </a:lnTo>
                  <a:lnTo>
                    <a:pt x="179" y="231"/>
                  </a:lnTo>
                  <a:lnTo>
                    <a:pt x="179" y="227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5" y="223"/>
                  </a:lnTo>
                  <a:lnTo>
                    <a:pt x="187" y="219"/>
                  </a:lnTo>
                  <a:lnTo>
                    <a:pt x="190" y="215"/>
                  </a:lnTo>
                  <a:lnTo>
                    <a:pt x="190" y="213"/>
                  </a:lnTo>
                  <a:lnTo>
                    <a:pt x="192" y="212"/>
                  </a:lnTo>
                  <a:lnTo>
                    <a:pt x="194" y="212"/>
                  </a:lnTo>
                  <a:lnTo>
                    <a:pt x="196" y="210"/>
                  </a:lnTo>
                  <a:lnTo>
                    <a:pt x="198" y="208"/>
                  </a:lnTo>
                  <a:lnTo>
                    <a:pt x="198" y="206"/>
                  </a:lnTo>
                  <a:lnTo>
                    <a:pt x="200" y="204"/>
                  </a:lnTo>
                  <a:lnTo>
                    <a:pt x="202" y="202"/>
                  </a:lnTo>
                  <a:lnTo>
                    <a:pt x="202" y="198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2"/>
                  </a:lnTo>
                  <a:lnTo>
                    <a:pt x="208" y="190"/>
                  </a:lnTo>
                  <a:lnTo>
                    <a:pt x="210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1"/>
                  </a:lnTo>
                  <a:lnTo>
                    <a:pt x="212" y="177"/>
                  </a:lnTo>
                  <a:lnTo>
                    <a:pt x="212" y="175"/>
                  </a:lnTo>
                  <a:lnTo>
                    <a:pt x="212" y="171"/>
                  </a:lnTo>
                  <a:lnTo>
                    <a:pt x="212" y="167"/>
                  </a:lnTo>
                  <a:lnTo>
                    <a:pt x="215" y="165"/>
                  </a:lnTo>
                  <a:lnTo>
                    <a:pt x="217" y="164"/>
                  </a:lnTo>
                  <a:lnTo>
                    <a:pt x="217" y="160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5" y="152"/>
                  </a:lnTo>
                  <a:lnTo>
                    <a:pt x="213" y="150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1"/>
                  </a:lnTo>
                  <a:lnTo>
                    <a:pt x="213" y="137"/>
                  </a:lnTo>
                  <a:lnTo>
                    <a:pt x="212" y="135"/>
                  </a:lnTo>
                  <a:lnTo>
                    <a:pt x="212" y="131"/>
                  </a:lnTo>
                  <a:lnTo>
                    <a:pt x="212" y="127"/>
                  </a:lnTo>
                  <a:lnTo>
                    <a:pt x="212" y="125"/>
                  </a:lnTo>
                  <a:lnTo>
                    <a:pt x="212" y="121"/>
                  </a:lnTo>
                  <a:lnTo>
                    <a:pt x="212" y="118"/>
                  </a:lnTo>
                  <a:lnTo>
                    <a:pt x="212" y="116"/>
                  </a:lnTo>
                  <a:lnTo>
                    <a:pt x="212" y="112"/>
                  </a:lnTo>
                  <a:lnTo>
                    <a:pt x="212" y="110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3" y="102"/>
                  </a:lnTo>
                  <a:lnTo>
                    <a:pt x="215" y="100"/>
                  </a:lnTo>
                  <a:lnTo>
                    <a:pt x="215" y="96"/>
                  </a:lnTo>
                  <a:lnTo>
                    <a:pt x="217" y="96"/>
                  </a:lnTo>
                  <a:lnTo>
                    <a:pt x="219" y="95"/>
                  </a:lnTo>
                  <a:lnTo>
                    <a:pt x="219" y="91"/>
                  </a:lnTo>
                  <a:lnTo>
                    <a:pt x="221" y="91"/>
                  </a:lnTo>
                  <a:lnTo>
                    <a:pt x="221" y="89"/>
                  </a:lnTo>
                  <a:lnTo>
                    <a:pt x="223" y="87"/>
                  </a:lnTo>
                  <a:lnTo>
                    <a:pt x="225" y="85"/>
                  </a:lnTo>
                  <a:lnTo>
                    <a:pt x="225" y="81"/>
                  </a:lnTo>
                  <a:lnTo>
                    <a:pt x="225" y="77"/>
                  </a:lnTo>
                  <a:lnTo>
                    <a:pt x="225" y="75"/>
                  </a:lnTo>
                  <a:lnTo>
                    <a:pt x="225" y="71"/>
                  </a:lnTo>
                  <a:lnTo>
                    <a:pt x="225" y="68"/>
                  </a:lnTo>
                  <a:lnTo>
                    <a:pt x="225" y="66"/>
                  </a:lnTo>
                  <a:lnTo>
                    <a:pt x="225" y="62"/>
                  </a:lnTo>
                  <a:lnTo>
                    <a:pt x="225" y="58"/>
                  </a:lnTo>
                  <a:lnTo>
                    <a:pt x="225" y="56"/>
                  </a:lnTo>
                  <a:lnTo>
                    <a:pt x="225" y="52"/>
                  </a:lnTo>
                  <a:lnTo>
                    <a:pt x="227" y="50"/>
                  </a:lnTo>
                  <a:lnTo>
                    <a:pt x="227" y="47"/>
                  </a:lnTo>
                  <a:lnTo>
                    <a:pt x="227" y="45"/>
                  </a:lnTo>
                  <a:lnTo>
                    <a:pt x="227" y="41"/>
                  </a:lnTo>
                  <a:lnTo>
                    <a:pt x="229" y="39"/>
                  </a:lnTo>
                  <a:lnTo>
                    <a:pt x="229" y="35"/>
                  </a:lnTo>
                  <a:lnTo>
                    <a:pt x="229" y="33"/>
                  </a:lnTo>
                  <a:lnTo>
                    <a:pt x="231" y="31"/>
                  </a:lnTo>
                  <a:lnTo>
                    <a:pt x="231" y="27"/>
                  </a:lnTo>
                  <a:lnTo>
                    <a:pt x="235" y="25"/>
                  </a:lnTo>
                  <a:lnTo>
                    <a:pt x="235" y="25"/>
                  </a:lnTo>
                  <a:lnTo>
                    <a:pt x="236" y="24"/>
                  </a:lnTo>
                  <a:lnTo>
                    <a:pt x="240" y="22"/>
                  </a:lnTo>
                  <a:lnTo>
                    <a:pt x="242" y="20"/>
                  </a:lnTo>
                  <a:lnTo>
                    <a:pt x="246" y="18"/>
                  </a:lnTo>
                  <a:lnTo>
                    <a:pt x="248" y="16"/>
                  </a:lnTo>
                  <a:lnTo>
                    <a:pt x="250" y="16"/>
                  </a:lnTo>
                  <a:lnTo>
                    <a:pt x="250" y="12"/>
                  </a:lnTo>
                  <a:lnTo>
                    <a:pt x="252" y="12"/>
                  </a:lnTo>
                  <a:lnTo>
                    <a:pt x="254" y="10"/>
                  </a:lnTo>
                  <a:lnTo>
                    <a:pt x="256" y="6"/>
                  </a:lnTo>
                  <a:lnTo>
                    <a:pt x="259" y="6"/>
                  </a:lnTo>
                  <a:lnTo>
                    <a:pt x="261" y="2"/>
                  </a:lnTo>
                  <a:lnTo>
                    <a:pt x="261" y="2"/>
                  </a:lnTo>
                  <a:lnTo>
                    <a:pt x="265" y="2"/>
                  </a:lnTo>
                  <a:lnTo>
                    <a:pt x="267" y="0"/>
                  </a:lnTo>
                  <a:lnTo>
                    <a:pt x="271" y="0"/>
                  </a:lnTo>
                  <a:lnTo>
                    <a:pt x="273" y="0"/>
                  </a:lnTo>
                  <a:lnTo>
                    <a:pt x="277" y="0"/>
                  </a:lnTo>
                  <a:lnTo>
                    <a:pt x="277" y="2"/>
                  </a:lnTo>
                  <a:lnTo>
                    <a:pt x="281" y="2"/>
                  </a:lnTo>
                  <a:lnTo>
                    <a:pt x="281" y="4"/>
                  </a:lnTo>
                  <a:lnTo>
                    <a:pt x="281" y="6"/>
                  </a:lnTo>
                  <a:lnTo>
                    <a:pt x="284" y="6"/>
                  </a:lnTo>
                  <a:lnTo>
                    <a:pt x="288" y="6"/>
                  </a:lnTo>
                  <a:lnTo>
                    <a:pt x="290" y="10"/>
                  </a:lnTo>
                  <a:lnTo>
                    <a:pt x="292" y="12"/>
                  </a:lnTo>
                  <a:lnTo>
                    <a:pt x="294" y="14"/>
                  </a:lnTo>
                  <a:lnTo>
                    <a:pt x="296" y="16"/>
                  </a:lnTo>
                  <a:lnTo>
                    <a:pt x="296" y="18"/>
                  </a:lnTo>
                  <a:lnTo>
                    <a:pt x="298" y="20"/>
                  </a:lnTo>
                  <a:lnTo>
                    <a:pt x="300" y="24"/>
                  </a:lnTo>
                  <a:lnTo>
                    <a:pt x="302" y="24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4" y="29"/>
                  </a:lnTo>
                  <a:lnTo>
                    <a:pt x="306" y="31"/>
                  </a:lnTo>
                  <a:lnTo>
                    <a:pt x="309" y="31"/>
                  </a:lnTo>
                  <a:lnTo>
                    <a:pt x="311" y="31"/>
                  </a:lnTo>
                  <a:lnTo>
                    <a:pt x="315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5" y="31"/>
                  </a:lnTo>
                  <a:lnTo>
                    <a:pt x="329" y="31"/>
                  </a:lnTo>
                  <a:lnTo>
                    <a:pt x="330" y="31"/>
                  </a:lnTo>
                  <a:lnTo>
                    <a:pt x="334" y="31"/>
                  </a:lnTo>
                  <a:lnTo>
                    <a:pt x="338" y="31"/>
                  </a:lnTo>
                  <a:lnTo>
                    <a:pt x="338" y="33"/>
                  </a:lnTo>
                  <a:lnTo>
                    <a:pt x="340" y="35"/>
                  </a:lnTo>
                  <a:lnTo>
                    <a:pt x="342" y="37"/>
                  </a:lnTo>
                  <a:lnTo>
                    <a:pt x="344" y="37"/>
                  </a:lnTo>
                  <a:lnTo>
                    <a:pt x="348" y="39"/>
                  </a:lnTo>
                  <a:lnTo>
                    <a:pt x="348" y="43"/>
                  </a:lnTo>
                  <a:lnTo>
                    <a:pt x="352" y="45"/>
                  </a:lnTo>
                  <a:lnTo>
                    <a:pt x="353" y="45"/>
                  </a:lnTo>
                  <a:lnTo>
                    <a:pt x="357" y="45"/>
                  </a:lnTo>
                  <a:lnTo>
                    <a:pt x="361" y="47"/>
                  </a:lnTo>
                  <a:lnTo>
                    <a:pt x="361" y="45"/>
                  </a:lnTo>
                  <a:lnTo>
                    <a:pt x="363" y="45"/>
                  </a:lnTo>
                  <a:lnTo>
                    <a:pt x="365" y="43"/>
                  </a:lnTo>
                  <a:lnTo>
                    <a:pt x="367" y="43"/>
                  </a:lnTo>
                  <a:lnTo>
                    <a:pt x="367" y="39"/>
                  </a:lnTo>
                  <a:lnTo>
                    <a:pt x="369" y="39"/>
                  </a:lnTo>
                  <a:lnTo>
                    <a:pt x="369" y="35"/>
                  </a:lnTo>
                  <a:lnTo>
                    <a:pt x="371" y="35"/>
                  </a:lnTo>
                  <a:lnTo>
                    <a:pt x="371" y="33"/>
                  </a:lnTo>
                  <a:lnTo>
                    <a:pt x="371" y="31"/>
                  </a:lnTo>
                  <a:lnTo>
                    <a:pt x="373" y="29"/>
                  </a:lnTo>
                  <a:lnTo>
                    <a:pt x="375" y="27"/>
                  </a:lnTo>
                  <a:lnTo>
                    <a:pt x="377" y="25"/>
                  </a:lnTo>
                  <a:lnTo>
                    <a:pt x="378" y="25"/>
                  </a:lnTo>
                  <a:lnTo>
                    <a:pt x="380" y="24"/>
                  </a:lnTo>
                  <a:lnTo>
                    <a:pt x="382" y="24"/>
                  </a:lnTo>
                  <a:lnTo>
                    <a:pt x="384" y="22"/>
                  </a:lnTo>
                  <a:lnTo>
                    <a:pt x="388" y="22"/>
                  </a:lnTo>
                  <a:lnTo>
                    <a:pt x="390" y="22"/>
                  </a:lnTo>
                  <a:lnTo>
                    <a:pt x="392" y="22"/>
                  </a:lnTo>
                  <a:lnTo>
                    <a:pt x="394" y="24"/>
                  </a:lnTo>
                  <a:lnTo>
                    <a:pt x="396" y="25"/>
                  </a:lnTo>
                  <a:lnTo>
                    <a:pt x="400" y="25"/>
                  </a:lnTo>
                  <a:lnTo>
                    <a:pt x="401" y="25"/>
                  </a:lnTo>
                  <a:lnTo>
                    <a:pt x="403" y="25"/>
                  </a:lnTo>
                  <a:lnTo>
                    <a:pt x="405" y="27"/>
                  </a:lnTo>
                  <a:lnTo>
                    <a:pt x="409" y="27"/>
                  </a:lnTo>
                  <a:lnTo>
                    <a:pt x="411" y="27"/>
                  </a:lnTo>
                  <a:lnTo>
                    <a:pt x="415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4" y="27"/>
                  </a:lnTo>
                  <a:lnTo>
                    <a:pt x="426" y="27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2" y="25"/>
                  </a:lnTo>
                  <a:lnTo>
                    <a:pt x="434" y="24"/>
                  </a:lnTo>
                  <a:lnTo>
                    <a:pt x="436" y="22"/>
                  </a:lnTo>
                  <a:lnTo>
                    <a:pt x="436" y="20"/>
                  </a:lnTo>
                  <a:lnTo>
                    <a:pt x="438" y="18"/>
                  </a:lnTo>
                  <a:lnTo>
                    <a:pt x="442" y="18"/>
                  </a:lnTo>
                  <a:lnTo>
                    <a:pt x="444" y="18"/>
                  </a:lnTo>
                  <a:lnTo>
                    <a:pt x="448" y="18"/>
                  </a:lnTo>
                  <a:lnTo>
                    <a:pt x="449" y="16"/>
                  </a:lnTo>
                  <a:lnTo>
                    <a:pt x="451" y="16"/>
                  </a:lnTo>
                  <a:lnTo>
                    <a:pt x="453" y="14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1" y="10"/>
                  </a:lnTo>
                  <a:lnTo>
                    <a:pt x="463" y="10"/>
                  </a:lnTo>
                  <a:lnTo>
                    <a:pt x="467" y="10"/>
                  </a:lnTo>
                  <a:lnTo>
                    <a:pt x="467" y="8"/>
                  </a:lnTo>
                  <a:lnTo>
                    <a:pt x="471" y="8"/>
                  </a:lnTo>
                  <a:lnTo>
                    <a:pt x="471" y="6"/>
                  </a:lnTo>
                  <a:lnTo>
                    <a:pt x="472" y="6"/>
                  </a:lnTo>
                  <a:lnTo>
                    <a:pt x="474" y="6"/>
                  </a:lnTo>
                  <a:lnTo>
                    <a:pt x="478" y="6"/>
                  </a:lnTo>
                  <a:lnTo>
                    <a:pt x="480" y="4"/>
                  </a:lnTo>
                  <a:lnTo>
                    <a:pt x="482" y="4"/>
                  </a:lnTo>
                  <a:lnTo>
                    <a:pt x="486" y="4"/>
                  </a:lnTo>
                  <a:lnTo>
                    <a:pt x="490" y="4"/>
                  </a:lnTo>
                  <a:lnTo>
                    <a:pt x="492" y="4"/>
                  </a:lnTo>
                  <a:lnTo>
                    <a:pt x="494" y="4"/>
                  </a:lnTo>
                  <a:lnTo>
                    <a:pt x="495" y="6"/>
                  </a:lnTo>
                  <a:lnTo>
                    <a:pt x="499" y="6"/>
                  </a:lnTo>
                  <a:lnTo>
                    <a:pt x="501" y="6"/>
                  </a:lnTo>
                  <a:lnTo>
                    <a:pt x="505" y="8"/>
                  </a:lnTo>
                  <a:lnTo>
                    <a:pt x="507" y="10"/>
                  </a:lnTo>
                  <a:lnTo>
                    <a:pt x="511" y="10"/>
                  </a:lnTo>
                  <a:lnTo>
                    <a:pt x="513" y="10"/>
                  </a:lnTo>
                  <a:lnTo>
                    <a:pt x="517" y="10"/>
                  </a:lnTo>
                  <a:lnTo>
                    <a:pt x="520" y="10"/>
                  </a:lnTo>
                  <a:lnTo>
                    <a:pt x="522" y="10"/>
                  </a:lnTo>
                  <a:lnTo>
                    <a:pt x="526" y="10"/>
                  </a:lnTo>
                  <a:lnTo>
                    <a:pt x="530" y="10"/>
                  </a:lnTo>
                  <a:lnTo>
                    <a:pt x="532" y="10"/>
                  </a:lnTo>
                  <a:lnTo>
                    <a:pt x="536" y="10"/>
                  </a:lnTo>
                  <a:lnTo>
                    <a:pt x="540" y="10"/>
                  </a:lnTo>
                  <a:lnTo>
                    <a:pt x="542" y="10"/>
                  </a:lnTo>
                  <a:lnTo>
                    <a:pt x="545" y="10"/>
                  </a:lnTo>
                  <a:lnTo>
                    <a:pt x="547" y="10"/>
                  </a:lnTo>
                  <a:lnTo>
                    <a:pt x="549" y="10"/>
                  </a:lnTo>
                  <a:lnTo>
                    <a:pt x="551" y="12"/>
                  </a:lnTo>
                  <a:lnTo>
                    <a:pt x="555" y="14"/>
                  </a:lnTo>
                  <a:lnTo>
                    <a:pt x="559" y="14"/>
                  </a:lnTo>
                  <a:lnTo>
                    <a:pt x="561" y="16"/>
                  </a:lnTo>
                  <a:lnTo>
                    <a:pt x="565" y="16"/>
                  </a:lnTo>
                  <a:lnTo>
                    <a:pt x="566" y="18"/>
                  </a:lnTo>
                  <a:lnTo>
                    <a:pt x="566" y="20"/>
                  </a:lnTo>
                  <a:lnTo>
                    <a:pt x="570" y="20"/>
                  </a:lnTo>
                  <a:lnTo>
                    <a:pt x="572" y="22"/>
                  </a:lnTo>
                  <a:lnTo>
                    <a:pt x="572" y="24"/>
                  </a:lnTo>
                  <a:lnTo>
                    <a:pt x="572" y="25"/>
                  </a:lnTo>
                  <a:lnTo>
                    <a:pt x="576" y="25"/>
                  </a:lnTo>
                  <a:lnTo>
                    <a:pt x="578" y="27"/>
                  </a:lnTo>
                  <a:lnTo>
                    <a:pt x="578" y="31"/>
                  </a:lnTo>
                  <a:lnTo>
                    <a:pt x="580" y="33"/>
                  </a:lnTo>
                  <a:lnTo>
                    <a:pt x="582" y="35"/>
                  </a:lnTo>
                  <a:lnTo>
                    <a:pt x="582" y="37"/>
                  </a:lnTo>
                  <a:lnTo>
                    <a:pt x="586" y="37"/>
                  </a:lnTo>
                  <a:lnTo>
                    <a:pt x="590" y="37"/>
                  </a:lnTo>
                  <a:lnTo>
                    <a:pt x="591" y="37"/>
                  </a:lnTo>
                  <a:lnTo>
                    <a:pt x="595" y="37"/>
                  </a:lnTo>
                  <a:lnTo>
                    <a:pt x="599" y="37"/>
                  </a:lnTo>
                  <a:lnTo>
                    <a:pt x="599" y="37"/>
                  </a:lnTo>
                  <a:lnTo>
                    <a:pt x="601" y="35"/>
                  </a:lnTo>
                  <a:lnTo>
                    <a:pt x="603" y="35"/>
                  </a:lnTo>
                  <a:lnTo>
                    <a:pt x="605" y="33"/>
                  </a:lnTo>
                  <a:lnTo>
                    <a:pt x="605" y="31"/>
                  </a:lnTo>
                  <a:lnTo>
                    <a:pt x="611" y="31"/>
                  </a:lnTo>
                  <a:lnTo>
                    <a:pt x="611" y="29"/>
                  </a:lnTo>
                  <a:lnTo>
                    <a:pt x="613" y="29"/>
                  </a:lnTo>
                  <a:lnTo>
                    <a:pt x="614" y="27"/>
                  </a:lnTo>
                  <a:lnTo>
                    <a:pt x="616" y="27"/>
                  </a:lnTo>
                  <a:lnTo>
                    <a:pt x="620" y="25"/>
                  </a:lnTo>
                  <a:lnTo>
                    <a:pt x="622" y="25"/>
                  </a:lnTo>
                  <a:lnTo>
                    <a:pt x="624" y="25"/>
                  </a:lnTo>
                  <a:lnTo>
                    <a:pt x="630" y="25"/>
                  </a:lnTo>
                  <a:lnTo>
                    <a:pt x="632" y="24"/>
                  </a:lnTo>
                  <a:lnTo>
                    <a:pt x="634" y="24"/>
                  </a:lnTo>
                  <a:lnTo>
                    <a:pt x="636" y="22"/>
                  </a:lnTo>
                  <a:lnTo>
                    <a:pt x="637" y="22"/>
                  </a:lnTo>
                  <a:lnTo>
                    <a:pt x="637" y="20"/>
                  </a:lnTo>
                  <a:lnTo>
                    <a:pt x="641" y="20"/>
                  </a:lnTo>
                  <a:lnTo>
                    <a:pt x="641" y="24"/>
                  </a:lnTo>
                  <a:lnTo>
                    <a:pt x="641" y="25"/>
                  </a:lnTo>
                  <a:lnTo>
                    <a:pt x="643" y="29"/>
                  </a:lnTo>
                  <a:lnTo>
                    <a:pt x="645" y="31"/>
                  </a:lnTo>
                  <a:lnTo>
                    <a:pt x="647" y="33"/>
                  </a:lnTo>
                  <a:lnTo>
                    <a:pt x="647" y="35"/>
                  </a:lnTo>
                  <a:lnTo>
                    <a:pt x="649" y="37"/>
                  </a:lnTo>
                  <a:lnTo>
                    <a:pt x="651" y="41"/>
                  </a:lnTo>
                  <a:lnTo>
                    <a:pt x="651" y="43"/>
                  </a:lnTo>
                  <a:lnTo>
                    <a:pt x="653" y="43"/>
                  </a:lnTo>
                  <a:lnTo>
                    <a:pt x="655" y="45"/>
                  </a:lnTo>
                  <a:lnTo>
                    <a:pt x="657" y="47"/>
                  </a:lnTo>
                  <a:lnTo>
                    <a:pt x="657" y="48"/>
                  </a:lnTo>
                  <a:lnTo>
                    <a:pt x="659" y="50"/>
                  </a:lnTo>
                  <a:lnTo>
                    <a:pt x="662" y="50"/>
                  </a:lnTo>
                  <a:lnTo>
                    <a:pt x="662" y="52"/>
                  </a:lnTo>
                  <a:lnTo>
                    <a:pt x="662" y="56"/>
                  </a:lnTo>
                  <a:lnTo>
                    <a:pt x="666" y="56"/>
                  </a:lnTo>
                  <a:lnTo>
                    <a:pt x="668" y="56"/>
                  </a:lnTo>
                  <a:lnTo>
                    <a:pt x="670" y="56"/>
                  </a:lnTo>
                  <a:lnTo>
                    <a:pt x="670" y="58"/>
                  </a:lnTo>
                  <a:lnTo>
                    <a:pt x="672" y="60"/>
                  </a:lnTo>
                  <a:lnTo>
                    <a:pt x="674" y="60"/>
                  </a:lnTo>
                  <a:lnTo>
                    <a:pt x="676" y="62"/>
                  </a:lnTo>
                  <a:lnTo>
                    <a:pt x="678" y="64"/>
                  </a:lnTo>
                  <a:lnTo>
                    <a:pt x="680" y="66"/>
                  </a:lnTo>
                  <a:lnTo>
                    <a:pt x="680" y="70"/>
                  </a:lnTo>
                  <a:lnTo>
                    <a:pt x="680" y="73"/>
                  </a:lnTo>
                  <a:lnTo>
                    <a:pt x="680" y="75"/>
                  </a:lnTo>
                  <a:lnTo>
                    <a:pt x="680" y="79"/>
                  </a:lnTo>
                  <a:lnTo>
                    <a:pt x="680" y="81"/>
                  </a:lnTo>
                  <a:lnTo>
                    <a:pt x="680" y="85"/>
                  </a:lnTo>
                  <a:lnTo>
                    <a:pt x="678" y="87"/>
                  </a:lnTo>
                  <a:lnTo>
                    <a:pt x="676" y="89"/>
                  </a:lnTo>
                  <a:lnTo>
                    <a:pt x="672" y="89"/>
                  </a:lnTo>
                  <a:lnTo>
                    <a:pt x="672" y="93"/>
                  </a:lnTo>
                  <a:lnTo>
                    <a:pt x="672" y="96"/>
                  </a:lnTo>
                  <a:lnTo>
                    <a:pt x="672" y="98"/>
                  </a:lnTo>
                  <a:lnTo>
                    <a:pt x="672" y="102"/>
                  </a:lnTo>
                  <a:lnTo>
                    <a:pt x="672" y="106"/>
                  </a:lnTo>
                  <a:lnTo>
                    <a:pt x="672" y="108"/>
                  </a:lnTo>
                  <a:lnTo>
                    <a:pt x="676" y="110"/>
                  </a:lnTo>
                  <a:lnTo>
                    <a:pt x="678" y="114"/>
                  </a:lnTo>
                  <a:lnTo>
                    <a:pt x="680" y="116"/>
                  </a:lnTo>
                  <a:lnTo>
                    <a:pt x="682" y="118"/>
                  </a:lnTo>
                  <a:lnTo>
                    <a:pt x="684" y="119"/>
                  </a:lnTo>
                  <a:lnTo>
                    <a:pt x="684" y="123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2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9"/>
                  </a:lnTo>
                  <a:lnTo>
                    <a:pt x="682" y="141"/>
                  </a:lnTo>
                  <a:lnTo>
                    <a:pt x="682" y="142"/>
                  </a:lnTo>
                  <a:lnTo>
                    <a:pt x="682" y="146"/>
                  </a:lnTo>
                  <a:lnTo>
                    <a:pt x="682" y="148"/>
                  </a:lnTo>
                  <a:lnTo>
                    <a:pt x="682" y="150"/>
                  </a:lnTo>
                  <a:lnTo>
                    <a:pt x="682" y="152"/>
                  </a:lnTo>
                  <a:lnTo>
                    <a:pt x="678" y="152"/>
                  </a:lnTo>
                  <a:lnTo>
                    <a:pt x="676" y="154"/>
                  </a:lnTo>
                  <a:lnTo>
                    <a:pt x="674" y="156"/>
                  </a:lnTo>
                  <a:lnTo>
                    <a:pt x="674" y="158"/>
                  </a:lnTo>
                  <a:lnTo>
                    <a:pt x="672" y="160"/>
                  </a:lnTo>
                  <a:lnTo>
                    <a:pt x="668" y="160"/>
                  </a:lnTo>
                  <a:lnTo>
                    <a:pt x="666" y="162"/>
                  </a:lnTo>
                  <a:lnTo>
                    <a:pt x="662" y="162"/>
                  </a:lnTo>
                  <a:lnTo>
                    <a:pt x="662" y="164"/>
                  </a:lnTo>
                  <a:lnTo>
                    <a:pt x="659" y="164"/>
                  </a:lnTo>
                  <a:lnTo>
                    <a:pt x="657" y="164"/>
                  </a:lnTo>
                  <a:lnTo>
                    <a:pt x="655" y="164"/>
                  </a:lnTo>
                  <a:lnTo>
                    <a:pt x="653" y="165"/>
                  </a:lnTo>
                  <a:lnTo>
                    <a:pt x="653" y="165"/>
                  </a:lnTo>
                  <a:lnTo>
                    <a:pt x="651" y="165"/>
                  </a:lnTo>
                  <a:lnTo>
                    <a:pt x="649" y="167"/>
                  </a:lnTo>
                  <a:lnTo>
                    <a:pt x="647" y="167"/>
                  </a:lnTo>
                  <a:lnTo>
                    <a:pt x="645" y="171"/>
                  </a:lnTo>
                  <a:lnTo>
                    <a:pt x="643" y="173"/>
                  </a:lnTo>
                  <a:lnTo>
                    <a:pt x="641" y="177"/>
                  </a:lnTo>
                  <a:lnTo>
                    <a:pt x="641" y="181"/>
                  </a:lnTo>
                  <a:lnTo>
                    <a:pt x="641" y="185"/>
                  </a:lnTo>
                  <a:lnTo>
                    <a:pt x="641" y="185"/>
                  </a:lnTo>
                  <a:lnTo>
                    <a:pt x="641" y="189"/>
                  </a:lnTo>
                  <a:lnTo>
                    <a:pt x="641" y="192"/>
                  </a:lnTo>
                  <a:lnTo>
                    <a:pt x="639" y="192"/>
                  </a:lnTo>
                  <a:lnTo>
                    <a:pt x="639" y="196"/>
                  </a:lnTo>
                  <a:lnTo>
                    <a:pt x="637" y="198"/>
                  </a:lnTo>
                  <a:lnTo>
                    <a:pt x="636" y="200"/>
                  </a:lnTo>
                  <a:lnTo>
                    <a:pt x="634" y="204"/>
                  </a:lnTo>
                  <a:lnTo>
                    <a:pt x="634" y="206"/>
                  </a:lnTo>
                  <a:lnTo>
                    <a:pt x="634" y="208"/>
                  </a:lnTo>
                  <a:lnTo>
                    <a:pt x="632" y="210"/>
                  </a:lnTo>
                  <a:lnTo>
                    <a:pt x="632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0" y="219"/>
                  </a:lnTo>
                  <a:lnTo>
                    <a:pt x="628" y="223"/>
                  </a:lnTo>
                  <a:lnTo>
                    <a:pt x="628" y="225"/>
                  </a:lnTo>
                  <a:lnTo>
                    <a:pt x="628" y="229"/>
                  </a:lnTo>
                  <a:lnTo>
                    <a:pt x="628" y="231"/>
                  </a:lnTo>
                  <a:lnTo>
                    <a:pt x="630" y="235"/>
                  </a:lnTo>
                  <a:lnTo>
                    <a:pt x="630" y="236"/>
                  </a:lnTo>
                  <a:lnTo>
                    <a:pt x="630" y="240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30" y="250"/>
                  </a:lnTo>
                  <a:lnTo>
                    <a:pt x="630" y="252"/>
                  </a:lnTo>
                  <a:lnTo>
                    <a:pt x="628" y="254"/>
                  </a:lnTo>
                  <a:lnTo>
                    <a:pt x="628" y="256"/>
                  </a:lnTo>
                  <a:lnTo>
                    <a:pt x="626" y="258"/>
                  </a:lnTo>
                  <a:lnTo>
                    <a:pt x="626" y="261"/>
                  </a:lnTo>
                  <a:lnTo>
                    <a:pt x="626" y="265"/>
                  </a:lnTo>
                  <a:lnTo>
                    <a:pt x="626" y="267"/>
                  </a:lnTo>
                  <a:lnTo>
                    <a:pt x="626" y="269"/>
                  </a:lnTo>
                  <a:lnTo>
                    <a:pt x="624" y="271"/>
                  </a:lnTo>
                  <a:lnTo>
                    <a:pt x="624" y="273"/>
                  </a:lnTo>
                  <a:lnTo>
                    <a:pt x="622" y="275"/>
                  </a:lnTo>
                  <a:lnTo>
                    <a:pt x="622" y="277"/>
                  </a:lnTo>
                  <a:lnTo>
                    <a:pt x="618" y="279"/>
                  </a:lnTo>
                  <a:lnTo>
                    <a:pt x="618" y="281"/>
                  </a:lnTo>
                  <a:lnTo>
                    <a:pt x="616" y="281"/>
                  </a:lnTo>
                  <a:lnTo>
                    <a:pt x="614" y="283"/>
                  </a:lnTo>
                  <a:lnTo>
                    <a:pt x="614" y="284"/>
                  </a:lnTo>
                  <a:lnTo>
                    <a:pt x="613" y="286"/>
                  </a:lnTo>
                  <a:lnTo>
                    <a:pt x="611" y="290"/>
                  </a:lnTo>
                  <a:lnTo>
                    <a:pt x="611" y="296"/>
                  </a:lnTo>
                  <a:lnTo>
                    <a:pt x="611" y="298"/>
                  </a:lnTo>
                  <a:lnTo>
                    <a:pt x="611" y="302"/>
                  </a:lnTo>
                  <a:lnTo>
                    <a:pt x="611" y="306"/>
                  </a:lnTo>
                  <a:lnTo>
                    <a:pt x="611" y="307"/>
                  </a:lnTo>
                  <a:lnTo>
                    <a:pt x="611" y="311"/>
                  </a:lnTo>
                  <a:lnTo>
                    <a:pt x="611" y="315"/>
                  </a:lnTo>
                  <a:lnTo>
                    <a:pt x="611" y="317"/>
                  </a:lnTo>
                  <a:lnTo>
                    <a:pt x="611" y="321"/>
                  </a:lnTo>
                  <a:lnTo>
                    <a:pt x="611" y="323"/>
                  </a:lnTo>
                  <a:lnTo>
                    <a:pt x="614" y="323"/>
                  </a:lnTo>
                  <a:lnTo>
                    <a:pt x="616" y="325"/>
                  </a:lnTo>
                  <a:lnTo>
                    <a:pt x="618" y="325"/>
                  </a:lnTo>
                  <a:lnTo>
                    <a:pt x="620" y="329"/>
                  </a:lnTo>
                  <a:lnTo>
                    <a:pt x="622" y="332"/>
                  </a:lnTo>
                  <a:lnTo>
                    <a:pt x="622" y="336"/>
                  </a:lnTo>
                  <a:lnTo>
                    <a:pt x="622" y="338"/>
                  </a:lnTo>
                  <a:lnTo>
                    <a:pt x="622" y="342"/>
                  </a:lnTo>
                  <a:lnTo>
                    <a:pt x="622" y="346"/>
                  </a:lnTo>
                  <a:lnTo>
                    <a:pt x="622" y="348"/>
                  </a:lnTo>
                  <a:lnTo>
                    <a:pt x="622" y="352"/>
                  </a:lnTo>
                  <a:lnTo>
                    <a:pt x="622" y="355"/>
                  </a:lnTo>
                  <a:lnTo>
                    <a:pt x="622" y="357"/>
                  </a:lnTo>
                  <a:lnTo>
                    <a:pt x="622" y="359"/>
                  </a:lnTo>
                  <a:lnTo>
                    <a:pt x="624" y="361"/>
                  </a:lnTo>
                  <a:lnTo>
                    <a:pt x="624" y="363"/>
                  </a:lnTo>
                  <a:lnTo>
                    <a:pt x="628" y="367"/>
                  </a:lnTo>
                  <a:lnTo>
                    <a:pt x="628" y="371"/>
                  </a:lnTo>
                  <a:lnTo>
                    <a:pt x="630" y="373"/>
                  </a:lnTo>
                  <a:lnTo>
                    <a:pt x="630" y="377"/>
                  </a:lnTo>
                  <a:lnTo>
                    <a:pt x="630" y="380"/>
                  </a:lnTo>
                  <a:lnTo>
                    <a:pt x="630" y="382"/>
                  </a:lnTo>
                  <a:lnTo>
                    <a:pt x="630" y="384"/>
                  </a:lnTo>
                  <a:lnTo>
                    <a:pt x="632" y="386"/>
                  </a:lnTo>
                  <a:lnTo>
                    <a:pt x="632" y="388"/>
                  </a:lnTo>
                  <a:lnTo>
                    <a:pt x="634" y="392"/>
                  </a:lnTo>
                  <a:lnTo>
                    <a:pt x="636" y="394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7" y="402"/>
                  </a:lnTo>
                  <a:lnTo>
                    <a:pt x="637" y="405"/>
                  </a:lnTo>
                  <a:lnTo>
                    <a:pt x="637" y="407"/>
                  </a:lnTo>
                  <a:lnTo>
                    <a:pt x="637" y="411"/>
                  </a:lnTo>
                  <a:lnTo>
                    <a:pt x="637" y="415"/>
                  </a:lnTo>
                  <a:lnTo>
                    <a:pt x="637" y="417"/>
                  </a:lnTo>
                  <a:lnTo>
                    <a:pt x="637" y="421"/>
                  </a:lnTo>
                  <a:lnTo>
                    <a:pt x="637" y="423"/>
                  </a:lnTo>
                  <a:lnTo>
                    <a:pt x="639" y="425"/>
                  </a:lnTo>
                  <a:lnTo>
                    <a:pt x="639" y="428"/>
                  </a:lnTo>
                  <a:lnTo>
                    <a:pt x="639" y="430"/>
                  </a:lnTo>
                  <a:lnTo>
                    <a:pt x="639" y="432"/>
                  </a:lnTo>
                  <a:lnTo>
                    <a:pt x="641" y="436"/>
                  </a:lnTo>
                  <a:lnTo>
                    <a:pt x="641" y="436"/>
                  </a:lnTo>
                  <a:lnTo>
                    <a:pt x="641" y="438"/>
                  </a:lnTo>
                  <a:lnTo>
                    <a:pt x="643" y="440"/>
                  </a:lnTo>
                  <a:lnTo>
                    <a:pt x="643" y="444"/>
                  </a:lnTo>
                  <a:lnTo>
                    <a:pt x="645" y="446"/>
                  </a:lnTo>
                  <a:lnTo>
                    <a:pt x="645" y="449"/>
                  </a:lnTo>
                  <a:lnTo>
                    <a:pt x="647" y="451"/>
                  </a:lnTo>
                  <a:lnTo>
                    <a:pt x="647" y="455"/>
                  </a:lnTo>
                  <a:lnTo>
                    <a:pt x="649" y="455"/>
                  </a:lnTo>
                  <a:lnTo>
                    <a:pt x="649" y="457"/>
                  </a:lnTo>
                  <a:lnTo>
                    <a:pt x="651" y="459"/>
                  </a:lnTo>
                  <a:lnTo>
                    <a:pt x="651" y="461"/>
                  </a:lnTo>
                  <a:lnTo>
                    <a:pt x="651" y="463"/>
                  </a:lnTo>
                  <a:lnTo>
                    <a:pt x="655" y="465"/>
                  </a:lnTo>
                  <a:lnTo>
                    <a:pt x="657" y="469"/>
                  </a:lnTo>
                  <a:lnTo>
                    <a:pt x="659" y="473"/>
                  </a:lnTo>
                  <a:lnTo>
                    <a:pt x="660" y="474"/>
                  </a:lnTo>
                  <a:lnTo>
                    <a:pt x="662" y="476"/>
                  </a:lnTo>
                  <a:lnTo>
                    <a:pt x="662" y="478"/>
                  </a:lnTo>
                  <a:lnTo>
                    <a:pt x="664" y="478"/>
                  </a:lnTo>
                  <a:lnTo>
                    <a:pt x="664" y="482"/>
                  </a:lnTo>
                  <a:lnTo>
                    <a:pt x="666" y="482"/>
                  </a:lnTo>
                  <a:lnTo>
                    <a:pt x="666" y="486"/>
                  </a:lnTo>
                  <a:lnTo>
                    <a:pt x="670" y="486"/>
                  </a:lnTo>
                  <a:lnTo>
                    <a:pt x="670" y="486"/>
                  </a:lnTo>
                  <a:lnTo>
                    <a:pt x="672" y="486"/>
                  </a:lnTo>
                  <a:lnTo>
                    <a:pt x="674" y="488"/>
                  </a:lnTo>
                  <a:lnTo>
                    <a:pt x="676" y="490"/>
                  </a:lnTo>
                  <a:lnTo>
                    <a:pt x="680" y="494"/>
                  </a:lnTo>
                  <a:lnTo>
                    <a:pt x="680" y="497"/>
                  </a:lnTo>
                  <a:lnTo>
                    <a:pt x="680" y="499"/>
                  </a:lnTo>
                  <a:lnTo>
                    <a:pt x="682" y="501"/>
                  </a:lnTo>
                  <a:lnTo>
                    <a:pt x="678" y="503"/>
                  </a:lnTo>
                  <a:lnTo>
                    <a:pt x="674" y="503"/>
                  </a:lnTo>
                  <a:lnTo>
                    <a:pt x="672" y="503"/>
                  </a:lnTo>
                  <a:lnTo>
                    <a:pt x="668" y="503"/>
                  </a:lnTo>
                  <a:lnTo>
                    <a:pt x="666" y="503"/>
                  </a:lnTo>
                  <a:lnTo>
                    <a:pt x="662" y="505"/>
                  </a:lnTo>
                  <a:lnTo>
                    <a:pt x="660" y="505"/>
                  </a:lnTo>
                  <a:lnTo>
                    <a:pt x="657" y="505"/>
                  </a:lnTo>
                  <a:lnTo>
                    <a:pt x="653" y="505"/>
                  </a:lnTo>
                  <a:lnTo>
                    <a:pt x="651" y="505"/>
                  </a:lnTo>
                  <a:lnTo>
                    <a:pt x="647" y="507"/>
                  </a:lnTo>
                  <a:lnTo>
                    <a:pt x="643" y="507"/>
                  </a:lnTo>
                  <a:lnTo>
                    <a:pt x="641" y="507"/>
                  </a:lnTo>
                  <a:lnTo>
                    <a:pt x="639" y="509"/>
                  </a:lnTo>
                  <a:lnTo>
                    <a:pt x="637" y="511"/>
                  </a:lnTo>
                  <a:lnTo>
                    <a:pt x="636" y="513"/>
                  </a:lnTo>
                  <a:lnTo>
                    <a:pt x="632" y="513"/>
                  </a:lnTo>
                  <a:lnTo>
                    <a:pt x="630" y="513"/>
                  </a:lnTo>
                  <a:lnTo>
                    <a:pt x="626" y="513"/>
                  </a:lnTo>
                  <a:lnTo>
                    <a:pt x="622" y="513"/>
                  </a:lnTo>
                  <a:lnTo>
                    <a:pt x="620" y="513"/>
                  </a:lnTo>
                  <a:lnTo>
                    <a:pt x="616" y="513"/>
                  </a:lnTo>
                  <a:lnTo>
                    <a:pt x="614" y="515"/>
                  </a:lnTo>
                  <a:lnTo>
                    <a:pt x="611" y="515"/>
                  </a:lnTo>
                  <a:lnTo>
                    <a:pt x="609" y="515"/>
                  </a:lnTo>
                  <a:lnTo>
                    <a:pt x="605" y="515"/>
                  </a:lnTo>
                  <a:lnTo>
                    <a:pt x="603" y="517"/>
                  </a:lnTo>
                  <a:lnTo>
                    <a:pt x="601" y="517"/>
                  </a:lnTo>
                  <a:lnTo>
                    <a:pt x="597" y="519"/>
                  </a:lnTo>
                  <a:lnTo>
                    <a:pt x="595" y="519"/>
                  </a:lnTo>
                  <a:lnTo>
                    <a:pt x="595" y="522"/>
                  </a:lnTo>
                  <a:lnTo>
                    <a:pt x="595" y="526"/>
                  </a:lnTo>
                  <a:lnTo>
                    <a:pt x="595" y="528"/>
                  </a:lnTo>
                  <a:lnTo>
                    <a:pt x="597" y="532"/>
                  </a:lnTo>
                  <a:lnTo>
                    <a:pt x="597" y="536"/>
                  </a:lnTo>
                  <a:lnTo>
                    <a:pt x="597" y="538"/>
                  </a:lnTo>
                  <a:lnTo>
                    <a:pt x="597" y="542"/>
                  </a:lnTo>
                  <a:lnTo>
                    <a:pt x="597" y="545"/>
                  </a:lnTo>
                  <a:lnTo>
                    <a:pt x="597" y="547"/>
                  </a:lnTo>
                  <a:lnTo>
                    <a:pt x="597" y="551"/>
                  </a:lnTo>
                  <a:lnTo>
                    <a:pt x="597" y="555"/>
                  </a:lnTo>
                  <a:lnTo>
                    <a:pt x="597" y="557"/>
                  </a:lnTo>
                  <a:lnTo>
                    <a:pt x="597" y="561"/>
                  </a:lnTo>
                  <a:lnTo>
                    <a:pt x="597" y="563"/>
                  </a:lnTo>
                  <a:lnTo>
                    <a:pt x="595" y="565"/>
                  </a:lnTo>
                  <a:lnTo>
                    <a:pt x="597" y="567"/>
                  </a:lnTo>
                  <a:lnTo>
                    <a:pt x="599" y="567"/>
                  </a:lnTo>
                  <a:lnTo>
                    <a:pt x="599" y="568"/>
                  </a:lnTo>
                  <a:lnTo>
                    <a:pt x="601" y="570"/>
                  </a:lnTo>
                  <a:lnTo>
                    <a:pt x="599" y="572"/>
                  </a:lnTo>
                  <a:lnTo>
                    <a:pt x="599" y="576"/>
                  </a:lnTo>
                  <a:lnTo>
                    <a:pt x="599" y="578"/>
                  </a:lnTo>
                  <a:lnTo>
                    <a:pt x="599" y="580"/>
                  </a:lnTo>
                  <a:lnTo>
                    <a:pt x="597" y="582"/>
                  </a:lnTo>
                  <a:lnTo>
                    <a:pt x="597" y="584"/>
                  </a:lnTo>
                  <a:lnTo>
                    <a:pt x="595" y="586"/>
                  </a:lnTo>
                  <a:lnTo>
                    <a:pt x="593" y="586"/>
                  </a:lnTo>
                  <a:lnTo>
                    <a:pt x="593" y="591"/>
                  </a:lnTo>
                  <a:lnTo>
                    <a:pt x="593" y="593"/>
                  </a:lnTo>
                  <a:lnTo>
                    <a:pt x="591" y="595"/>
                  </a:lnTo>
                  <a:lnTo>
                    <a:pt x="591" y="597"/>
                  </a:lnTo>
                  <a:lnTo>
                    <a:pt x="590" y="599"/>
                  </a:lnTo>
                  <a:lnTo>
                    <a:pt x="590" y="603"/>
                  </a:lnTo>
                  <a:lnTo>
                    <a:pt x="588" y="603"/>
                  </a:lnTo>
                  <a:lnTo>
                    <a:pt x="588" y="605"/>
                  </a:lnTo>
                  <a:lnTo>
                    <a:pt x="586" y="607"/>
                  </a:lnTo>
                  <a:lnTo>
                    <a:pt x="586" y="611"/>
                  </a:lnTo>
                  <a:lnTo>
                    <a:pt x="584" y="613"/>
                  </a:lnTo>
                  <a:lnTo>
                    <a:pt x="584" y="615"/>
                  </a:lnTo>
                  <a:lnTo>
                    <a:pt x="584" y="618"/>
                  </a:lnTo>
                  <a:lnTo>
                    <a:pt x="582" y="620"/>
                  </a:lnTo>
                  <a:lnTo>
                    <a:pt x="582" y="620"/>
                  </a:lnTo>
                  <a:lnTo>
                    <a:pt x="582" y="622"/>
                  </a:lnTo>
                  <a:lnTo>
                    <a:pt x="586" y="624"/>
                  </a:lnTo>
                  <a:lnTo>
                    <a:pt x="588" y="624"/>
                  </a:lnTo>
                  <a:lnTo>
                    <a:pt x="591" y="624"/>
                  </a:lnTo>
                  <a:lnTo>
                    <a:pt x="593" y="626"/>
                  </a:lnTo>
                  <a:lnTo>
                    <a:pt x="595" y="628"/>
                  </a:lnTo>
                  <a:lnTo>
                    <a:pt x="597" y="628"/>
                  </a:lnTo>
                  <a:lnTo>
                    <a:pt x="599" y="632"/>
                  </a:lnTo>
                  <a:lnTo>
                    <a:pt x="601" y="634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7" y="638"/>
                  </a:lnTo>
                  <a:lnTo>
                    <a:pt x="607" y="639"/>
                  </a:lnTo>
                  <a:lnTo>
                    <a:pt x="611" y="639"/>
                  </a:lnTo>
                  <a:lnTo>
                    <a:pt x="613" y="641"/>
                  </a:lnTo>
                  <a:lnTo>
                    <a:pt x="616" y="641"/>
                  </a:lnTo>
                  <a:lnTo>
                    <a:pt x="620" y="641"/>
                  </a:lnTo>
                  <a:lnTo>
                    <a:pt x="622" y="641"/>
                  </a:lnTo>
                  <a:lnTo>
                    <a:pt x="626" y="641"/>
                  </a:lnTo>
                  <a:lnTo>
                    <a:pt x="626" y="639"/>
                  </a:lnTo>
                  <a:lnTo>
                    <a:pt x="628" y="638"/>
                  </a:lnTo>
                  <a:lnTo>
                    <a:pt x="632" y="638"/>
                  </a:lnTo>
                  <a:lnTo>
                    <a:pt x="634" y="638"/>
                  </a:lnTo>
                  <a:lnTo>
                    <a:pt x="636" y="636"/>
                  </a:lnTo>
                  <a:lnTo>
                    <a:pt x="637" y="636"/>
                  </a:lnTo>
                  <a:lnTo>
                    <a:pt x="639" y="636"/>
                  </a:lnTo>
                  <a:lnTo>
                    <a:pt x="641" y="634"/>
                  </a:lnTo>
                  <a:lnTo>
                    <a:pt x="645" y="634"/>
                  </a:lnTo>
                  <a:lnTo>
                    <a:pt x="649" y="634"/>
                  </a:lnTo>
                  <a:lnTo>
                    <a:pt x="651" y="632"/>
                  </a:lnTo>
                  <a:lnTo>
                    <a:pt x="653" y="632"/>
                  </a:lnTo>
                  <a:lnTo>
                    <a:pt x="657" y="632"/>
                  </a:lnTo>
                  <a:lnTo>
                    <a:pt x="660" y="632"/>
                  </a:lnTo>
                  <a:lnTo>
                    <a:pt x="662" y="632"/>
                  </a:lnTo>
                  <a:lnTo>
                    <a:pt x="666" y="632"/>
                  </a:lnTo>
                  <a:lnTo>
                    <a:pt x="670" y="632"/>
                  </a:lnTo>
                  <a:lnTo>
                    <a:pt x="672" y="632"/>
                  </a:lnTo>
                  <a:lnTo>
                    <a:pt x="674" y="632"/>
                  </a:lnTo>
                  <a:lnTo>
                    <a:pt x="674" y="636"/>
                  </a:lnTo>
                  <a:lnTo>
                    <a:pt x="672" y="639"/>
                  </a:lnTo>
                  <a:lnTo>
                    <a:pt x="672" y="643"/>
                  </a:lnTo>
                  <a:lnTo>
                    <a:pt x="672" y="647"/>
                  </a:lnTo>
                  <a:lnTo>
                    <a:pt x="672" y="651"/>
                  </a:lnTo>
                  <a:lnTo>
                    <a:pt x="672" y="653"/>
                  </a:lnTo>
                  <a:lnTo>
                    <a:pt x="672" y="655"/>
                  </a:lnTo>
                  <a:lnTo>
                    <a:pt x="674" y="657"/>
                  </a:lnTo>
                  <a:lnTo>
                    <a:pt x="674" y="659"/>
                  </a:lnTo>
                  <a:lnTo>
                    <a:pt x="676" y="661"/>
                  </a:lnTo>
                  <a:lnTo>
                    <a:pt x="676" y="664"/>
                  </a:lnTo>
                  <a:lnTo>
                    <a:pt x="678" y="666"/>
                  </a:lnTo>
                  <a:lnTo>
                    <a:pt x="678" y="670"/>
                  </a:lnTo>
                  <a:lnTo>
                    <a:pt x="678" y="674"/>
                  </a:lnTo>
                  <a:lnTo>
                    <a:pt x="678" y="678"/>
                  </a:lnTo>
                  <a:lnTo>
                    <a:pt x="680" y="682"/>
                  </a:lnTo>
                  <a:lnTo>
                    <a:pt x="678" y="682"/>
                  </a:lnTo>
                  <a:lnTo>
                    <a:pt x="676" y="684"/>
                  </a:lnTo>
                  <a:lnTo>
                    <a:pt x="676" y="686"/>
                  </a:lnTo>
                  <a:lnTo>
                    <a:pt x="672" y="686"/>
                  </a:lnTo>
                  <a:lnTo>
                    <a:pt x="670" y="687"/>
                  </a:lnTo>
                  <a:lnTo>
                    <a:pt x="666" y="687"/>
                  </a:lnTo>
                  <a:lnTo>
                    <a:pt x="662" y="687"/>
                  </a:lnTo>
                  <a:lnTo>
                    <a:pt x="662" y="689"/>
                  </a:lnTo>
                  <a:lnTo>
                    <a:pt x="659" y="689"/>
                  </a:lnTo>
                  <a:lnTo>
                    <a:pt x="655" y="689"/>
                  </a:lnTo>
                  <a:lnTo>
                    <a:pt x="653" y="689"/>
                  </a:lnTo>
                  <a:lnTo>
                    <a:pt x="651" y="689"/>
                  </a:lnTo>
                  <a:lnTo>
                    <a:pt x="647" y="691"/>
                  </a:lnTo>
                  <a:lnTo>
                    <a:pt x="643" y="691"/>
                  </a:lnTo>
                  <a:lnTo>
                    <a:pt x="641" y="691"/>
                  </a:lnTo>
                  <a:lnTo>
                    <a:pt x="637" y="691"/>
                  </a:lnTo>
                  <a:lnTo>
                    <a:pt x="634" y="691"/>
                  </a:lnTo>
                  <a:lnTo>
                    <a:pt x="632" y="691"/>
                  </a:lnTo>
                  <a:lnTo>
                    <a:pt x="628" y="691"/>
                  </a:lnTo>
                  <a:lnTo>
                    <a:pt x="626" y="687"/>
                  </a:lnTo>
                  <a:lnTo>
                    <a:pt x="624" y="687"/>
                  </a:lnTo>
                  <a:lnTo>
                    <a:pt x="622" y="686"/>
                  </a:lnTo>
                  <a:lnTo>
                    <a:pt x="620" y="686"/>
                  </a:lnTo>
                  <a:lnTo>
                    <a:pt x="616" y="682"/>
                  </a:lnTo>
                  <a:lnTo>
                    <a:pt x="614" y="682"/>
                  </a:lnTo>
                  <a:lnTo>
                    <a:pt x="613" y="680"/>
                  </a:lnTo>
                  <a:lnTo>
                    <a:pt x="611" y="678"/>
                  </a:lnTo>
                  <a:lnTo>
                    <a:pt x="609" y="678"/>
                  </a:lnTo>
                  <a:lnTo>
                    <a:pt x="607" y="676"/>
                  </a:lnTo>
                  <a:lnTo>
                    <a:pt x="603" y="676"/>
                  </a:lnTo>
                  <a:lnTo>
                    <a:pt x="601" y="676"/>
                  </a:lnTo>
                  <a:lnTo>
                    <a:pt x="597" y="674"/>
                  </a:lnTo>
                  <a:lnTo>
                    <a:pt x="597" y="672"/>
                  </a:lnTo>
                  <a:lnTo>
                    <a:pt x="595" y="670"/>
                  </a:lnTo>
                  <a:lnTo>
                    <a:pt x="591" y="670"/>
                  </a:lnTo>
                  <a:lnTo>
                    <a:pt x="590" y="666"/>
                  </a:lnTo>
                  <a:lnTo>
                    <a:pt x="588" y="662"/>
                  </a:lnTo>
                  <a:lnTo>
                    <a:pt x="586" y="657"/>
                  </a:lnTo>
                  <a:lnTo>
                    <a:pt x="582" y="655"/>
                  </a:lnTo>
                  <a:lnTo>
                    <a:pt x="582" y="651"/>
                  </a:lnTo>
                  <a:lnTo>
                    <a:pt x="582" y="649"/>
                  </a:lnTo>
                  <a:lnTo>
                    <a:pt x="582" y="647"/>
                  </a:lnTo>
                  <a:lnTo>
                    <a:pt x="582" y="645"/>
                  </a:lnTo>
                  <a:lnTo>
                    <a:pt x="580" y="643"/>
                  </a:lnTo>
                  <a:lnTo>
                    <a:pt x="576" y="643"/>
                  </a:lnTo>
                  <a:lnTo>
                    <a:pt x="574" y="643"/>
                  </a:lnTo>
                  <a:lnTo>
                    <a:pt x="572" y="641"/>
                  </a:lnTo>
                  <a:lnTo>
                    <a:pt x="572" y="638"/>
                  </a:lnTo>
                  <a:lnTo>
                    <a:pt x="570" y="636"/>
                  </a:lnTo>
                  <a:lnTo>
                    <a:pt x="566" y="636"/>
                  </a:lnTo>
                  <a:lnTo>
                    <a:pt x="565" y="636"/>
                  </a:lnTo>
                  <a:lnTo>
                    <a:pt x="561" y="636"/>
                  </a:lnTo>
                  <a:lnTo>
                    <a:pt x="561" y="632"/>
                  </a:lnTo>
                  <a:lnTo>
                    <a:pt x="557" y="632"/>
                  </a:lnTo>
                  <a:lnTo>
                    <a:pt x="553" y="632"/>
                  </a:lnTo>
                  <a:lnTo>
                    <a:pt x="551" y="632"/>
                  </a:lnTo>
                  <a:lnTo>
                    <a:pt x="547" y="632"/>
                  </a:lnTo>
                  <a:lnTo>
                    <a:pt x="543" y="632"/>
                  </a:lnTo>
                  <a:lnTo>
                    <a:pt x="542" y="632"/>
                  </a:lnTo>
                  <a:lnTo>
                    <a:pt x="538" y="632"/>
                  </a:lnTo>
                  <a:lnTo>
                    <a:pt x="534" y="632"/>
                  </a:lnTo>
                  <a:lnTo>
                    <a:pt x="532" y="632"/>
                  </a:lnTo>
                  <a:lnTo>
                    <a:pt x="528" y="632"/>
                  </a:lnTo>
                  <a:lnTo>
                    <a:pt x="526" y="632"/>
                  </a:lnTo>
                  <a:lnTo>
                    <a:pt x="524" y="630"/>
                  </a:lnTo>
                  <a:lnTo>
                    <a:pt x="522" y="630"/>
                  </a:lnTo>
                  <a:lnTo>
                    <a:pt x="519" y="630"/>
                  </a:lnTo>
                  <a:lnTo>
                    <a:pt x="515" y="630"/>
                  </a:lnTo>
                  <a:lnTo>
                    <a:pt x="511" y="630"/>
                  </a:lnTo>
                  <a:lnTo>
                    <a:pt x="509" y="630"/>
                  </a:lnTo>
                  <a:lnTo>
                    <a:pt x="507" y="632"/>
                  </a:lnTo>
                  <a:lnTo>
                    <a:pt x="505" y="632"/>
                  </a:lnTo>
                  <a:lnTo>
                    <a:pt x="501" y="632"/>
                  </a:lnTo>
                  <a:lnTo>
                    <a:pt x="501" y="634"/>
                  </a:lnTo>
                  <a:lnTo>
                    <a:pt x="499" y="634"/>
                  </a:lnTo>
                  <a:lnTo>
                    <a:pt x="497" y="636"/>
                  </a:lnTo>
                  <a:lnTo>
                    <a:pt x="494" y="636"/>
                  </a:lnTo>
                  <a:lnTo>
                    <a:pt x="492" y="636"/>
                  </a:lnTo>
                  <a:lnTo>
                    <a:pt x="488" y="636"/>
                  </a:lnTo>
                  <a:lnTo>
                    <a:pt x="486" y="632"/>
                  </a:lnTo>
                  <a:lnTo>
                    <a:pt x="486" y="630"/>
                  </a:lnTo>
                  <a:lnTo>
                    <a:pt x="484" y="628"/>
                  </a:lnTo>
                  <a:lnTo>
                    <a:pt x="482" y="626"/>
                  </a:lnTo>
                  <a:lnTo>
                    <a:pt x="482" y="626"/>
                  </a:lnTo>
                  <a:lnTo>
                    <a:pt x="478" y="624"/>
                  </a:lnTo>
                  <a:lnTo>
                    <a:pt x="476" y="624"/>
                  </a:lnTo>
                  <a:lnTo>
                    <a:pt x="474" y="622"/>
                  </a:lnTo>
                  <a:lnTo>
                    <a:pt x="472" y="620"/>
                  </a:lnTo>
                  <a:lnTo>
                    <a:pt x="471" y="618"/>
                  </a:lnTo>
                  <a:lnTo>
                    <a:pt x="469" y="616"/>
                  </a:lnTo>
                  <a:lnTo>
                    <a:pt x="469" y="615"/>
                  </a:lnTo>
                  <a:lnTo>
                    <a:pt x="467" y="613"/>
                  </a:lnTo>
                  <a:lnTo>
                    <a:pt x="467" y="609"/>
                  </a:lnTo>
                  <a:lnTo>
                    <a:pt x="467" y="607"/>
                  </a:lnTo>
                  <a:lnTo>
                    <a:pt x="465" y="603"/>
                  </a:lnTo>
                  <a:lnTo>
                    <a:pt x="463" y="601"/>
                  </a:lnTo>
                  <a:lnTo>
                    <a:pt x="463" y="599"/>
                  </a:lnTo>
                  <a:lnTo>
                    <a:pt x="461" y="599"/>
                  </a:lnTo>
                  <a:lnTo>
                    <a:pt x="457" y="599"/>
                  </a:lnTo>
                  <a:lnTo>
                    <a:pt x="453" y="599"/>
                  </a:lnTo>
                  <a:lnTo>
                    <a:pt x="451" y="599"/>
                  </a:lnTo>
                  <a:lnTo>
                    <a:pt x="448" y="599"/>
                  </a:lnTo>
                  <a:lnTo>
                    <a:pt x="444" y="599"/>
                  </a:lnTo>
                  <a:lnTo>
                    <a:pt x="442" y="599"/>
                  </a:lnTo>
                  <a:lnTo>
                    <a:pt x="438" y="599"/>
                  </a:lnTo>
                  <a:lnTo>
                    <a:pt x="434" y="599"/>
                  </a:lnTo>
                  <a:lnTo>
                    <a:pt x="432" y="599"/>
                  </a:lnTo>
                  <a:lnTo>
                    <a:pt x="430" y="599"/>
                  </a:lnTo>
                  <a:lnTo>
                    <a:pt x="426" y="601"/>
                  </a:lnTo>
                  <a:lnTo>
                    <a:pt x="424" y="601"/>
                  </a:lnTo>
                  <a:lnTo>
                    <a:pt x="421" y="601"/>
                  </a:lnTo>
                  <a:lnTo>
                    <a:pt x="421" y="599"/>
                  </a:lnTo>
                  <a:lnTo>
                    <a:pt x="419" y="597"/>
                  </a:lnTo>
                  <a:lnTo>
                    <a:pt x="417" y="595"/>
                  </a:lnTo>
                  <a:lnTo>
                    <a:pt x="417" y="593"/>
                  </a:lnTo>
                  <a:lnTo>
                    <a:pt x="415" y="591"/>
                  </a:lnTo>
                  <a:lnTo>
                    <a:pt x="411" y="591"/>
                  </a:lnTo>
                  <a:lnTo>
                    <a:pt x="411" y="590"/>
                  </a:lnTo>
                  <a:lnTo>
                    <a:pt x="407" y="590"/>
                  </a:lnTo>
                  <a:lnTo>
                    <a:pt x="403" y="590"/>
                  </a:lnTo>
                  <a:lnTo>
                    <a:pt x="401" y="590"/>
                  </a:lnTo>
                  <a:lnTo>
                    <a:pt x="400" y="591"/>
                  </a:lnTo>
                  <a:lnTo>
                    <a:pt x="396" y="591"/>
                  </a:lnTo>
                  <a:lnTo>
                    <a:pt x="392" y="591"/>
                  </a:lnTo>
                  <a:lnTo>
                    <a:pt x="390" y="591"/>
                  </a:lnTo>
                  <a:lnTo>
                    <a:pt x="386" y="591"/>
                  </a:lnTo>
                  <a:lnTo>
                    <a:pt x="382" y="591"/>
                  </a:lnTo>
                  <a:lnTo>
                    <a:pt x="380" y="591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1" y="593"/>
                  </a:lnTo>
                  <a:lnTo>
                    <a:pt x="367" y="593"/>
                  </a:lnTo>
                  <a:lnTo>
                    <a:pt x="365" y="595"/>
                  </a:lnTo>
                  <a:lnTo>
                    <a:pt x="365" y="590"/>
                  </a:lnTo>
                  <a:lnTo>
                    <a:pt x="367" y="586"/>
                  </a:lnTo>
                  <a:lnTo>
                    <a:pt x="367" y="582"/>
                  </a:lnTo>
                  <a:lnTo>
                    <a:pt x="367" y="580"/>
                  </a:lnTo>
                  <a:lnTo>
                    <a:pt x="367" y="576"/>
                  </a:lnTo>
                  <a:lnTo>
                    <a:pt x="363" y="576"/>
                  </a:lnTo>
                  <a:lnTo>
                    <a:pt x="361" y="574"/>
                  </a:lnTo>
                  <a:lnTo>
                    <a:pt x="361" y="570"/>
                  </a:lnTo>
                  <a:lnTo>
                    <a:pt x="361" y="568"/>
                  </a:lnTo>
                  <a:lnTo>
                    <a:pt x="361" y="567"/>
                  </a:lnTo>
                  <a:lnTo>
                    <a:pt x="361" y="565"/>
                  </a:lnTo>
                  <a:lnTo>
                    <a:pt x="357" y="563"/>
                  </a:lnTo>
                  <a:lnTo>
                    <a:pt x="357" y="561"/>
                  </a:lnTo>
                  <a:lnTo>
                    <a:pt x="355" y="561"/>
                  </a:lnTo>
                  <a:lnTo>
                    <a:pt x="353" y="559"/>
                  </a:lnTo>
                  <a:lnTo>
                    <a:pt x="353" y="555"/>
                  </a:lnTo>
                  <a:lnTo>
                    <a:pt x="353" y="553"/>
                  </a:lnTo>
                  <a:lnTo>
                    <a:pt x="353" y="549"/>
                  </a:lnTo>
                  <a:lnTo>
                    <a:pt x="353" y="545"/>
                  </a:lnTo>
                  <a:lnTo>
                    <a:pt x="353" y="544"/>
                  </a:lnTo>
                  <a:lnTo>
                    <a:pt x="352" y="542"/>
                  </a:lnTo>
                  <a:lnTo>
                    <a:pt x="350" y="540"/>
                  </a:lnTo>
                  <a:lnTo>
                    <a:pt x="348" y="540"/>
                  </a:lnTo>
                  <a:lnTo>
                    <a:pt x="346" y="538"/>
                  </a:lnTo>
                  <a:lnTo>
                    <a:pt x="344" y="536"/>
                  </a:lnTo>
                  <a:lnTo>
                    <a:pt x="342" y="534"/>
                  </a:lnTo>
                  <a:lnTo>
                    <a:pt x="342" y="530"/>
                  </a:lnTo>
                  <a:lnTo>
                    <a:pt x="342" y="528"/>
                  </a:lnTo>
                  <a:lnTo>
                    <a:pt x="342" y="526"/>
                  </a:lnTo>
                  <a:lnTo>
                    <a:pt x="342" y="524"/>
                  </a:lnTo>
                  <a:lnTo>
                    <a:pt x="342" y="520"/>
                  </a:lnTo>
                  <a:lnTo>
                    <a:pt x="342" y="517"/>
                  </a:lnTo>
                  <a:lnTo>
                    <a:pt x="342" y="515"/>
                  </a:lnTo>
                  <a:lnTo>
                    <a:pt x="342" y="511"/>
                  </a:lnTo>
                  <a:lnTo>
                    <a:pt x="342" y="509"/>
                  </a:lnTo>
                  <a:lnTo>
                    <a:pt x="342" y="505"/>
                  </a:lnTo>
                  <a:lnTo>
                    <a:pt x="342" y="501"/>
                  </a:lnTo>
                  <a:lnTo>
                    <a:pt x="342" y="499"/>
                  </a:lnTo>
                  <a:lnTo>
                    <a:pt x="342" y="496"/>
                  </a:lnTo>
                  <a:lnTo>
                    <a:pt x="344" y="494"/>
                  </a:lnTo>
                  <a:lnTo>
                    <a:pt x="344" y="490"/>
                  </a:lnTo>
                  <a:lnTo>
                    <a:pt x="346" y="486"/>
                  </a:lnTo>
                  <a:lnTo>
                    <a:pt x="346" y="484"/>
                  </a:lnTo>
                  <a:lnTo>
                    <a:pt x="346" y="480"/>
                  </a:lnTo>
                  <a:lnTo>
                    <a:pt x="346" y="476"/>
                  </a:lnTo>
                  <a:lnTo>
                    <a:pt x="344" y="476"/>
                  </a:lnTo>
                  <a:lnTo>
                    <a:pt x="342" y="474"/>
                  </a:lnTo>
                  <a:lnTo>
                    <a:pt x="342" y="473"/>
                  </a:lnTo>
                  <a:lnTo>
                    <a:pt x="340" y="469"/>
                  </a:lnTo>
                  <a:lnTo>
                    <a:pt x="338" y="467"/>
                  </a:lnTo>
                  <a:lnTo>
                    <a:pt x="334" y="465"/>
                  </a:lnTo>
                  <a:lnTo>
                    <a:pt x="329" y="465"/>
                  </a:lnTo>
                  <a:lnTo>
                    <a:pt x="327" y="465"/>
                  </a:lnTo>
                  <a:lnTo>
                    <a:pt x="323" y="465"/>
                  </a:lnTo>
                  <a:lnTo>
                    <a:pt x="321" y="465"/>
                  </a:lnTo>
                  <a:lnTo>
                    <a:pt x="317" y="465"/>
                  </a:lnTo>
                  <a:lnTo>
                    <a:pt x="313" y="465"/>
                  </a:lnTo>
                  <a:lnTo>
                    <a:pt x="311" y="465"/>
                  </a:lnTo>
                  <a:lnTo>
                    <a:pt x="309" y="465"/>
                  </a:lnTo>
                  <a:lnTo>
                    <a:pt x="309" y="461"/>
                  </a:lnTo>
                  <a:lnTo>
                    <a:pt x="307" y="459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2" y="455"/>
                  </a:lnTo>
                  <a:lnTo>
                    <a:pt x="300" y="455"/>
                  </a:lnTo>
                  <a:lnTo>
                    <a:pt x="296" y="455"/>
                  </a:lnTo>
                  <a:lnTo>
                    <a:pt x="292" y="455"/>
                  </a:lnTo>
                  <a:lnTo>
                    <a:pt x="290" y="455"/>
                  </a:lnTo>
                  <a:lnTo>
                    <a:pt x="286" y="455"/>
                  </a:lnTo>
                  <a:lnTo>
                    <a:pt x="283" y="455"/>
                  </a:lnTo>
                  <a:lnTo>
                    <a:pt x="281" y="455"/>
                  </a:lnTo>
                  <a:lnTo>
                    <a:pt x="279" y="455"/>
                  </a:lnTo>
                  <a:lnTo>
                    <a:pt x="277" y="455"/>
                  </a:lnTo>
                  <a:lnTo>
                    <a:pt x="275" y="459"/>
                  </a:lnTo>
                  <a:lnTo>
                    <a:pt x="275" y="463"/>
                  </a:lnTo>
                  <a:lnTo>
                    <a:pt x="275" y="465"/>
                  </a:lnTo>
                  <a:lnTo>
                    <a:pt x="275" y="469"/>
                  </a:lnTo>
                  <a:lnTo>
                    <a:pt x="273" y="471"/>
                  </a:lnTo>
                  <a:lnTo>
                    <a:pt x="273" y="473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6"/>
                  </a:lnTo>
                  <a:lnTo>
                    <a:pt x="265" y="476"/>
                  </a:lnTo>
                  <a:lnTo>
                    <a:pt x="261" y="476"/>
                  </a:lnTo>
                  <a:lnTo>
                    <a:pt x="259" y="478"/>
                  </a:lnTo>
                  <a:lnTo>
                    <a:pt x="258" y="480"/>
                  </a:lnTo>
                  <a:lnTo>
                    <a:pt x="256" y="482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0" y="484"/>
                  </a:lnTo>
                  <a:lnTo>
                    <a:pt x="248" y="484"/>
                  </a:lnTo>
                  <a:lnTo>
                    <a:pt x="246" y="486"/>
                  </a:lnTo>
                  <a:lnTo>
                    <a:pt x="242" y="486"/>
                  </a:lnTo>
                  <a:lnTo>
                    <a:pt x="238" y="486"/>
                  </a:lnTo>
                  <a:lnTo>
                    <a:pt x="235" y="486"/>
                  </a:lnTo>
                  <a:lnTo>
                    <a:pt x="233" y="488"/>
                  </a:lnTo>
                  <a:lnTo>
                    <a:pt x="231" y="490"/>
                  </a:lnTo>
                  <a:lnTo>
                    <a:pt x="231" y="494"/>
                  </a:lnTo>
                  <a:lnTo>
                    <a:pt x="227" y="496"/>
                  </a:lnTo>
                  <a:lnTo>
                    <a:pt x="225" y="496"/>
                  </a:lnTo>
                  <a:lnTo>
                    <a:pt x="221" y="496"/>
                  </a:lnTo>
                  <a:lnTo>
                    <a:pt x="221" y="496"/>
                  </a:lnTo>
                  <a:lnTo>
                    <a:pt x="217" y="496"/>
                  </a:lnTo>
                  <a:lnTo>
                    <a:pt x="215" y="496"/>
                  </a:lnTo>
                  <a:lnTo>
                    <a:pt x="212" y="496"/>
                  </a:lnTo>
                  <a:lnTo>
                    <a:pt x="212" y="496"/>
                  </a:lnTo>
                  <a:lnTo>
                    <a:pt x="208" y="496"/>
                  </a:lnTo>
                  <a:lnTo>
                    <a:pt x="206" y="496"/>
                  </a:lnTo>
                  <a:lnTo>
                    <a:pt x="204" y="494"/>
                  </a:lnTo>
                  <a:lnTo>
                    <a:pt x="202" y="494"/>
                  </a:lnTo>
                  <a:lnTo>
                    <a:pt x="200" y="492"/>
                  </a:lnTo>
                  <a:lnTo>
                    <a:pt x="198" y="492"/>
                  </a:lnTo>
                  <a:lnTo>
                    <a:pt x="196" y="490"/>
                  </a:lnTo>
                  <a:lnTo>
                    <a:pt x="192" y="488"/>
                  </a:lnTo>
                  <a:lnTo>
                    <a:pt x="190" y="486"/>
                  </a:lnTo>
                  <a:lnTo>
                    <a:pt x="190" y="482"/>
                  </a:lnTo>
                  <a:lnTo>
                    <a:pt x="190" y="480"/>
                  </a:lnTo>
                  <a:lnTo>
                    <a:pt x="190" y="476"/>
                  </a:lnTo>
                  <a:lnTo>
                    <a:pt x="188" y="474"/>
                  </a:lnTo>
                  <a:lnTo>
                    <a:pt x="187" y="471"/>
                  </a:lnTo>
                  <a:lnTo>
                    <a:pt x="185" y="471"/>
                  </a:lnTo>
                  <a:lnTo>
                    <a:pt x="181" y="471"/>
                  </a:lnTo>
                  <a:lnTo>
                    <a:pt x="181" y="469"/>
                  </a:lnTo>
                  <a:lnTo>
                    <a:pt x="179" y="465"/>
                  </a:lnTo>
                  <a:lnTo>
                    <a:pt x="177" y="465"/>
                  </a:lnTo>
                  <a:lnTo>
                    <a:pt x="175" y="465"/>
                  </a:lnTo>
                  <a:lnTo>
                    <a:pt x="173" y="461"/>
                  </a:lnTo>
                  <a:lnTo>
                    <a:pt x="173" y="459"/>
                  </a:lnTo>
                  <a:lnTo>
                    <a:pt x="173" y="455"/>
                  </a:lnTo>
                  <a:lnTo>
                    <a:pt x="171" y="455"/>
                  </a:lnTo>
                  <a:lnTo>
                    <a:pt x="171" y="451"/>
                  </a:lnTo>
                  <a:lnTo>
                    <a:pt x="171" y="449"/>
                  </a:lnTo>
                  <a:lnTo>
                    <a:pt x="169" y="449"/>
                  </a:lnTo>
                  <a:lnTo>
                    <a:pt x="167" y="448"/>
                  </a:lnTo>
                  <a:lnTo>
                    <a:pt x="165" y="446"/>
                  </a:lnTo>
                  <a:lnTo>
                    <a:pt x="164" y="446"/>
                  </a:lnTo>
                  <a:lnTo>
                    <a:pt x="162" y="444"/>
                  </a:lnTo>
                  <a:lnTo>
                    <a:pt x="162" y="442"/>
                  </a:lnTo>
                  <a:lnTo>
                    <a:pt x="160" y="440"/>
                  </a:lnTo>
                  <a:lnTo>
                    <a:pt x="158" y="438"/>
                  </a:lnTo>
                  <a:lnTo>
                    <a:pt x="156" y="436"/>
                  </a:lnTo>
                  <a:lnTo>
                    <a:pt x="154" y="436"/>
                  </a:lnTo>
                  <a:lnTo>
                    <a:pt x="154" y="432"/>
                  </a:lnTo>
                  <a:lnTo>
                    <a:pt x="152" y="430"/>
                  </a:lnTo>
                  <a:lnTo>
                    <a:pt x="150" y="430"/>
                  </a:lnTo>
                  <a:lnTo>
                    <a:pt x="150" y="428"/>
                  </a:lnTo>
                  <a:lnTo>
                    <a:pt x="150" y="425"/>
                  </a:lnTo>
                  <a:lnTo>
                    <a:pt x="148" y="425"/>
                  </a:lnTo>
                  <a:lnTo>
                    <a:pt x="146" y="425"/>
                  </a:lnTo>
                  <a:lnTo>
                    <a:pt x="146" y="417"/>
                  </a:lnTo>
                  <a:lnTo>
                    <a:pt x="144" y="415"/>
                  </a:lnTo>
                  <a:lnTo>
                    <a:pt x="144" y="413"/>
                  </a:lnTo>
                  <a:lnTo>
                    <a:pt x="142" y="411"/>
                  </a:lnTo>
                  <a:lnTo>
                    <a:pt x="141" y="409"/>
                  </a:lnTo>
                  <a:lnTo>
                    <a:pt x="137" y="407"/>
                  </a:lnTo>
                  <a:lnTo>
                    <a:pt x="133" y="407"/>
                  </a:lnTo>
                  <a:lnTo>
                    <a:pt x="131" y="407"/>
                  </a:lnTo>
                  <a:lnTo>
                    <a:pt x="127" y="407"/>
                  </a:lnTo>
                  <a:lnTo>
                    <a:pt x="121" y="407"/>
                  </a:lnTo>
                  <a:lnTo>
                    <a:pt x="119" y="407"/>
                  </a:lnTo>
                  <a:lnTo>
                    <a:pt x="116" y="407"/>
                  </a:lnTo>
                  <a:lnTo>
                    <a:pt x="112" y="405"/>
                  </a:lnTo>
                  <a:lnTo>
                    <a:pt x="110" y="405"/>
                  </a:lnTo>
                  <a:lnTo>
                    <a:pt x="106" y="405"/>
                  </a:lnTo>
                  <a:lnTo>
                    <a:pt x="102" y="405"/>
                  </a:lnTo>
                  <a:lnTo>
                    <a:pt x="98" y="405"/>
                  </a:lnTo>
                  <a:lnTo>
                    <a:pt x="94" y="405"/>
                  </a:lnTo>
                  <a:lnTo>
                    <a:pt x="93" y="405"/>
                  </a:lnTo>
                  <a:lnTo>
                    <a:pt x="91" y="405"/>
                  </a:lnTo>
                  <a:lnTo>
                    <a:pt x="89" y="405"/>
                  </a:lnTo>
                  <a:lnTo>
                    <a:pt x="87" y="405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77" y="400"/>
                  </a:lnTo>
                  <a:lnTo>
                    <a:pt x="71" y="400"/>
                  </a:lnTo>
                  <a:lnTo>
                    <a:pt x="70" y="400"/>
                  </a:lnTo>
                  <a:lnTo>
                    <a:pt x="66" y="400"/>
                  </a:lnTo>
                  <a:lnTo>
                    <a:pt x="62" y="400"/>
                  </a:lnTo>
                  <a:lnTo>
                    <a:pt x="58" y="402"/>
                  </a:lnTo>
                  <a:lnTo>
                    <a:pt x="52" y="402"/>
                  </a:lnTo>
                  <a:lnTo>
                    <a:pt x="48" y="403"/>
                  </a:lnTo>
                  <a:lnTo>
                    <a:pt x="46" y="405"/>
                  </a:lnTo>
                  <a:lnTo>
                    <a:pt x="43" y="405"/>
                  </a:lnTo>
                  <a:lnTo>
                    <a:pt x="41" y="409"/>
                  </a:lnTo>
                  <a:lnTo>
                    <a:pt x="39" y="409"/>
                  </a:lnTo>
                  <a:lnTo>
                    <a:pt x="37" y="411"/>
                  </a:lnTo>
                  <a:lnTo>
                    <a:pt x="35" y="411"/>
                  </a:lnTo>
                  <a:lnTo>
                    <a:pt x="35" y="413"/>
                  </a:lnTo>
                  <a:lnTo>
                    <a:pt x="31" y="413"/>
                  </a:lnTo>
                  <a:lnTo>
                    <a:pt x="29" y="415"/>
                  </a:lnTo>
                  <a:lnTo>
                    <a:pt x="25" y="415"/>
                  </a:lnTo>
                  <a:lnTo>
                    <a:pt x="23" y="419"/>
                  </a:lnTo>
                  <a:lnTo>
                    <a:pt x="22" y="419"/>
                  </a:lnTo>
                  <a:lnTo>
                    <a:pt x="20" y="419"/>
                  </a:lnTo>
                  <a:lnTo>
                    <a:pt x="16" y="421"/>
                  </a:lnTo>
                  <a:lnTo>
                    <a:pt x="14" y="423"/>
                  </a:lnTo>
                  <a:lnTo>
                    <a:pt x="10" y="423"/>
                  </a:lnTo>
                  <a:lnTo>
                    <a:pt x="8" y="425"/>
                  </a:lnTo>
                  <a:lnTo>
                    <a:pt x="6" y="423"/>
                  </a:lnTo>
                  <a:lnTo>
                    <a:pt x="6" y="421"/>
                  </a:lnTo>
                  <a:lnTo>
                    <a:pt x="6" y="417"/>
                  </a:lnTo>
                  <a:lnTo>
                    <a:pt x="4" y="415"/>
                  </a:lnTo>
                  <a:lnTo>
                    <a:pt x="4" y="413"/>
                  </a:lnTo>
                  <a:lnTo>
                    <a:pt x="0" y="40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7" name="Freeform 53"/>
            <p:cNvSpPr>
              <a:spLocks/>
            </p:cNvSpPr>
            <p:nvPr/>
          </p:nvSpPr>
          <p:spPr bwMode="auto">
            <a:xfrm>
              <a:off x="1661" y="1465"/>
              <a:ext cx="387" cy="577"/>
            </a:xfrm>
            <a:custGeom>
              <a:avLst/>
              <a:gdLst/>
              <a:ahLst/>
              <a:cxnLst>
                <a:cxn ang="0">
                  <a:pos x="359" y="136"/>
                </a:cxn>
                <a:cxn ang="0">
                  <a:pos x="339" y="119"/>
                </a:cxn>
                <a:cxn ang="0">
                  <a:pos x="314" y="105"/>
                </a:cxn>
                <a:cxn ang="0">
                  <a:pos x="282" y="90"/>
                </a:cxn>
                <a:cxn ang="0">
                  <a:pos x="253" y="71"/>
                </a:cxn>
                <a:cxn ang="0">
                  <a:pos x="218" y="53"/>
                </a:cxn>
                <a:cxn ang="0">
                  <a:pos x="186" y="40"/>
                </a:cxn>
                <a:cxn ang="0">
                  <a:pos x="171" y="28"/>
                </a:cxn>
                <a:cxn ang="0">
                  <a:pos x="149" y="11"/>
                </a:cxn>
                <a:cxn ang="0">
                  <a:pos x="115" y="3"/>
                </a:cxn>
                <a:cxn ang="0">
                  <a:pos x="88" y="7"/>
                </a:cxn>
                <a:cxn ang="0">
                  <a:pos x="57" y="21"/>
                </a:cxn>
                <a:cxn ang="0">
                  <a:pos x="61" y="50"/>
                </a:cxn>
                <a:cxn ang="0">
                  <a:pos x="80" y="78"/>
                </a:cxn>
                <a:cxn ang="0">
                  <a:pos x="82" y="107"/>
                </a:cxn>
                <a:cxn ang="0">
                  <a:pos x="73" y="134"/>
                </a:cxn>
                <a:cxn ang="0">
                  <a:pos x="69" y="157"/>
                </a:cxn>
                <a:cxn ang="0">
                  <a:pos x="73" y="186"/>
                </a:cxn>
                <a:cxn ang="0">
                  <a:pos x="75" y="215"/>
                </a:cxn>
                <a:cxn ang="0">
                  <a:pos x="73" y="243"/>
                </a:cxn>
                <a:cxn ang="0">
                  <a:pos x="52" y="263"/>
                </a:cxn>
                <a:cxn ang="0">
                  <a:pos x="30" y="282"/>
                </a:cxn>
                <a:cxn ang="0">
                  <a:pos x="11" y="312"/>
                </a:cxn>
                <a:cxn ang="0">
                  <a:pos x="2" y="334"/>
                </a:cxn>
                <a:cxn ang="0">
                  <a:pos x="5" y="362"/>
                </a:cxn>
                <a:cxn ang="0">
                  <a:pos x="17" y="378"/>
                </a:cxn>
                <a:cxn ang="0">
                  <a:pos x="36" y="399"/>
                </a:cxn>
                <a:cxn ang="0">
                  <a:pos x="57" y="412"/>
                </a:cxn>
                <a:cxn ang="0">
                  <a:pos x="73" y="441"/>
                </a:cxn>
                <a:cxn ang="0">
                  <a:pos x="75" y="468"/>
                </a:cxn>
                <a:cxn ang="0">
                  <a:pos x="86" y="485"/>
                </a:cxn>
                <a:cxn ang="0">
                  <a:pos x="63" y="497"/>
                </a:cxn>
                <a:cxn ang="0">
                  <a:pos x="36" y="508"/>
                </a:cxn>
                <a:cxn ang="0">
                  <a:pos x="42" y="529"/>
                </a:cxn>
                <a:cxn ang="0">
                  <a:pos x="65" y="550"/>
                </a:cxn>
                <a:cxn ang="0">
                  <a:pos x="82" y="568"/>
                </a:cxn>
                <a:cxn ang="0">
                  <a:pos x="101" y="575"/>
                </a:cxn>
                <a:cxn ang="0">
                  <a:pos x="136" y="575"/>
                </a:cxn>
                <a:cxn ang="0">
                  <a:pos x="157" y="568"/>
                </a:cxn>
                <a:cxn ang="0">
                  <a:pos x="188" y="568"/>
                </a:cxn>
                <a:cxn ang="0">
                  <a:pos x="199" y="550"/>
                </a:cxn>
                <a:cxn ang="0">
                  <a:pos x="215" y="531"/>
                </a:cxn>
                <a:cxn ang="0">
                  <a:pos x="243" y="522"/>
                </a:cxn>
                <a:cxn ang="0">
                  <a:pos x="265" y="508"/>
                </a:cxn>
                <a:cxn ang="0">
                  <a:pos x="280" y="493"/>
                </a:cxn>
                <a:cxn ang="0">
                  <a:pos x="303" y="474"/>
                </a:cxn>
                <a:cxn ang="0">
                  <a:pos x="316" y="454"/>
                </a:cxn>
                <a:cxn ang="0">
                  <a:pos x="337" y="449"/>
                </a:cxn>
                <a:cxn ang="0">
                  <a:pos x="332" y="422"/>
                </a:cxn>
                <a:cxn ang="0">
                  <a:pos x="312" y="405"/>
                </a:cxn>
                <a:cxn ang="0">
                  <a:pos x="307" y="385"/>
                </a:cxn>
                <a:cxn ang="0">
                  <a:pos x="312" y="362"/>
                </a:cxn>
                <a:cxn ang="0">
                  <a:pos x="328" y="343"/>
                </a:cxn>
                <a:cxn ang="0">
                  <a:pos x="328" y="312"/>
                </a:cxn>
                <a:cxn ang="0">
                  <a:pos x="347" y="297"/>
                </a:cxn>
                <a:cxn ang="0">
                  <a:pos x="366" y="282"/>
                </a:cxn>
                <a:cxn ang="0">
                  <a:pos x="387" y="286"/>
                </a:cxn>
                <a:cxn ang="0">
                  <a:pos x="382" y="259"/>
                </a:cxn>
                <a:cxn ang="0">
                  <a:pos x="382" y="232"/>
                </a:cxn>
                <a:cxn ang="0">
                  <a:pos x="382" y="201"/>
                </a:cxn>
                <a:cxn ang="0">
                  <a:pos x="383" y="170"/>
                </a:cxn>
              </a:cxnLst>
              <a:rect l="0" t="0" r="r" b="b"/>
              <a:pathLst>
                <a:path w="387" h="577">
                  <a:moveTo>
                    <a:pt x="382" y="151"/>
                  </a:moveTo>
                  <a:lnTo>
                    <a:pt x="378" y="147"/>
                  </a:lnTo>
                  <a:lnTo>
                    <a:pt x="372" y="144"/>
                  </a:lnTo>
                  <a:lnTo>
                    <a:pt x="370" y="144"/>
                  </a:lnTo>
                  <a:lnTo>
                    <a:pt x="368" y="140"/>
                  </a:lnTo>
                  <a:lnTo>
                    <a:pt x="364" y="140"/>
                  </a:lnTo>
                  <a:lnTo>
                    <a:pt x="362" y="138"/>
                  </a:lnTo>
                  <a:lnTo>
                    <a:pt x="360" y="136"/>
                  </a:lnTo>
                  <a:lnTo>
                    <a:pt x="359" y="136"/>
                  </a:lnTo>
                  <a:lnTo>
                    <a:pt x="359" y="134"/>
                  </a:lnTo>
                  <a:lnTo>
                    <a:pt x="357" y="132"/>
                  </a:lnTo>
                  <a:lnTo>
                    <a:pt x="355" y="130"/>
                  </a:lnTo>
                  <a:lnTo>
                    <a:pt x="351" y="126"/>
                  </a:lnTo>
                  <a:lnTo>
                    <a:pt x="351" y="124"/>
                  </a:lnTo>
                  <a:lnTo>
                    <a:pt x="349" y="122"/>
                  </a:lnTo>
                  <a:lnTo>
                    <a:pt x="345" y="122"/>
                  </a:lnTo>
                  <a:lnTo>
                    <a:pt x="343" y="119"/>
                  </a:lnTo>
                  <a:lnTo>
                    <a:pt x="339" y="119"/>
                  </a:lnTo>
                  <a:lnTo>
                    <a:pt x="337" y="119"/>
                  </a:lnTo>
                  <a:lnTo>
                    <a:pt x="334" y="117"/>
                  </a:lnTo>
                  <a:lnTo>
                    <a:pt x="332" y="117"/>
                  </a:lnTo>
                  <a:lnTo>
                    <a:pt x="330" y="115"/>
                  </a:lnTo>
                  <a:lnTo>
                    <a:pt x="326" y="111"/>
                  </a:lnTo>
                  <a:lnTo>
                    <a:pt x="322" y="111"/>
                  </a:lnTo>
                  <a:lnTo>
                    <a:pt x="320" y="109"/>
                  </a:lnTo>
                  <a:lnTo>
                    <a:pt x="318" y="107"/>
                  </a:lnTo>
                  <a:lnTo>
                    <a:pt x="314" y="105"/>
                  </a:lnTo>
                  <a:lnTo>
                    <a:pt x="312" y="103"/>
                  </a:lnTo>
                  <a:lnTo>
                    <a:pt x="309" y="103"/>
                  </a:lnTo>
                  <a:lnTo>
                    <a:pt x="305" y="99"/>
                  </a:lnTo>
                  <a:lnTo>
                    <a:pt x="301" y="99"/>
                  </a:lnTo>
                  <a:lnTo>
                    <a:pt x="297" y="97"/>
                  </a:lnTo>
                  <a:lnTo>
                    <a:pt x="293" y="97"/>
                  </a:lnTo>
                  <a:lnTo>
                    <a:pt x="291" y="96"/>
                  </a:lnTo>
                  <a:lnTo>
                    <a:pt x="288" y="94"/>
                  </a:lnTo>
                  <a:lnTo>
                    <a:pt x="282" y="90"/>
                  </a:lnTo>
                  <a:lnTo>
                    <a:pt x="278" y="88"/>
                  </a:lnTo>
                  <a:lnTo>
                    <a:pt x="274" y="86"/>
                  </a:lnTo>
                  <a:lnTo>
                    <a:pt x="272" y="84"/>
                  </a:lnTo>
                  <a:lnTo>
                    <a:pt x="268" y="84"/>
                  </a:lnTo>
                  <a:lnTo>
                    <a:pt x="266" y="82"/>
                  </a:lnTo>
                  <a:lnTo>
                    <a:pt x="263" y="78"/>
                  </a:lnTo>
                  <a:lnTo>
                    <a:pt x="259" y="78"/>
                  </a:lnTo>
                  <a:lnTo>
                    <a:pt x="255" y="74"/>
                  </a:lnTo>
                  <a:lnTo>
                    <a:pt x="253" y="71"/>
                  </a:lnTo>
                  <a:lnTo>
                    <a:pt x="251" y="69"/>
                  </a:lnTo>
                  <a:lnTo>
                    <a:pt x="245" y="65"/>
                  </a:lnTo>
                  <a:lnTo>
                    <a:pt x="240" y="61"/>
                  </a:lnTo>
                  <a:lnTo>
                    <a:pt x="236" y="61"/>
                  </a:lnTo>
                  <a:lnTo>
                    <a:pt x="234" y="57"/>
                  </a:lnTo>
                  <a:lnTo>
                    <a:pt x="230" y="55"/>
                  </a:lnTo>
                  <a:lnTo>
                    <a:pt x="226" y="53"/>
                  </a:lnTo>
                  <a:lnTo>
                    <a:pt x="224" y="53"/>
                  </a:lnTo>
                  <a:lnTo>
                    <a:pt x="218" y="53"/>
                  </a:lnTo>
                  <a:lnTo>
                    <a:pt x="215" y="51"/>
                  </a:lnTo>
                  <a:lnTo>
                    <a:pt x="213" y="50"/>
                  </a:lnTo>
                  <a:lnTo>
                    <a:pt x="209" y="50"/>
                  </a:lnTo>
                  <a:lnTo>
                    <a:pt x="203" y="48"/>
                  </a:lnTo>
                  <a:lnTo>
                    <a:pt x="197" y="44"/>
                  </a:lnTo>
                  <a:lnTo>
                    <a:pt x="194" y="42"/>
                  </a:lnTo>
                  <a:lnTo>
                    <a:pt x="192" y="42"/>
                  </a:lnTo>
                  <a:lnTo>
                    <a:pt x="188" y="42"/>
                  </a:lnTo>
                  <a:lnTo>
                    <a:pt x="186" y="40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78" y="34"/>
                  </a:lnTo>
                  <a:lnTo>
                    <a:pt x="174" y="34"/>
                  </a:lnTo>
                  <a:lnTo>
                    <a:pt x="174" y="32"/>
                  </a:lnTo>
                  <a:lnTo>
                    <a:pt x="174" y="30"/>
                  </a:lnTo>
                  <a:lnTo>
                    <a:pt x="171" y="28"/>
                  </a:lnTo>
                  <a:lnTo>
                    <a:pt x="169" y="28"/>
                  </a:lnTo>
                  <a:lnTo>
                    <a:pt x="167" y="26"/>
                  </a:lnTo>
                  <a:lnTo>
                    <a:pt x="165" y="25"/>
                  </a:lnTo>
                  <a:lnTo>
                    <a:pt x="163" y="23"/>
                  </a:lnTo>
                  <a:lnTo>
                    <a:pt x="161" y="19"/>
                  </a:lnTo>
                  <a:lnTo>
                    <a:pt x="157" y="17"/>
                  </a:lnTo>
                  <a:lnTo>
                    <a:pt x="155" y="15"/>
                  </a:lnTo>
                  <a:lnTo>
                    <a:pt x="153" y="13"/>
                  </a:lnTo>
                  <a:lnTo>
                    <a:pt x="149" y="11"/>
                  </a:lnTo>
                  <a:lnTo>
                    <a:pt x="146" y="11"/>
                  </a:lnTo>
                  <a:lnTo>
                    <a:pt x="142" y="9"/>
                  </a:lnTo>
                  <a:lnTo>
                    <a:pt x="138" y="7"/>
                  </a:lnTo>
                  <a:lnTo>
                    <a:pt x="128" y="7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19" y="5"/>
                  </a:lnTo>
                  <a:lnTo>
                    <a:pt x="119" y="3"/>
                  </a:lnTo>
                  <a:lnTo>
                    <a:pt x="115" y="3"/>
                  </a:lnTo>
                  <a:lnTo>
                    <a:pt x="115" y="2"/>
                  </a:lnTo>
                  <a:lnTo>
                    <a:pt x="113" y="2"/>
                  </a:lnTo>
                  <a:lnTo>
                    <a:pt x="111" y="0"/>
                  </a:lnTo>
                  <a:lnTo>
                    <a:pt x="105" y="0"/>
                  </a:lnTo>
                  <a:lnTo>
                    <a:pt x="101" y="0"/>
                  </a:lnTo>
                  <a:lnTo>
                    <a:pt x="96" y="2"/>
                  </a:lnTo>
                  <a:lnTo>
                    <a:pt x="94" y="3"/>
                  </a:lnTo>
                  <a:lnTo>
                    <a:pt x="92" y="5"/>
                  </a:lnTo>
                  <a:lnTo>
                    <a:pt x="88" y="7"/>
                  </a:lnTo>
                  <a:lnTo>
                    <a:pt x="84" y="11"/>
                  </a:lnTo>
                  <a:lnTo>
                    <a:pt x="80" y="13"/>
                  </a:lnTo>
                  <a:lnTo>
                    <a:pt x="76" y="15"/>
                  </a:lnTo>
                  <a:lnTo>
                    <a:pt x="75" y="15"/>
                  </a:lnTo>
                  <a:lnTo>
                    <a:pt x="71" y="19"/>
                  </a:lnTo>
                  <a:lnTo>
                    <a:pt x="67" y="19"/>
                  </a:lnTo>
                  <a:lnTo>
                    <a:pt x="63" y="19"/>
                  </a:lnTo>
                  <a:lnTo>
                    <a:pt x="61" y="21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1" y="28"/>
                  </a:lnTo>
                  <a:lnTo>
                    <a:pt x="61" y="32"/>
                  </a:lnTo>
                  <a:lnTo>
                    <a:pt x="61" y="36"/>
                  </a:lnTo>
                  <a:lnTo>
                    <a:pt x="61" y="38"/>
                  </a:lnTo>
                  <a:lnTo>
                    <a:pt x="61" y="42"/>
                  </a:lnTo>
                  <a:lnTo>
                    <a:pt x="61" y="46"/>
                  </a:lnTo>
                  <a:lnTo>
                    <a:pt x="61" y="50"/>
                  </a:lnTo>
                  <a:lnTo>
                    <a:pt x="61" y="53"/>
                  </a:lnTo>
                  <a:lnTo>
                    <a:pt x="63" y="57"/>
                  </a:lnTo>
                  <a:lnTo>
                    <a:pt x="63" y="59"/>
                  </a:lnTo>
                  <a:lnTo>
                    <a:pt x="63" y="61"/>
                  </a:lnTo>
                  <a:lnTo>
                    <a:pt x="67" y="67"/>
                  </a:lnTo>
                  <a:lnTo>
                    <a:pt x="69" y="71"/>
                  </a:lnTo>
                  <a:lnTo>
                    <a:pt x="75" y="74"/>
                  </a:lnTo>
                  <a:lnTo>
                    <a:pt x="76" y="76"/>
                  </a:lnTo>
                  <a:lnTo>
                    <a:pt x="80" y="78"/>
                  </a:lnTo>
                  <a:lnTo>
                    <a:pt x="80" y="84"/>
                  </a:lnTo>
                  <a:lnTo>
                    <a:pt x="82" y="86"/>
                  </a:lnTo>
                  <a:lnTo>
                    <a:pt x="82" y="90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97"/>
                  </a:lnTo>
                  <a:lnTo>
                    <a:pt x="84" y="101"/>
                  </a:lnTo>
                  <a:lnTo>
                    <a:pt x="82" y="105"/>
                  </a:lnTo>
                  <a:lnTo>
                    <a:pt x="82" y="107"/>
                  </a:lnTo>
                  <a:lnTo>
                    <a:pt x="82" y="111"/>
                  </a:lnTo>
                  <a:lnTo>
                    <a:pt x="84" y="115"/>
                  </a:lnTo>
                  <a:lnTo>
                    <a:pt x="84" y="117"/>
                  </a:lnTo>
                  <a:lnTo>
                    <a:pt x="84" y="119"/>
                  </a:lnTo>
                  <a:lnTo>
                    <a:pt x="82" y="122"/>
                  </a:lnTo>
                  <a:lnTo>
                    <a:pt x="78" y="126"/>
                  </a:lnTo>
                  <a:lnTo>
                    <a:pt x="75" y="130"/>
                  </a:lnTo>
                  <a:lnTo>
                    <a:pt x="73" y="132"/>
                  </a:lnTo>
                  <a:lnTo>
                    <a:pt x="73" y="134"/>
                  </a:lnTo>
                  <a:lnTo>
                    <a:pt x="69" y="136"/>
                  </a:lnTo>
                  <a:lnTo>
                    <a:pt x="67" y="136"/>
                  </a:lnTo>
                  <a:lnTo>
                    <a:pt x="67" y="140"/>
                  </a:lnTo>
                  <a:lnTo>
                    <a:pt x="67" y="144"/>
                  </a:lnTo>
                  <a:lnTo>
                    <a:pt x="67" y="147"/>
                  </a:lnTo>
                  <a:lnTo>
                    <a:pt x="67" y="151"/>
                  </a:lnTo>
                  <a:lnTo>
                    <a:pt x="69" y="153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71" y="159"/>
                  </a:lnTo>
                  <a:lnTo>
                    <a:pt x="71" y="163"/>
                  </a:lnTo>
                  <a:lnTo>
                    <a:pt x="71" y="167"/>
                  </a:lnTo>
                  <a:lnTo>
                    <a:pt x="71" y="170"/>
                  </a:lnTo>
                  <a:lnTo>
                    <a:pt x="73" y="172"/>
                  </a:lnTo>
                  <a:lnTo>
                    <a:pt x="73" y="176"/>
                  </a:lnTo>
                  <a:lnTo>
                    <a:pt x="73" y="178"/>
                  </a:lnTo>
                  <a:lnTo>
                    <a:pt x="73" y="182"/>
                  </a:lnTo>
                  <a:lnTo>
                    <a:pt x="73" y="186"/>
                  </a:lnTo>
                  <a:lnTo>
                    <a:pt x="73" y="188"/>
                  </a:lnTo>
                  <a:lnTo>
                    <a:pt x="75" y="190"/>
                  </a:lnTo>
                  <a:lnTo>
                    <a:pt x="75" y="193"/>
                  </a:lnTo>
                  <a:lnTo>
                    <a:pt x="75" y="195"/>
                  </a:lnTo>
                  <a:lnTo>
                    <a:pt x="75" y="197"/>
                  </a:lnTo>
                  <a:lnTo>
                    <a:pt x="75" y="201"/>
                  </a:lnTo>
                  <a:lnTo>
                    <a:pt x="75" y="205"/>
                  </a:lnTo>
                  <a:lnTo>
                    <a:pt x="75" y="211"/>
                  </a:lnTo>
                  <a:lnTo>
                    <a:pt x="75" y="215"/>
                  </a:lnTo>
                  <a:lnTo>
                    <a:pt x="75" y="218"/>
                  </a:lnTo>
                  <a:lnTo>
                    <a:pt x="75" y="222"/>
                  </a:lnTo>
                  <a:lnTo>
                    <a:pt x="75" y="226"/>
                  </a:lnTo>
                  <a:lnTo>
                    <a:pt x="75" y="230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5" y="238"/>
                  </a:lnTo>
                  <a:lnTo>
                    <a:pt x="75" y="239"/>
                  </a:lnTo>
                  <a:lnTo>
                    <a:pt x="73" y="243"/>
                  </a:lnTo>
                  <a:lnTo>
                    <a:pt x="69" y="245"/>
                  </a:lnTo>
                  <a:lnTo>
                    <a:pt x="69" y="249"/>
                  </a:lnTo>
                  <a:lnTo>
                    <a:pt x="65" y="251"/>
                  </a:lnTo>
                  <a:lnTo>
                    <a:pt x="65" y="253"/>
                  </a:lnTo>
                  <a:lnTo>
                    <a:pt x="63" y="255"/>
                  </a:lnTo>
                  <a:lnTo>
                    <a:pt x="61" y="255"/>
                  </a:lnTo>
                  <a:lnTo>
                    <a:pt x="57" y="257"/>
                  </a:lnTo>
                  <a:lnTo>
                    <a:pt x="55" y="259"/>
                  </a:lnTo>
                  <a:lnTo>
                    <a:pt x="52" y="263"/>
                  </a:lnTo>
                  <a:lnTo>
                    <a:pt x="50" y="263"/>
                  </a:lnTo>
                  <a:lnTo>
                    <a:pt x="48" y="264"/>
                  </a:lnTo>
                  <a:lnTo>
                    <a:pt x="44" y="268"/>
                  </a:lnTo>
                  <a:lnTo>
                    <a:pt x="42" y="272"/>
                  </a:lnTo>
                  <a:lnTo>
                    <a:pt x="38" y="274"/>
                  </a:lnTo>
                  <a:lnTo>
                    <a:pt x="36" y="276"/>
                  </a:lnTo>
                  <a:lnTo>
                    <a:pt x="36" y="278"/>
                  </a:lnTo>
                  <a:lnTo>
                    <a:pt x="34" y="280"/>
                  </a:lnTo>
                  <a:lnTo>
                    <a:pt x="30" y="282"/>
                  </a:lnTo>
                  <a:lnTo>
                    <a:pt x="27" y="286"/>
                  </a:lnTo>
                  <a:lnTo>
                    <a:pt x="25" y="289"/>
                  </a:lnTo>
                  <a:lnTo>
                    <a:pt x="23" y="291"/>
                  </a:lnTo>
                  <a:lnTo>
                    <a:pt x="21" y="295"/>
                  </a:lnTo>
                  <a:lnTo>
                    <a:pt x="17" y="299"/>
                  </a:lnTo>
                  <a:lnTo>
                    <a:pt x="17" y="303"/>
                  </a:lnTo>
                  <a:lnTo>
                    <a:pt x="17" y="305"/>
                  </a:lnTo>
                  <a:lnTo>
                    <a:pt x="13" y="309"/>
                  </a:lnTo>
                  <a:lnTo>
                    <a:pt x="11" y="312"/>
                  </a:lnTo>
                  <a:lnTo>
                    <a:pt x="9" y="314"/>
                  </a:lnTo>
                  <a:lnTo>
                    <a:pt x="7" y="318"/>
                  </a:lnTo>
                  <a:lnTo>
                    <a:pt x="7" y="322"/>
                  </a:lnTo>
                  <a:lnTo>
                    <a:pt x="5" y="324"/>
                  </a:lnTo>
                  <a:lnTo>
                    <a:pt x="5" y="326"/>
                  </a:lnTo>
                  <a:lnTo>
                    <a:pt x="4" y="326"/>
                  </a:lnTo>
                  <a:lnTo>
                    <a:pt x="4" y="330"/>
                  </a:lnTo>
                  <a:lnTo>
                    <a:pt x="2" y="330"/>
                  </a:lnTo>
                  <a:lnTo>
                    <a:pt x="2" y="334"/>
                  </a:lnTo>
                  <a:lnTo>
                    <a:pt x="0" y="335"/>
                  </a:lnTo>
                  <a:lnTo>
                    <a:pt x="0" y="339"/>
                  </a:lnTo>
                  <a:lnTo>
                    <a:pt x="0" y="343"/>
                  </a:lnTo>
                  <a:lnTo>
                    <a:pt x="0" y="347"/>
                  </a:lnTo>
                  <a:lnTo>
                    <a:pt x="0" y="351"/>
                  </a:lnTo>
                  <a:lnTo>
                    <a:pt x="0" y="353"/>
                  </a:lnTo>
                  <a:lnTo>
                    <a:pt x="2" y="357"/>
                  </a:lnTo>
                  <a:lnTo>
                    <a:pt x="4" y="360"/>
                  </a:lnTo>
                  <a:lnTo>
                    <a:pt x="5" y="362"/>
                  </a:lnTo>
                  <a:lnTo>
                    <a:pt x="5" y="366"/>
                  </a:lnTo>
                  <a:lnTo>
                    <a:pt x="5" y="368"/>
                  </a:lnTo>
                  <a:lnTo>
                    <a:pt x="5" y="372"/>
                  </a:lnTo>
                  <a:lnTo>
                    <a:pt x="7" y="372"/>
                  </a:lnTo>
                  <a:lnTo>
                    <a:pt x="7" y="376"/>
                  </a:lnTo>
                  <a:lnTo>
                    <a:pt x="11" y="376"/>
                  </a:lnTo>
                  <a:lnTo>
                    <a:pt x="13" y="376"/>
                  </a:lnTo>
                  <a:lnTo>
                    <a:pt x="17" y="376"/>
                  </a:lnTo>
                  <a:lnTo>
                    <a:pt x="17" y="378"/>
                  </a:lnTo>
                  <a:lnTo>
                    <a:pt x="19" y="378"/>
                  </a:lnTo>
                  <a:lnTo>
                    <a:pt x="21" y="381"/>
                  </a:lnTo>
                  <a:lnTo>
                    <a:pt x="25" y="381"/>
                  </a:lnTo>
                  <a:lnTo>
                    <a:pt x="27" y="383"/>
                  </a:lnTo>
                  <a:lnTo>
                    <a:pt x="32" y="389"/>
                  </a:lnTo>
                  <a:lnTo>
                    <a:pt x="36" y="391"/>
                  </a:lnTo>
                  <a:lnTo>
                    <a:pt x="36" y="395"/>
                  </a:lnTo>
                  <a:lnTo>
                    <a:pt x="36" y="397"/>
                  </a:lnTo>
                  <a:lnTo>
                    <a:pt x="36" y="399"/>
                  </a:lnTo>
                  <a:lnTo>
                    <a:pt x="38" y="401"/>
                  </a:lnTo>
                  <a:lnTo>
                    <a:pt x="38" y="403"/>
                  </a:lnTo>
                  <a:lnTo>
                    <a:pt x="40" y="405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50" y="406"/>
                  </a:lnTo>
                  <a:lnTo>
                    <a:pt x="52" y="410"/>
                  </a:lnTo>
                  <a:lnTo>
                    <a:pt x="55" y="412"/>
                  </a:lnTo>
                  <a:lnTo>
                    <a:pt x="57" y="412"/>
                  </a:lnTo>
                  <a:lnTo>
                    <a:pt x="59" y="412"/>
                  </a:lnTo>
                  <a:lnTo>
                    <a:pt x="61" y="414"/>
                  </a:lnTo>
                  <a:lnTo>
                    <a:pt x="67" y="420"/>
                  </a:lnTo>
                  <a:lnTo>
                    <a:pt x="73" y="426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5" y="435"/>
                  </a:lnTo>
                  <a:lnTo>
                    <a:pt x="75" y="439"/>
                  </a:lnTo>
                  <a:lnTo>
                    <a:pt x="73" y="441"/>
                  </a:lnTo>
                  <a:lnTo>
                    <a:pt x="73" y="445"/>
                  </a:lnTo>
                  <a:lnTo>
                    <a:pt x="73" y="449"/>
                  </a:lnTo>
                  <a:lnTo>
                    <a:pt x="73" y="451"/>
                  </a:lnTo>
                  <a:lnTo>
                    <a:pt x="73" y="454"/>
                  </a:lnTo>
                  <a:lnTo>
                    <a:pt x="73" y="458"/>
                  </a:lnTo>
                  <a:lnTo>
                    <a:pt x="73" y="460"/>
                  </a:lnTo>
                  <a:lnTo>
                    <a:pt x="73" y="462"/>
                  </a:lnTo>
                  <a:lnTo>
                    <a:pt x="75" y="466"/>
                  </a:lnTo>
                  <a:lnTo>
                    <a:pt x="75" y="468"/>
                  </a:lnTo>
                  <a:lnTo>
                    <a:pt x="75" y="470"/>
                  </a:lnTo>
                  <a:lnTo>
                    <a:pt x="76" y="472"/>
                  </a:lnTo>
                  <a:lnTo>
                    <a:pt x="76" y="474"/>
                  </a:lnTo>
                  <a:lnTo>
                    <a:pt x="78" y="477"/>
                  </a:lnTo>
                  <a:lnTo>
                    <a:pt x="78" y="479"/>
                  </a:lnTo>
                  <a:lnTo>
                    <a:pt x="82" y="481"/>
                  </a:lnTo>
                  <a:lnTo>
                    <a:pt x="82" y="483"/>
                  </a:lnTo>
                  <a:lnTo>
                    <a:pt x="84" y="485"/>
                  </a:lnTo>
                  <a:lnTo>
                    <a:pt x="86" y="485"/>
                  </a:lnTo>
                  <a:lnTo>
                    <a:pt x="88" y="487"/>
                  </a:lnTo>
                  <a:lnTo>
                    <a:pt x="88" y="491"/>
                  </a:lnTo>
                  <a:lnTo>
                    <a:pt x="84" y="493"/>
                  </a:lnTo>
                  <a:lnTo>
                    <a:pt x="82" y="497"/>
                  </a:lnTo>
                  <a:lnTo>
                    <a:pt x="78" y="497"/>
                  </a:lnTo>
                  <a:lnTo>
                    <a:pt x="75" y="497"/>
                  </a:lnTo>
                  <a:lnTo>
                    <a:pt x="73" y="497"/>
                  </a:lnTo>
                  <a:lnTo>
                    <a:pt x="67" y="497"/>
                  </a:lnTo>
                  <a:lnTo>
                    <a:pt x="63" y="497"/>
                  </a:lnTo>
                  <a:lnTo>
                    <a:pt x="57" y="499"/>
                  </a:lnTo>
                  <a:lnTo>
                    <a:pt x="53" y="499"/>
                  </a:lnTo>
                  <a:lnTo>
                    <a:pt x="48" y="499"/>
                  </a:lnTo>
                  <a:lnTo>
                    <a:pt x="44" y="499"/>
                  </a:lnTo>
                  <a:lnTo>
                    <a:pt x="40" y="497"/>
                  </a:lnTo>
                  <a:lnTo>
                    <a:pt x="38" y="499"/>
                  </a:lnTo>
                  <a:lnTo>
                    <a:pt x="38" y="500"/>
                  </a:lnTo>
                  <a:lnTo>
                    <a:pt x="36" y="502"/>
                  </a:lnTo>
                  <a:lnTo>
                    <a:pt x="36" y="508"/>
                  </a:lnTo>
                  <a:lnTo>
                    <a:pt x="34" y="510"/>
                  </a:lnTo>
                  <a:lnTo>
                    <a:pt x="34" y="512"/>
                  </a:lnTo>
                  <a:lnTo>
                    <a:pt x="34" y="516"/>
                  </a:lnTo>
                  <a:lnTo>
                    <a:pt x="32" y="520"/>
                  </a:lnTo>
                  <a:lnTo>
                    <a:pt x="32" y="523"/>
                  </a:lnTo>
                  <a:lnTo>
                    <a:pt x="34" y="525"/>
                  </a:lnTo>
                  <a:lnTo>
                    <a:pt x="36" y="525"/>
                  </a:lnTo>
                  <a:lnTo>
                    <a:pt x="40" y="527"/>
                  </a:lnTo>
                  <a:lnTo>
                    <a:pt x="42" y="529"/>
                  </a:lnTo>
                  <a:lnTo>
                    <a:pt x="48" y="529"/>
                  </a:lnTo>
                  <a:lnTo>
                    <a:pt x="52" y="531"/>
                  </a:lnTo>
                  <a:lnTo>
                    <a:pt x="53" y="537"/>
                  </a:lnTo>
                  <a:lnTo>
                    <a:pt x="55" y="543"/>
                  </a:lnTo>
                  <a:lnTo>
                    <a:pt x="59" y="543"/>
                  </a:lnTo>
                  <a:lnTo>
                    <a:pt x="59" y="547"/>
                  </a:lnTo>
                  <a:lnTo>
                    <a:pt x="61" y="548"/>
                  </a:lnTo>
                  <a:lnTo>
                    <a:pt x="63" y="548"/>
                  </a:lnTo>
                  <a:lnTo>
                    <a:pt x="65" y="550"/>
                  </a:lnTo>
                  <a:lnTo>
                    <a:pt x="67" y="552"/>
                  </a:lnTo>
                  <a:lnTo>
                    <a:pt x="69" y="554"/>
                  </a:lnTo>
                  <a:lnTo>
                    <a:pt x="73" y="556"/>
                  </a:lnTo>
                  <a:lnTo>
                    <a:pt x="75" y="556"/>
                  </a:lnTo>
                  <a:lnTo>
                    <a:pt x="76" y="558"/>
                  </a:lnTo>
                  <a:lnTo>
                    <a:pt x="80" y="560"/>
                  </a:lnTo>
                  <a:lnTo>
                    <a:pt x="80" y="562"/>
                  </a:lnTo>
                  <a:lnTo>
                    <a:pt x="80" y="566"/>
                  </a:lnTo>
                  <a:lnTo>
                    <a:pt x="82" y="568"/>
                  </a:lnTo>
                  <a:lnTo>
                    <a:pt x="82" y="570"/>
                  </a:lnTo>
                  <a:lnTo>
                    <a:pt x="84" y="571"/>
                  </a:lnTo>
                  <a:lnTo>
                    <a:pt x="84" y="573"/>
                  </a:lnTo>
                  <a:lnTo>
                    <a:pt x="86" y="575"/>
                  </a:lnTo>
                  <a:lnTo>
                    <a:pt x="88" y="577"/>
                  </a:lnTo>
                  <a:lnTo>
                    <a:pt x="92" y="575"/>
                  </a:lnTo>
                  <a:lnTo>
                    <a:pt x="96" y="575"/>
                  </a:lnTo>
                  <a:lnTo>
                    <a:pt x="98" y="575"/>
                  </a:lnTo>
                  <a:lnTo>
                    <a:pt x="101" y="575"/>
                  </a:lnTo>
                  <a:lnTo>
                    <a:pt x="105" y="575"/>
                  </a:lnTo>
                  <a:lnTo>
                    <a:pt x="109" y="575"/>
                  </a:lnTo>
                  <a:lnTo>
                    <a:pt x="115" y="575"/>
                  </a:lnTo>
                  <a:lnTo>
                    <a:pt x="119" y="575"/>
                  </a:lnTo>
                  <a:lnTo>
                    <a:pt x="123" y="575"/>
                  </a:lnTo>
                  <a:lnTo>
                    <a:pt x="126" y="575"/>
                  </a:lnTo>
                  <a:lnTo>
                    <a:pt x="130" y="575"/>
                  </a:lnTo>
                  <a:lnTo>
                    <a:pt x="134" y="575"/>
                  </a:lnTo>
                  <a:lnTo>
                    <a:pt x="136" y="575"/>
                  </a:lnTo>
                  <a:lnTo>
                    <a:pt x="138" y="575"/>
                  </a:lnTo>
                  <a:lnTo>
                    <a:pt x="140" y="573"/>
                  </a:lnTo>
                  <a:lnTo>
                    <a:pt x="144" y="573"/>
                  </a:lnTo>
                  <a:lnTo>
                    <a:pt x="147" y="573"/>
                  </a:lnTo>
                  <a:lnTo>
                    <a:pt x="151" y="571"/>
                  </a:lnTo>
                  <a:lnTo>
                    <a:pt x="151" y="571"/>
                  </a:lnTo>
                  <a:lnTo>
                    <a:pt x="155" y="570"/>
                  </a:lnTo>
                  <a:lnTo>
                    <a:pt x="155" y="570"/>
                  </a:lnTo>
                  <a:lnTo>
                    <a:pt x="157" y="568"/>
                  </a:lnTo>
                  <a:lnTo>
                    <a:pt x="159" y="568"/>
                  </a:lnTo>
                  <a:lnTo>
                    <a:pt x="163" y="568"/>
                  </a:lnTo>
                  <a:lnTo>
                    <a:pt x="167" y="568"/>
                  </a:lnTo>
                  <a:lnTo>
                    <a:pt x="171" y="568"/>
                  </a:lnTo>
                  <a:lnTo>
                    <a:pt x="174" y="568"/>
                  </a:lnTo>
                  <a:lnTo>
                    <a:pt x="176" y="568"/>
                  </a:lnTo>
                  <a:lnTo>
                    <a:pt x="180" y="568"/>
                  </a:lnTo>
                  <a:lnTo>
                    <a:pt x="184" y="568"/>
                  </a:lnTo>
                  <a:lnTo>
                    <a:pt x="188" y="568"/>
                  </a:lnTo>
                  <a:lnTo>
                    <a:pt x="188" y="566"/>
                  </a:lnTo>
                  <a:lnTo>
                    <a:pt x="192" y="566"/>
                  </a:lnTo>
                  <a:lnTo>
                    <a:pt x="192" y="564"/>
                  </a:lnTo>
                  <a:lnTo>
                    <a:pt x="194" y="564"/>
                  </a:lnTo>
                  <a:lnTo>
                    <a:pt x="194" y="558"/>
                  </a:lnTo>
                  <a:lnTo>
                    <a:pt x="195" y="556"/>
                  </a:lnTo>
                  <a:lnTo>
                    <a:pt x="195" y="552"/>
                  </a:lnTo>
                  <a:lnTo>
                    <a:pt x="197" y="550"/>
                  </a:lnTo>
                  <a:lnTo>
                    <a:pt x="199" y="550"/>
                  </a:lnTo>
                  <a:lnTo>
                    <a:pt x="201" y="548"/>
                  </a:lnTo>
                  <a:lnTo>
                    <a:pt x="201" y="547"/>
                  </a:lnTo>
                  <a:lnTo>
                    <a:pt x="203" y="545"/>
                  </a:lnTo>
                  <a:lnTo>
                    <a:pt x="205" y="545"/>
                  </a:lnTo>
                  <a:lnTo>
                    <a:pt x="205" y="541"/>
                  </a:lnTo>
                  <a:lnTo>
                    <a:pt x="207" y="539"/>
                  </a:lnTo>
                  <a:lnTo>
                    <a:pt x="211" y="539"/>
                  </a:lnTo>
                  <a:lnTo>
                    <a:pt x="213" y="535"/>
                  </a:lnTo>
                  <a:lnTo>
                    <a:pt x="215" y="531"/>
                  </a:lnTo>
                  <a:lnTo>
                    <a:pt x="217" y="529"/>
                  </a:lnTo>
                  <a:lnTo>
                    <a:pt x="217" y="527"/>
                  </a:lnTo>
                  <a:lnTo>
                    <a:pt x="222" y="522"/>
                  </a:lnTo>
                  <a:lnTo>
                    <a:pt x="226" y="522"/>
                  </a:lnTo>
                  <a:lnTo>
                    <a:pt x="230" y="522"/>
                  </a:lnTo>
                  <a:lnTo>
                    <a:pt x="234" y="522"/>
                  </a:lnTo>
                  <a:lnTo>
                    <a:pt x="238" y="522"/>
                  </a:lnTo>
                  <a:lnTo>
                    <a:pt x="242" y="522"/>
                  </a:lnTo>
                  <a:lnTo>
                    <a:pt x="243" y="522"/>
                  </a:lnTo>
                  <a:lnTo>
                    <a:pt x="245" y="523"/>
                  </a:lnTo>
                  <a:lnTo>
                    <a:pt x="249" y="523"/>
                  </a:lnTo>
                  <a:lnTo>
                    <a:pt x="253" y="522"/>
                  </a:lnTo>
                  <a:lnTo>
                    <a:pt x="255" y="522"/>
                  </a:lnTo>
                  <a:lnTo>
                    <a:pt x="259" y="520"/>
                  </a:lnTo>
                  <a:lnTo>
                    <a:pt x="261" y="518"/>
                  </a:lnTo>
                  <a:lnTo>
                    <a:pt x="261" y="514"/>
                  </a:lnTo>
                  <a:lnTo>
                    <a:pt x="265" y="510"/>
                  </a:lnTo>
                  <a:lnTo>
                    <a:pt x="265" y="508"/>
                  </a:lnTo>
                  <a:lnTo>
                    <a:pt x="266" y="506"/>
                  </a:lnTo>
                  <a:lnTo>
                    <a:pt x="268" y="504"/>
                  </a:lnTo>
                  <a:lnTo>
                    <a:pt x="270" y="502"/>
                  </a:lnTo>
                  <a:lnTo>
                    <a:pt x="272" y="502"/>
                  </a:lnTo>
                  <a:lnTo>
                    <a:pt x="274" y="500"/>
                  </a:lnTo>
                  <a:lnTo>
                    <a:pt x="276" y="499"/>
                  </a:lnTo>
                  <a:lnTo>
                    <a:pt x="276" y="495"/>
                  </a:lnTo>
                  <a:lnTo>
                    <a:pt x="278" y="495"/>
                  </a:lnTo>
                  <a:lnTo>
                    <a:pt x="280" y="493"/>
                  </a:lnTo>
                  <a:lnTo>
                    <a:pt x="282" y="491"/>
                  </a:lnTo>
                  <a:lnTo>
                    <a:pt x="286" y="489"/>
                  </a:lnTo>
                  <a:lnTo>
                    <a:pt x="288" y="485"/>
                  </a:lnTo>
                  <a:lnTo>
                    <a:pt x="291" y="481"/>
                  </a:lnTo>
                  <a:lnTo>
                    <a:pt x="293" y="479"/>
                  </a:lnTo>
                  <a:lnTo>
                    <a:pt x="297" y="477"/>
                  </a:lnTo>
                  <a:lnTo>
                    <a:pt x="299" y="476"/>
                  </a:lnTo>
                  <a:lnTo>
                    <a:pt x="299" y="474"/>
                  </a:lnTo>
                  <a:lnTo>
                    <a:pt x="303" y="474"/>
                  </a:lnTo>
                  <a:lnTo>
                    <a:pt x="305" y="472"/>
                  </a:lnTo>
                  <a:lnTo>
                    <a:pt x="307" y="470"/>
                  </a:lnTo>
                  <a:lnTo>
                    <a:pt x="307" y="468"/>
                  </a:lnTo>
                  <a:lnTo>
                    <a:pt x="309" y="466"/>
                  </a:lnTo>
                  <a:lnTo>
                    <a:pt x="309" y="464"/>
                  </a:lnTo>
                  <a:lnTo>
                    <a:pt x="311" y="462"/>
                  </a:lnTo>
                  <a:lnTo>
                    <a:pt x="312" y="460"/>
                  </a:lnTo>
                  <a:lnTo>
                    <a:pt x="314" y="458"/>
                  </a:lnTo>
                  <a:lnTo>
                    <a:pt x="316" y="454"/>
                  </a:lnTo>
                  <a:lnTo>
                    <a:pt x="318" y="452"/>
                  </a:lnTo>
                  <a:lnTo>
                    <a:pt x="322" y="452"/>
                  </a:lnTo>
                  <a:lnTo>
                    <a:pt x="326" y="452"/>
                  </a:lnTo>
                  <a:lnTo>
                    <a:pt x="328" y="451"/>
                  </a:lnTo>
                  <a:lnTo>
                    <a:pt x="332" y="451"/>
                  </a:lnTo>
                  <a:lnTo>
                    <a:pt x="334" y="451"/>
                  </a:lnTo>
                  <a:lnTo>
                    <a:pt x="336" y="451"/>
                  </a:lnTo>
                  <a:lnTo>
                    <a:pt x="339" y="451"/>
                  </a:lnTo>
                  <a:lnTo>
                    <a:pt x="337" y="449"/>
                  </a:lnTo>
                  <a:lnTo>
                    <a:pt x="337" y="445"/>
                  </a:lnTo>
                  <a:lnTo>
                    <a:pt x="337" y="439"/>
                  </a:lnTo>
                  <a:lnTo>
                    <a:pt x="337" y="435"/>
                  </a:lnTo>
                  <a:lnTo>
                    <a:pt x="337" y="431"/>
                  </a:lnTo>
                  <a:lnTo>
                    <a:pt x="336" y="431"/>
                  </a:lnTo>
                  <a:lnTo>
                    <a:pt x="336" y="428"/>
                  </a:lnTo>
                  <a:lnTo>
                    <a:pt x="334" y="426"/>
                  </a:lnTo>
                  <a:lnTo>
                    <a:pt x="332" y="426"/>
                  </a:lnTo>
                  <a:lnTo>
                    <a:pt x="332" y="422"/>
                  </a:lnTo>
                  <a:lnTo>
                    <a:pt x="328" y="422"/>
                  </a:lnTo>
                  <a:lnTo>
                    <a:pt x="324" y="422"/>
                  </a:lnTo>
                  <a:lnTo>
                    <a:pt x="324" y="414"/>
                  </a:lnTo>
                  <a:lnTo>
                    <a:pt x="322" y="412"/>
                  </a:lnTo>
                  <a:lnTo>
                    <a:pt x="320" y="412"/>
                  </a:lnTo>
                  <a:lnTo>
                    <a:pt x="316" y="412"/>
                  </a:lnTo>
                  <a:lnTo>
                    <a:pt x="316" y="408"/>
                  </a:lnTo>
                  <a:lnTo>
                    <a:pt x="314" y="406"/>
                  </a:lnTo>
                  <a:lnTo>
                    <a:pt x="312" y="405"/>
                  </a:lnTo>
                  <a:lnTo>
                    <a:pt x="311" y="405"/>
                  </a:lnTo>
                  <a:lnTo>
                    <a:pt x="309" y="403"/>
                  </a:lnTo>
                  <a:lnTo>
                    <a:pt x="307" y="403"/>
                  </a:lnTo>
                  <a:lnTo>
                    <a:pt x="305" y="399"/>
                  </a:lnTo>
                  <a:lnTo>
                    <a:pt x="305" y="395"/>
                  </a:lnTo>
                  <a:lnTo>
                    <a:pt x="305" y="393"/>
                  </a:lnTo>
                  <a:lnTo>
                    <a:pt x="305" y="391"/>
                  </a:lnTo>
                  <a:lnTo>
                    <a:pt x="307" y="389"/>
                  </a:lnTo>
                  <a:lnTo>
                    <a:pt x="307" y="385"/>
                  </a:lnTo>
                  <a:lnTo>
                    <a:pt x="307" y="383"/>
                  </a:lnTo>
                  <a:lnTo>
                    <a:pt x="311" y="381"/>
                  </a:lnTo>
                  <a:lnTo>
                    <a:pt x="311" y="378"/>
                  </a:lnTo>
                  <a:lnTo>
                    <a:pt x="312" y="376"/>
                  </a:lnTo>
                  <a:lnTo>
                    <a:pt x="312" y="372"/>
                  </a:lnTo>
                  <a:lnTo>
                    <a:pt x="312" y="370"/>
                  </a:lnTo>
                  <a:lnTo>
                    <a:pt x="312" y="366"/>
                  </a:lnTo>
                  <a:lnTo>
                    <a:pt x="312" y="364"/>
                  </a:lnTo>
                  <a:lnTo>
                    <a:pt x="312" y="362"/>
                  </a:lnTo>
                  <a:lnTo>
                    <a:pt x="316" y="362"/>
                  </a:lnTo>
                  <a:lnTo>
                    <a:pt x="318" y="360"/>
                  </a:lnTo>
                  <a:lnTo>
                    <a:pt x="320" y="357"/>
                  </a:lnTo>
                  <a:lnTo>
                    <a:pt x="320" y="353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49"/>
                  </a:lnTo>
                  <a:lnTo>
                    <a:pt x="326" y="347"/>
                  </a:lnTo>
                  <a:lnTo>
                    <a:pt x="328" y="343"/>
                  </a:lnTo>
                  <a:lnTo>
                    <a:pt x="328" y="339"/>
                  </a:lnTo>
                  <a:lnTo>
                    <a:pt x="328" y="335"/>
                  </a:lnTo>
                  <a:lnTo>
                    <a:pt x="328" y="334"/>
                  </a:lnTo>
                  <a:lnTo>
                    <a:pt x="328" y="330"/>
                  </a:lnTo>
                  <a:lnTo>
                    <a:pt x="328" y="326"/>
                  </a:lnTo>
                  <a:lnTo>
                    <a:pt x="328" y="322"/>
                  </a:lnTo>
                  <a:lnTo>
                    <a:pt x="328" y="318"/>
                  </a:lnTo>
                  <a:lnTo>
                    <a:pt x="328" y="316"/>
                  </a:lnTo>
                  <a:lnTo>
                    <a:pt x="328" y="312"/>
                  </a:lnTo>
                  <a:lnTo>
                    <a:pt x="332" y="312"/>
                  </a:lnTo>
                  <a:lnTo>
                    <a:pt x="334" y="310"/>
                  </a:lnTo>
                  <a:lnTo>
                    <a:pt x="334" y="309"/>
                  </a:lnTo>
                  <a:lnTo>
                    <a:pt x="337" y="309"/>
                  </a:lnTo>
                  <a:lnTo>
                    <a:pt x="339" y="305"/>
                  </a:lnTo>
                  <a:lnTo>
                    <a:pt x="339" y="303"/>
                  </a:lnTo>
                  <a:lnTo>
                    <a:pt x="341" y="301"/>
                  </a:lnTo>
                  <a:lnTo>
                    <a:pt x="343" y="299"/>
                  </a:lnTo>
                  <a:lnTo>
                    <a:pt x="347" y="297"/>
                  </a:lnTo>
                  <a:lnTo>
                    <a:pt x="349" y="293"/>
                  </a:lnTo>
                  <a:lnTo>
                    <a:pt x="351" y="291"/>
                  </a:lnTo>
                  <a:lnTo>
                    <a:pt x="351" y="287"/>
                  </a:lnTo>
                  <a:lnTo>
                    <a:pt x="351" y="286"/>
                  </a:lnTo>
                  <a:lnTo>
                    <a:pt x="351" y="282"/>
                  </a:lnTo>
                  <a:lnTo>
                    <a:pt x="355" y="282"/>
                  </a:lnTo>
                  <a:lnTo>
                    <a:pt x="359" y="282"/>
                  </a:lnTo>
                  <a:lnTo>
                    <a:pt x="362" y="282"/>
                  </a:lnTo>
                  <a:lnTo>
                    <a:pt x="366" y="282"/>
                  </a:lnTo>
                  <a:lnTo>
                    <a:pt x="370" y="280"/>
                  </a:lnTo>
                  <a:lnTo>
                    <a:pt x="372" y="280"/>
                  </a:lnTo>
                  <a:lnTo>
                    <a:pt x="374" y="280"/>
                  </a:lnTo>
                  <a:lnTo>
                    <a:pt x="376" y="282"/>
                  </a:lnTo>
                  <a:lnTo>
                    <a:pt x="380" y="282"/>
                  </a:lnTo>
                  <a:lnTo>
                    <a:pt x="382" y="284"/>
                  </a:lnTo>
                  <a:lnTo>
                    <a:pt x="383" y="284"/>
                  </a:lnTo>
                  <a:lnTo>
                    <a:pt x="383" y="286"/>
                  </a:lnTo>
                  <a:lnTo>
                    <a:pt x="387" y="286"/>
                  </a:lnTo>
                  <a:lnTo>
                    <a:pt x="383" y="284"/>
                  </a:lnTo>
                  <a:lnTo>
                    <a:pt x="383" y="282"/>
                  </a:lnTo>
                  <a:lnTo>
                    <a:pt x="383" y="278"/>
                  </a:lnTo>
                  <a:lnTo>
                    <a:pt x="382" y="276"/>
                  </a:lnTo>
                  <a:lnTo>
                    <a:pt x="382" y="274"/>
                  </a:lnTo>
                  <a:lnTo>
                    <a:pt x="382" y="270"/>
                  </a:lnTo>
                  <a:lnTo>
                    <a:pt x="382" y="266"/>
                  </a:lnTo>
                  <a:lnTo>
                    <a:pt x="382" y="263"/>
                  </a:lnTo>
                  <a:lnTo>
                    <a:pt x="382" y="259"/>
                  </a:lnTo>
                  <a:lnTo>
                    <a:pt x="382" y="255"/>
                  </a:lnTo>
                  <a:lnTo>
                    <a:pt x="382" y="253"/>
                  </a:lnTo>
                  <a:lnTo>
                    <a:pt x="382" y="249"/>
                  </a:lnTo>
                  <a:lnTo>
                    <a:pt x="382" y="245"/>
                  </a:lnTo>
                  <a:lnTo>
                    <a:pt x="382" y="243"/>
                  </a:lnTo>
                  <a:lnTo>
                    <a:pt x="383" y="241"/>
                  </a:lnTo>
                  <a:lnTo>
                    <a:pt x="383" y="238"/>
                  </a:lnTo>
                  <a:lnTo>
                    <a:pt x="382" y="236"/>
                  </a:lnTo>
                  <a:lnTo>
                    <a:pt x="382" y="232"/>
                  </a:lnTo>
                  <a:lnTo>
                    <a:pt x="380" y="230"/>
                  </a:lnTo>
                  <a:lnTo>
                    <a:pt x="380" y="226"/>
                  </a:lnTo>
                  <a:lnTo>
                    <a:pt x="380" y="222"/>
                  </a:lnTo>
                  <a:lnTo>
                    <a:pt x="380" y="218"/>
                  </a:lnTo>
                  <a:lnTo>
                    <a:pt x="380" y="215"/>
                  </a:lnTo>
                  <a:lnTo>
                    <a:pt x="380" y="213"/>
                  </a:lnTo>
                  <a:lnTo>
                    <a:pt x="380" y="209"/>
                  </a:lnTo>
                  <a:lnTo>
                    <a:pt x="382" y="205"/>
                  </a:lnTo>
                  <a:lnTo>
                    <a:pt x="382" y="201"/>
                  </a:lnTo>
                  <a:lnTo>
                    <a:pt x="382" y="197"/>
                  </a:lnTo>
                  <a:lnTo>
                    <a:pt x="382" y="195"/>
                  </a:lnTo>
                  <a:lnTo>
                    <a:pt x="382" y="192"/>
                  </a:lnTo>
                  <a:lnTo>
                    <a:pt x="382" y="188"/>
                  </a:lnTo>
                  <a:lnTo>
                    <a:pt x="382" y="184"/>
                  </a:lnTo>
                  <a:lnTo>
                    <a:pt x="382" y="180"/>
                  </a:lnTo>
                  <a:lnTo>
                    <a:pt x="383" y="176"/>
                  </a:lnTo>
                  <a:lnTo>
                    <a:pt x="383" y="174"/>
                  </a:lnTo>
                  <a:lnTo>
                    <a:pt x="383" y="170"/>
                  </a:lnTo>
                  <a:lnTo>
                    <a:pt x="383" y="167"/>
                  </a:lnTo>
                  <a:lnTo>
                    <a:pt x="383" y="163"/>
                  </a:lnTo>
                  <a:lnTo>
                    <a:pt x="383" y="159"/>
                  </a:lnTo>
                  <a:lnTo>
                    <a:pt x="383" y="157"/>
                  </a:lnTo>
                  <a:lnTo>
                    <a:pt x="383" y="153"/>
                  </a:lnTo>
                  <a:lnTo>
                    <a:pt x="383" y="149"/>
                  </a:lnTo>
                  <a:lnTo>
                    <a:pt x="382" y="1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8" name="Freeform 54"/>
            <p:cNvSpPr>
              <a:spLocks/>
            </p:cNvSpPr>
            <p:nvPr/>
          </p:nvSpPr>
          <p:spPr bwMode="auto">
            <a:xfrm>
              <a:off x="1661" y="1465"/>
              <a:ext cx="387" cy="577"/>
            </a:xfrm>
            <a:custGeom>
              <a:avLst/>
              <a:gdLst/>
              <a:ahLst/>
              <a:cxnLst>
                <a:cxn ang="0">
                  <a:pos x="359" y="136"/>
                </a:cxn>
                <a:cxn ang="0">
                  <a:pos x="339" y="119"/>
                </a:cxn>
                <a:cxn ang="0">
                  <a:pos x="314" y="105"/>
                </a:cxn>
                <a:cxn ang="0">
                  <a:pos x="282" y="90"/>
                </a:cxn>
                <a:cxn ang="0">
                  <a:pos x="253" y="71"/>
                </a:cxn>
                <a:cxn ang="0">
                  <a:pos x="218" y="53"/>
                </a:cxn>
                <a:cxn ang="0">
                  <a:pos x="186" y="40"/>
                </a:cxn>
                <a:cxn ang="0">
                  <a:pos x="171" y="28"/>
                </a:cxn>
                <a:cxn ang="0">
                  <a:pos x="149" y="11"/>
                </a:cxn>
                <a:cxn ang="0">
                  <a:pos x="115" y="3"/>
                </a:cxn>
                <a:cxn ang="0">
                  <a:pos x="88" y="7"/>
                </a:cxn>
                <a:cxn ang="0">
                  <a:pos x="57" y="21"/>
                </a:cxn>
                <a:cxn ang="0">
                  <a:pos x="61" y="50"/>
                </a:cxn>
                <a:cxn ang="0">
                  <a:pos x="80" y="78"/>
                </a:cxn>
                <a:cxn ang="0">
                  <a:pos x="82" y="107"/>
                </a:cxn>
                <a:cxn ang="0">
                  <a:pos x="73" y="134"/>
                </a:cxn>
                <a:cxn ang="0">
                  <a:pos x="69" y="157"/>
                </a:cxn>
                <a:cxn ang="0">
                  <a:pos x="73" y="186"/>
                </a:cxn>
                <a:cxn ang="0">
                  <a:pos x="75" y="215"/>
                </a:cxn>
                <a:cxn ang="0">
                  <a:pos x="73" y="243"/>
                </a:cxn>
                <a:cxn ang="0">
                  <a:pos x="52" y="263"/>
                </a:cxn>
                <a:cxn ang="0">
                  <a:pos x="30" y="282"/>
                </a:cxn>
                <a:cxn ang="0">
                  <a:pos x="11" y="312"/>
                </a:cxn>
                <a:cxn ang="0">
                  <a:pos x="2" y="334"/>
                </a:cxn>
                <a:cxn ang="0">
                  <a:pos x="5" y="362"/>
                </a:cxn>
                <a:cxn ang="0">
                  <a:pos x="17" y="378"/>
                </a:cxn>
                <a:cxn ang="0">
                  <a:pos x="36" y="399"/>
                </a:cxn>
                <a:cxn ang="0">
                  <a:pos x="57" y="412"/>
                </a:cxn>
                <a:cxn ang="0">
                  <a:pos x="73" y="441"/>
                </a:cxn>
                <a:cxn ang="0">
                  <a:pos x="75" y="468"/>
                </a:cxn>
                <a:cxn ang="0">
                  <a:pos x="86" y="485"/>
                </a:cxn>
                <a:cxn ang="0">
                  <a:pos x="63" y="497"/>
                </a:cxn>
                <a:cxn ang="0">
                  <a:pos x="36" y="508"/>
                </a:cxn>
                <a:cxn ang="0">
                  <a:pos x="42" y="529"/>
                </a:cxn>
                <a:cxn ang="0">
                  <a:pos x="65" y="550"/>
                </a:cxn>
                <a:cxn ang="0">
                  <a:pos x="82" y="568"/>
                </a:cxn>
                <a:cxn ang="0">
                  <a:pos x="101" y="575"/>
                </a:cxn>
                <a:cxn ang="0">
                  <a:pos x="136" y="575"/>
                </a:cxn>
                <a:cxn ang="0">
                  <a:pos x="157" y="568"/>
                </a:cxn>
                <a:cxn ang="0">
                  <a:pos x="188" y="568"/>
                </a:cxn>
                <a:cxn ang="0">
                  <a:pos x="199" y="550"/>
                </a:cxn>
                <a:cxn ang="0">
                  <a:pos x="215" y="531"/>
                </a:cxn>
                <a:cxn ang="0">
                  <a:pos x="243" y="522"/>
                </a:cxn>
                <a:cxn ang="0">
                  <a:pos x="265" y="508"/>
                </a:cxn>
                <a:cxn ang="0">
                  <a:pos x="280" y="493"/>
                </a:cxn>
                <a:cxn ang="0">
                  <a:pos x="303" y="474"/>
                </a:cxn>
                <a:cxn ang="0">
                  <a:pos x="316" y="454"/>
                </a:cxn>
                <a:cxn ang="0">
                  <a:pos x="337" y="449"/>
                </a:cxn>
                <a:cxn ang="0">
                  <a:pos x="332" y="422"/>
                </a:cxn>
                <a:cxn ang="0">
                  <a:pos x="312" y="405"/>
                </a:cxn>
                <a:cxn ang="0">
                  <a:pos x="307" y="385"/>
                </a:cxn>
                <a:cxn ang="0">
                  <a:pos x="312" y="362"/>
                </a:cxn>
                <a:cxn ang="0">
                  <a:pos x="328" y="343"/>
                </a:cxn>
                <a:cxn ang="0">
                  <a:pos x="328" y="312"/>
                </a:cxn>
                <a:cxn ang="0">
                  <a:pos x="347" y="297"/>
                </a:cxn>
                <a:cxn ang="0">
                  <a:pos x="366" y="282"/>
                </a:cxn>
                <a:cxn ang="0">
                  <a:pos x="387" y="286"/>
                </a:cxn>
                <a:cxn ang="0">
                  <a:pos x="382" y="259"/>
                </a:cxn>
                <a:cxn ang="0">
                  <a:pos x="382" y="232"/>
                </a:cxn>
                <a:cxn ang="0">
                  <a:pos x="382" y="201"/>
                </a:cxn>
                <a:cxn ang="0">
                  <a:pos x="383" y="170"/>
                </a:cxn>
              </a:cxnLst>
              <a:rect l="0" t="0" r="r" b="b"/>
              <a:pathLst>
                <a:path w="387" h="577">
                  <a:moveTo>
                    <a:pt x="382" y="151"/>
                  </a:moveTo>
                  <a:lnTo>
                    <a:pt x="378" y="147"/>
                  </a:lnTo>
                  <a:lnTo>
                    <a:pt x="372" y="144"/>
                  </a:lnTo>
                  <a:lnTo>
                    <a:pt x="370" y="144"/>
                  </a:lnTo>
                  <a:lnTo>
                    <a:pt x="368" y="140"/>
                  </a:lnTo>
                  <a:lnTo>
                    <a:pt x="364" y="140"/>
                  </a:lnTo>
                  <a:lnTo>
                    <a:pt x="362" y="138"/>
                  </a:lnTo>
                  <a:lnTo>
                    <a:pt x="360" y="136"/>
                  </a:lnTo>
                  <a:lnTo>
                    <a:pt x="359" y="136"/>
                  </a:lnTo>
                  <a:lnTo>
                    <a:pt x="359" y="134"/>
                  </a:lnTo>
                  <a:lnTo>
                    <a:pt x="357" y="132"/>
                  </a:lnTo>
                  <a:lnTo>
                    <a:pt x="355" y="130"/>
                  </a:lnTo>
                  <a:lnTo>
                    <a:pt x="351" y="126"/>
                  </a:lnTo>
                  <a:lnTo>
                    <a:pt x="351" y="124"/>
                  </a:lnTo>
                  <a:lnTo>
                    <a:pt x="349" y="122"/>
                  </a:lnTo>
                  <a:lnTo>
                    <a:pt x="345" y="122"/>
                  </a:lnTo>
                  <a:lnTo>
                    <a:pt x="343" y="119"/>
                  </a:lnTo>
                  <a:lnTo>
                    <a:pt x="339" y="119"/>
                  </a:lnTo>
                  <a:lnTo>
                    <a:pt x="337" y="119"/>
                  </a:lnTo>
                  <a:lnTo>
                    <a:pt x="334" y="117"/>
                  </a:lnTo>
                  <a:lnTo>
                    <a:pt x="332" y="117"/>
                  </a:lnTo>
                  <a:lnTo>
                    <a:pt x="330" y="115"/>
                  </a:lnTo>
                  <a:lnTo>
                    <a:pt x="326" y="111"/>
                  </a:lnTo>
                  <a:lnTo>
                    <a:pt x="322" y="111"/>
                  </a:lnTo>
                  <a:lnTo>
                    <a:pt x="320" y="109"/>
                  </a:lnTo>
                  <a:lnTo>
                    <a:pt x="318" y="107"/>
                  </a:lnTo>
                  <a:lnTo>
                    <a:pt x="314" y="105"/>
                  </a:lnTo>
                  <a:lnTo>
                    <a:pt x="312" y="103"/>
                  </a:lnTo>
                  <a:lnTo>
                    <a:pt x="309" y="103"/>
                  </a:lnTo>
                  <a:lnTo>
                    <a:pt x="305" y="99"/>
                  </a:lnTo>
                  <a:lnTo>
                    <a:pt x="301" y="99"/>
                  </a:lnTo>
                  <a:lnTo>
                    <a:pt x="297" y="97"/>
                  </a:lnTo>
                  <a:lnTo>
                    <a:pt x="293" y="97"/>
                  </a:lnTo>
                  <a:lnTo>
                    <a:pt x="291" y="96"/>
                  </a:lnTo>
                  <a:lnTo>
                    <a:pt x="288" y="94"/>
                  </a:lnTo>
                  <a:lnTo>
                    <a:pt x="282" y="90"/>
                  </a:lnTo>
                  <a:lnTo>
                    <a:pt x="278" y="88"/>
                  </a:lnTo>
                  <a:lnTo>
                    <a:pt x="274" y="86"/>
                  </a:lnTo>
                  <a:lnTo>
                    <a:pt x="272" y="84"/>
                  </a:lnTo>
                  <a:lnTo>
                    <a:pt x="268" y="84"/>
                  </a:lnTo>
                  <a:lnTo>
                    <a:pt x="266" y="82"/>
                  </a:lnTo>
                  <a:lnTo>
                    <a:pt x="263" y="78"/>
                  </a:lnTo>
                  <a:lnTo>
                    <a:pt x="259" y="78"/>
                  </a:lnTo>
                  <a:lnTo>
                    <a:pt x="255" y="74"/>
                  </a:lnTo>
                  <a:lnTo>
                    <a:pt x="253" y="71"/>
                  </a:lnTo>
                  <a:lnTo>
                    <a:pt x="251" y="69"/>
                  </a:lnTo>
                  <a:lnTo>
                    <a:pt x="245" y="65"/>
                  </a:lnTo>
                  <a:lnTo>
                    <a:pt x="240" y="61"/>
                  </a:lnTo>
                  <a:lnTo>
                    <a:pt x="236" y="61"/>
                  </a:lnTo>
                  <a:lnTo>
                    <a:pt x="234" y="57"/>
                  </a:lnTo>
                  <a:lnTo>
                    <a:pt x="230" y="55"/>
                  </a:lnTo>
                  <a:lnTo>
                    <a:pt x="226" y="53"/>
                  </a:lnTo>
                  <a:lnTo>
                    <a:pt x="224" y="53"/>
                  </a:lnTo>
                  <a:lnTo>
                    <a:pt x="218" y="53"/>
                  </a:lnTo>
                  <a:lnTo>
                    <a:pt x="215" y="51"/>
                  </a:lnTo>
                  <a:lnTo>
                    <a:pt x="213" y="50"/>
                  </a:lnTo>
                  <a:lnTo>
                    <a:pt x="209" y="50"/>
                  </a:lnTo>
                  <a:lnTo>
                    <a:pt x="203" y="48"/>
                  </a:lnTo>
                  <a:lnTo>
                    <a:pt x="197" y="44"/>
                  </a:lnTo>
                  <a:lnTo>
                    <a:pt x="194" y="42"/>
                  </a:lnTo>
                  <a:lnTo>
                    <a:pt x="192" y="42"/>
                  </a:lnTo>
                  <a:lnTo>
                    <a:pt x="188" y="42"/>
                  </a:lnTo>
                  <a:lnTo>
                    <a:pt x="186" y="40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78" y="34"/>
                  </a:lnTo>
                  <a:lnTo>
                    <a:pt x="174" y="34"/>
                  </a:lnTo>
                  <a:lnTo>
                    <a:pt x="174" y="32"/>
                  </a:lnTo>
                  <a:lnTo>
                    <a:pt x="174" y="30"/>
                  </a:lnTo>
                  <a:lnTo>
                    <a:pt x="171" y="28"/>
                  </a:lnTo>
                  <a:lnTo>
                    <a:pt x="169" y="28"/>
                  </a:lnTo>
                  <a:lnTo>
                    <a:pt x="167" y="26"/>
                  </a:lnTo>
                  <a:lnTo>
                    <a:pt x="165" y="25"/>
                  </a:lnTo>
                  <a:lnTo>
                    <a:pt x="163" y="23"/>
                  </a:lnTo>
                  <a:lnTo>
                    <a:pt x="161" y="19"/>
                  </a:lnTo>
                  <a:lnTo>
                    <a:pt x="157" y="17"/>
                  </a:lnTo>
                  <a:lnTo>
                    <a:pt x="155" y="15"/>
                  </a:lnTo>
                  <a:lnTo>
                    <a:pt x="153" y="13"/>
                  </a:lnTo>
                  <a:lnTo>
                    <a:pt x="149" y="11"/>
                  </a:lnTo>
                  <a:lnTo>
                    <a:pt x="146" y="11"/>
                  </a:lnTo>
                  <a:lnTo>
                    <a:pt x="142" y="9"/>
                  </a:lnTo>
                  <a:lnTo>
                    <a:pt x="138" y="7"/>
                  </a:lnTo>
                  <a:lnTo>
                    <a:pt x="128" y="7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19" y="5"/>
                  </a:lnTo>
                  <a:lnTo>
                    <a:pt x="119" y="3"/>
                  </a:lnTo>
                  <a:lnTo>
                    <a:pt x="115" y="3"/>
                  </a:lnTo>
                  <a:lnTo>
                    <a:pt x="115" y="2"/>
                  </a:lnTo>
                  <a:lnTo>
                    <a:pt x="113" y="2"/>
                  </a:lnTo>
                  <a:lnTo>
                    <a:pt x="111" y="0"/>
                  </a:lnTo>
                  <a:lnTo>
                    <a:pt x="105" y="0"/>
                  </a:lnTo>
                  <a:lnTo>
                    <a:pt x="101" y="0"/>
                  </a:lnTo>
                  <a:lnTo>
                    <a:pt x="96" y="2"/>
                  </a:lnTo>
                  <a:lnTo>
                    <a:pt x="94" y="3"/>
                  </a:lnTo>
                  <a:lnTo>
                    <a:pt x="92" y="5"/>
                  </a:lnTo>
                  <a:lnTo>
                    <a:pt x="88" y="7"/>
                  </a:lnTo>
                  <a:lnTo>
                    <a:pt x="84" y="11"/>
                  </a:lnTo>
                  <a:lnTo>
                    <a:pt x="80" y="13"/>
                  </a:lnTo>
                  <a:lnTo>
                    <a:pt x="76" y="15"/>
                  </a:lnTo>
                  <a:lnTo>
                    <a:pt x="75" y="15"/>
                  </a:lnTo>
                  <a:lnTo>
                    <a:pt x="71" y="19"/>
                  </a:lnTo>
                  <a:lnTo>
                    <a:pt x="67" y="19"/>
                  </a:lnTo>
                  <a:lnTo>
                    <a:pt x="63" y="19"/>
                  </a:lnTo>
                  <a:lnTo>
                    <a:pt x="61" y="21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1" y="28"/>
                  </a:lnTo>
                  <a:lnTo>
                    <a:pt x="61" y="32"/>
                  </a:lnTo>
                  <a:lnTo>
                    <a:pt x="61" y="36"/>
                  </a:lnTo>
                  <a:lnTo>
                    <a:pt x="61" y="38"/>
                  </a:lnTo>
                  <a:lnTo>
                    <a:pt x="61" y="42"/>
                  </a:lnTo>
                  <a:lnTo>
                    <a:pt x="61" y="46"/>
                  </a:lnTo>
                  <a:lnTo>
                    <a:pt x="61" y="50"/>
                  </a:lnTo>
                  <a:lnTo>
                    <a:pt x="61" y="53"/>
                  </a:lnTo>
                  <a:lnTo>
                    <a:pt x="63" y="57"/>
                  </a:lnTo>
                  <a:lnTo>
                    <a:pt x="63" y="59"/>
                  </a:lnTo>
                  <a:lnTo>
                    <a:pt x="63" y="61"/>
                  </a:lnTo>
                  <a:lnTo>
                    <a:pt x="67" y="67"/>
                  </a:lnTo>
                  <a:lnTo>
                    <a:pt x="69" y="71"/>
                  </a:lnTo>
                  <a:lnTo>
                    <a:pt x="75" y="74"/>
                  </a:lnTo>
                  <a:lnTo>
                    <a:pt x="76" y="76"/>
                  </a:lnTo>
                  <a:lnTo>
                    <a:pt x="80" y="78"/>
                  </a:lnTo>
                  <a:lnTo>
                    <a:pt x="80" y="84"/>
                  </a:lnTo>
                  <a:lnTo>
                    <a:pt x="82" y="86"/>
                  </a:lnTo>
                  <a:lnTo>
                    <a:pt x="82" y="90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97"/>
                  </a:lnTo>
                  <a:lnTo>
                    <a:pt x="84" y="101"/>
                  </a:lnTo>
                  <a:lnTo>
                    <a:pt x="82" y="105"/>
                  </a:lnTo>
                  <a:lnTo>
                    <a:pt x="82" y="107"/>
                  </a:lnTo>
                  <a:lnTo>
                    <a:pt x="82" y="111"/>
                  </a:lnTo>
                  <a:lnTo>
                    <a:pt x="84" y="115"/>
                  </a:lnTo>
                  <a:lnTo>
                    <a:pt x="84" y="117"/>
                  </a:lnTo>
                  <a:lnTo>
                    <a:pt x="84" y="119"/>
                  </a:lnTo>
                  <a:lnTo>
                    <a:pt x="82" y="122"/>
                  </a:lnTo>
                  <a:lnTo>
                    <a:pt x="78" y="126"/>
                  </a:lnTo>
                  <a:lnTo>
                    <a:pt x="75" y="130"/>
                  </a:lnTo>
                  <a:lnTo>
                    <a:pt x="73" y="132"/>
                  </a:lnTo>
                  <a:lnTo>
                    <a:pt x="73" y="134"/>
                  </a:lnTo>
                  <a:lnTo>
                    <a:pt x="69" y="136"/>
                  </a:lnTo>
                  <a:lnTo>
                    <a:pt x="67" y="136"/>
                  </a:lnTo>
                  <a:lnTo>
                    <a:pt x="67" y="140"/>
                  </a:lnTo>
                  <a:lnTo>
                    <a:pt x="67" y="144"/>
                  </a:lnTo>
                  <a:lnTo>
                    <a:pt x="67" y="147"/>
                  </a:lnTo>
                  <a:lnTo>
                    <a:pt x="67" y="151"/>
                  </a:lnTo>
                  <a:lnTo>
                    <a:pt x="69" y="153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71" y="159"/>
                  </a:lnTo>
                  <a:lnTo>
                    <a:pt x="71" y="163"/>
                  </a:lnTo>
                  <a:lnTo>
                    <a:pt x="71" y="167"/>
                  </a:lnTo>
                  <a:lnTo>
                    <a:pt x="71" y="170"/>
                  </a:lnTo>
                  <a:lnTo>
                    <a:pt x="73" y="172"/>
                  </a:lnTo>
                  <a:lnTo>
                    <a:pt x="73" y="176"/>
                  </a:lnTo>
                  <a:lnTo>
                    <a:pt x="73" y="178"/>
                  </a:lnTo>
                  <a:lnTo>
                    <a:pt x="73" y="182"/>
                  </a:lnTo>
                  <a:lnTo>
                    <a:pt x="73" y="186"/>
                  </a:lnTo>
                  <a:lnTo>
                    <a:pt x="73" y="188"/>
                  </a:lnTo>
                  <a:lnTo>
                    <a:pt x="75" y="190"/>
                  </a:lnTo>
                  <a:lnTo>
                    <a:pt x="75" y="193"/>
                  </a:lnTo>
                  <a:lnTo>
                    <a:pt x="75" y="195"/>
                  </a:lnTo>
                  <a:lnTo>
                    <a:pt x="75" y="197"/>
                  </a:lnTo>
                  <a:lnTo>
                    <a:pt x="75" y="201"/>
                  </a:lnTo>
                  <a:lnTo>
                    <a:pt x="75" y="205"/>
                  </a:lnTo>
                  <a:lnTo>
                    <a:pt x="75" y="211"/>
                  </a:lnTo>
                  <a:lnTo>
                    <a:pt x="75" y="215"/>
                  </a:lnTo>
                  <a:lnTo>
                    <a:pt x="75" y="218"/>
                  </a:lnTo>
                  <a:lnTo>
                    <a:pt x="75" y="222"/>
                  </a:lnTo>
                  <a:lnTo>
                    <a:pt x="75" y="226"/>
                  </a:lnTo>
                  <a:lnTo>
                    <a:pt x="75" y="230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5" y="238"/>
                  </a:lnTo>
                  <a:lnTo>
                    <a:pt x="75" y="239"/>
                  </a:lnTo>
                  <a:lnTo>
                    <a:pt x="73" y="243"/>
                  </a:lnTo>
                  <a:lnTo>
                    <a:pt x="69" y="245"/>
                  </a:lnTo>
                  <a:lnTo>
                    <a:pt x="69" y="249"/>
                  </a:lnTo>
                  <a:lnTo>
                    <a:pt x="65" y="251"/>
                  </a:lnTo>
                  <a:lnTo>
                    <a:pt x="65" y="253"/>
                  </a:lnTo>
                  <a:lnTo>
                    <a:pt x="63" y="255"/>
                  </a:lnTo>
                  <a:lnTo>
                    <a:pt x="61" y="255"/>
                  </a:lnTo>
                  <a:lnTo>
                    <a:pt x="57" y="257"/>
                  </a:lnTo>
                  <a:lnTo>
                    <a:pt x="55" y="259"/>
                  </a:lnTo>
                  <a:lnTo>
                    <a:pt x="52" y="263"/>
                  </a:lnTo>
                  <a:lnTo>
                    <a:pt x="50" y="263"/>
                  </a:lnTo>
                  <a:lnTo>
                    <a:pt x="48" y="264"/>
                  </a:lnTo>
                  <a:lnTo>
                    <a:pt x="44" y="268"/>
                  </a:lnTo>
                  <a:lnTo>
                    <a:pt x="42" y="272"/>
                  </a:lnTo>
                  <a:lnTo>
                    <a:pt x="38" y="274"/>
                  </a:lnTo>
                  <a:lnTo>
                    <a:pt x="36" y="276"/>
                  </a:lnTo>
                  <a:lnTo>
                    <a:pt x="36" y="278"/>
                  </a:lnTo>
                  <a:lnTo>
                    <a:pt x="34" y="280"/>
                  </a:lnTo>
                  <a:lnTo>
                    <a:pt x="30" y="282"/>
                  </a:lnTo>
                  <a:lnTo>
                    <a:pt x="27" y="286"/>
                  </a:lnTo>
                  <a:lnTo>
                    <a:pt x="25" y="289"/>
                  </a:lnTo>
                  <a:lnTo>
                    <a:pt x="23" y="291"/>
                  </a:lnTo>
                  <a:lnTo>
                    <a:pt x="21" y="295"/>
                  </a:lnTo>
                  <a:lnTo>
                    <a:pt x="17" y="299"/>
                  </a:lnTo>
                  <a:lnTo>
                    <a:pt x="17" y="303"/>
                  </a:lnTo>
                  <a:lnTo>
                    <a:pt x="17" y="305"/>
                  </a:lnTo>
                  <a:lnTo>
                    <a:pt x="13" y="309"/>
                  </a:lnTo>
                  <a:lnTo>
                    <a:pt x="11" y="312"/>
                  </a:lnTo>
                  <a:lnTo>
                    <a:pt x="9" y="314"/>
                  </a:lnTo>
                  <a:lnTo>
                    <a:pt x="7" y="318"/>
                  </a:lnTo>
                  <a:lnTo>
                    <a:pt x="7" y="322"/>
                  </a:lnTo>
                  <a:lnTo>
                    <a:pt x="5" y="324"/>
                  </a:lnTo>
                  <a:lnTo>
                    <a:pt x="5" y="326"/>
                  </a:lnTo>
                  <a:lnTo>
                    <a:pt x="4" y="326"/>
                  </a:lnTo>
                  <a:lnTo>
                    <a:pt x="4" y="330"/>
                  </a:lnTo>
                  <a:lnTo>
                    <a:pt x="2" y="330"/>
                  </a:lnTo>
                  <a:lnTo>
                    <a:pt x="2" y="334"/>
                  </a:lnTo>
                  <a:lnTo>
                    <a:pt x="0" y="335"/>
                  </a:lnTo>
                  <a:lnTo>
                    <a:pt x="0" y="339"/>
                  </a:lnTo>
                  <a:lnTo>
                    <a:pt x="0" y="343"/>
                  </a:lnTo>
                  <a:lnTo>
                    <a:pt x="0" y="347"/>
                  </a:lnTo>
                  <a:lnTo>
                    <a:pt x="0" y="351"/>
                  </a:lnTo>
                  <a:lnTo>
                    <a:pt x="0" y="353"/>
                  </a:lnTo>
                  <a:lnTo>
                    <a:pt x="2" y="357"/>
                  </a:lnTo>
                  <a:lnTo>
                    <a:pt x="4" y="360"/>
                  </a:lnTo>
                  <a:lnTo>
                    <a:pt x="5" y="362"/>
                  </a:lnTo>
                  <a:lnTo>
                    <a:pt x="5" y="366"/>
                  </a:lnTo>
                  <a:lnTo>
                    <a:pt x="5" y="368"/>
                  </a:lnTo>
                  <a:lnTo>
                    <a:pt x="5" y="372"/>
                  </a:lnTo>
                  <a:lnTo>
                    <a:pt x="7" y="372"/>
                  </a:lnTo>
                  <a:lnTo>
                    <a:pt x="7" y="376"/>
                  </a:lnTo>
                  <a:lnTo>
                    <a:pt x="11" y="376"/>
                  </a:lnTo>
                  <a:lnTo>
                    <a:pt x="13" y="376"/>
                  </a:lnTo>
                  <a:lnTo>
                    <a:pt x="17" y="376"/>
                  </a:lnTo>
                  <a:lnTo>
                    <a:pt x="17" y="378"/>
                  </a:lnTo>
                  <a:lnTo>
                    <a:pt x="19" y="378"/>
                  </a:lnTo>
                  <a:lnTo>
                    <a:pt x="21" y="381"/>
                  </a:lnTo>
                  <a:lnTo>
                    <a:pt x="25" y="381"/>
                  </a:lnTo>
                  <a:lnTo>
                    <a:pt x="27" y="383"/>
                  </a:lnTo>
                  <a:lnTo>
                    <a:pt x="32" y="389"/>
                  </a:lnTo>
                  <a:lnTo>
                    <a:pt x="36" y="391"/>
                  </a:lnTo>
                  <a:lnTo>
                    <a:pt x="36" y="395"/>
                  </a:lnTo>
                  <a:lnTo>
                    <a:pt x="36" y="397"/>
                  </a:lnTo>
                  <a:lnTo>
                    <a:pt x="36" y="399"/>
                  </a:lnTo>
                  <a:lnTo>
                    <a:pt x="38" y="401"/>
                  </a:lnTo>
                  <a:lnTo>
                    <a:pt x="38" y="403"/>
                  </a:lnTo>
                  <a:lnTo>
                    <a:pt x="40" y="405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50" y="406"/>
                  </a:lnTo>
                  <a:lnTo>
                    <a:pt x="52" y="410"/>
                  </a:lnTo>
                  <a:lnTo>
                    <a:pt x="55" y="412"/>
                  </a:lnTo>
                  <a:lnTo>
                    <a:pt x="57" y="412"/>
                  </a:lnTo>
                  <a:lnTo>
                    <a:pt x="59" y="412"/>
                  </a:lnTo>
                  <a:lnTo>
                    <a:pt x="61" y="414"/>
                  </a:lnTo>
                  <a:lnTo>
                    <a:pt x="67" y="420"/>
                  </a:lnTo>
                  <a:lnTo>
                    <a:pt x="73" y="426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5" y="435"/>
                  </a:lnTo>
                  <a:lnTo>
                    <a:pt x="75" y="439"/>
                  </a:lnTo>
                  <a:lnTo>
                    <a:pt x="73" y="441"/>
                  </a:lnTo>
                  <a:lnTo>
                    <a:pt x="73" y="445"/>
                  </a:lnTo>
                  <a:lnTo>
                    <a:pt x="73" y="449"/>
                  </a:lnTo>
                  <a:lnTo>
                    <a:pt x="73" y="451"/>
                  </a:lnTo>
                  <a:lnTo>
                    <a:pt x="73" y="454"/>
                  </a:lnTo>
                  <a:lnTo>
                    <a:pt x="73" y="458"/>
                  </a:lnTo>
                  <a:lnTo>
                    <a:pt x="73" y="460"/>
                  </a:lnTo>
                  <a:lnTo>
                    <a:pt x="73" y="462"/>
                  </a:lnTo>
                  <a:lnTo>
                    <a:pt x="75" y="466"/>
                  </a:lnTo>
                  <a:lnTo>
                    <a:pt x="75" y="468"/>
                  </a:lnTo>
                  <a:lnTo>
                    <a:pt x="75" y="470"/>
                  </a:lnTo>
                  <a:lnTo>
                    <a:pt x="76" y="472"/>
                  </a:lnTo>
                  <a:lnTo>
                    <a:pt x="76" y="474"/>
                  </a:lnTo>
                  <a:lnTo>
                    <a:pt x="78" y="477"/>
                  </a:lnTo>
                  <a:lnTo>
                    <a:pt x="78" y="479"/>
                  </a:lnTo>
                  <a:lnTo>
                    <a:pt x="82" y="481"/>
                  </a:lnTo>
                  <a:lnTo>
                    <a:pt x="82" y="483"/>
                  </a:lnTo>
                  <a:lnTo>
                    <a:pt x="84" y="485"/>
                  </a:lnTo>
                  <a:lnTo>
                    <a:pt x="86" y="485"/>
                  </a:lnTo>
                  <a:lnTo>
                    <a:pt x="88" y="487"/>
                  </a:lnTo>
                  <a:lnTo>
                    <a:pt x="88" y="491"/>
                  </a:lnTo>
                  <a:lnTo>
                    <a:pt x="84" y="493"/>
                  </a:lnTo>
                  <a:lnTo>
                    <a:pt x="82" y="497"/>
                  </a:lnTo>
                  <a:lnTo>
                    <a:pt x="78" y="497"/>
                  </a:lnTo>
                  <a:lnTo>
                    <a:pt x="75" y="497"/>
                  </a:lnTo>
                  <a:lnTo>
                    <a:pt x="73" y="497"/>
                  </a:lnTo>
                  <a:lnTo>
                    <a:pt x="67" y="497"/>
                  </a:lnTo>
                  <a:lnTo>
                    <a:pt x="63" y="497"/>
                  </a:lnTo>
                  <a:lnTo>
                    <a:pt x="57" y="499"/>
                  </a:lnTo>
                  <a:lnTo>
                    <a:pt x="53" y="499"/>
                  </a:lnTo>
                  <a:lnTo>
                    <a:pt x="48" y="499"/>
                  </a:lnTo>
                  <a:lnTo>
                    <a:pt x="44" y="499"/>
                  </a:lnTo>
                  <a:lnTo>
                    <a:pt x="40" y="497"/>
                  </a:lnTo>
                  <a:lnTo>
                    <a:pt x="38" y="499"/>
                  </a:lnTo>
                  <a:lnTo>
                    <a:pt x="38" y="500"/>
                  </a:lnTo>
                  <a:lnTo>
                    <a:pt x="36" y="502"/>
                  </a:lnTo>
                  <a:lnTo>
                    <a:pt x="36" y="508"/>
                  </a:lnTo>
                  <a:lnTo>
                    <a:pt x="34" y="510"/>
                  </a:lnTo>
                  <a:lnTo>
                    <a:pt x="34" y="512"/>
                  </a:lnTo>
                  <a:lnTo>
                    <a:pt x="34" y="516"/>
                  </a:lnTo>
                  <a:lnTo>
                    <a:pt x="32" y="520"/>
                  </a:lnTo>
                  <a:lnTo>
                    <a:pt x="32" y="523"/>
                  </a:lnTo>
                  <a:lnTo>
                    <a:pt x="34" y="525"/>
                  </a:lnTo>
                  <a:lnTo>
                    <a:pt x="36" y="525"/>
                  </a:lnTo>
                  <a:lnTo>
                    <a:pt x="40" y="527"/>
                  </a:lnTo>
                  <a:lnTo>
                    <a:pt x="42" y="529"/>
                  </a:lnTo>
                  <a:lnTo>
                    <a:pt x="48" y="529"/>
                  </a:lnTo>
                  <a:lnTo>
                    <a:pt x="52" y="531"/>
                  </a:lnTo>
                  <a:lnTo>
                    <a:pt x="53" y="537"/>
                  </a:lnTo>
                  <a:lnTo>
                    <a:pt x="55" y="543"/>
                  </a:lnTo>
                  <a:lnTo>
                    <a:pt x="59" y="543"/>
                  </a:lnTo>
                  <a:lnTo>
                    <a:pt x="59" y="547"/>
                  </a:lnTo>
                  <a:lnTo>
                    <a:pt x="61" y="548"/>
                  </a:lnTo>
                  <a:lnTo>
                    <a:pt x="63" y="548"/>
                  </a:lnTo>
                  <a:lnTo>
                    <a:pt x="65" y="550"/>
                  </a:lnTo>
                  <a:lnTo>
                    <a:pt x="67" y="552"/>
                  </a:lnTo>
                  <a:lnTo>
                    <a:pt x="69" y="554"/>
                  </a:lnTo>
                  <a:lnTo>
                    <a:pt x="73" y="556"/>
                  </a:lnTo>
                  <a:lnTo>
                    <a:pt x="75" y="556"/>
                  </a:lnTo>
                  <a:lnTo>
                    <a:pt x="76" y="558"/>
                  </a:lnTo>
                  <a:lnTo>
                    <a:pt x="80" y="560"/>
                  </a:lnTo>
                  <a:lnTo>
                    <a:pt x="80" y="562"/>
                  </a:lnTo>
                  <a:lnTo>
                    <a:pt x="80" y="566"/>
                  </a:lnTo>
                  <a:lnTo>
                    <a:pt x="82" y="568"/>
                  </a:lnTo>
                  <a:lnTo>
                    <a:pt x="82" y="570"/>
                  </a:lnTo>
                  <a:lnTo>
                    <a:pt x="84" y="571"/>
                  </a:lnTo>
                  <a:lnTo>
                    <a:pt x="84" y="573"/>
                  </a:lnTo>
                  <a:lnTo>
                    <a:pt x="86" y="575"/>
                  </a:lnTo>
                  <a:lnTo>
                    <a:pt x="88" y="577"/>
                  </a:lnTo>
                  <a:lnTo>
                    <a:pt x="92" y="575"/>
                  </a:lnTo>
                  <a:lnTo>
                    <a:pt x="96" y="575"/>
                  </a:lnTo>
                  <a:lnTo>
                    <a:pt x="98" y="575"/>
                  </a:lnTo>
                  <a:lnTo>
                    <a:pt x="101" y="575"/>
                  </a:lnTo>
                  <a:lnTo>
                    <a:pt x="105" y="575"/>
                  </a:lnTo>
                  <a:lnTo>
                    <a:pt x="109" y="575"/>
                  </a:lnTo>
                  <a:lnTo>
                    <a:pt x="115" y="575"/>
                  </a:lnTo>
                  <a:lnTo>
                    <a:pt x="119" y="575"/>
                  </a:lnTo>
                  <a:lnTo>
                    <a:pt x="123" y="575"/>
                  </a:lnTo>
                  <a:lnTo>
                    <a:pt x="126" y="575"/>
                  </a:lnTo>
                  <a:lnTo>
                    <a:pt x="130" y="575"/>
                  </a:lnTo>
                  <a:lnTo>
                    <a:pt x="134" y="575"/>
                  </a:lnTo>
                  <a:lnTo>
                    <a:pt x="136" y="575"/>
                  </a:lnTo>
                  <a:lnTo>
                    <a:pt x="138" y="575"/>
                  </a:lnTo>
                  <a:lnTo>
                    <a:pt x="140" y="573"/>
                  </a:lnTo>
                  <a:lnTo>
                    <a:pt x="144" y="573"/>
                  </a:lnTo>
                  <a:lnTo>
                    <a:pt x="147" y="573"/>
                  </a:lnTo>
                  <a:lnTo>
                    <a:pt x="151" y="571"/>
                  </a:lnTo>
                  <a:lnTo>
                    <a:pt x="151" y="571"/>
                  </a:lnTo>
                  <a:lnTo>
                    <a:pt x="155" y="570"/>
                  </a:lnTo>
                  <a:lnTo>
                    <a:pt x="155" y="570"/>
                  </a:lnTo>
                  <a:lnTo>
                    <a:pt x="157" y="568"/>
                  </a:lnTo>
                  <a:lnTo>
                    <a:pt x="159" y="568"/>
                  </a:lnTo>
                  <a:lnTo>
                    <a:pt x="163" y="568"/>
                  </a:lnTo>
                  <a:lnTo>
                    <a:pt x="167" y="568"/>
                  </a:lnTo>
                  <a:lnTo>
                    <a:pt x="171" y="568"/>
                  </a:lnTo>
                  <a:lnTo>
                    <a:pt x="174" y="568"/>
                  </a:lnTo>
                  <a:lnTo>
                    <a:pt x="176" y="568"/>
                  </a:lnTo>
                  <a:lnTo>
                    <a:pt x="180" y="568"/>
                  </a:lnTo>
                  <a:lnTo>
                    <a:pt x="184" y="568"/>
                  </a:lnTo>
                  <a:lnTo>
                    <a:pt x="188" y="568"/>
                  </a:lnTo>
                  <a:lnTo>
                    <a:pt x="188" y="566"/>
                  </a:lnTo>
                  <a:lnTo>
                    <a:pt x="192" y="566"/>
                  </a:lnTo>
                  <a:lnTo>
                    <a:pt x="192" y="564"/>
                  </a:lnTo>
                  <a:lnTo>
                    <a:pt x="194" y="564"/>
                  </a:lnTo>
                  <a:lnTo>
                    <a:pt x="194" y="558"/>
                  </a:lnTo>
                  <a:lnTo>
                    <a:pt x="195" y="556"/>
                  </a:lnTo>
                  <a:lnTo>
                    <a:pt x="195" y="552"/>
                  </a:lnTo>
                  <a:lnTo>
                    <a:pt x="197" y="550"/>
                  </a:lnTo>
                  <a:lnTo>
                    <a:pt x="199" y="550"/>
                  </a:lnTo>
                  <a:lnTo>
                    <a:pt x="201" y="548"/>
                  </a:lnTo>
                  <a:lnTo>
                    <a:pt x="201" y="547"/>
                  </a:lnTo>
                  <a:lnTo>
                    <a:pt x="203" y="545"/>
                  </a:lnTo>
                  <a:lnTo>
                    <a:pt x="205" y="545"/>
                  </a:lnTo>
                  <a:lnTo>
                    <a:pt x="205" y="541"/>
                  </a:lnTo>
                  <a:lnTo>
                    <a:pt x="207" y="539"/>
                  </a:lnTo>
                  <a:lnTo>
                    <a:pt x="211" y="539"/>
                  </a:lnTo>
                  <a:lnTo>
                    <a:pt x="213" y="535"/>
                  </a:lnTo>
                  <a:lnTo>
                    <a:pt x="215" y="531"/>
                  </a:lnTo>
                  <a:lnTo>
                    <a:pt x="217" y="529"/>
                  </a:lnTo>
                  <a:lnTo>
                    <a:pt x="217" y="527"/>
                  </a:lnTo>
                  <a:lnTo>
                    <a:pt x="222" y="522"/>
                  </a:lnTo>
                  <a:lnTo>
                    <a:pt x="226" y="522"/>
                  </a:lnTo>
                  <a:lnTo>
                    <a:pt x="230" y="522"/>
                  </a:lnTo>
                  <a:lnTo>
                    <a:pt x="234" y="522"/>
                  </a:lnTo>
                  <a:lnTo>
                    <a:pt x="238" y="522"/>
                  </a:lnTo>
                  <a:lnTo>
                    <a:pt x="242" y="522"/>
                  </a:lnTo>
                  <a:lnTo>
                    <a:pt x="243" y="522"/>
                  </a:lnTo>
                  <a:lnTo>
                    <a:pt x="245" y="523"/>
                  </a:lnTo>
                  <a:lnTo>
                    <a:pt x="249" y="523"/>
                  </a:lnTo>
                  <a:lnTo>
                    <a:pt x="253" y="522"/>
                  </a:lnTo>
                  <a:lnTo>
                    <a:pt x="255" y="522"/>
                  </a:lnTo>
                  <a:lnTo>
                    <a:pt x="259" y="520"/>
                  </a:lnTo>
                  <a:lnTo>
                    <a:pt x="261" y="518"/>
                  </a:lnTo>
                  <a:lnTo>
                    <a:pt x="261" y="514"/>
                  </a:lnTo>
                  <a:lnTo>
                    <a:pt x="265" y="510"/>
                  </a:lnTo>
                  <a:lnTo>
                    <a:pt x="265" y="508"/>
                  </a:lnTo>
                  <a:lnTo>
                    <a:pt x="266" y="506"/>
                  </a:lnTo>
                  <a:lnTo>
                    <a:pt x="268" y="504"/>
                  </a:lnTo>
                  <a:lnTo>
                    <a:pt x="270" y="502"/>
                  </a:lnTo>
                  <a:lnTo>
                    <a:pt x="272" y="502"/>
                  </a:lnTo>
                  <a:lnTo>
                    <a:pt x="274" y="500"/>
                  </a:lnTo>
                  <a:lnTo>
                    <a:pt x="276" y="499"/>
                  </a:lnTo>
                  <a:lnTo>
                    <a:pt x="276" y="495"/>
                  </a:lnTo>
                  <a:lnTo>
                    <a:pt x="278" y="495"/>
                  </a:lnTo>
                  <a:lnTo>
                    <a:pt x="280" y="493"/>
                  </a:lnTo>
                  <a:lnTo>
                    <a:pt x="282" y="491"/>
                  </a:lnTo>
                  <a:lnTo>
                    <a:pt x="286" y="489"/>
                  </a:lnTo>
                  <a:lnTo>
                    <a:pt x="288" y="485"/>
                  </a:lnTo>
                  <a:lnTo>
                    <a:pt x="291" y="481"/>
                  </a:lnTo>
                  <a:lnTo>
                    <a:pt x="293" y="479"/>
                  </a:lnTo>
                  <a:lnTo>
                    <a:pt x="297" y="477"/>
                  </a:lnTo>
                  <a:lnTo>
                    <a:pt x="299" y="476"/>
                  </a:lnTo>
                  <a:lnTo>
                    <a:pt x="299" y="474"/>
                  </a:lnTo>
                  <a:lnTo>
                    <a:pt x="303" y="474"/>
                  </a:lnTo>
                  <a:lnTo>
                    <a:pt x="305" y="472"/>
                  </a:lnTo>
                  <a:lnTo>
                    <a:pt x="307" y="470"/>
                  </a:lnTo>
                  <a:lnTo>
                    <a:pt x="307" y="468"/>
                  </a:lnTo>
                  <a:lnTo>
                    <a:pt x="309" y="466"/>
                  </a:lnTo>
                  <a:lnTo>
                    <a:pt x="309" y="464"/>
                  </a:lnTo>
                  <a:lnTo>
                    <a:pt x="311" y="462"/>
                  </a:lnTo>
                  <a:lnTo>
                    <a:pt x="312" y="460"/>
                  </a:lnTo>
                  <a:lnTo>
                    <a:pt x="314" y="458"/>
                  </a:lnTo>
                  <a:lnTo>
                    <a:pt x="316" y="454"/>
                  </a:lnTo>
                  <a:lnTo>
                    <a:pt x="318" y="452"/>
                  </a:lnTo>
                  <a:lnTo>
                    <a:pt x="322" y="452"/>
                  </a:lnTo>
                  <a:lnTo>
                    <a:pt x="326" y="452"/>
                  </a:lnTo>
                  <a:lnTo>
                    <a:pt x="328" y="451"/>
                  </a:lnTo>
                  <a:lnTo>
                    <a:pt x="332" y="451"/>
                  </a:lnTo>
                  <a:lnTo>
                    <a:pt x="334" y="451"/>
                  </a:lnTo>
                  <a:lnTo>
                    <a:pt x="336" y="451"/>
                  </a:lnTo>
                  <a:lnTo>
                    <a:pt x="339" y="451"/>
                  </a:lnTo>
                  <a:lnTo>
                    <a:pt x="337" y="449"/>
                  </a:lnTo>
                  <a:lnTo>
                    <a:pt x="337" y="445"/>
                  </a:lnTo>
                  <a:lnTo>
                    <a:pt x="337" y="439"/>
                  </a:lnTo>
                  <a:lnTo>
                    <a:pt x="337" y="435"/>
                  </a:lnTo>
                  <a:lnTo>
                    <a:pt x="337" y="431"/>
                  </a:lnTo>
                  <a:lnTo>
                    <a:pt x="336" y="431"/>
                  </a:lnTo>
                  <a:lnTo>
                    <a:pt x="336" y="428"/>
                  </a:lnTo>
                  <a:lnTo>
                    <a:pt x="334" y="426"/>
                  </a:lnTo>
                  <a:lnTo>
                    <a:pt x="332" y="426"/>
                  </a:lnTo>
                  <a:lnTo>
                    <a:pt x="332" y="422"/>
                  </a:lnTo>
                  <a:lnTo>
                    <a:pt x="328" y="422"/>
                  </a:lnTo>
                  <a:lnTo>
                    <a:pt x="324" y="422"/>
                  </a:lnTo>
                  <a:lnTo>
                    <a:pt x="324" y="414"/>
                  </a:lnTo>
                  <a:lnTo>
                    <a:pt x="322" y="412"/>
                  </a:lnTo>
                  <a:lnTo>
                    <a:pt x="320" y="412"/>
                  </a:lnTo>
                  <a:lnTo>
                    <a:pt x="316" y="412"/>
                  </a:lnTo>
                  <a:lnTo>
                    <a:pt x="316" y="408"/>
                  </a:lnTo>
                  <a:lnTo>
                    <a:pt x="314" y="406"/>
                  </a:lnTo>
                  <a:lnTo>
                    <a:pt x="312" y="405"/>
                  </a:lnTo>
                  <a:lnTo>
                    <a:pt x="311" y="405"/>
                  </a:lnTo>
                  <a:lnTo>
                    <a:pt x="309" y="403"/>
                  </a:lnTo>
                  <a:lnTo>
                    <a:pt x="307" y="403"/>
                  </a:lnTo>
                  <a:lnTo>
                    <a:pt x="305" y="399"/>
                  </a:lnTo>
                  <a:lnTo>
                    <a:pt x="305" y="395"/>
                  </a:lnTo>
                  <a:lnTo>
                    <a:pt x="305" y="393"/>
                  </a:lnTo>
                  <a:lnTo>
                    <a:pt x="305" y="391"/>
                  </a:lnTo>
                  <a:lnTo>
                    <a:pt x="307" y="389"/>
                  </a:lnTo>
                  <a:lnTo>
                    <a:pt x="307" y="385"/>
                  </a:lnTo>
                  <a:lnTo>
                    <a:pt x="307" y="383"/>
                  </a:lnTo>
                  <a:lnTo>
                    <a:pt x="311" y="381"/>
                  </a:lnTo>
                  <a:lnTo>
                    <a:pt x="311" y="378"/>
                  </a:lnTo>
                  <a:lnTo>
                    <a:pt x="312" y="376"/>
                  </a:lnTo>
                  <a:lnTo>
                    <a:pt x="312" y="372"/>
                  </a:lnTo>
                  <a:lnTo>
                    <a:pt x="312" y="370"/>
                  </a:lnTo>
                  <a:lnTo>
                    <a:pt x="312" y="366"/>
                  </a:lnTo>
                  <a:lnTo>
                    <a:pt x="312" y="364"/>
                  </a:lnTo>
                  <a:lnTo>
                    <a:pt x="312" y="362"/>
                  </a:lnTo>
                  <a:lnTo>
                    <a:pt x="316" y="362"/>
                  </a:lnTo>
                  <a:lnTo>
                    <a:pt x="318" y="360"/>
                  </a:lnTo>
                  <a:lnTo>
                    <a:pt x="320" y="357"/>
                  </a:lnTo>
                  <a:lnTo>
                    <a:pt x="320" y="353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49"/>
                  </a:lnTo>
                  <a:lnTo>
                    <a:pt x="326" y="347"/>
                  </a:lnTo>
                  <a:lnTo>
                    <a:pt x="328" y="343"/>
                  </a:lnTo>
                  <a:lnTo>
                    <a:pt x="328" y="339"/>
                  </a:lnTo>
                  <a:lnTo>
                    <a:pt x="328" y="335"/>
                  </a:lnTo>
                  <a:lnTo>
                    <a:pt x="328" y="334"/>
                  </a:lnTo>
                  <a:lnTo>
                    <a:pt x="328" y="330"/>
                  </a:lnTo>
                  <a:lnTo>
                    <a:pt x="328" y="326"/>
                  </a:lnTo>
                  <a:lnTo>
                    <a:pt x="328" y="322"/>
                  </a:lnTo>
                  <a:lnTo>
                    <a:pt x="328" y="318"/>
                  </a:lnTo>
                  <a:lnTo>
                    <a:pt x="328" y="316"/>
                  </a:lnTo>
                  <a:lnTo>
                    <a:pt x="328" y="312"/>
                  </a:lnTo>
                  <a:lnTo>
                    <a:pt x="332" y="312"/>
                  </a:lnTo>
                  <a:lnTo>
                    <a:pt x="334" y="310"/>
                  </a:lnTo>
                  <a:lnTo>
                    <a:pt x="334" y="309"/>
                  </a:lnTo>
                  <a:lnTo>
                    <a:pt x="337" y="309"/>
                  </a:lnTo>
                  <a:lnTo>
                    <a:pt x="339" y="305"/>
                  </a:lnTo>
                  <a:lnTo>
                    <a:pt x="339" y="303"/>
                  </a:lnTo>
                  <a:lnTo>
                    <a:pt x="341" y="301"/>
                  </a:lnTo>
                  <a:lnTo>
                    <a:pt x="343" y="299"/>
                  </a:lnTo>
                  <a:lnTo>
                    <a:pt x="347" y="297"/>
                  </a:lnTo>
                  <a:lnTo>
                    <a:pt x="349" y="293"/>
                  </a:lnTo>
                  <a:lnTo>
                    <a:pt x="351" y="291"/>
                  </a:lnTo>
                  <a:lnTo>
                    <a:pt x="351" y="287"/>
                  </a:lnTo>
                  <a:lnTo>
                    <a:pt x="351" y="286"/>
                  </a:lnTo>
                  <a:lnTo>
                    <a:pt x="351" y="282"/>
                  </a:lnTo>
                  <a:lnTo>
                    <a:pt x="355" y="282"/>
                  </a:lnTo>
                  <a:lnTo>
                    <a:pt x="359" y="282"/>
                  </a:lnTo>
                  <a:lnTo>
                    <a:pt x="362" y="282"/>
                  </a:lnTo>
                  <a:lnTo>
                    <a:pt x="366" y="282"/>
                  </a:lnTo>
                  <a:lnTo>
                    <a:pt x="370" y="280"/>
                  </a:lnTo>
                  <a:lnTo>
                    <a:pt x="372" y="280"/>
                  </a:lnTo>
                  <a:lnTo>
                    <a:pt x="374" y="280"/>
                  </a:lnTo>
                  <a:lnTo>
                    <a:pt x="376" y="282"/>
                  </a:lnTo>
                  <a:lnTo>
                    <a:pt x="380" y="282"/>
                  </a:lnTo>
                  <a:lnTo>
                    <a:pt x="382" y="284"/>
                  </a:lnTo>
                  <a:lnTo>
                    <a:pt x="383" y="284"/>
                  </a:lnTo>
                  <a:lnTo>
                    <a:pt x="383" y="286"/>
                  </a:lnTo>
                  <a:lnTo>
                    <a:pt x="387" y="286"/>
                  </a:lnTo>
                  <a:lnTo>
                    <a:pt x="383" y="284"/>
                  </a:lnTo>
                  <a:lnTo>
                    <a:pt x="383" y="282"/>
                  </a:lnTo>
                  <a:lnTo>
                    <a:pt x="383" y="278"/>
                  </a:lnTo>
                  <a:lnTo>
                    <a:pt x="382" y="276"/>
                  </a:lnTo>
                  <a:lnTo>
                    <a:pt x="382" y="274"/>
                  </a:lnTo>
                  <a:lnTo>
                    <a:pt x="382" y="270"/>
                  </a:lnTo>
                  <a:lnTo>
                    <a:pt x="382" y="266"/>
                  </a:lnTo>
                  <a:lnTo>
                    <a:pt x="382" y="263"/>
                  </a:lnTo>
                  <a:lnTo>
                    <a:pt x="382" y="259"/>
                  </a:lnTo>
                  <a:lnTo>
                    <a:pt x="382" y="255"/>
                  </a:lnTo>
                  <a:lnTo>
                    <a:pt x="382" y="253"/>
                  </a:lnTo>
                  <a:lnTo>
                    <a:pt x="382" y="249"/>
                  </a:lnTo>
                  <a:lnTo>
                    <a:pt x="382" y="245"/>
                  </a:lnTo>
                  <a:lnTo>
                    <a:pt x="382" y="243"/>
                  </a:lnTo>
                  <a:lnTo>
                    <a:pt x="383" y="241"/>
                  </a:lnTo>
                  <a:lnTo>
                    <a:pt x="383" y="238"/>
                  </a:lnTo>
                  <a:lnTo>
                    <a:pt x="382" y="236"/>
                  </a:lnTo>
                  <a:lnTo>
                    <a:pt x="382" y="232"/>
                  </a:lnTo>
                  <a:lnTo>
                    <a:pt x="380" y="230"/>
                  </a:lnTo>
                  <a:lnTo>
                    <a:pt x="380" y="226"/>
                  </a:lnTo>
                  <a:lnTo>
                    <a:pt x="380" y="222"/>
                  </a:lnTo>
                  <a:lnTo>
                    <a:pt x="380" y="218"/>
                  </a:lnTo>
                  <a:lnTo>
                    <a:pt x="380" y="215"/>
                  </a:lnTo>
                  <a:lnTo>
                    <a:pt x="380" y="213"/>
                  </a:lnTo>
                  <a:lnTo>
                    <a:pt x="380" y="209"/>
                  </a:lnTo>
                  <a:lnTo>
                    <a:pt x="382" y="205"/>
                  </a:lnTo>
                  <a:lnTo>
                    <a:pt x="382" y="201"/>
                  </a:lnTo>
                  <a:lnTo>
                    <a:pt x="382" y="197"/>
                  </a:lnTo>
                  <a:lnTo>
                    <a:pt x="382" y="195"/>
                  </a:lnTo>
                  <a:lnTo>
                    <a:pt x="382" y="192"/>
                  </a:lnTo>
                  <a:lnTo>
                    <a:pt x="382" y="188"/>
                  </a:lnTo>
                  <a:lnTo>
                    <a:pt x="382" y="184"/>
                  </a:lnTo>
                  <a:lnTo>
                    <a:pt x="382" y="180"/>
                  </a:lnTo>
                  <a:lnTo>
                    <a:pt x="383" y="176"/>
                  </a:lnTo>
                  <a:lnTo>
                    <a:pt x="383" y="174"/>
                  </a:lnTo>
                  <a:lnTo>
                    <a:pt x="383" y="170"/>
                  </a:lnTo>
                  <a:lnTo>
                    <a:pt x="383" y="167"/>
                  </a:lnTo>
                  <a:lnTo>
                    <a:pt x="383" y="163"/>
                  </a:lnTo>
                  <a:lnTo>
                    <a:pt x="383" y="159"/>
                  </a:lnTo>
                  <a:lnTo>
                    <a:pt x="383" y="157"/>
                  </a:lnTo>
                  <a:lnTo>
                    <a:pt x="383" y="153"/>
                  </a:lnTo>
                  <a:lnTo>
                    <a:pt x="383" y="149"/>
                  </a:lnTo>
                  <a:lnTo>
                    <a:pt x="382" y="15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79" name="Freeform 55"/>
            <p:cNvSpPr>
              <a:spLocks/>
            </p:cNvSpPr>
            <p:nvPr/>
          </p:nvSpPr>
          <p:spPr bwMode="auto">
            <a:xfrm>
              <a:off x="1523" y="1102"/>
              <a:ext cx="562" cy="516"/>
            </a:xfrm>
            <a:custGeom>
              <a:avLst/>
              <a:gdLst/>
              <a:ahLst/>
              <a:cxnLst>
                <a:cxn ang="0">
                  <a:pos x="543" y="88"/>
                </a:cxn>
                <a:cxn ang="0">
                  <a:pos x="537" y="127"/>
                </a:cxn>
                <a:cxn ang="0">
                  <a:pos x="546" y="150"/>
                </a:cxn>
                <a:cxn ang="0">
                  <a:pos x="554" y="175"/>
                </a:cxn>
                <a:cxn ang="0">
                  <a:pos x="552" y="230"/>
                </a:cxn>
                <a:cxn ang="0">
                  <a:pos x="558" y="294"/>
                </a:cxn>
                <a:cxn ang="0">
                  <a:pos x="558" y="409"/>
                </a:cxn>
                <a:cxn ang="0">
                  <a:pos x="560" y="455"/>
                </a:cxn>
                <a:cxn ang="0">
                  <a:pos x="554" y="480"/>
                </a:cxn>
                <a:cxn ang="0">
                  <a:pos x="527" y="489"/>
                </a:cxn>
                <a:cxn ang="0">
                  <a:pos x="510" y="505"/>
                </a:cxn>
                <a:cxn ang="0">
                  <a:pos x="489" y="487"/>
                </a:cxn>
                <a:cxn ang="0">
                  <a:pos x="470" y="476"/>
                </a:cxn>
                <a:cxn ang="0">
                  <a:pos x="445" y="466"/>
                </a:cxn>
                <a:cxn ang="0">
                  <a:pos x="424" y="453"/>
                </a:cxn>
                <a:cxn ang="0">
                  <a:pos x="399" y="443"/>
                </a:cxn>
                <a:cxn ang="0">
                  <a:pos x="376" y="424"/>
                </a:cxn>
                <a:cxn ang="0">
                  <a:pos x="330" y="409"/>
                </a:cxn>
                <a:cxn ang="0">
                  <a:pos x="307" y="388"/>
                </a:cxn>
                <a:cxn ang="0">
                  <a:pos x="280" y="372"/>
                </a:cxn>
                <a:cxn ang="0">
                  <a:pos x="253" y="368"/>
                </a:cxn>
                <a:cxn ang="0">
                  <a:pos x="232" y="366"/>
                </a:cxn>
                <a:cxn ang="0">
                  <a:pos x="213" y="380"/>
                </a:cxn>
                <a:cxn ang="0">
                  <a:pos x="195" y="386"/>
                </a:cxn>
                <a:cxn ang="0">
                  <a:pos x="170" y="393"/>
                </a:cxn>
                <a:cxn ang="0">
                  <a:pos x="153" y="376"/>
                </a:cxn>
                <a:cxn ang="0">
                  <a:pos x="122" y="366"/>
                </a:cxn>
                <a:cxn ang="0">
                  <a:pos x="92" y="361"/>
                </a:cxn>
                <a:cxn ang="0">
                  <a:pos x="78" y="334"/>
                </a:cxn>
                <a:cxn ang="0">
                  <a:pos x="55" y="322"/>
                </a:cxn>
                <a:cxn ang="0">
                  <a:pos x="30" y="317"/>
                </a:cxn>
                <a:cxn ang="0">
                  <a:pos x="21" y="292"/>
                </a:cxn>
                <a:cxn ang="0">
                  <a:pos x="2" y="267"/>
                </a:cxn>
                <a:cxn ang="0">
                  <a:pos x="11" y="240"/>
                </a:cxn>
                <a:cxn ang="0">
                  <a:pos x="21" y="215"/>
                </a:cxn>
                <a:cxn ang="0">
                  <a:pos x="19" y="167"/>
                </a:cxn>
                <a:cxn ang="0">
                  <a:pos x="21" y="134"/>
                </a:cxn>
                <a:cxn ang="0">
                  <a:pos x="26" y="98"/>
                </a:cxn>
                <a:cxn ang="0">
                  <a:pos x="36" y="71"/>
                </a:cxn>
                <a:cxn ang="0">
                  <a:pos x="51" y="52"/>
                </a:cxn>
                <a:cxn ang="0">
                  <a:pos x="74" y="38"/>
                </a:cxn>
                <a:cxn ang="0">
                  <a:pos x="92" y="25"/>
                </a:cxn>
                <a:cxn ang="0">
                  <a:pos x="101" y="10"/>
                </a:cxn>
                <a:cxn ang="0">
                  <a:pos x="134" y="15"/>
                </a:cxn>
                <a:cxn ang="0">
                  <a:pos x="165" y="11"/>
                </a:cxn>
                <a:cxn ang="0">
                  <a:pos x="195" y="27"/>
                </a:cxn>
                <a:cxn ang="0">
                  <a:pos x="213" y="46"/>
                </a:cxn>
                <a:cxn ang="0">
                  <a:pos x="238" y="75"/>
                </a:cxn>
                <a:cxn ang="0">
                  <a:pos x="318" y="90"/>
                </a:cxn>
                <a:cxn ang="0">
                  <a:pos x="353" y="107"/>
                </a:cxn>
                <a:cxn ang="0">
                  <a:pos x="380" y="90"/>
                </a:cxn>
                <a:cxn ang="0">
                  <a:pos x="370" y="50"/>
                </a:cxn>
                <a:cxn ang="0">
                  <a:pos x="385" y="17"/>
                </a:cxn>
                <a:cxn ang="0">
                  <a:pos x="410" y="4"/>
                </a:cxn>
                <a:cxn ang="0">
                  <a:pos x="450" y="8"/>
                </a:cxn>
                <a:cxn ang="0">
                  <a:pos x="472" y="25"/>
                </a:cxn>
                <a:cxn ang="0">
                  <a:pos x="493" y="48"/>
                </a:cxn>
                <a:cxn ang="0">
                  <a:pos x="518" y="48"/>
                </a:cxn>
                <a:cxn ang="0">
                  <a:pos x="546" y="61"/>
                </a:cxn>
              </a:cxnLst>
              <a:rect l="0" t="0" r="r" b="b"/>
              <a:pathLst>
                <a:path w="562" h="516">
                  <a:moveTo>
                    <a:pt x="548" y="61"/>
                  </a:moveTo>
                  <a:lnTo>
                    <a:pt x="546" y="65"/>
                  </a:lnTo>
                  <a:lnTo>
                    <a:pt x="543" y="69"/>
                  </a:lnTo>
                  <a:lnTo>
                    <a:pt x="543" y="73"/>
                  </a:lnTo>
                  <a:lnTo>
                    <a:pt x="541" y="75"/>
                  </a:lnTo>
                  <a:lnTo>
                    <a:pt x="541" y="81"/>
                  </a:lnTo>
                  <a:lnTo>
                    <a:pt x="543" y="84"/>
                  </a:lnTo>
                  <a:lnTo>
                    <a:pt x="543" y="86"/>
                  </a:lnTo>
                  <a:lnTo>
                    <a:pt x="543" y="88"/>
                  </a:lnTo>
                  <a:lnTo>
                    <a:pt x="545" y="92"/>
                  </a:lnTo>
                  <a:lnTo>
                    <a:pt x="545" y="102"/>
                  </a:lnTo>
                  <a:lnTo>
                    <a:pt x="545" y="109"/>
                  </a:lnTo>
                  <a:lnTo>
                    <a:pt x="543" y="113"/>
                  </a:lnTo>
                  <a:lnTo>
                    <a:pt x="543" y="115"/>
                  </a:lnTo>
                  <a:lnTo>
                    <a:pt x="541" y="117"/>
                  </a:lnTo>
                  <a:lnTo>
                    <a:pt x="539" y="119"/>
                  </a:lnTo>
                  <a:lnTo>
                    <a:pt x="539" y="123"/>
                  </a:lnTo>
                  <a:lnTo>
                    <a:pt x="537" y="127"/>
                  </a:lnTo>
                  <a:lnTo>
                    <a:pt x="537" y="129"/>
                  </a:lnTo>
                  <a:lnTo>
                    <a:pt x="537" y="130"/>
                  </a:lnTo>
                  <a:lnTo>
                    <a:pt x="539" y="134"/>
                  </a:lnTo>
                  <a:lnTo>
                    <a:pt x="539" y="136"/>
                  </a:lnTo>
                  <a:lnTo>
                    <a:pt x="541" y="138"/>
                  </a:lnTo>
                  <a:lnTo>
                    <a:pt x="541" y="140"/>
                  </a:lnTo>
                  <a:lnTo>
                    <a:pt x="543" y="144"/>
                  </a:lnTo>
                  <a:lnTo>
                    <a:pt x="545" y="146"/>
                  </a:lnTo>
                  <a:lnTo>
                    <a:pt x="546" y="150"/>
                  </a:lnTo>
                  <a:lnTo>
                    <a:pt x="548" y="152"/>
                  </a:lnTo>
                  <a:lnTo>
                    <a:pt x="548" y="152"/>
                  </a:lnTo>
                  <a:lnTo>
                    <a:pt x="548" y="155"/>
                  </a:lnTo>
                  <a:lnTo>
                    <a:pt x="550" y="157"/>
                  </a:lnTo>
                  <a:lnTo>
                    <a:pt x="550" y="159"/>
                  </a:lnTo>
                  <a:lnTo>
                    <a:pt x="552" y="161"/>
                  </a:lnTo>
                  <a:lnTo>
                    <a:pt x="552" y="165"/>
                  </a:lnTo>
                  <a:lnTo>
                    <a:pt x="554" y="167"/>
                  </a:lnTo>
                  <a:lnTo>
                    <a:pt x="554" y="175"/>
                  </a:lnTo>
                  <a:lnTo>
                    <a:pt x="554" y="180"/>
                  </a:lnTo>
                  <a:lnTo>
                    <a:pt x="552" y="184"/>
                  </a:lnTo>
                  <a:lnTo>
                    <a:pt x="552" y="194"/>
                  </a:lnTo>
                  <a:lnTo>
                    <a:pt x="552" y="205"/>
                  </a:lnTo>
                  <a:lnTo>
                    <a:pt x="550" y="207"/>
                  </a:lnTo>
                  <a:lnTo>
                    <a:pt x="550" y="215"/>
                  </a:lnTo>
                  <a:lnTo>
                    <a:pt x="550" y="221"/>
                  </a:lnTo>
                  <a:lnTo>
                    <a:pt x="552" y="224"/>
                  </a:lnTo>
                  <a:lnTo>
                    <a:pt x="552" y="230"/>
                  </a:lnTo>
                  <a:lnTo>
                    <a:pt x="552" y="236"/>
                  </a:lnTo>
                  <a:lnTo>
                    <a:pt x="554" y="242"/>
                  </a:lnTo>
                  <a:lnTo>
                    <a:pt x="554" y="249"/>
                  </a:lnTo>
                  <a:lnTo>
                    <a:pt x="554" y="257"/>
                  </a:lnTo>
                  <a:lnTo>
                    <a:pt x="556" y="263"/>
                  </a:lnTo>
                  <a:lnTo>
                    <a:pt x="556" y="269"/>
                  </a:lnTo>
                  <a:lnTo>
                    <a:pt x="556" y="276"/>
                  </a:lnTo>
                  <a:lnTo>
                    <a:pt x="558" y="280"/>
                  </a:lnTo>
                  <a:lnTo>
                    <a:pt x="558" y="294"/>
                  </a:lnTo>
                  <a:lnTo>
                    <a:pt x="558" y="305"/>
                  </a:lnTo>
                  <a:lnTo>
                    <a:pt x="556" y="309"/>
                  </a:lnTo>
                  <a:lnTo>
                    <a:pt x="556" y="322"/>
                  </a:lnTo>
                  <a:lnTo>
                    <a:pt x="554" y="334"/>
                  </a:lnTo>
                  <a:lnTo>
                    <a:pt x="554" y="380"/>
                  </a:lnTo>
                  <a:lnTo>
                    <a:pt x="556" y="382"/>
                  </a:lnTo>
                  <a:lnTo>
                    <a:pt x="556" y="393"/>
                  </a:lnTo>
                  <a:lnTo>
                    <a:pt x="556" y="405"/>
                  </a:lnTo>
                  <a:lnTo>
                    <a:pt x="558" y="409"/>
                  </a:lnTo>
                  <a:lnTo>
                    <a:pt x="558" y="413"/>
                  </a:lnTo>
                  <a:lnTo>
                    <a:pt x="558" y="416"/>
                  </a:lnTo>
                  <a:lnTo>
                    <a:pt x="560" y="420"/>
                  </a:lnTo>
                  <a:lnTo>
                    <a:pt x="560" y="428"/>
                  </a:lnTo>
                  <a:lnTo>
                    <a:pt x="560" y="437"/>
                  </a:lnTo>
                  <a:lnTo>
                    <a:pt x="562" y="441"/>
                  </a:lnTo>
                  <a:lnTo>
                    <a:pt x="562" y="447"/>
                  </a:lnTo>
                  <a:lnTo>
                    <a:pt x="562" y="453"/>
                  </a:lnTo>
                  <a:lnTo>
                    <a:pt x="560" y="455"/>
                  </a:lnTo>
                  <a:lnTo>
                    <a:pt x="560" y="459"/>
                  </a:lnTo>
                  <a:lnTo>
                    <a:pt x="560" y="460"/>
                  </a:lnTo>
                  <a:lnTo>
                    <a:pt x="558" y="462"/>
                  </a:lnTo>
                  <a:lnTo>
                    <a:pt x="558" y="466"/>
                  </a:lnTo>
                  <a:lnTo>
                    <a:pt x="558" y="470"/>
                  </a:lnTo>
                  <a:lnTo>
                    <a:pt x="556" y="474"/>
                  </a:lnTo>
                  <a:lnTo>
                    <a:pt x="556" y="476"/>
                  </a:lnTo>
                  <a:lnTo>
                    <a:pt x="556" y="480"/>
                  </a:lnTo>
                  <a:lnTo>
                    <a:pt x="554" y="480"/>
                  </a:lnTo>
                  <a:lnTo>
                    <a:pt x="554" y="484"/>
                  </a:lnTo>
                  <a:lnTo>
                    <a:pt x="548" y="484"/>
                  </a:lnTo>
                  <a:lnTo>
                    <a:pt x="545" y="484"/>
                  </a:lnTo>
                  <a:lnTo>
                    <a:pt x="541" y="485"/>
                  </a:lnTo>
                  <a:lnTo>
                    <a:pt x="539" y="485"/>
                  </a:lnTo>
                  <a:lnTo>
                    <a:pt x="535" y="487"/>
                  </a:lnTo>
                  <a:lnTo>
                    <a:pt x="531" y="487"/>
                  </a:lnTo>
                  <a:lnTo>
                    <a:pt x="529" y="487"/>
                  </a:lnTo>
                  <a:lnTo>
                    <a:pt x="527" y="489"/>
                  </a:lnTo>
                  <a:lnTo>
                    <a:pt x="525" y="489"/>
                  </a:lnTo>
                  <a:lnTo>
                    <a:pt x="523" y="491"/>
                  </a:lnTo>
                  <a:lnTo>
                    <a:pt x="523" y="503"/>
                  </a:lnTo>
                  <a:lnTo>
                    <a:pt x="523" y="516"/>
                  </a:lnTo>
                  <a:lnTo>
                    <a:pt x="521" y="514"/>
                  </a:lnTo>
                  <a:lnTo>
                    <a:pt x="518" y="512"/>
                  </a:lnTo>
                  <a:lnTo>
                    <a:pt x="516" y="508"/>
                  </a:lnTo>
                  <a:lnTo>
                    <a:pt x="512" y="507"/>
                  </a:lnTo>
                  <a:lnTo>
                    <a:pt x="510" y="505"/>
                  </a:lnTo>
                  <a:lnTo>
                    <a:pt x="510" y="503"/>
                  </a:lnTo>
                  <a:lnTo>
                    <a:pt x="510" y="499"/>
                  </a:lnTo>
                  <a:lnTo>
                    <a:pt x="506" y="499"/>
                  </a:lnTo>
                  <a:lnTo>
                    <a:pt x="502" y="499"/>
                  </a:lnTo>
                  <a:lnTo>
                    <a:pt x="500" y="495"/>
                  </a:lnTo>
                  <a:lnTo>
                    <a:pt x="498" y="493"/>
                  </a:lnTo>
                  <a:lnTo>
                    <a:pt x="495" y="493"/>
                  </a:lnTo>
                  <a:lnTo>
                    <a:pt x="493" y="489"/>
                  </a:lnTo>
                  <a:lnTo>
                    <a:pt x="489" y="487"/>
                  </a:lnTo>
                  <a:lnTo>
                    <a:pt x="487" y="487"/>
                  </a:lnTo>
                  <a:lnTo>
                    <a:pt x="485" y="485"/>
                  </a:lnTo>
                  <a:lnTo>
                    <a:pt x="483" y="485"/>
                  </a:lnTo>
                  <a:lnTo>
                    <a:pt x="481" y="484"/>
                  </a:lnTo>
                  <a:lnTo>
                    <a:pt x="481" y="482"/>
                  </a:lnTo>
                  <a:lnTo>
                    <a:pt x="477" y="482"/>
                  </a:lnTo>
                  <a:lnTo>
                    <a:pt x="475" y="480"/>
                  </a:lnTo>
                  <a:lnTo>
                    <a:pt x="472" y="480"/>
                  </a:lnTo>
                  <a:lnTo>
                    <a:pt x="470" y="476"/>
                  </a:lnTo>
                  <a:lnTo>
                    <a:pt x="468" y="476"/>
                  </a:lnTo>
                  <a:lnTo>
                    <a:pt x="466" y="474"/>
                  </a:lnTo>
                  <a:lnTo>
                    <a:pt x="460" y="474"/>
                  </a:lnTo>
                  <a:lnTo>
                    <a:pt x="456" y="474"/>
                  </a:lnTo>
                  <a:lnTo>
                    <a:pt x="452" y="472"/>
                  </a:lnTo>
                  <a:lnTo>
                    <a:pt x="450" y="470"/>
                  </a:lnTo>
                  <a:lnTo>
                    <a:pt x="450" y="468"/>
                  </a:lnTo>
                  <a:lnTo>
                    <a:pt x="447" y="468"/>
                  </a:lnTo>
                  <a:lnTo>
                    <a:pt x="445" y="466"/>
                  </a:lnTo>
                  <a:lnTo>
                    <a:pt x="445" y="464"/>
                  </a:lnTo>
                  <a:lnTo>
                    <a:pt x="441" y="464"/>
                  </a:lnTo>
                  <a:lnTo>
                    <a:pt x="441" y="462"/>
                  </a:lnTo>
                  <a:lnTo>
                    <a:pt x="439" y="460"/>
                  </a:lnTo>
                  <a:lnTo>
                    <a:pt x="435" y="460"/>
                  </a:lnTo>
                  <a:lnTo>
                    <a:pt x="431" y="459"/>
                  </a:lnTo>
                  <a:lnTo>
                    <a:pt x="429" y="457"/>
                  </a:lnTo>
                  <a:lnTo>
                    <a:pt x="427" y="457"/>
                  </a:lnTo>
                  <a:lnTo>
                    <a:pt x="424" y="453"/>
                  </a:lnTo>
                  <a:lnTo>
                    <a:pt x="420" y="451"/>
                  </a:lnTo>
                  <a:lnTo>
                    <a:pt x="416" y="451"/>
                  </a:lnTo>
                  <a:lnTo>
                    <a:pt x="414" y="449"/>
                  </a:lnTo>
                  <a:lnTo>
                    <a:pt x="412" y="447"/>
                  </a:lnTo>
                  <a:lnTo>
                    <a:pt x="410" y="447"/>
                  </a:lnTo>
                  <a:lnTo>
                    <a:pt x="406" y="447"/>
                  </a:lnTo>
                  <a:lnTo>
                    <a:pt x="403" y="445"/>
                  </a:lnTo>
                  <a:lnTo>
                    <a:pt x="401" y="443"/>
                  </a:lnTo>
                  <a:lnTo>
                    <a:pt x="399" y="443"/>
                  </a:lnTo>
                  <a:lnTo>
                    <a:pt x="395" y="441"/>
                  </a:lnTo>
                  <a:lnTo>
                    <a:pt x="393" y="439"/>
                  </a:lnTo>
                  <a:lnTo>
                    <a:pt x="391" y="437"/>
                  </a:lnTo>
                  <a:lnTo>
                    <a:pt x="387" y="436"/>
                  </a:lnTo>
                  <a:lnTo>
                    <a:pt x="385" y="432"/>
                  </a:lnTo>
                  <a:lnTo>
                    <a:pt x="383" y="430"/>
                  </a:lnTo>
                  <a:lnTo>
                    <a:pt x="381" y="428"/>
                  </a:lnTo>
                  <a:lnTo>
                    <a:pt x="380" y="426"/>
                  </a:lnTo>
                  <a:lnTo>
                    <a:pt x="376" y="424"/>
                  </a:lnTo>
                  <a:lnTo>
                    <a:pt x="372" y="420"/>
                  </a:lnTo>
                  <a:lnTo>
                    <a:pt x="366" y="418"/>
                  </a:lnTo>
                  <a:lnTo>
                    <a:pt x="362" y="416"/>
                  </a:lnTo>
                  <a:lnTo>
                    <a:pt x="358" y="414"/>
                  </a:lnTo>
                  <a:lnTo>
                    <a:pt x="339" y="414"/>
                  </a:lnTo>
                  <a:lnTo>
                    <a:pt x="339" y="413"/>
                  </a:lnTo>
                  <a:lnTo>
                    <a:pt x="335" y="413"/>
                  </a:lnTo>
                  <a:lnTo>
                    <a:pt x="332" y="411"/>
                  </a:lnTo>
                  <a:lnTo>
                    <a:pt x="330" y="409"/>
                  </a:lnTo>
                  <a:lnTo>
                    <a:pt x="326" y="403"/>
                  </a:lnTo>
                  <a:lnTo>
                    <a:pt x="322" y="401"/>
                  </a:lnTo>
                  <a:lnTo>
                    <a:pt x="318" y="401"/>
                  </a:lnTo>
                  <a:lnTo>
                    <a:pt x="316" y="397"/>
                  </a:lnTo>
                  <a:lnTo>
                    <a:pt x="312" y="397"/>
                  </a:lnTo>
                  <a:lnTo>
                    <a:pt x="312" y="395"/>
                  </a:lnTo>
                  <a:lnTo>
                    <a:pt x="309" y="391"/>
                  </a:lnTo>
                  <a:lnTo>
                    <a:pt x="309" y="389"/>
                  </a:lnTo>
                  <a:lnTo>
                    <a:pt x="307" y="388"/>
                  </a:lnTo>
                  <a:lnTo>
                    <a:pt x="303" y="388"/>
                  </a:lnTo>
                  <a:lnTo>
                    <a:pt x="301" y="386"/>
                  </a:lnTo>
                  <a:lnTo>
                    <a:pt x="295" y="382"/>
                  </a:lnTo>
                  <a:lnTo>
                    <a:pt x="293" y="382"/>
                  </a:lnTo>
                  <a:lnTo>
                    <a:pt x="291" y="380"/>
                  </a:lnTo>
                  <a:lnTo>
                    <a:pt x="287" y="378"/>
                  </a:lnTo>
                  <a:lnTo>
                    <a:pt x="285" y="374"/>
                  </a:lnTo>
                  <a:lnTo>
                    <a:pt x="284" y="374"/>
                  </a:lnTo>
                  <a:lnTo>
                    <a:pt x="280" y="372"/>
                  </a:lnTo>
                  <a:lnTo>
                    <a:pt x="278" y="372"/>
                  </a:lnTo>
                  <a:lnTo>
                    <a:pt x="274" y="372"/>
                  </a:lnTo>
                  <a:lnTo>
                    <a:pt x="272" y="372"/>
                  </a:lnTo>
                  <a:lnTo>
                    <a:pt x="270" y="370"/>
                  </a:lnTo>
                  <a:lnTo>
                    <a:pt x="266" y="368"/>
                  </a:lnTo>
                  <a:lnTo>
                    <a:pt x="262" y="368"/>
                  </a:lnTo>
                  <a:lnTo>
                    <a:pt x="261" y="368"/>
                  </a:lnTo>
                  <a:lnTo>
                    <a:pt x="257" y="366"/>
                  </a:lnTo>
                  <a:lnTo>
                    <a:pt x="253" y="368"/>
                  </a:lnTo>
                  <a:lnTo>
                    <a:pt x="251" y="366"/>
                  </a:lnTo>
                  <a:lnTo>
                    <a:pt x="247" y="366"/>
                  </a:lnTo>
                  <a:lnTo>
                    <a:pt x="245" y="365"/>
                  </a:lnTo>
                  <a:lnTo>
                    <a:pt x="243" y="363"/>
                  </a:lnTo>
                  <a:lnTo>
                    <a:pt x="243" y="363"/>
                  </a:lnTo>
                  <a:lnTo>
                    <a:pt x="238" y="363"/>
                  </a:lnTo>
                  <a:lnTo>
                    <a:pt x="236" y="363"/>
                  </a:lnTo>
                  <a:lnTo>
                    <a:pt x="234" y="365"/>
                  </a:lnTo>
                  <a:lnTo>
                    <a:pt x="232" y="366"/>
                  </a:lnTo>
                  <a:lnTo>
                    <a:pt x="230" y="368"/>
                  </a:lnTo>
                  <a:lnTo>
                    <a:pt x="228" y="372"/>
                  </a:lnTo>
                  <a:lnTo>
                    <a:pt x="228" y="374"/>
                  </a:lnTo>
                  <a:lnTo>
                    <a:pt x="224" y="374"/>
                  </a:lnTo>
                  <a:lnTo>
                    <a:pt x="222" y="376"/>
                  </a:lnTo>
                  <a:lnTo>
                    <a:pt x="220" y="376"/>
                  </a:lnTo>
                  <a:lnTo>
                    <a:pt x="218" y="378"/>
                  </a:lnTo>
                  <a:lnTo>
                    <a:pt x="216" y="380"/>
                  </a:lnTo>
                  <a:lnTo>
                    <a:pt x="213" y="380"/>
                  </a:lnTo>
                  <a:lnTo>
                    <a:pt x="211" y="380"/>
                  </a:lnTo>
                  <a:lnTo>
                    <a:pt x="209" y="382"/>
                  </a:lnTo>
                  <a:lnTo>
                    <a:pt x="207" y="382"/>
                  </a:lnTo>
                  <a:lnTo>
                    <a:pt x="205" y="382"/>
                  </a:lnTo>
                  <a:lnTo>
                    <a:pt x="203" y="384"/>
                  </a:lnTo>
                  <a:lnTo>
                    <a:pt x="203" y="386"/>
                  </a:lnTo>
                  <a:lnTo>
                    <a:pt x="199" y="388"/>
                  </a:lnTo>
                  <a:lnTo>
                    <a:pt x="195" y="388"/>
                  </a:lnTo>
                  <a:lnTo>
                    <a:pt x="195" y="386"/>
                  </a:lnTo>
                  <a:lnTo>
                    <a:pt x="193" y="386"/>
                  </a:lnTo>
                  <a:lnTo>
                    <a:pt x="191" y="388"/>
                  </a:lnTo>
                  <a:lnTo>
                    <a:pt x="188" y="388"/>
                  </a:lnTo>
                  <a:lnTo>
                    <a:pt x="186" y="388"/>
                  </a:lnTo>
                  <a:lnTo>
                    <a:pt x="182" y="389"/>
                  </a:lnTo>
                  <a:lnTo>
                    <a:pt x="176" y="389"/>
                  </a:lnTo>
                  <a:lnTo>
                    <a:pt x="174" y="391"/>
                  </a:lnTo>
                  <a:lnTo>
                    <a:pt x="174" y="393"/>
                  </a:lnTo>
                  <a:lnTo>
                    <a:pt x="170" y="393"/>
                  </a:lnTo>
                  <a:lnTo>
                    <a:pt x="170" y="395"/>
                  </a:lnTo>
                  <a:lnTo>
                    <a:pt x="167" y="393"/>
                  </a:lnTo>
                  <a:lnTo>
                    <a:pt x="165" y="389"/>
                  </a:lnTo>
                  <a:lnTo>
                    <a:pt x="163" y="386"/>
                  </a:lnTo>
                  <a:lnTo>
                    <a:pt x="161" y="384"/>
                  </a:lnTo>
                  <a:lnTo>
                    <a:pt x="159" y="382"/>
                  </a:lnTo>
                  <a:lnTo>
                    <a:pt x="157" y="380"/>
                  </a:lnTo>
                  <a:lnTo>
                    <a:pt x="155" y="380"/>
                  </a:lnTo>
                  <a:lnTo>
                    <a:pt x="153" y="376"/>
                  </a:lnTo>
                  <a:lnTo>
                    <a:pt x="151" y="374"/>
                  </a:lnTo>
                  <a:lnTo>
                    <a:pt x="149" y="372"/>
                  </a:lnTo>
                  <a:lnTo>
                    <a:pt x="147" y="370"/>
                  </a:lnTo>
                  <a:lnTo>
                    <a:pt x="147" y="368"/>
                  </a:lnTo>
                  <a:lnTo>
                    <a:pt x="134" y="368"/>
                  </a:lnTo>
                  <a:lnTo>
                    <a:pt x="132" y="366"/>
                  </a:lnTo>
                  <a:lnTo>
                    <a:pt x="128" y="366"/>
                  </a:lnTo>
                  <a:lnTo>
                    <a:pt x="124" y="366"/>
                  </a:lnTo>
                  <a:lnTo>
                    <a:pt x="122" y="366"/>
                  </a:lnTo>
                  <a:lnTo>
                    <a:pt x="119" y="365"/>
                  </a:lnTo>
                  <a:lnTo>
                    <a:pt x="119" y="365"/>
                  </a:lnTo>
                  <a:lnTo>
                    <a:pt x="115" y="363"/>
                  </a:lnTo>
                  <a:lnTo>
                    <a:pt x="115" y="363"/>
                  </a:lnTo>
                  <a:lnTo>
                    <a:pt x="109" y="363"/>
                  </a:lnTo>
                  <a:lnTo>
                    <a:pt x="103" y="363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2" y="361"/>
                  </a:lnTo>
                  <a:lnTo>
                    <a:pt x="92" y="351"/>
                  </a:lnTo>
                  <a:lnTo>
                    <a:pt x="90" y="349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88" y="342"/>
                  </a:lnTo>
                  <a:lnTo>
                    <a:pt x="86" y="342"/>
                  </a:lnTo>
                  <a:lnTo>
                    <a:pt x="84" y="338"/>
                  </a:lnTo>
                  <a:lnTo>
                    <a:pt x="82" y="336"/>
                  </a:lnTo>
                  <a:lnTo>
                    <a:pt x="78" y="334"/>
                  </a:lnTo>
                  <a:lnTo>
                    <a:pt x="76" y="332"/>
                  </a:lnTo>
                  <a:lnTo>
                    <a:pt x="76" y="330"/>
                  </a:lnTo>
                  <a:lnTo>
                    <a:pt x="74" y="326"/>
                  </a:lnTo>
                  <a:lnTo>
                    <a:pt x="71" y="324"/>
                  </a:lnTo>
                  <a:lnTo>
                    <a:pt x="67" y="324"/>
                  </a:lnTo>
                  <a:lnTo>
                    <a:pt x="65" y="322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5" y="322"/>
                  </a:lnTo>
                  <a:lnTo>
                    <a:pt x="53" y="322"/>
                  </a:lnTo>
                  <a:lnTo>
                    <a:pt x="49" y="322"/>
                  </a:lnTo>
                  <a:lnTo>
                    <a:pt x="46" y="320"/>
                  </a:lnTo>
                  <a:lnTo>
                    <a:pt x="44" y="320"/>
                  </a:lnTo>
                  <a:lnTo>
                    <a:pt x="40" y="320"/>
                  </a:lnTo>
                  <a:lnTo>
                    <a:pt x="38" y="318"/>
                  </a:lnTo>
                  <a:lnTo>
                    <a:pt x="36" y="318"/>
                  </a:lnTo>
                  <a:lnTo>
                    <a:pt x="32" y="317"/>
                  </a:lnTo>
                  <a:lnTo>
                    <a:pt x="30" y="317"/>
                  </a:lnTo>
                  <a:lnTo>
                    <a:pt x="28" y="315"/>
                  </a:lnTo>
                  <a:lnTo>
                    <a:pt x="28" y="313"/>
                  </a:lnTo>
                  <a:lnTo>
                    <a:pt x="25" y="311"/>
                  </a:lnTo>
                  <a:lnTo>
                    <a:pt x="21" y="307"/>
                  </a:lnTo>
                  <a:lnTo>
                    <a:pt x="21" y="303"/>
                  </a:lnTo>
                  <a:lnTo>
                    <a:pt x="19" y="301"/>
                  </a:lnTo>
                  <a:lnTo>
                    <a:pt x="19" y="297"/>
                  </a:lnTo>
                  <a:lnTo>
                    <a:pt x="21" y="294"/>
                  </a:lnTo>
                  <a:lnTo>
                    <a:pt x="21" y="292"/>
                  </a:lnTo>
                  <a:lnTo>
                    <a:pt x="21" y="288"/>
                  </a:lnTo>
                  <a:lnTo>
                    <a:pt x="19" y="288"/>
                  </a:lnTo>
                  <a:lnTo>
                    <a:pt x="19" y="284"/>
                  </a:lnTo>
                  <a:lnTo>
                    <a:pt x="17" y="282"/>
                  </a:lnTo>
                  <a:lnTo>
                    <a:pt x="15" y="278"/>
                  </a:lnTo>
                  <a:lnTo>
                    <a:pt x="13" y="276"/>
                  </a:lnTo>
                  <a:lnTo>
                    <a:pt x="7" y="272"/>
                  </a:lnTo>
                  <a:lnTo>
                    <a:pt x="3" y="269"/>
                  </a:lnTo>
                  <a:lnTo>
                    <a:pt x="2" y="267"/>
                  </a:lnTo>
                  <a:lnTo>
                    <a:pt x="0" y="265"/>
                  </a:lnTo>
                  <a:lnTo>
                    <a:pt x="0" y="259"/>
                  </a:lnTo>
                  <a:lnTo>
                    <a:pt x="0" y="251"/>
                  </a:lnTo>
                  <a:lnTo>
                    <a:pt x="2" y="249"/>
                  </a:lnTo>
                  <a:lnTo>
                    <a:pt x="3" y="246"/>
                  </a:lnTo>
                  <a:lnTo>
                    <a:pt x="5" y="244"/>
                  </a:lnTo>
                  <a:lnTo>
                    <a:pt x="7" y="244"/>
                  </a:lnTo>
                  <a:lnTo>
                    <a:pt x="9" y="242"/>
                  </a:lnTo>
                  <a:lnTo>
                    <a:pt x="11" y="240"/>
                  </a:lnTo>
                  <a:lnTo>
                    <a:pt x="15" y="240"/>
                  </a:lnTo>
                  <a:lnTo>
                    <a:pt x="17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21" y="230"/>
                  </a:lnTo>
                  <a:lnTo>
                    <a:pt x="23" y="226"/>
                  </a:lnTo>
                  <a:lnTo>
                    <a:pt x="21" y="224"/>
                  </a:lnTo>
                  <a:lnTo>
                    <a:pt x="21" y="221"/>
                  </a:lnTo>
                  <a:lnTo>
                    <a:pt x="21" y="215"/>
                  </a:lnTo>
                  <a:lnTo>
                    <a:pt x="19" y="213"/>
                  </a:lnTo>
                  <a:lnTo>
                    <a:pt x="19" y="203"/>
                  </a:lnTo>
                  <a:lnTo>
                    <a:pt x="19" y="194"/>
                  </a:lnTo>
                  <a:lnTo>
                    <a:pt x="21" y="192"/>
                  </a:lnTo>
                  <a:lnTo>
                    <a:pt x="21" y="186"/>
                  </a:lnTo>
                  <a:lnTo>
                    <a:pt x="19" y="186"/>
                  </a:lnTo>
                  <a:lnTo>
                    <a:pt x="17" y="186"/>
                  </a:lnTo>
                  <a:lnTo>
                    <a:pt x="17" y="169"/>
                  </a:lnTo>
                  <a:lnTo>
                    <a:pt x="19" y="167"/>
                  </a:lnTo>
                  <a:lnTo>
                    <a:pt x="19" y="165"/>
                  </a:lnTo>
                  <a:lnTo>
                    <a:pt x="21" y="163"/>
                  </a:lnTo>
                  <a:lnTo>
                    <a:pt x="21" y="161"/>
                  </a:lnTo>
                  <a:lnTo>
                    <a:pt x="23" y="159"/>
                  </a:lnTo>
                  <a:lnTo>
                    <a:pt x="23" y="152"/>
                  </a:lnTo>
                  <a:lnTo>
                    <a:pt x="23" y="144"/>
                  </a:lnTo>
                  <a:lnTo>
                    <a:pt x="21" y="140"/>
                  </a:lnTo>
                  <a:lnTo>
                    <a:pt x="21" y="136"/>
                  </a:lnTo>
                  <a:lnTo>
                    <a:pt x="21" y="134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7" y="113"/>
                  </a:lnTo>
                  <a:lnTo>
                    <a:pt x="17" y="102"/>
                  </a:lnTo>
                  <a:lnTo>
                    <a:pt x="19" y="100"/>
                  </a:lnTo>
                  <a:lnTo>
                    <a:pt x="23" y="100"/>
                  </a:lnTo>
                  <a:lnTo>
                    <a:pt x="26" y="98"/>
                  </a:lnTo>
                  <a:lnTo>
                    <a:pt x="28" y="96"/>
                  </a:lnTo>
                  <a:lnTo>
                    <a:pt x="32" y="94"/>
                  </a:lnTo>
                  <a:lnTo>
                    <a:pt x="34" y="92"/>
                  </a:lnTo>
                  <a:lnTo>
                    <a:pt x="34" y="88"/>
                  </a:lnTo>
                  <a:lnTo>
                    <a:pt x="36" y="86"/>
                  </a:lnTo>
                  <a:lnTo>
                    <a:pt x="36" y="81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1"/>
                  </a:lnTo>
                  <a:lnTo>
                    <a:pt x="38" y="67"/>
                  </a:lnTo>
                  <a:lnTo>
                    <a:pt x="40" y="65"/>
                  </a:lnTo>
                  <a:lnTo>
                    <a:pt x="42" y="63"/>
                  </a:lnTo>
                  <a:lnTo>
                    <a:pt x="42" y="59"/>
                  </a:lnTo>
                  <a:lnTo>
                    <a:pt x="44" y="58"/>
                  </a:lnTo>
                  <a:lnTo>
                    <a:pt x="44" y="56"/>
                  </a:lnTo>
                  <a:lnTo>
                    <a:pt x="46" y="54"/>
                  </a:lnTo>
                  <a:lnTo>
                    <a:pt x="48" y="52"/>
                  </a:lnTo>
                  <a:lnTo>
                    <a:pt x="51" y="52"/>
                  </a:lnTo>
                  <a:lnTo>
                    <a:pt x="55" y="50"/>
                  </a:lnTo>
                  <a:lnTo>
                    <a:pt x="59" y="48"/>
                  </a:lnTo>
                  <a:lnTo>
                    <a:pt x="63" y="48"/>
                  </a:lnTo>
                  <a:lnTo>
                    <a:pt x="65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3" y="44"/>
                  </a:lnTo>
                  <a:lnTo>
                    <a:pt x="73" y="40"/>
                  </a:lnTo>
                  <a:lnTo>
                    <a:pt x="74" y="38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8" y="33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6" y="23"/>
                  </a:lnTo>
                  <a:lnTo>
                    <a:pt x="97" y="21"/>
                  </a:lnTo>
                  <a:lnTo>
                    <a:pt x="96" y="17"/>
                  </a:lnTo>
                  <a:lnTo>
                    <a:pt x="96" y="13"/>
                  </a:lnTo>
                  <a:lnTo>
                    <a:pt x="94" y="11"/>
                  </a:lnTo>
                  <a:lnTo>
                    <a:pt x="94" y="8"/>
                  </a:lnTo>
                  <a:lnTo>
                    <a:pt x="96" y="8"/>
                  </a:lnTo>
                  <a:lnTo>
                    <a:pt x="97" y="10"/>
                  </a:lnTo>
                  <a:lnTo>
                    <a:pt x="101" y="10"/>
                  </a:lnTo>
                  <a:lnTo>
                    <a:pt x="103" y="10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11" y="15"/>
                  </a:lnTo>
                  <a:lnTo>
                    <a:pt x="115" y="15"/>
                  </a:lnTo>
                  <a:lnTo>
                    <a:pt x="117" y="17"/>
                  </a:lnTo>
                  <a:lnTo>
                    <a:pt x="124" y="17"/>
                  </a:lnTo>
                  <a:lnTo>
                    <a:pt x="130" y="17"/>
                  </a:lnTo>
                  <a:lnTo>
                    <a:pt x="134" y="15"/>
                  </a:lnTo>
                  <a:lnTo>
                    <a:pt x="136" y="15"/>
                  </a:lnTo>
                  <a:lnTo>
                    <a:pt x="140" y="13"/>
                  </a:lnTo>
                  <a:lnTo>
                    <a:pt x="143" y="13"/>
                  </a:lnTo>
                  <a:lnTo>
                    <a:pt x="147" y="11"/>
                  </a:lnTo>
                  <a:lnTo>
                    <a:pt x="149" y="11"/>
                  </a:lnTo>
                  <a:lnTo>
                    <a:pt x="153" y="11"/>
                  </a:lnTo>
                  <a:lnTo>
                    <a:pt x="155" y="11"/>
                  </a:lnTo>
                  <a:lnTo>
                    <a:pt x="159" y="11"/>
                  </a:lnTo>
                  <a:lnTo>
                    <a:pt x="165" y="11"/>
                  </a:lnTo>
                  <a:lnTo>
                    <a:pt x="167" y="13"/>
                  </a:lnTo>
                  <a:lnTo>
                    <a:pt x="168" y="15"/>
                  </a:lnTo>
                  <a:lnTo>
                    <a:pt x="172" y="15"/>
                  </a:lnTo>
                  <a:lnTo>
                    <a:pt x="174" y="19"/>
                  </a:lnTo>
                  <a:lnTo>
                    <a:pt x="178" y="21"/>
                  </a:lnTo>
                  <a:lnTo>
                    <a:pt x="180" y="23"/>
                  </a:lnTo>
                  <a:lnTo>
                    <a:pt x="184" y="25"/>
                  </a:lnTo>
                  <a:lnTo>
                    <a:pt x="188" y="27"/>
                  </a:lnTo>
                  <a:lnTo>
                    <a:pt x="195" y="27"/>
                  </a:lnTo>
                  <a:lnTo>
                    <a:pt x="199" y="27"/>
                  </a:lnTo>
                  <a:lnTo>
                    <a:pt x="201" y="29"/>
                  </a:lnTo>
                  <a:lnTo>
                    <a:pt x="203" y="29"/>
                  </a:lnTo>
                  <a:lnTo>
                    <a:pt x="205" y="29"/>
                  </a:lnTo>
                  <a:lnTo>
                    <a:pt x="207" y="31"/>
                  </a:lnTo>
                  <a:lnTo>
                    <a:pt x="209" y="31"/>
                  </a:lnTo>
                  <a:lnTo>
                    <a:pt x="209" y="38"/>
                  </a:lnTo>
                  <a:lnTo>
                    <a:pt x="209" y="42"/>
                  </a:lnTo>
                  <a:lnTo>
                    <a:pt x="213" y="46"/>
                  </a:lnTo>
                  <a:lnTo>
                    <a:pt x="213" y="58"/>
                  </a:lnTo>
                  <a:lnTo>
                    <a:pt x="213" y="59"/>
                  </a:lnTo>
                  <a:lnTo>
                    <a:pt x="216" y="63"/>
                  </a:lnTo>
                  <a:lnTo>
                    <a:pt x="220" y="67"/>
                  </a:lnTo>
                  <a:lnTo>
                    <a:pt x="224" y="71"/>
                  </a:lnTo>
                  <a:lnTo>
                    <a:pt x="228" y="73"/>
                  </a:lnTo>
                  <a:lnTo>
                    <a:pt x="232" y="73"/>
                  </a:lnTo>
                  <a:lnTo>
                    <a:pt x="234" y="75"/>
                  </a:lnTo>
                  <a:lnTo>
                    <a:pt x="238" y="75"/>
                  </a:lnTo>
                  <a:lnTo>
                    <a:pt x="243" y="77"/>
                  </a:lnTo>
                  <a:lnTo>
                    <a:pt x="247" y="79"/>
                  </a:lnTo>
                  <a:lnTo>
                    <a:pt x="259" y="79"/>
                  </a:lnTo>
                  <a:lnTo>
                    <a:pt x="261" y="81"/>
                  </a:lnTo>
                  <a:lnTo>
                    <a:pt x="284" y="81"/>
                  </a:lnTo>
                  <a:lnTo>
                    <a:pt x="307" y="81"/>
                  </a:lnTo>
                  <a:lnTo>
                    <a:pt x="309" y="84"/>
                  </a:lnTo>
                  <a:lnTo>
                    <a:pt x="312" y="86"/>
                  </a:lnTo>
                  <a:lnTo>
                    <a:pt x="318" y="90"/>
                  </a:lnTo>
                  <a:lnTo>
                    <a:pt x="320" y="94"/>
                  </a:lnTo>
                  <a:lnTo>
                    <a:pt x="324" y="98"/>
                  </a:lnTo>
                  <a:lnTo>
                    <a:pt x="330" y="102"/>
                  </a:lnTo>
                  <a:lnTo>
                    <a:pt x="332" y="104"/>
                  </a:lnTo>
                  <a:lnTo>
                    <a:pt x="335" y="104"/>
                  </a:lnTo>
                  <a:lnTo>
                    <a:pt x="339" y="107"/>
                  </a:lnTo>
                  <a:lnTo>
                    <a:pt x="345" y="107"/>
                  </a:lnTo>
                  <a:lnTo>
                    <a:pt x="351" y="107"/>
                  </a:lnTo>
                  <a:lnTo>
                    <a:pt x="353" y="107"/>
                  </a:lnTo>
                  <a:lnTo>
                    <a:pt x="355" y="107"/>
                  </a:lnTo>
                  <a:lnTo>
                    <a:pt x="358" y="107"/>
                  </a:lnTo>
                  <a:lnTo>
                    <a:pt x="362" y="107"/>
                  </a:lnTo>
                  <a:lnTo>
                    <a:pt x="364" y="105"/>
                  </a:lnTo>
                  <a:lnTo>
                    <a:pt x="370" y="100"/>
                  </a:lnTo>
                  <a:lnTo>
                    <a:pt x="374" y="98"/>
                  </a:lnTo>
                  <a:lnTo>
                    <a:pt x="376" y="96"/>
                  </a:lnTo>
                  <a:lnTo>
                    <a:pt x="378" y="94"/>
                  </a:lnTo>
                  <a:lnTo>
                    <a:pt x="380" y="90"/>
                  </a:lnTo>
                  <a:lnTo>
                    <a:pt x="381" y="88"/>
                  </a:lnTo>
                  <a:lnTo>
                    <a:pt x="381" y="86"/>
                  </a:lnTo>
                  <a:lnTo>
                    <a:pt x="383" y="81"/>
                  </a:lnTo>
                  <a:lnTo>
                    <a:pt x="383" y="73"/>
                  </a:lnTo>
                  <a:lnTo>
                    <a:pt x="383" y="65"/>
                  </a:lnTo>
                  <a:lnTo>
                    <a:pt x="381" y="61"/>
                  </a:lnTo>
                  <a:lnTo>
                    <a:pt x="378" y="59"/>
                  </a:lnTo>
                  <a:lnTo>
                    <a:pt x="374" y="56"/>
                  </a:lnTo>
                  <a:lnTo>
                    <a:pt x="370" y="50"/>
                  </a:lnTo>
                  <a:lnTo>
                    <a:pt x="368" y="48"/>
                  </a:lnTo>
                  <a:lnTo>
                    <a:pt x="368" y="38"/>
                  </a:lnTo>
                  <a:lnTo>
                    <a:pt x="368" y="29"/>
                  </a:lnTo>
                  <a:lnTo>
                    <a:pt x="370" y="27"/>
                  </a:lnTo>
                  <a:lnTo>
                    <a:pt x="372" y="23"/>
                  </a:lnTo>
                  <a:lnTo>
                    <a:pt x="374" y="21"/>
                  </a:lnTo>
                  <a:lnTo>
                    <a:pt x="378" y="19"/>
                  </a:lnTo>
                  <a:lnTo>
                    <a:pt x="381" y="19"/>
                  </a:lnTo>
                  <a:lnTo>
                    <a:pt x="385" y="17"/>
                  </a:lnTo>
                  <a:lnTo>
                    <a:pt x="389" y="15"/>
                  </a:lnTo>
                  <a:lnTo>
                    <a:pt x="391" y="13"/>
                  </a:lnTo>
                  <a:lnTo>
                    <a:pt x="393" y="11"/>
                  </a:lnTo>
                  <a:lnTo>
                    <a:pt x="395" y="10"/>
                  </a:lnTo>
                  <a:lnTo>
                    <a:pt x="399" y="10"/>
                  </a:lnTo>
                  <a:lnTo>
                    <a:pt x="403" y="8"/>
                  </a:lnTo>
                  <a:lnTo>
                    <a:pt x="406" y="6"/>
                  </a:lnTo>
                  <a:lnTo>
                    <a:pt x="410" y="6"/>
                  </a:lnTo>
                  <a:lnTo>
                    <a:pt x="410" y="4"/>
                  </a:lnTo>
                  <a:lnTo>
                    <a:pt x="412" y="4"/>
                  </a:lnTo>
                  <a:lnTo>
                    <a:pt x="418" y="0"/>
                  </a:lnTo>
                  <a:lnTo>
                    <a:pt x="427" y="0"/>
                  </a:lnTo>
                  <a:lnTo>
                    <a:pt x="437" y="0"/>
                  </a:lnTo>
                  <a:lnTo>
                    <a:pt x="439" y="2"/>
                  </a:lnTo>
                  <a:lnTo>
                    <a:pt x="441" y="2"/>
                  </a:lnTo>
                  <a:lnTo>
                    <a:pt x="445" y="2"/>
                  </a:lnTo>
                  <a:lnTo>
                    <a:pt x="449" y="4"/>
                  </a:lnTo>
                  <a:lnTo>
                    <a:pt x="450" y="8"/>
                  </a:lnTo>
                  <a:lnTo>
                    <a:pt x="456" y="10"/>
                  </a:lnTo>
                  <a:lnTo>
                    <a:pt x="460" y="11"/>
                  </a:lnTo>
                  <a:lnTo>
                    <a:pt x="462" y="13"/>
                  </a:lnTo>
                  <a:lnTo>
                    <a:pt x="464" y="15"/>
                  </a:lnTo>
                  <a:lnTo>
                    <a:pt x="466" y="17"/>
                  </a:lnTo>
                  <a:lnTo>
                    <a:pt x="468" y="19"/>
                  </a:lnTo>
                  <a:lnTo>
                    <a:pt x="470" y="21"/>
                  </a:lnTo>
                  <a:lnTo>
                    <a:pt x="470" y="23"/>
                  </a:lnTo>
                  <a:lnTo>
                    <a:pt x="472" y="25"/>
                  </a:lnTo>
                  <a:lnTo>
                    <a:pt x="474" y="29"/>
                  </a:lnTo>
                  <a:lnTo>
                    <a:pt x="474" y="36"/>
                  </a:lnTo>
                  <a:lnTo>
                    <a:pt x="474" y="46"/>
                  </a:lnTo>
                  <a:lnTo>
                    <a:pt x="475" y="48"/>
                  </a:lnTo>
                  <a:lnTo>
                    <a:pt x="479" y="48"/>
                  </a:lnTo>
                  <a:lnTo>
                    <a:pt x="481" y="48"/>
                  </a:lnTo>
                  <a:lnTo>
                    <a:pt x="485" y="48"/>
                  </a:lnTo>
                  <a:lnTo>
                    <a:pt x="489" y="48"/>
                  </a:lnTo>
                  <a:lnTo>
                    <a:pt x="493" y="48"/>
                  </a:lnTo>
                  <a:lnTo>
                    <a:pt x="500" y="48"/>
                  </a:lnTo>
                  <a:lnTo>
                    <a:pt x="502" y="46"/>
                  </a:lnTo>
                  <a:lnTo>
                    <a:pt x="506" y="46"/>
                  </a:lnTo>
                  <a:lnTo>
                    <a:pt x="506" y="44"/>
                  </a:lnTo>
                  <a:lnTo>
                    <a:pt x="508" y="42"/>
                  </a:lnTo>
                  <a:lnTo>
                    <a:pt x="510" y="42"/>
                  </a:lnTo>
                  <a:lnTo>
                    <a:pt x="514" y="44"/>
                  </a:lnTo>
                  <a:lnTo>
                    <a:pt x="516" y="46"/>
                  </a:lnTo>
                  <a:lnTo>
                    <a:pt x="518" y="48"/>
                  </a:lnTo>
                  <a:lnTo>
                    <a:pt x="520" y="50"/>
                  </a:lnTo>
                  <a:lnTo>
                    <a:pt x="520" y="52"/>
                  </a:lnTo>
                  <a:lnTo>
                    <a:pt x="521" y="54"/>
                  </a:lnTo>
                  <a:lnTo>
                    <a:pt x="523" y="56"/>
                  </a:lnTo>
                  <a:lnTo>
                    <a:pt x="527" y="56"/>
                  </a:lnTo>
                  <a:lnTo>
                    <a:pt x="529" y="58"/>
                  </a:lnTo>
                  <a:lnTo>
                    <a:pt x="537" y="58"/>
                  </a:lnTo>
                  <a:lnTo>
                    <a:pt x="545" y="58"/>
                  </a:lnTo>
                  <a:lnTo>
                    <a:pt x="546" y="61"/>
                  </a:lnTo>
                  <a:lnTo>
                    <a:pt x="548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0" name="Freeform 56"/>
            <p:cNvSpPr>
              <a:spLocks/>
            </p:cNvSpPr>
            <p:nvPr/>
          </p:nvSpPr>
          <p:spPr bwMode="auto">
            <a:xfrm>
              <a:off x="1523" y="1102"/>
              <a:ext cx="562" cy="516"/>
            </a:xfrm>
            <a:custGeom>
              <a:avLst/>
              <a:gdLst/>
              <a:ahLst/>
              <a:cxnLst>
                <a:cxn ang="0">
                  <a:pos x="543" y="88"/>
                </a:cxn>
                <a:cxn ang="0">
                  <a:pos x="537" y="127"/>
                </a:cxn>
                <a:cxn ang="0">
                  <a:pos x="546" y="150"/>
                </a:cxn>
                <a:cxn ang="0">
                  <a:pos x="554" y="175"/>
                </a:cxn>
                <a:cxn ang="0">
                  <a:pos x="552" y="230"/>
                </a:cxn>
                <a:cxn ang="0">
                  <a:pos x="558" y="294"/>
                </a:cxn>
                <a:cxn ang="0">
                  <a:pos x="558" y="409"/>
                </a:cxn>
                <a:cxn ang="0">
                  <a:pos x="560" y="455"/>
                </a:cxn>
                <a:cxn ang="0">
                  <a:pos x="554" y="480"/>
                </a:cxn>
                <a:cxn ang="0">
                  <a:pos x="527" y="489"/>
                </a:cxn>
                <a:cxn ang="0">
                  <a:pos x="510" y="505"/>
                </a:cxn>
                <a:cxn ang="0">
                  <a:pos x="489" y="487"/>
                </a:cxn>
                <a:cxn ang="0">
                  <a:pos x="470" y="476"/>
                </a:cxn>
                <a:cxn ang="0">
                  <a:pos x="445" y="466"/>
                </a:cxn>
                <a:cxn ang="0">
                  <a:pos x="424" y="453"/>
                </a:cxn>
                <a:cxn ang="0">
                  <a:pos x="399" y="443"/>
                </a:cxn>
                <a:cxn ang="0">
                  <a:pos x="376" y="424"/>
                </a:cxn>
                <a:cxn ang="0">
                  <a:pos x="330" y="409"/>
                </a:cxn>
                <a:cxn ang="0">
                  <a:pos x="307" y="388"/>
                </a:cxn>
                <a:cxn ang="0">
                  <a:pos x="280" y="372"/>
                </a:cxn>
                <a:cxn ang="0">
                  <a:pos x="253" y="368"/>
                </a:cxn>
                <a:cxn ang="0">
                  <a:pos x="232" y="366"/>
                </a:cxn>
                <a:cxn ang="0">
                  <a:pos x="213" y="380"/>
                </a:cxn>
                <a:cxn ang="0">
                  <a:pos x="195" y="386"/>
                </a:cxn>
                <a:cxn ang="0">
                  <a:pos x="170" y="393"/>
                </a:cxn>
                <a:cxn ang="0">
                  <a:pos x="153" y="376"/>
                </a:cxn>
                <a:cxn ang="0">
                  <a:pos x="122" y="366"/>
                </a:cxn>
                <a:cxn ang="0">
                  <a:pos x="92" y="361"/>
                </a:cxn>
                <a:cxn ang="0">
                  <a:pos x="78" y="334"/>
                </a:cxn>
                <a:cxn ang="0">
                  <a:pos x="55" y="322"/>
                </a:cxn>
                <a:cxn ang="0">
                  <a:pos x="30" y="317"/>
                </a:cxn>
                <a:cxn ang="0">
                  <a:pos x="21" y="292"/>
                </a:cxn>
                <a:cxn ang="0">
                  <a:pos x="2" y="267"/>
                </a:cxn>
                <a:cxn ang="0">
                  <a:pos x="11" y="240"/>
                </a:cxn>
                <a:cxn ang="0">
                  <a:pos x="21" y="215"/>
                </a:cxn>
                <a:cxn ang="0">
                  <a:pos x="19" y="167"/>
                </a:cxn>
                <a:cxn ang="0">
                  <a:pos x="21" y="134"/>
                </a:cxn>
                <a:cxn ang="0">
                  <a:pos x="26" y="98"/>
                </a:cxn>
                <a:cxn ang="0">
                  <a:pos x="36" y="71"/>
                </a:cxn>
                <a:cxn ang="0">
                  <a:pos x="51" y="52"/>
                </a:cxn>
                <a:cxn ang="0">
                  <a:pos x="74" y="38"/>
                </a:cxn>
                <a:cxn ang="0">
                  <a:pos x="92" y="25"/>
                </a:cxn>
                <a:cxn ang="0">
                  <a:pos x="101" y="10"/>
                </a:cxn>
                <a:cxn ang="0">
                  <a:pos x="134" y="15"/>
                </a:cxn>
                <a:cxn ang="0">
                  <a:pos x="165" y="11"/>
                </a:cxn>
                <a:cxn ang="0">
                  <a:pos x="195" y="27"/>
                </a:cxn>
                <a:cxn ang="0">
                  <a:pos x="213" y="46"/>
                </a:cxn>
                <a:cxn ang="0">
                  <a:pos x="238" y="75"/>
                </a:cxn>
                <a:cxn ang="0">
                  <a:pos x="318" y="90"/>
                </a:cxn>
                <a:cxn ang="0">
                  <a:pos x="353" y="107"/>
                </a:cxn>
                <a:cxn ang="0">
                  <a:pos x="380" y="90"/>
                </a:cxn>
                <a:cxn ang="0">
                  <a:pos x="370" y="50"/>
                </a:cxn>
                <a:cxn ang="0">
                  <a:pos x="385" y="17"/>
                </a:cxn>
                <a:cxn ang="0">
                  <a:pos x="410" y="4"/>
                </a:cxn>
                <a:cxn ang="0">
                  <a:pos x="450" y="8"/>
                </a:cxn>
                <a:cxn ang="0">
                  <a:pos x="472" y="25"/>
                </a:cxn>
                <a:cxn ang="0">
                  <a:pos x="493" y="48"/>
                </a:cxn>
                <a:cxn ang="0">
                  <a:pos x="518" y="48"/>
                </a:cxn>
                <a:cxn ang="0">
                  <a:pos x="546" y="61"/>
                </a:cxn>
              </a:cxnLst>
              <a:rect l="0" t="0" r="r" b="b"/>
              <a:pathLst>
                <a:path w="562" h="516">
                  <a:moveTo>
                    <a:pt x="548" y="61"/>
                  </a:moveTo>
                  <a:lnTo>
                    <a:pt x="546" y="65"/>
                  </a:lnTo>
                  <a:lnTo>
                    <a:pt x="543" y="69"/>
                  </a:lnTo>
                  <a:lnTo>
                    <a:pt x="543" y="73"/>
                  </a:lnTo>
                  <a:lnTo>
                    <a:pt x="541" y="75"/>
                  </a:lnTo>
                  <a:lnTo>
                    <a:pt x="541" y="81"/>
                  </a:lnTo>
                  <a:lnTo>
                    <a:pt x="543" y="84"/>
                  </a:lnTo>
                  <a:lnTo>
                    <a:pt x="543" y="86"/>
                  </a:lnTo>
                  <a:lnTo>
                    <a:pt x="543" y="88"/>
                  </a:lnTo>
                  <a:lnTo>
                    <a:pt x="545" y="92"/>
                  </a:lnTo>
                  <a:lnTo>
                    <a:pt x="545" y="102"/>
                  </a:lnTo>
                  <a:lnTo>
                    <a:pt x="545" y="109"/>
                  </a:lnTo>
                  <a:lnTo>
                    <a:pt x="543" y="113"/>
                  </a:lnTo>
                  <a:lnTo>
                    <a:pt x="543" y="115"/>
                  </a:lnTo>
                  <a:lnTo>
                    <a:pt x="541" y="117"/>
                  </a:lnTo>
                  <a:lnTo>
                    <a:pt x="539" y="119"/>
                  </a:lnTo>
                  <a:lnTo>
                    <a:pt x="539" y="123"/>
                  </a:lnTo>
                  <a:lnTo>
                    <a:pt x="537" y="127"/>
                  </a:lnTo>
                  <a:lnTo>
                    <a:pt x="537" y="129"/>
                  </a:lnTo>
                  <a:lnTo>
                    <a:pt x="537" y="130"/>
                  </a:lnTo>
                  <a:lnTo>
                    <a:pt x="539" y="134"/>
                  </a:lnTo>
                  <a:lnTo>
                    <a:pt x="539" y="136"/>
                  </a:lnTo>
                  <a:lnTo>
                    <a:pt x="541" y="138"/>
                  </a:lnTo>
                  <a:lnTo>
                    <a:pt x="541" y="140"/>
                  </a:lnTo>
                  <a:lnTo>
                    <a:pt x="543" y="144"/>
                  </a:lnTo>
                  <a:lnTo>
                    <a:pt x="545" y="146"/>
                  </a:lnTo>
                  <a:lnTo>
                    <a:pt x="546" y="150"/>
                  </a:lnTo>
                  <a:lnTo>
                    <a:pt x="548" y="152"/>
                  </a:lnTo>
                  <a:lnTo>
                    <a:pt x="548" y="152"/>
                  </a:lnTo>
                  <a:lnTo>
                    <a:pt x="548" y="155"/>
                  </a:lnTo>
                  <a:lnTo>
                    <a:pt x="550" y="157"/>
                  </a:lnTo>
                  <a:lnTo>
                    <a:pt x="550" y="159"/>
                  </a:lnTo>
                  <a:lnTo>
                    <a:pt x="552" y="161"/>
                  </a:lnTo>
                  <a:lnTo>
                    <a:pt x="552" y="165"/>
                  </a:lnTo>
                  <a:lnTo>
                    <a:pt x="554" y="167"/>
                  </a:lnTo>
                  <a:lnTo>
                    <a:pt x="554" y="175"/>
                  </a:lnTo>
                  <a:lnTo>
                    <a:pt x="554" y="180"/>
                  </a:lnTo>
                  <a:lnTo>
                    <a:pt x="552" y="184"/>
                  </a:lnTo>
                  <a:lnTo>
                    <a:pt x="552" y="194"/>
                  </a:lnTo>
                  <a:lnTo>
                    <a:pt x="552" y="205"/>
                  </a:lnTo>
                  <a:lnTo>
                    <a:pt x="550" y="207"/>
                  </a:lnTo>
                  <a:lnTo>
                    <a:pt x="550" y="215"/>
                  </a:lnTo>
                  <a:lnTo>
                    <a:pt x="550" y="221"/>
                  </a:lnTo>
                  <a:lnTo>
                    <a:pt x="552" y="224"/>
                  </a:lnTo>
                  <a:lnTo>
                    <a:pt x="552" y="230"/>
                  </a:lnTo>
                  <a:lnTo>
                    <a:pt x="552" y="236"/>
                  </a:lnTo>
                  <a:lnTo>
                    <a:pt x="554" y="242"/>
                  </a:lnTo>
                  <a:lnTo>
                    <a:pt x="554" y="249"/>
                  </a:lnTo>
                  <a:lnTo>
                    <a:pt x="554" y="257"/>
                  </a:lnTo>
                  <a:lnTo>
                    <a:pt x="556" y="263"/>
                  </a:lnTo>
                  <a:lnTo>
                    <a:pt x="556" y="269"/>
                  </a:lnTo>
                  <a:lnTo>
                    <a:pt x="556" y="276"/>
                  </a:lnTo>
                  <a:lnTo>
                    <a:pt x="558" y="280"/>
                  </a:lnTo>
                  <a:lnTo>
                    <a:pt x="558" y="294"/>
                  </a:lnTo>
                  <a:lnTo>
                    <a:pt x="558" y="305"/>
                  </a:lnTo>
                  <a:lnTo>
                    <a:pt x="556" y="309"/>
                  </a:lnTo>
                  <a:lnTo>
                    <a:pt x="556" y="322"/>
                  </a:lnTo>
                  <a:lnTo>
                    <a:pt x="554" y="334"/>
                  </a:lnTo>
                  <a:lnTo>
                    <a:pt x="554" y="380"/>
                  </a:lnTo>
                  <a:lnTo>
                    <a:pt x="556" y="382"/>
                  </a:lnTo>
                  <a:lnTo>
                    <a:pt x="556" y="393"/>
                  </a:lnTo>
                  <a:lnTo>
                    <a:pt x="556" y="405"/>
                  </a:lnTo>
                  <a:lnTo>
                    <a:pt x="558" y="409"/>
                  </a:lnTo>
                  <a:lnTo>
                    <a:pt x="558" y="413"/>
                  </a:lnTo>
                  <a:lnTo>
                    <a:pt x="558" y="416"/>
                  </a:lnTo>
                  <a:lnTo>
                    <a:pt x="560" y="420"/>
                  </a:lnTo>
                  <a:lnTo>
                    <a:pt x="560" y="428"/>
                  </a:lnTo>
                  <a:lnTo>
                    <a:pt x="560" y="437"/>
                  </a:lnTo>
                  <a:lnTo>
                    <a:pt x="562" y="441"/>
                  </a:lnTo>
                  <a:lnTo>
                    <a:pt x="562" y="447"/>
                  </a:lnTo>
                  <a:lnTo>
                    <a:pt x="562" y="453"/>
                  </a:lnTo>
                  <a:lnTo>
                    <a:pt x="560" y="455"/>
                  </a:lnTo>
                  <a:lnTo>
                    <a:pt x="560" y="459"/>
                  </a:lnTo>
                  <a:lnTo>
                    <a:pt x="560" y="460"/>
                  </a:lnTo>
                  <a:lnTo>
                    <a:pt x="558" y="462"/>
                  </a:lnTo>
                  <a:lnTo>
                    <a:pt x="558" y="466"/>
                  </a:lnTo>
                  <a:lnTo>
                    <a:pt x="558" y="470"/>
                  </a:lnTo>
                  <a:lnTo>
                    <a:pt x="556" y="474"/>
                  </a:lnTo>
                  <a:lnTo>
                    <a:pt x="556" y="476"/>
                  </a:lnTo>
                  <a:lnTo>
                    <a:pt x="556" y="480"/>
                  </a:lnTo>
                  <a:lnTo>
                    <a:pt x="554" y="480"/>
                  </a:lnTo>
                  <a:lnTo>
                    <a:pt x="554" y="484"/>
                  </a:lnTo>
                  <a:lnTo>
                    <a:pt x="548" y="484"/>
                  </a:lnTo>
                  <a:lnTo>
                    <a:pt x="545" y="484"/>
                  </a:lnTo>
                  <a:lnTo>
                    <a:pt x="541" y="485"/>
                  </a:lnTo>
                  <a:lnTo>
                    <a:pt x="539" y="485"/>
                  </a:lnTo>
                  <a:lnTo>
                    <a:pt x="535" y="487"/>
                  </a:lnTo>
                  <a:lnTo>
                    <a:pt x="531" y="487"/>
                  </a:lnTo>
                  <a:lnTo>
                    <a:pt x="529" y="487"/>
                  </a:lnTo>
                  <a:lnTo>
                    <a:pt x="527" y="489"/>
                  </a:lnTo>
                  <a:lnTo>
                    <a:pt x="525" y="489"/>
                  </a:lnTo>
                  <a:lnTo>
                    <a:pt x="523" y="491"/>
                  </a:lnTo>
                  <a:lnTo>
                    <a:pt x="523" y="503"/>
                  </a:lnTo>
                  <a:lnTo>
                    <a:pt x="523" y="516"/>
                  </a:lnTo>
                  <a:lnTo>
                    <a:pt x="521" y="514"/>
                  </a:lnTo>
                  <a:lnTo>
                    <a:pt x="518" y="512"/>
                  </a:lnTo>
                  <a:lnTo>
                    <a:pt x="516" y="508"/>
                  </a:lnTo>
                  <a:lnTo>
                    <a:pt x="512" y="507"/>
                  </a:lnTo>
                  <a:lnTo>
                    <a:pt x="510" y="505"/>
                  </a:lnTo>
                  <a:lnTo>
                    <a:pt x="510" y="503"/>
                  </a:lnTo>
                  <a:lnTo>
                    <a:pt x="510" y="499"/>
                  </a:lnTo>
                  <a:lnTo>
                    <a:pt x="506" y="499"/>
                  </a:lnTo>
                  <a:lnTo>
                    <a:pt x="502" y="499"/>
                  </a:lnTo>
                  <a:lnTo>
                    <a:pt x="500" y="495"/>
                  </a:lnTo>
                  <a:lnTo>
                    <a:pt x="498" y="493"/>
                  </a:lnTo>
                  <a:lnTo>
                    <a:pt x="495" y="493"/>
                  </a:lnTo>
                  <a:lnTo>
                    <a:pt x="493" y="489"/>
                  </a:lnTo>
                  <a:lnTo>
                    <a:pt x="489" y="487"/>
                  </a:lnTo>
                  <a:lnTo>
                    <a:pt x="487" y="487"/>
                  </a:lnTo>
                  <a:lnTo>
                    <a:pt x="485" y="485"/>
                  </a:lnTo>
                  <a:lnTo>
                    <a:pt x="483" y="485"/>
                  </a:lnTo>
                  <a:lnTo>
                    <a:pt x="481" y="484"/>
                  </a:lnTo>
                  <a:lnTo>
                    <a:pt x="481" y="482"/>
                  </a:lnTo>
                  <a:lnTo>
                    <a:pt x="477" y="482"/>
                  </a:lnTo>
                  <a:lnTo>
                    <a:pt x="475" y="480"/>
                  </a:lnTo>
                  <a:lnTo>
                    <a:pt x="472" y="480"/>
                  </a:lnTo>
                  <a:lnTo>
                    <a:pt x="470" y="476"/>
                  </a:lnTo>
                  <a:lnTo>
                    <a:pt x="468" y="476"/>
                  </a:lnTo>
                  <a:lnTo>
                    <a:pt x="466" y="474"/>
                  </a:lnTo>
                  <a:lnTo>
                    <a:pt x="460" y="474"/>
                  </a:lnTo>
                  <a:lnTo>
                    <a:pt x="456" y="474"/>
                  </a:lnTo>
                  <a:lnTo>
                    <a:pt x="452" y="472"/>
                  </a:lnTo>
                  <a:lnTo>
                    <a:pt x="450" y="470"/>
                  </a:lnTo>
                  <a:lnTo>
                    <a:pt x="450" y="468"/>
                  </a:lnTo>
                  <a:lnTo>
                    <a:pt x="447" y="468"/>
                  </a:lnTo>
                  <a:lnTo>
                    <a:pt x="445" y="466"/>
                  </a:lnTo>
                  <a:lnTo>
                    <a:pt x="445" y="464"/>
                  </a:lnTo>
                  <a:lnTo>
                    <a:pt x="441" y="464"/>
                  </a:lnTo>
                  <a:lnTo>
                    <a:pt x="441" y="462"/>
                  </a:lnTo>
                  <a:lnTo>
                    <a:pt x="439" y="460"/>
                  </a:lnTo>
                  <a:lnTo>
                    <a:pt x="435" y="460"/>
                  </a:lnTo>
                  <a:lnTo>
                    <a:pt x="431" y="459"/>
                  </a:lnTo>
                  <a:lnTo>
                    <a:pt x="429" y="457"/>
                  </a:lnTo>
                  <a:lnTo>
                    <a:pt x="427" y="457"/>
                  </a:lnTo>
                  <a:lnTo>
                    <a:pt x="424" y="453"/>
                  </a:lnTo>
                  <a:lnTo>
                    <a:pt x="420" y="451"/>
                  </a:lnTo>
                  <a:lnTo>
                    <a:pt x="416" y="451"/>
                  </a:lnTo>
                  <a:lnTo>
                    <a:pt x="414" y="449"/>
                  </a:lnTo>
                  <a:lnTo>
                    <a:pt x="412" y="447"/>
                  </a:lnTo>
                  <a:lnTo>
                    <a:pt x="410" y="447"/>
                  </a:lnTo>
                  <a:lnTo>
                    <a:pt x="406" y="447"/>
                  </a:lnTo>
                  <a:lnTo>
                    <a:pt x="403" y="445"/>
                  </a:lnTo>
                  <a:lnTo>
                    <a:pt x="401" y="443"/>
                  </a:lnTo>
                  <a:lnTo>
                    <a:pt x="399" y="443"/>
                  </a:lnTo>
                  <a:lnTo>
                    <a:pt x="395" y="441"/>
                  </a:lnTo>
                  <a:lnTo>
                    <a:pt x="393" y="439"/>
                  </a:lnTo>
                  <a:lnTo>
                    <a:pt x="391" y="437"/>
                  </a:lnTo>
                  <a:lnTo>
                    <a:pt x="387" y="436"/>
                  </a:lnTo>
                  <a:lnTo>
                    <a:pt x="385" y="432"/>
                  </a:lnTo>
                  <a:lnTo>
                    <a:pt x="383" y="430"/>
                  </a:lnTo>
                  <a:lnTo>
                    <a:pt x="381" y="428"/>
                  </a:lnTo>
                  <a:lnTo>
                    <a:pt x="380" y="426"/>
                  </a:lnTo>
                  <a:lnTo>
                    <a:pt x="376" y="424"/>
                  </a:lnTo>
                  <a:lnTo>
                    <a:pt x="372" y="420"/>
                  </a:lnTo>
                  <a:lnTo>
                    <a:pt x="366" y="418"/>
                  </a:lnTo>
                  <a:lnTo>
                    <a:pt x="362" y="416"/>
                  </a:lnTo>
                  <a:lnTo>
                    <a:pt x="358" y="414"/>
                  </a:lnTo>
                  <a:lnTo>
                    <a:pt x="339" y="414"/>
                  </a:lnTo>
                  <a:lnTo>
                    <a:pt x="339" y="413"/>
                  </a:lnTo>
                  <a:lnTo>
                    <a:pt x="335" y="413"/>
                  </a:lnTo>
                  <a:lnTo>
                    <a:pt x="332" y="411"/>
                  </a:lnTo>
                  <a:lnTo>
                    <a:pt x="330" y="409"/>
                  </a:lnTo>
                  <a:lnTo>
                    <a:pt x="326" y="403"/>
                  </a:lnTo>
                  <a:lnTo>
                    <a:pt x="322" y="401"/>
                  </a:lnTo>
                  <a:lnTo>
                    <a:pt x="318" y="401"/>
                  </a:lnTo>
                  <a:lnTo>
                    <a:pt x="316" y="397"/>
                  </a:lnTo>
                  <a:lnTo>
                    <a:pt x="312" y="397"/>
                  </a:lnTo>
                  <a:lnTo>
                    <a:pt x="312" y="395"/>
                  </a:lnTo>
                  <a:lnTo>
                    <a:pt x="309" y="391"/>
                  </a:lnTo>
                  <a:lnTo>
                    <a:pt x="309" y="389"/>
                  </a:lnTo>
                  <a:lnTo>
                    <a:pt x="307" y="388"/>
                  </a:lnTo>
                  <a:lnTo>
                    <a:pt x="303" y="388"/>
                  </a:lnTo>
                  <a:lnTo>
                    <a:pt x="301" y="386"/>
                  </a:lnTo>
                  <a:lnTo>
                    <a:pt x="295" y="382"/>
                  </a:lnTo>
                  <a:lnTo>
                    <a:pt x="293" y="382"/>
                  </a:lnTo>
                  <a:lnTo>
                    <a:pt x="291" y="380"/>
                  </a:lnTo>
                  <a:lnTo>
                    <a:pt x="287" y="378"/>
                  </a:lnTo>
                  <a:lnTo>
                    <a:pt x="285" y="374"/>
                  </a:lnTo>
                  <a:lnTo>
                    <a:pt x="284" y="374"/>
                  </a:lnTo>
                  <a:lnTo>
                    <a:pt x="280" y="372"/>
                  </a:lnTo>
                  <a:lnTo>
                    <a:pt x="278" y="372"/>
                  </a:lnTo>
                  <a:lnTo>
                    <a:pt x="274" y="372"/>
                  </a:lnTo>
                  <a:lnTo>
                    <a:pt x="272" y="372"/>
                  </a:lnTo>
                  <a:lnTo>
                    <a:pt x="270" y="370"/>
                  </a:lnTo>
                  <a:lnTo>
                    <a:pt x="266" y="368"/>
                  </a:lnTo>
                  <a:lnTo>
                    <a:pt x="262" y="368"/>
                  </a:lnTo>
                  <a:lnTo>
                    <a:pt x="261" y="368"/>
                  </a:lnTo>
                  <a:lnTo>
                    <a:pt x="257" y="366"/>
                  </a:lnTo>
                  <a:lnTo>
                    <a:pt x="253" y="368"/>
                  </a:lnTo>
                  <a:lnTo>
                    <a:pt x="251" y="366"/>
                  </a:lnTo>
                  <a:lnTo>
                    <a:pt x="247" y="366"/>
                  </a:lnTo>
                  <a:lnTo>
                    <a:pt x="245" y="365"/>
                  </a:lnTo>
                  <a:lnTo>
                    <a:pt x="243" y="363"/>
                  </a:lnTo>
                  <a:lnTo>
                    <a:pt x="243" y="363"/>
                  </a:lnTo>
                  <a:lnTo>
                    <a:pt x="238" y="363"/>
                  </a:lnTo>
                  <a:lnTo>
                    <a:pt x="236" y="363"/>
                  </a:lnTo>
                  <a:lnTo>
                    <a:pt x="234" y="365"/>
                  </a:lnTo>
                  <a:lnTo>
                    <a:pt x="232" y="366"/>
                  </a:lnTo>
                  <a:lnTo>
                    <a:pt x="230" y="368"/>
                  </a:lnTo>
                  <a:lnTo>
                    <a:pt x="228" y="372"/>
                  </a:lnTo>
                  <a:lnTo>
                    <a:pt x="228" y="374"/>
                  </a:lnTo>
                  <a:lnTo>
                    <a:pt x="224" y="374"/>
                  </a:lnTo>
                  <a:lnTo>
                    <a:pt x="222" y="376"/>
                  </a:lnTo>
                  <a:lnTo>
                    <a:pt x="220" y="376"/>
                  </a:lnTo>
                  <a:lnTo>
                    <a:pt x="218" y="378"/>
                  </a:lnTo>
                  <a:lnTo>
                    <a:pt x="216" y="380"/>
                  </a:lnTo>
                  <a:lnTo>
                    <a:pt x="213" y="380"/>
                  </a:lnTo>
                  <a:lnTo>
                    <a:pt x="211" y="380"/>
                  </a:lnTo>
                  <a:lnTo>
                    <a:pt x="209" y="382"/>
                  </a:lnTo>
                  <a:lnTo>
                    <a:pt x="207" y="382"/>
                  </a:lnTo>
                  <a:lnTo>
                    <a:pt x="205" y="382"/>
                  </a:lnTo>
                  <a:lnTo>
                    <a:pt x="203" y="384"/>
                  </a:lnTo>
                  <a:lnTo>
                    <a:pt x="203" y="386"/>
                  </a:lnTo>
                  <a:lnTo>
                    <a:pt x="199" y="388"/>
                  </a:lnTo>
                  <a:lnTo>
                    <a:pt x="195" y="388"/>
                  </a:lnTo>
                  <a:lnTo>
                    <a:pt x="195" y="386"/>
                  </a:lnTo>
                  <a:lnTo>
                    <a:pt x="193" y="386"/>
                  </a:lnTo>
                  <a:lnTo>
                    <a:pt x="191" y="388"/>
                  </a:lnTo>
                  <a:lnTo>
                    <a:pt x="188" y="388"/>
                  </a:lnTo>
                  <a:lnTo>
                    <a:pt x="186" y="388"/>
                  </a:lnTo>
                  <a:lnTo>
                    <a:pt x="182" y="389"/>
                  </a:lnTo>
                  <a:lnTo>
                    <a:pt x="176" y="389"/>
                  </a:lnTo>
                  <a:lnTo>
                    <a:pt x="174" y="391"/>
                  </a:lnTo>
                  <a:lnTo>
                    <a:pt x="174" y="393"/>
                  </a:lnTo>
                  <a:lnTo>
                    <a:pt x="170" y="393"/>
                  </a:lnTo>
                  <a:lnTo>
                    <a:pt x="170" y="395"/>
                  </a:lnTo>
                  <a:lnTo>
                    <a:pt x="167" y="393"/>
                  </a:lnTo>
                  <a:lnTo>
                    <a:pt x="165" y="389"/>
                  </a:lnTo>
                  <a:lnTo>
                    <a:pt x="163" y="386"/>
                  </a:lnTo>
                  <a:lnTo>
                    <a:pt x="161" y="384"/>
                  </a:lnTo>
                  <a:lnTo>
                    <a:pt x="159" y="382"/>
                  </a:lnTo>
                  <a:lnTo>
                    <a:pt x="157" y="380"/>
                  </a:lnTo>
                  <a:lnTo>
                    <a:pt x="155" y="380"/>
                  </a:lnTo>
                  <a:lnTo>
                    <a:pt x="153" y="376"/>
                  </a:lnTo>
                  <a:lnTo>
                    <a:pt x="151" y="374"/>
                  </a:lnTo>
                  <a:lnTo>
                    <a:pt x="149" y="372"/>
                  </a:lnTo>
                  <a:lnTo>
                    <a:pt x="147" y="370"/>
                  </a:lnTo>
                  <a:lnTo>
                    <a:pt x="147" y="368"/>
                  </a:lnTo>
                  <a:lnTo>
                    <a:pt x="134" y="368"/>
                  </a:lnTo>
                  <a:lnTo>
                    <a:pt x="132" y="366"/>
                  </a:lnTo>
                  <a:lnTo>
                    <a:pt x="128" y="366"/>
                  </a:lnTo>
                  <a:lnTo>
                    <a:pt x="124" y="366"/>
                  </a:lnTo>
                  <a:lnTo>
                    <a:pt x="122" y="366"/>
                  </a:lnTo>
                  <a:lnTo>
                    <a:pt x="119" y="365"/>
                  </a:lnTo>
                  <a:lnTo>
                    <a:pt x="119" y="365"/>
                  </a:lnTo>
                  <a:lnTo>
                    <a:pt x="115" y="363"/>
                  </a:lnTo>
                  <a:lnTo>
                    <a:pt x="115" y="363"/>
                  </a:lnTo>
                  <a:lnTo>
                    <a:pt x="109" y="363"/>
                  </a:lnTo>
                  <a:lnTo>
                    <a:pt x="103" y="363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2" y="361"/>
                  </a:lnTo>
                  <a:lnTo>
                    <a:pt x="92" y="351"/>
                  </a:lnTo>
                  <a:lnTo>
                    <a:pt x="90" y="349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88" y="342"/>
                  </a:lnTo>
                  <a:lnTo>
                    <a:pt x="86" y="342"/>
                  </a:lnTo>
                  <a:lnTo>
                    <a:pt x="84" y="338"/>
                  </a:lnTo>
                  <a:lnTo>
                    <a:pt x="82" y="336"/>
                  </a:lnTo>
                  <a:lnTo>
                    <a:pt x="78" y="334"/>
                  </a:lnTo>
                  <a:lnTo>
                    <a:pt x="76" y="332"/>
                  </a:lnTo>
                  <a:lnTo>
                    <a:pt x="76" y="330"/>
                  </a:lnTo>
                  <a:lnTo>
                    <a:pt x="74" y="326"/>
                  </a:lnTo>
                  <a:lnTo>
                    <a:pt x="71" y="324"/>
                  </a:lnTo>
                  <a:lnTo>
                    <a:pt x="67" y="324"/>
                  </a:lnTo>
                  <a:lnTo>
                    <a:pt x="65" y="322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5" y="322"/>
                  </a:lnTo>
                  <a:lnTo>
                    <a:pt x="53" y="322"/>
                  </a:lnTo>
                  <a:lnTo>
                    <a:pt x="49" y="322"/>
                  </a:lnTo>
                  <a:lnTo>
                    <a:pt x="46" y="320"/>
                  </a:lnTo>
                  <a:lnTo>
                    <a:pt x="44" y="320"/>
                  </a:lnTo>
                  <a:lnTo>
                    <a:pt x="40" y="320"/>
                  </a:lnTo>
                  <a:lnTo>
                    <a:pt x="38" y="318"/>
                  </a:lnTo>
                  <a:lnTo>
                    <a:pt x="36" y="318"/>
                  </a:lnTo>
                  <a:lnTo>
                    <a:pt x="32" y="317"/>
                  </a:lnTo>
                  <a:lnTo>
                    <a:pt x="30" y="317"/>
                  </a:lnTo>
                  <a:lnTo>
                    <a:pt x="28" y="315"/>
                  </a:lnTo>
                  <a:lnTo>
                    <a:pt x="28" y="313"/>
                  </a:lnTo>
                  <a:lnTo>
                    <a:pt x="25" y="311"/>
                  </a:lnTo>
                  <a:lnTo>
                    <a:pt x="21" y="307"/>
                  </a:lnTo>
                  <a:lnTo>
                    <a:pt x="21" y="303"/>
                  </a:lnTo>
                  <a:lnTo>
                    <a:pt x="19" y="301"/>
                  </a:lnTo>
                  <a:lnTo>
                    <a:pt x="19" y="297"/>
                  </a:lnTo>
                  <a:lnTo>
                    <a:pt x="21" y="294"/>
                  </a:lnTo>
                  <a:lnTo>
                    <a:pt x="21" y="292"/>
                  </a:lnTo>
                  <a:lnTo>
                    <a:pt x="21" y="288"/>
                  </a:lnTo>
                  <a:lnTo>
                    <a:pt x="19" y="288"/>
                  </a:lnTo>
                  <a:lnTo>
                    <a:pt x="19" y="284"/>
                  </a:lnTo>
                  <a:lnTo>
                    <a:pt x="17" y="282"/>
                  </a:lnTo>
                  <a:lnTo>
                    <a:pt x="15" y="278"/>
                  </a:lnTo>
                  <a:lnTo>
                    <a:pt x="13" y="276"/>
                  </a:lnTo>
                  <a:lnTo>
                    <a:pt x="7" y="272"/>
                  </a:lnTo>
                  <a:lnTo>
                    <a:pt x="3" y="269"/>
                  </a:lnTo>
                  <a:lnTo>
                    <a:pt x="2" y="267"/>
                  </a:lnTo>
                  <a:lnTo>
                    <a:pt x="0" y="265"/>
                  </a:lnTo>
                  <a:lnTo>
                    <a:pt x="0" y="259"/>
                  </a:lnTo>
                  <a:lnTo>
                    <a:pt x="0" y="251"/>
                  </a:lnTo>
                  <a:lnTo>
                    <a:pt x="2" y="249"/>
                  </a:lnTo>
                  <a:lnTo>
                    <a:pt x="3" y="246"/>
                  </a:lnTo>
                  <a:lnTo>
                    <a:pt x="5" y="244"/>
                  </a:lnTo>
                  <a:lnTo>
                    <a:pt x="7" y="244"/>
                  </a:lnTo>
                  <a:lnTo>
                    <a:pt x="9" y="242"/>
                  </a:lnTo>
                  <a:lnTo>
                    <a:pt x="11" y="240"/>
                  </a:lnTo>
                  <a:lnTo>
                    <a:pt x="15" y="240"/>
                  </a:lnTo>
                  <a:lnTo>
                    <a:pt x="17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21" y="230"/>
                  </a:lnTo>
                  <a:lnTo>
                    <a:pt x="23" y="226"/>
                  </a:lnTo>
                  <a:lnTo>
                    <a:pt x="21" y="224"/>
                  </a:lnTo>
                  <a:lnTo>
                    <a:pt x="21" y="221"/>
                  </a:lnTo>
                  <a:lnTo>
                    <a:pt x="21" y="215"/>
                  </a:lnTo>
                  <a:lnTo>
                    <a:pt x="19" y="213"/>
                  </a:lnTo>
                  <a:lnTo>
                    <a:pt x="19" y="203"/>
                  </a:lnTo>
                  <a:lnTo>
                    <a:pt x="19" y="194"/>
                  </a:lnTo>
                  <a:lnTo>
                    <a:pt x="21" y="192"/>
                  </a:lnTo>
                  <a:lnTo>
                    <a:pt x="21" y="186"/>
                  </a:lnTo>
                  <a:lnTo>
                    <a:pt x="19" y="186"/>
                  </a:lnTo>
                  <a:lnTo>
                    <a:pt x="17" y="186"/>
                  </a:lnTo>
                  <a:lnTo>
                    <a:pt x="17" y="169"/>
                  </a:lnTo>
                  <a:lnTo>
                    <a:pt x="19" y="167"/>
                  </a:lnTo>
                  <a:lnTo>
                    <a:pt x="19" y="165"/>
                  </a:lnTo>
                  <a:lnTo>
                    <a:pt x="21" y="163"/>
                  </a:lnTo>
                  <a:lnTo>
                    <a:pt x="21" y="161"/>
                  </a:lnTo>
                  <a:lnTo>
                    <a:pt x="23" y="159"/>
                  </a:lnTo>
                  <a:lnTo>
                    <a:pt x="23" y="152"/>
                  </a:lnTo>
                  <a:lnTo>
                    <a:pt x="23" y="144"/>
                  </a:lnTo>
                  <a:lnTo>
                    <a:pt x="21" y="140"/>
                  </a:lnTo>
                  <a:lnTo>
                    <a:pt x="21" y="136"/>
                  </a:lnTo>
                  <a:lnTo>
                    <a:pt x="21" y="134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7" y="113"/>
                  </a:lnTo>
                  <a:lnTo>
                    <a:pt x="17" y="102"/>
                  </a:lnTo>
                  <a:lnTo>
                    <a:pt x="19" y="100"/>
                  </a:lnTo>
                  <a:lnTo>
                    <a:pt x="23" y="100"/>
                  </a:lnTo>
                  <a:lnTo>
                    <a:pt x="26" y="98"/>
                  </a:lnTo>
                  <a:lnTo>
                    <a:pt x="28" y="96"/>
                  </a:lnTo>
                  <a:lnTo>
                    <a:pt x="32" y="94"/>
                  </a:lnTo>
                  <a:lnTo>
                    <a:pt x="34" y="92"/>
                  </a:lnTo>
                  <a:lnTo>
                    <a:pt x="34" y="88"/>
                  </a:lnTo>
                  <a:lnTo>
                    <a:pt x="36" y="86"/>
                  </a:lnTo>
                  <a:lnTo>
                    <a:pt x="36" y="81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1"/>
                  </a:lnTo>
                  <a:lnTo>
                    <a:pt x="38" y="67"/>
                  </a:lnTo>
                  <a:lnTo>
                    <a:pt x="40" y="65"/>
                  </a:lnTo>
                  <a:lnTo>
                    <a:pt x="42" y="63"/>
                  </a:lnTo>
                  <a:lnTo>
                    <a:pt x="42" y="59"/>
                  </a:lnTo>
                  <a:lnTo>
                    <a:pt x="44" y="58"/>
                  </a:lnTo>
                  <a:lnTo>
                    <a:pt x="44" y="56"/>
                  </a:lnTo>
                  <a:lnTo>
                    <a:pt x="46" y="54"/>
                  </a:lnTo>
                  <a:lnTo>
                    <a:pt x="48" y="52"/>
                  </a:lnTo>
                  <a:lnTo>
                    <a:pt x="51" y="52"/>
                  </a:lnTo>
                  <a:lnTo>
                    <a:pt x="55" y="50"/>
                  </a:lnTo>
                  <a:lnTo>
                    <a:pt x="59" y="48"/>
                  </a:lnTo>
                  <a:lnTo>
                    <a:pt x="63" y="48"/>
                  </a:lnTo>
                  <a:lnTo>
                    <a:pt x="65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3" y="44"/>
                  </a:lnTo>
                  <a:lnTo>
                    <a:pt x="73" y="40"/>
                  </a:lnTo>
                  <a:lnTo>
                    <a:pt x="74" y="38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8" y="33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6" y="23"/>
                  </a:lnTo>
                  <a:lnTo>
                    <a:pt x="97" y="21"/>
                  </a:lnTo>
                  <a:lnTo>
                    <a:pt x="96" y="17"/>
                  </a:lnTo>
                  <a:lnTo>
                    <a:pt x="96" y="13"/>
                  </a:lnTo>
                  <a:lnTo>
                    <a:pt x="94" y="11"/>
                  </a:lnTo>
                  <a:lnTo>
                    <a:pt x="94" y="8"/>
                  </a:lnTo>
                  <a:lnTo>
                    <a:pt x="96" y="8"/>
                  </a:lnTo>
                  <a:lnTo>
                    <a:pt x="97" y="10"/>
                  </a:lnTo>
                  <a:lnTo>
                    <a:pt x="101" y="10"/>
                  </a:lnTo>
                  <a:lnTo>
                    <a:pt x="103" y="10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11" y="15"/>
                  </a:lnTo>
                  <a:lnTo>
                    <a:pt x="115" y="15"/>
                  </a:lnTo>
                  <a:lnTo>
                    <a:pt x="117" y="17"/>
                  </a:lnTo>
                  <a:lnTo>
                    <a:pt x="124" y="17"/>
                  </a:lnTo>
                  <a:lnTo>
                    <a:pt x="130" y="17"/>
                  </a:lnTo>
                  <a:lnTo>
                    <a:pt x="134" y="15"/>
                  </a:lnTo>
                  <a:lnTo>
                    <a:pt x="136" y="15"/>
                  </a:lnTo>
                  <a:lnTo>
                    <a:pt x="140" y="13"/>
                  </a:lnTo>
                  <a:lnTo>
                    <a:pt x="143" y="13"/>
                  </a:lnTo>
                  <a:lnTo>
                    <a:pt x="147" y="11"/>
                  </a:lnTo>
                  <a:lnTo>
                    <a:pt x="149" y="11"/>
                  </a:lnTo>
                  <a:lnTo>
                    <a:pt x="153" y="11"/>
                  </a:lnTo>
                  <a:lnTo>
                    <a:pt x="155" y="11"/>
                  </a:lnTo>
                  <a:lnTo>
                    <a:pt x="159" y="11"/>
                  </a:lnTo>
                  <a:lnTo>
                    <a:pt x="165" y="11"/>
                  </a:lnTo>
                  <a:lnTo>
                    <a:pt x="167" y="13"/>
                  </a:lnTo>
                  <a:lnTo>
                    <a:pt x="168" y="15"/>
                  </a:lnTo>
                  <a:lnTo>
                    <a:pt x="172" y="15"/>
                  </a:lnTo>
                  <a:lnTo>
                    <a:pt x="174" y="19"/>
                  </a:lnTo>
                  <a:lnTo>
                    <a:pt x="178" y="21"/>
                  </a:lnTo>
                  <a:lnTo>
                    <a:pt x="180" y="23"/>
                  </a:lnTo>
                  <a:lnTo>
                    <a:pt x="184" y="25"/>
                  </a:lnTo>
                  <a:lnTo>
                    <a:pt x="188" y="27"/>
                  </a:lnTo>
                  <a:lnTo>
                    <a:pt x="195" y="27"/>
                  </a:lnTo>
                  <a:lnTo>
                    <a:pt x="199" y="27"/>
                  </a:lnTo>
                  <a:lnTo>
                    <a:pt x="201" y="29"/>
                  </a:lnTo>
                  <a:lnTo>
                    <a:pt x="203" y="29"/>
                  </a:lnTo>
                  <a:lnTo>
                    <a:pt x="205" y="29"/>
                  </a:lnTo>
                  <a:lnTo>
                    <a:pt x="207" y="31"/>
                  </a:lnTo>
                  <a:lnTo>
                    <a:pt x="209" y="31"/>
                  </a:lnTo>
                  <a:lnTo>
                    <a:pt x="209" y="38"/>
                  </a:lnTo>
                  <a:lnTo>
                    <a:pt x="209" y="42"/>
                  </a:lnTo>
                  <a:lnTo>
                    <a:pt x="213" y="46"/>
                  </a:lnTo>
                  <a:lnTo>
                    <a:pt x="213" y="58"/>
                  </a:lnTo>
                  <a:lnTo>
                    <a:pt x="213" y="59"/>
                  </a:lnTo>
                  <a:lnTo>
                    <a:pt x="216" y="63"/>
                  </a:lnTo>
                  <a:lnTo>
                    <a:pt x="220" y="67"/>
                  </a:lnTo>
                  <a:lnTo>
                    <a:pt x="224" y="71"/>
                  </a:lnTo>
                  <a:lnTo>
                    <a:pt x="228" y="73"/>
                  </a:lnTo>
                  <a:lnTo>
                    <a:pt x="232" y="73"/>
                  </a:lnTo>
                  <a:lnTo>
                    <a:pt x="234" y="75"/>
                  </a:lnTo>
                  <a:lnTo>
                    <a:pt x="238" y="75"/>
                  </a:lnTo>
                  <a:lnTo>
                    <a:pt x="243" y="77"/>
                  </a:lnTo>
                  <a:lnTo>
                    <a:pt x="247" y="79"/>
                  </a:lnTo>
                  <a:lnTo>
                    <a:pt x="259" y="79"/>
                  </a:lnTo>
                  <a:lnTo>
                    <a:pt x="261" y="81"/>
                  </a:lnTo>
                  <a:lnTo>
                    <a:pt x="284" y="81"/>
                  </a:lnTo>
                  <a:lnTo>
                    <a:pt x="307" y="81"/>
                  </a:lnTo>
                  <a:lnTo>
                    <a:pt x="309" y="84"/>
                  </a:lnTo>
                  <a:lnTo>
                    <a:pt x="312" y="86"/>
                  </a:lnTo>
                  <a:lnTo>
                    <a:pt x="318" y="90"/>
                  </a:lnTo>
                  <a:lnTo>
                    <a:pt x="320" y="94"/>
                  </a:lnTo>
                  <a:lnTo>
                    <a:pt x="324" y="98"/>
                  </a:lnTo>
                  <a:lnTo>
                    <a:pt x="330" y="102"/>
                  </a:lnTo>
                  <a:lnTo>
                    <a:pt x="332" y="104"/>
                  </a:lnTo>
                  <a:lnTo>
                    <a:pt x="335" y="104"/>
                  </a:lnTo>
                  <a:lnTo>
                    <a:pt x="339" y="107"/>
                  </a:lnTo>
                  <a:lnTo>
                    <a:pt x="345" y="107"/>
                  </a:lnTo>
                  <a:lnTo>
                    <a:pt x="351" y="107"/>
                  </a:lnTo>
                  <a:lnTo>
                    <a:pt x="353" y="107"/>
                  </a:lnTo>
                  <a:lnTo>
                    <a:pt x="355" y="107"/>
                  </a:lnTo>
                  <a:lnTo>
                    <a:pt x="358" y="107"/>
                  </a:lnTo>
                  <a:lnTo>
                    <a:pt x="362" y="107"/>
                  </a:lnTo>
                  <a:lnTo>
                    <a:pt x="364" y="105"/>
                  </a:lnTo>
                  <a:lnTo>
                    <a:pt x="370" y="100"/>
                  </a:lnTo>
                  <a:lnTo>
                    <a:pt x="374" y="98"/>
                  </a:lnTo>
                  <a:lnTo>
                    <a:pt x="376" y="96"/>
                  </a:lnTo>
                  <a:lnTo>
                    <a:pt x="378" y="94"/>
                  </a:lnTo>
                  <a:lnTo>
                    <a:pt x="380" y="90"/>
                  </a:lnTo>
                  <a:lnTo>
                    <a:pt x="381" y="88"/>
                  </a:lnTo>
                  <a:lnTo>
                    <a:pt x="381" y="86"/>
                  </a:lnTo>
                  <a:lnTo>
                    <a:pt x="383" y="81"/>
                  </a:lnTo>
                  <a:lnTo>
                    <a:pt x="383" y="73"/>
                  </a:lnTo>
                  <a:lnTo>
                    <a:pt x="383" y="65"/>
                  </a:lnTo>
                  <a:lnTo>
                    <a:pt x="381" y="61"/>
                  </a:lnTo>
                  <a:lnTo>
                    <a:pt x="378" y="59"/>
                  </a:lnTo>
                  <a:lnTo>
                    <a:pt x="374" y="56"/>
                  </a:lnTo>
                  <a:lnTo>
                    <a:pt x="370" y="50"/>
                  </a:lnTo>
                  <a:lnTo>
                    <a:pt x="368" y="48"/>
                  </a:lnTo>
                  <a:lnTo>
                    <a:pt x="368" y="38"/>
                  </a:lnTo>
                  <a:lnTo>
                    <a:pt x="368" y="29"/>
                  </a:lnTo>
                  <a:lnTo>
                    <a:pt x="370" y="27"/>
                  </a:lnTo>
                  <a:lnTo>
                    <a:pt x="372" y="23"/>
                  </a:lnTo>
                  <a:lnTo>
                    <a:pt x="374" y="21"/>
                  </a:lnTo>
                  <a:lnTo>
                    <a:pt x="378" y="19"/>
                  </a:lnTo>
                  <a:lnTo>
                    <a:pt x="381" y="19"/>
                  </a:lnTo>
                  <a:lnTo>
                    <a:pt x="385" y="17"/>
                  </a:lnTo>
                  <a:lnTo>
                    <a:pt x="389" y="15"/>
                  </a:lnTo>
                  <a:lnTo>
                    <a:pt x="391" y="13"/>
                  </a:lnTo>
                  <a:lnTo>
                    <a:pt x="393" y="11"/>
                  </a:lnTo>
                  <a:lnTo>
                    <a:pt x="395" y="10"/>
                  </a:lnTo>
                  <a:lnTo>
                    <a:pt x="399" y="10"/>
                  </a:lnTo>
                  <a:lnTo>
                    <a:pt x="403" y="8"/>
                  </a:lnTo>
                  <a:lnTo>
                    <a:pt x="406" y="6"/>
                  </a:lnTo>
                  <a:lnTo>
                    <a:pt x="410" y="6"/>
                  </a:lnTo>
                  <a:lnTo>
                    <a:pt x="410" y="4"/>
                  </a:lnTo>
                  <a:lnTo>
                    <a:pt x="412" y="4"/>
                  </a:lnTo>
                  <a:lnTo>
                    <a:pt x="418" y="0"/>
                  </a:lnTo>
                  <a:lnTo>
                    <a:pt x="427" y="0"/>
                  </a:lnTo>
                  <a:lnTo>
                    <a:pt x="437" y="0"/>
                  </a:lnTo>
                  <a:lnTo>
                    <a:pt x="439" y="2"/>
                  </a:lnTo>
                  <a:lnTo>
                    <a:pt x="441" y="2"/>
                  </a:lnTo>
                  <a:lnTo>
                    <a:pt x="445" y="2"/>
                  </a:lnTo>
                  <a:lnTo>
                    <a:pt x="449" y="4"/>
                  </a:lnTo>
                  <a:lnTo>
                    <a:pt x="450" y="8"/>
                  </a:lnTo>
                  <a:lnTo>
                    <a:pt x="456" y="10"/>
                  </a:lnTo>
                  <a:lnTo>
                    <a:pt x="460" y="11"/>
                  </a:lnTo>
                  <a:lnTo>
                    <a:pt x="462" y="13"/>
                  </a:lnTo>
                  <a:lnTo>
                    <a:pt x="464" y="15"/>
                  </a:lnTo>
                  <a:lnTo>
                    <a:pt x="466" y="17"/>
                  </a:lnTo>
                  <a:lnTo>
                    <a:pt x="468" y="19"/>
                  </a:lnTo>
                  <a:lnTo>
                    <a:pt x="470" y="21"/>
                  </a:lnTo>
                  <a:lnTo>
                    <a:pt x="470" y="23"/>
                  </a:lnTo>
                  <a:lnTo>
                    <a:pt x="472" y="25"/>
                  </a:lnTo>
                  <a:lnTo>
                    <a:pt x="474" y="29"/>
                  </a:lnTo>
                  <a:lnTo>
                    <a:pt x="474" y="36"/>
                  </a:lnTo>
                  <a:lnTo>
                    <a:pt x="474" y="46"/>
                  </a:lnTo>
                  <a:lnTo>
                    <a:pt x="475" y="48"/>
                  </a:lnTo>
                  <a:lnTo>
                    <a:pt x="479" y="48"/>
                  </a:lnTo>
                  <a:lnTo>
                    <a:pt x="481" y="48"/>
                  </a:lnTo>
                  <a:lnTo>
                    <a:pt x="485" y="48"/>
                  </a:lnTo>
                  <a:lnTo>
                    <a:pt x="489" y="48"/>
                  </a:lnTo>
                  <a:lnTo>
                    <a:pt x="493" y="48"/>
                  </a:lnTo>
                  <a:lnTo>
                    <a:pt x="500" y="48"/>
                  </a:lnTo>
                  <a:lnTo>
                    <a:pt x="502" y="46"/>
                  </a:lnTo>
                  <a:lnTo>
                    <a:pt x="506" y="46"/>
                  </a:lnTo>
                  <a:lnTo>
                    <a:pt x="506" y="44"/>
                  </a:lnTo>
                  <a:lnTo>
                    <a:pt x="508" y="42"/>
                  </a:lnTo>
                  <a:lnTo>
                    <a:pt x="510" y="42"/>
                  </a:lnTo>
                  <a:lnTo>
                    <a:pt x="514" y="44"/>
                  </a:lnTo>
                  <a:lnTo>
                    <a:pt x="516" y="46"/>
                  </a:lnTo>
                  <a:lnTo>
                    <a:pt x="518" y="48"/>
                  </a:lnTo>
                  <a:lnTo>
                    <a:pt x="520" y="50"/>
                  </a:lnTo>
                  <a:lnTo>
                    <a:pt x="520" y="52"/>
                  </a:lnTo>
                  <a:lnTo>
                    <a:pt x="521" y="54"/>
                  </a:lnTo>
                  <a:lnTo>
                    <a:pt x="523" y="56"/>
                  </a:lnTo>
                  <a:lnTo>
                    <a:pt x="527" y="56"/>
                  </a:lnTo>
                  <a:lnTo>
                    <a:pt x="529" y="58"/>
                  </a:lnTo>
                  <a:lnTo>
                    <a:pt x="537" y="58"/>
                  </a:lnTo>
                  <a:lnTo>
                    <a:pt x="545" y="58"/>
                  </a:lnTo>
                  <a:lnTo>
                    <a:pt x="546" y="61"/>
                  </a:lnTo>
                  <a:lnTo>
                    <a:pt x="548" y="6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1" name="Freeform 57"/>
            <p:cNvSpPr>
              <a:spLocks/>
            </p:cNvSpPr>
            <p:nvPr/>
          </p:nvSpPr>
          <p:spPr bwMode="auto">
            <a:xfrm>
              <a:off x="1469" y="945"/>
              <a:ext cx="151" cy="261"/>
            </a:xfrm>
            <a:custGeom>
              <a:avLst/>
              <a:gdLst/>
              <a:ahLst/>
              <a:cxnLst>
                <a:cxn ang="0">
                  <a:pos x="136" y="165"/>
                </a:cxn>
                <a:cxn ang="0">
                  <a:pos x="125" y="155"/>
                </a:cxn>
                <a:cxn ang="0">
                  <a:pos x="117" y="147"/>
                </a:cxn>
                <a:cxn ang="0">
                  <a:pos x="109" y="145"/>
                </a:cxn>
                <a:cxn ang="0">
                  <a:pos x="98" y="144"/>
                </a:cxn>
                <a:cxn ang="0">
                  <a:pos x="90" y="132"/>
                </a:cxn>
                <a:cxn ang="0">
                  <a:pos x="82" y="126"/>
                </a:cxn>
                <a:cxn ang="0">
                  <a:pos x="86" y="113"/>
                </a:cxn>
                <a:cxn ang="0">
                  <a:pos x="94" y="113"/>
                </a:cxn>
                <a:cxn ang="0">
                  <a:pos x="107" y="111"/>
                </a:cxn>
                <a:cxn ang="0">
                  <a:pos x="113" y="103"/>
                </a:cxn>
                <a:cxn ang="0">
                  <a:pos x="117" y="92"/>
                </a:cxn>
                <a:cxn ang="0">
                  <a:pos x="119" y="80"/>
                </a:cxn>
                <a:cxn ang="0">
                  <a:pos x="119" y="71"/>
                </a:cxn>
                <a:cxn ang="0">
                  <a:pos x="115" y="59"/>
                </a:cxn>
                <a:cxn ang="0">
                  <a:pos x="102" y="55"/>
                </a:cxn>
                <a:cxn ang="0">
                  <a:pos x="105" y="46"/>
                </a:cxn>
                <a:cxn ang="0">
                  <a:pos x="115" y="34"/>
                </a:cxn>
                <a:cxn ang="0">
                  <a:pos x="119" y="21"/>
                </a:cxn>
                <a:cxn ang="0">
                  <a:pos x="103" y="25"/>
                </a:cxn>
                <a:cxn ang="0">
                  <a:pos x="90" y="17"/>
                </a:cxn>
                <a:cxn ang="0">
                  <a:pos x="84" y="5"/>
                </a:cxn>
                <a:cxn ang="0">
                  <a:pos x="73" y="0"/>
                </a:cxn>
                <a:cxn ang="0">
                  <a:pos x="54" y="7"/>
                </a:cxn>
                <a:cxn ang="0">
                  <a:pos x="44" y="17"/>
                </a:cxn>
                <a:cxn ang="0">
                  <a:pos x="31" y="28"/>
                </a:cxn>
                <a:cxn ang="0">
                  <a:pos x="25" y="42"/>
                </a:cxn>
                <a:cxn ang="0">
                  <a:pos x="29" y="59"/>
                </a:cxn>
                <a:cxn ang="0">
                  <a:pos x="29" y="73"/>
                </a:cxn>
                <a:cxn ang="0">
                  <a:pos x="27" y="90"/>
                </a:cxn>
                <a:cxn ang="0">
                  <a:pos x="15" y="103"/>
                </a:cxn>
                <a:cxn ang="0">
                  <a:pos x="6" y="111"/>
                </a:cxn>
                <a:cxn ang="0">
                  <a:pos x="0" y="126"/>
                </a:cxn>
                <a:cxn ang="0">
                  <a:pos x="0" y="138"/>
                </a:cxn>
                <a:cxn ang="0">
                  <a:pos x="4" y="155"/>
                </a:cxn>
                <a:cxn ang="0">
                  <a:pos x="11" y="168"/>
                </a:cxn>
                <a:cxn ang="0">
                  <a:pos x="19" y="182"/>
                </a:cxn>
                <a:cxn ang="0">
                  <a:pos x="31" y="188"/>
                </a:cxn>
                <a:cxn ang="0">
                  <a:pos x="44" y="193"/>
                </a:cxn>
                <a:cxn ang="0">
                  <a:pos x="48" y="205"/>
                </a:cxn>
                <a:cxn ang="0">
                  <a:pos x="46" y="215"/>
                </a:cxn>
                <a:cxn ang="0">
                  <a:pos x="52" y="224"/>
                </a:cxn>
                <a:cxn ang="0">
                  <a:pos x="59" y="236"/>
                </a:cxn>
                <a:cxn ang="0">
                  <a:pos x="67" y="253"/>
                </a:cxn>
                <a:cxn ang="0">
                  <a:pos x="75" y="261"/>
                </a:cxn>
                <a:cxn ang="0">
                  <a:pos x="88" y="249"/>
                </a:cxn>
                <a:cxn ang="0">
                  <a:pos x="90" y="232"/>
                </a:cxn>
                <a:cxn ang="0">
                  <a:pos x="90" y="224"/>
                </a:cxn>
                <a:cxn ang="0">
                  <a:pos x="100" y="211"/>
                </a:cxn>
                <a:cxn ang="0">
                  <a:pos x="109" y="205"/>
                </a:cxn>
                <a:cxn ang="0">
                  <a:pos x="127" y="197"/>
                </a:cxn>
                <a:cxn ang="0">
                  <a:pos x="134" y="186"/>
                </a:cxn>
                <a:cxn ang="0">
                  <a:pos x="146" y="182"/>
                </a:cxn>
                <a:cxn ang="0">
                  <a:pos x="150" y="172"/>
                </a:cxn>
              </a:cxnLst>
              <a:rect l="0" t="0" r="r" b="b"/>
              <a:pathLst>
                <a:path w="151" h="261">
                  <a:moveTo>
                    <a:pt x="148" y="165"/>
                  </a:moveTo>
                  <a:lnTo>
                    <a:pt x="140" y="165"/>
                  </a:lnTo>
                  <a:lnTo>
                    <a:pt x="140" y="165"/>
                  </a:lnTo>
                  <a:lnTo>
                    <a:pt x="138" y="165"/>
                  </a:lnTo>
                  <a:lnTo>
                    <a:pt x="136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27" y="161"/>
                  </a:lnTo>
                  <a:lnTo>
                    <a:pt x="127" y="157"/>
                  </a:lnTo>
                  <a:lnTo>
                    <a:pt x="125" y="155"/>
                  </a:lnTo>
                  <a:lnTo>
                    <a:pt x="125" y="153"/>
                  </a:lnTo>
                  <a:lnTo>
                    <a:pt x="123" y="153"/>
                  </a:lnTo>
                  <a:lnTo>
                    <a:pt x="123" y="149"/>
                  </a:lnTo>
                  <a:lnTo>
                    <a:pt x="119" y="147"/>
                  </a:lnTo>
                  <a:lnTo>
                    <a:pt x="117" y="147"/>
                  </a:lnTo>
                  <a:lnTo>
                    <a:pt x="113" y="147"/>
                  </a:lnTo>
                  <a:lnTo>
                    <a:pt x="111" y="145"/>
                  </a:lnTo>
                  <a:lnTo>
                    <a:pt x="111" y="145"/>
                  </a:lnTo>
                  <a:lnTo>
                    <a:pt x="109" y="145"/>
                  </a:lnTo>
                  <a:lnTo>
                    <a:pt x="109" y="145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0" y="145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6" y="144"/>
                  </a:lnTo>
                  <a:lnTo>
                    <a:pt x="94" y="140"/>
                  </a:lnTo>
                  <a:lnTo>
                    <a:pt x="90" y="138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88" y="130"/>
                  </a:lnTo>
                  <a:lnTo>
                    <a:pt x="86" y="128"/>
                  </a:lnTo>
                  <a:lnTo>
                    <a:pt x="82" y="128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17"/>
                  </a:lnTo>
                  <a:lnTo>
                    <a:pt x="86" y="113"/>
                  </a:lnTo>
                  <a:lnTo>
                    <a:pt x="88" y="113"/>
                  </a:lnTo>
                  <a:lnTo>
                    <a:pt x="90" y="113"/>
                  </a:lnTo>
                  <a:lnTo>
                    <a:pt x="92" y="113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6" y="113"/>
                  </a:lnTo>
                  <a:lnTo>
                    <a:pt x="98" y="113"/>
                  </a:lnTo>
                  <a:lnTo>
                    <a:pt x="98" y="113"/>
                  </a:lnTo>
                  <a:lnTo>
                    <a:pt x="107" y="113"/>
                  </a:lnTo>
                  <a:lnTo>
                    <a:pt x="107" y="111"/>
                  </a:lnTo>
                  <a:lnTo>
                    <a:pt x="109" y="111"/>
                  </a:lnTo>
                  <a:lnTo>
                    <a:pt x="109" y="107"/>
                  </a:lnTo>
                  <a:lnTo>
                    <a:pt x="111" y="107"/>
                  </a:lnTo>
                  <a:lnTo>
                    <a:pt x="111" y="105"/>
                  </a:lnTo>
                  <a:lnTo>
                    <a:pt x="113" y="103"/>
                  </a:lnTo>
                  <a:lnTo>
                    <a:pt x="113" y="99"/>
                  </a:lnTo>
                  <a:lnTo>
                    <a:pt x="115" y="97"/>
                  </a:lnTo>
                  <a:lnTo>
                    <a:pt x="115" y="94"/>
                  </a:lnTo>
                  <a:lnTo>
                    <a:pt x="117" y="94"/>
                  </a:lnTo>
                  <a:lnTo>
                    <a:pt x="117" y="92"/>
                  </a:lnTo>
                  <a:lnTo>
                    <a:pt x="117" y="88"/>
                  </a:lnTo>
                  <a:lnTo>
                    <a:pt x="117" y="86"/>
                  </a:lnTo>
                  <a:lnTo>
                    <a:pt x="117" y="84"/>
                  </a:lnTo>
                  <a:lnTo>
                    <a:pt x="119" y="82"/>
                  </a:lnTo>
                  <a:lnTo>
                    <a:pt x="119" y="80"/>
                  </a:lnTo>
                  <a:lnTo>
                    <a:pt x="119" y="78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9" y="67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7" y="61"/>
                  </a:lnTo>
                  <a:lnTo>
                    <a:pt x="115" y="59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09" y="57"/>
                  </a:lnTo>
                  <a:lnTo>
                    <a:pt x="105" y="57"/>
                  </a:lnTo>
                  <a:lnTo>
                    <a:pt x="102" y="55"/>
                  </a:lnTo>
                  <a:lnTo>
                    <a:pt x="100" y="53"/>
                  </a:lnTo>
                  <a:lnTo>
                    <a:pt x="102" y="51"/>
                  </a:lnTo>
                  <a:lnTo>
                    <a:pt x="103" y="49"/>
                  </a:lnTo>
                  <a:lnTo>
                    <a:pt x="105" y="48"/>
                  </a:lnTo>
                  <a:lnTo>
                    <a:pt x="105" y="46"/>
                  </a:lnTo>
                  <a:lnTo>
                    <a:pt x="109" y="46"/>
                  </a:lnTo>
                  <a:lnTo>
                    <a:pt x="111" y="44"/>
                  </a:lnTo>
                  <a:lnTo>
                    <a:pt x="113" y="40"/>
                  </a:lnTo>
                  <a:lnTo>
                    <a:pt x="115" y="38"/>
                  </a:lnTo>
                  <a:lnTo>
                    <a:pt x="115" y="34"/>
                  </a:lnTo>
                  <a:lnTo>
                    <a:pt x="117" y="32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19" y="25"/>
                  </a:lnTo>
                  <a:lnTo>
                    <a:pt x="119" y="21"/>
                  </a:lnTo>
                  <a:lnTo>
                    <a:pt x="111" y="21"/>
                  </a:lnTo>
                  <a:lnTo>
                    <a:pt x="109" y="23"/>
                  </a:lnTo>
                  <a:lnTo>
                    <a:pt x="109" y="25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6"/>
                  </a:lnTo>
                  <a:lnTo>
                    <a:pt x="96" y="26"/>
                  </a:lnTo>
                  <a:lnTo>
                    <a:pt x="94" y="25"/>
                  </a:lnTo>
                  <a:lnTo>
                    <a:pt x="90" y="23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4" y="5"/>
                  </a:lnTo>
                  <a:lnTo>
                    <a:pt x="82" y="3"/>
                  </a:lnTo>
                  <a:lnTo>
                    <a:pt x="79" y="2"/>
                  </a:lnTo>
                  <a:lnTo>
                    <a:pt x="75" y="2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63" y="0"/>
                  </a:lnTo>
                  <a:lnTo>
                    <a:pt x="61" y="2"/>
                  </a:lnTo>
                  <a:lnTo>
                    <a:pt x="57" y="3"/>
                  </a:lnTo>
                  <a:lnTo>
                    <a:pt x="56" y="7"/>
                  </a:lnTo>
                  <a:lnTo>
                    <a:pt x="54" y="7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8" y="13"/>
                  </a:lnTo>
                  <a:lnTo>
                    <a:pt x="46" y="15"/>
                  </a:lnTo>
                  <a:lnTo>
                    <a:pt x="44" y="17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4" y="23"/>
                  </a:lnTo>
                  <a:lnTo>
                    <a:pt x="32" y="26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5" y="32"/>
                  </a:lnTo>
                  <a:lnTo>
                    <a:pt x="23" y="32"/>
                  </a:lnTo>
                  <a:lnTo>
                    <a:pt x="25" y="38"/>
                  </a:lnTo>
                  <a:lnTo>
                    <a:pt x="25" y="42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9"/>
                  </a:lnTo>
                  <a:lnTo>
                    <a:pt x="29" y="53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5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8"/>
                  </a:lnTo>
                  <a:lnTo>
                    <a:pt x="29" y="88"/>
                  </a:lnTo>
                  <a:lnTo>
                    <a:pt x="27" y="90"/>
                  </a:lnTo>
                  <a:lnTo>
                    <a:pt x="27" y="92"/>
                  </a:lnTo>
                  <a:lnTo>
                    <a:pt x="23" y="96"/>
                  </a:lnTo>
                  <a:lnTo>
                    <a:pt x="21" y="97"/>
                  </a:lnTo>
                  <a:lnTo>
                    <a:pt x="19" y="101"/>
                  </a:lnTo>
                  <a:lnTo>
                    <a:pt x="15" y="103"/>
                  </a:lnTo>
                  <a:lnTo>
                    <a:pt x="13" y="107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8" y="111"/>
                  </a:lnTo>
                  <a:lnTo>
                    <a:pt x="6" y="111"/>
                  </a:lnTo>
                  <a:lnTo>
                    <a:pt x="4" y="115"/>
                  </a:lnTo>
                  <a:lnTo>
                    <a:pt x="2" y="117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0" y="126"/>
                  </a:lnTo>
                  <a:lnTo>
                    <a:pt x="0" y="130"/>
                  </a:lnTo>
                  <a:lnTo>
                    <a:pt x="0" y="132"/>
                  </a:lnTo>
                  <a:lnTo>
                    <a:pt x="0" y="134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4"/>
                  </a:lnTo>
                  <a:lnTo>
                    <a:pt x="2" y="147"/>
                  </a:lnTo>
                  <a:lnTo>
                    <a:pt x="4" y="151"/>
                  </a:lnTo>
                  <a:lnTo>
                    <a:pt x="4" y="155"/>
                  </a:lnTo>
                  <a:lnTo>
                    <a:pt x="6" y="159"/>
                  </a:lnTo>
                  <a:lnTo>
                    <a:pt x="8" y="161"/>
                  </a:lnTo>
                  <a:lnTo>
                    <a:pt x="11" y="163"/>
                  </a:lnTo>
                  <a:lnTo>
                    <a:pt x="11" y="165"/>
                  </a:lnTo>
                  <a:lnTo>
                    <a:pt x="11" y="168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5" y="176"/>
                  </a:lnTo>
                  <a:lnTo>
                    <a:pt x="19" y="178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3" y="186"/>
                  </a:lnTo>
                  <a:lnTo>
                    <a:pt x="27" y="186"/>
                  </a:lnTo>
                  <a:lnTo>
                    <a:pt x="29" y="188"/>
                  </a:lnTo>
                  <a:lnTo>
                    <a:pt x="31" y="188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40" y="190"/>
                  </a:lnTo>
                  <a:lnTo>
                    <a:pt x="42" y="191"/>
                  </a:lnTo>
                  <a:lnTo>
                    <a:pt x="44" y="193"/>
                  </a:lnTo>
                  <a:lnTo>
                    <a:pt x="44" y="195"/>
                  </a:lnTo>
                  <a:lnTo>
                    <a:pt x="48" y="197"/>
                  </a:lnTo>
                  <a:lnTo>
                    <a:pt x="48" y="199"/>
                  </a:lnTo>
                  <a:lnTo>
                    <a:pt x="48" y="203"/>
                  </a:lnTo>
                  <a:lnTo>
                    <a:pt x="48" y="205"/>
                  </a:lnTo>
                  <a:lnTo>
                    <a:pt x="46" y="207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6" y="211"/>
                  </a:lnTo>
                  <a:lnTo>
                    <a:pt x="46" y="215"/>
                  </a:lnTo>
                  <a:lnTo>
                    <a:pt x="46" y="218"/>
                  </a:lnTo>
                  <a:lnTo>
                    <a:pt x="48" y="218"/>
                  </a:lnTo>
                  <a:lnTo>
                    <a:pt x="48" y="222"/>
                  </a:lnTo>
                  <a:lnTo>
                    <a:pt x="50" y="224"/>
                  </a:lnTo>
                  <a:lnTo>
                    <a:pt x="52" y="224"/>
                  </a:lnTo>
                  <a:lnTo>
                    <a:pt x="54" y="226"/>
                  </a:lnTo>
                  <a:lnTo>
                    <a:pt x="54" y="230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9" y="236"/>
                  </a:lnTo>
                  <a:lnTo>
                    <a:pt x="61" y="239"/>
                  </a:lnTo>
                  <a:lnTo>
                    <a:pt x="61" y="243"/>
                  </a:lnTo>
                  <a:lnTo>
                    <a:pt x="63" y="245"/>
                  </a:lnTo>
                  <a:lnTo>
                    <a:pt x="65" y="249"/>
                  </a:lnTo>
                  <a:lnTo>
                    <a:pt x="67" y="253"/>
                  </a:lnTo>
                  <a:lnTo>
                    <a:pt x="69" y="255"/>
                  </a:lnTo>
                  <a:lnTo>
                    <a:pt x="69" y="259"/>
                  </a:lnTo>
                  <a:lnTo>
                    <a:pt x="71" y="261"/>
                  </a:lnTo>
                  <a:lnTo>
                    <a:pt x="73" y="261"/>
                  </a:lnTo>
                  <a:lnTo>
                    <a:pt x="75" y="261"/>
                  </a:lnTo>
                  <a:lnTo>
                    <a:pt x="79" y="257"/>
                  </a:lnTo>
                  <a:lnTo>
                    <a:pt x="82" y="255"/>
                  </a:lnTo>
                  <a:lnTo>
                    <a:pt x="84" y="251"/>
                  </a:lnTo>
                  <a:lnTo>
                    <a:pt x="86" y="249"/>
                  </a:lnTo>
                  <a:lnTo>
                    <a:pt x="88" y="249"/>
                  </a:lnTo>
                  <a:lnTo>
                    <a:pt x="90" y="247"/>
                  </a:lnTo>
                  <a:lnTo>
                    <a:pt x="90" y="241"/>
                  </a:lnTo>
                  <a:lnTo>
                    <a:pt x="90" y="238"/>
                  </a:lnTo>
                  <a:lnTo>
                    <a:pt x="90" y="236"/>
                  </a:lnTo>
                  <a:lnTo>
                    <a:pt x="90" y="232"/>
                  </a:lnTo>
                  <a:lnTo>
                    <a:pt x="90" y="230"/>
                  </a:lnTo>
                  <a:lnTo>
                    <a:pt x="90" y="228"/>
                  </a:lnTo>
                  <a:lnTo>
                    <a:pt x="90" y="226"/>
                  </a:lnTo>
                  <a:lnTo>
                    <a:pt x="90" y="226"/>
                  </a:lnTo>
                  <a:lnTo>
                    <a:pt x="90" y="224"/>
                  </a:lnTo>
                  <a:lnTo>
                    <a:pt x="90" y="218"/>
                  </a:lnTo>
                  <a:lnTo>
                    <a:pt x="92" y="216"/>
                  </a:lnTo>
                  <a:lnTo>
                    <a:pt x="94" y="213"/>
                  </a:lnTo>
                  <a:lnTo>
                    <a:pt x="98" y="213"/>
                  </a:lnTo>
                  <a:lnTo>
                    <a:pt x="100" y="211"/>
                  </a:lnTo>
                  <a:lnTo>
                    <a:pt x="103" y="209"/>
                  </a:lnTo>
                  <a:lnTo>
                    <a:pt x="105" y="207"/>
                  </a:lnTo>
                  <a:lnTo>
                    <a:pt x="107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17" y="205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7" y="197"/>
                  </a:lnTo>
                  <a:lnTo>
                    <a:pt x="130" y="197"/>
                  </a:lnTo>
                  <a:lnTo>
                    <a:pt x="130" y="193"/>
                  </a:lnTo>
                  <a:lnTo>
                    <a:pt x="132" y="191"/>
                  </a:lnTo>
                  <a:lnTo>
                    <a:pt x="134" y="190"/>
                  </a:lnTo>
                  <a:lnTo>
                    <a:pt x="134" y="186"/>
                  </a:lnTo>
                  <a:lnTo>
                    <a:pt x="136" y="186"/>
                  </a:lnTo>
                  <a:lnTo>
                    <a:pt x="138" y="184"/>
                  </a:lnTo>
                  <a:lnTo>
                    <a:pt x="142" y="184"/>
                  </a:lnTo>
                  <a:lnTo>
                    <a:pt x="142" y="182"/>
                  </a:lnTo>
                  <a:lnTo>
                    <a:pt x="146" y="182"/>
                  </a:lnTo>
                  <a:lnTo>
                    <a:pt x="150" y="180"/>
                  </a:lnTo>
                  <a:lnTo>
                    <a:pt x="150" y="178"/>
                  </a:lnTo>
                  <a:lnTo>
                    <a:pt x="151" y="176"/>
                  </a:lnTo>
                  <a:lnTo>
                    <a:pt x="151" y="172"/>
                  </a:lnTo>
                  <a:lnTo>
                    <a:pt x="150" y="172"/>
                  </a:lnTo>
                  <a:lnTo>
                    <a:pt x="150" y="170"/>
                  </a:lnTo>
                  <a:lnTo>
                    <a:pt x="150" y="165"/>
                  </a:lnTo>
                  <a:lnTo>
                    <a:pt x="148" y="1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2" name="Freeform 58"/>
            <p:cNvSpPr>
              <a:spLocks/>
            </p:cNvSpPr>
            <p:nvPr/>
          </p:nvSpPr>
          <p:spPr bwMode="auto">
            <a:xfrm>
              <a:off x="1469" y="945"/>
              <a:ext cx="151" cy="261"/>
            </a:xfrm>
            <a:custGeom>
              <a:avLst/>
              <a:gdLst/>
              <a:ahLst/>
              <a:cxnLst>
                <a:cxn ang="0">
                  <a:pos x="136" y="165"/>
                </a:cxn>
                <a:cxn ang="0">
                  <a:pos x="125" y="155"/>
                </a:cxn>
                <a:cxn ang="0">
                  <a:pos x="117" y="147"/>
                </a:cxn>
                <a:cxn ang="0">
                  <a:pos x="109" y="145"/>
                </a:cxn>
                <a:cxn ang="0">
                  <a:pos x="98" y="144"/>
                </a:cxn>
                <a:cxn ang="0">
                  <a:pos x="90" y="132"/>
                </a:cxn>
                <a:cxn ang="0">
                  <a:pos x="82" y="126"/>
                </a:cxn>
                <a:cxn ang="0">
                  <a:pos x="86" y="113"/>
                </a:cxn>
                <a:cxn ang="0">
                  <a:pos x="94" y="113"/>
                </a:cxn>
                <a:cxn ang="0">
                  <a:pos x="107" y="111"/>
                </a:cxn>
                <a:cxn ang="0">
                  <a:pos x="113" y="103"/>
                </a:cxn>
                <a:cxn ang="0">
                  <a:pos x="117" y="92"/>
                </a:cxn>
                <a:cxn ang="0">
                  <a:pos x="119" y="80"/>
                </a:cxn>
                <a:cxn ang="0">
                  <a:pos x="119" y="71"/>
                </a:cxn>
                <a:cxn ang="0">
                  <a:pos x="115" y="59"/>
                </a:cxn>
                <a:cxn ang="0">
                  <a:pos x="102" y="55"/>
                </a:cxn>
                <a:cxn ang="0">
                  <a:pos x="105" y="46"/>
                </a:cxn>
                <a:cxn ang="0">
                  <a:pos x="115" y="34"/>
                </a:cxn>
                <a:cxn ang="0">
                  <a:pos x="119" y="21"/>
                </a:cxn>
                <a:cxn ang="0">
                  <a:pos x="103" y="25"/>
                </a:cxn>
                <a:cxn ang="0">
                  <a:pos x="90" y="17"/>
                </a:cxn>
                <a:cxn ang="0">
                  <a:pos x="84" y="5"/>
                </a:cxn>
                <a:cxn ang="0">
                  <a:pos x="73" y="0"/>
                </a:cxn>
                <a:cxn ang="0">
                  <a:pos x="54" y="7"/>
                </a:cxn>
                <a:cxn ang="0">
                  <a:pos x="44" y="17"/>
                </a:cxn>
                <a:cxn ang="0">
                  <a:pos x="31" y="28"/>
                </a:cxn>
                <a:cxn ang="0">
                  <a:pos x="25" y="42"/>
                </a:cxn>
                <a:cxn ang="0">
                  <a:pos x="29" y="59"/>
                </a:cxn>
                <a:cxn ang="0">
                  <a:pos x="29" y="73"/>
                </a:cxn>
                <a:cxn ang="0">
                  <a:pos x="27" y="90"/>
                </a:cxn>
                <a:cxn ang="0">
                  <a:pos x="15" y="103"/>
                </a:cxn>
                <a:cxn ang="0">
                  <a:pos x="6" y="111"/>
                </a:cxn>
                <a:cxn ang="0">
                  <a:pos x="0" y="126"/>
                </a:cxn>
                <a:cxn ang="0">
                  <a:pos x="0" y="138"/>
                </a:cxn>
                <a:cxn ang="0">
                  <a:pos x="4" y="155"/>
                </a:cxn>
                <a:cxn ang="0">
                  <a:pos x="11" y="168"/>
                </a:cxn>
                <a:cxn ang="0">
                  <a:pos x="19" y="182"/>
                </a:cxn>
                <a:cxn ang="0">
                  <a:pos x="31" y="188"/>
                </a:cxn>
                <a:cxn ang="0">
                  <a:pos x="44" y="193"/>
                </a:cxn>
                <a:cxn ang="0">
                  <a:pos x="48" y="205"/>
                </a:cxn>
                <a:cxn ang="0">
                  <a:pos x="46" y="215"/>
                </a:cxn>
                <a:cxn ang="0">
                  <a:pos x="52" y="224"/>
                </a:cxn>
                <a:cxn ang="0">
                  <a:pos x="59" y="236"/>
                </a:cxn>
                <a:cxn ang="0">
                  <a:pos x="67" y="253"/>
                </a:cxn>
                <a:cxn ang="0">
                  <a:pos x="75" y="261"/>
                </a:cxn>
                <a:cxn ang="0">
                  <a:pos x="88" y="249"/>
                </a:cxn>
                <a:cxn ang="0">
                  <a:pos x="90" y="232"/>
                </a:cxn>
                <a:cxn ang="0">
                  <a:pos x="90" y="224"/>
                </a:cxn>
                <a:cxn ang="0">
                  <a:pos x="100" y="211"/>
                </a:cxn>
                <a:cxn ang="0">
                  <a:pos x="109" y="205"/>
                </a:cxn>
                <a:cxn ang="0">
                  <a:pos x="127" y="197"/>
                </a:cxn>
                <a:cxn ang="0">
                  <a:pos x="134" y="186"/>
                </a:cxn>
                <a:cxn ang="0">
                  <a:pos x="146" y="182"/>
                </a:cxn>
                <a:cxn ang="0">
                  <a:pos x="150" y="172"/>
                </a:cxn>
              </a:cxnLst>
              <a:rect l="0" t="0" r="r" b="b"/>
              <a:pathLst>
                <a:path w="151" h="261">
                  <a:moveTo>
                    <a:pt x="148" y="165"/>
                  </a:moveTo>
                  <a:lnTo>
                    <a:pt x="140" y="165"/>
                  </a:lnTo>
                  <a:lnTo>
                    <a:pt x="140" y="165"/>
                  </a:lnTo>
                  <a:lnTo>
                    <a:pt x="138" y="165"/>
                  </a:lnTo>
                  <a:lnTo>
                    <a:pt x="136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27" y="161"/>
                  </a:lnTo>
                  <a:lnTo>
                    <a:pt x="127" y="157"/>
                  </a:lnTo>
                  <a:lnTo>
                    <a:pt x="125" y="155"/>
                  </a:lnTo>
                  <a:lnTo>
                    <a:pt x="125" y="153"/>
                  </a:lnTo>
                  <a:lnTo>
                    <a:pt x="123" y="153"/>
                  </a:lnTo>
                  <a:lnTo>
                    <a:pt x="123" y="149"/>
                  </a:lnTo>
                  <a:lnTo>
                    <a:pt x="119" y="147"/>
                  </a:lnTo>
                  <a:lnTo>
                    <a:pt x="117" y="147"/>
                  </a:lnTo>
                  <a:lnTo>
                    <a:pt x="113" y="147"/>
                  </a:lnTo>
                  <a:lnTo>
                    <a:pt x="111" y="145"/>
                  </a:lnTo>
                  <a:lnTo>
                    <a:pt x="111" y="145"/>
                  </a:lnTo>
                  <a:lnTo>
                    <a:pt x="109" y="145"/>
                  </a:lnTo>
                  <a:lnTo>
                    <a:pt x="109" y="145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0" y="145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6" y="144"/>
                  </a:lnTo>
                  <a:lnTo>
                    <a:pt x="94" y="140"/>
                  </a:lnTo>
                  <a:lnTo>
                    <a:pt x="90" y="138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88" y="130"/>
                  </a:lnTo>
                  <a:lnTo>
                    <a:pt x="86" y="128"/>
                  </a:lnTo>
                  <a:lnTo>
                    <a:pt x="82" y="128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17"/>
                  </a:lnTo>
                  <a:lnTo>
                    <a:pt x="86" y="113"/>
                  </a:lnTo>
                  <a:lnTo>
                    <a:pt x="88" y="113"/>
                  </a:lnTo>
                  <a:lnTo>
                    <a:pt x="90" y="113"/>
                  </a:lnTo>
                  <a:lnTo>
                    <a:pt x="92" y="113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6" y="113"/>
                  </a:lnTo>
                  <a:lnTo>
                    <a:pt x="98" y="113"/>
                  </a:lnTo>
                  <a:lnTo>
                    <a:pt x="98" y="113"/>
                  </a:lnTo>
                  <a:lnTo>
                    <a:pt x="107" y="113"/>
                  </a:lnTo>
                  <a:lnTo>
                    <a:pt x="107" y="111"/>
                  </a:lnTo>
                  <a:lnTo>
                    <a:pt x="109" y="111"/>
                  </a:lnTo>
                  <a:lnTo>
                    <a:pt x="109" y="107"/>
                  </a:lnTo>
                  <a:lnTo>
                    <a:pt x="111" y="107"/>
                  </a:lnTo>
                  <a:lnTo>
                    <a:pt x="111" y="105"/>
                  </a:lnTo>
                  <a:lnTo>
                    <a:pt x="113" y="103"/>
                  </a:lnTo>
                  <a:lnTo>
                    <a:pt x="113" y="99"/>
                  </a:lnTo>
                  <a:lnTo>
                    <a:pt x="115" y="97"/>
                  </a:lnTo>
                  <a:lnTo>
                    <a:pt x="115" y="94"/>
                  </a:lnTo>
                  <a:lnTo>
                    <a:pt x="117" y="94"/>
                  </a:lnTo>
                  <a:lnTo>
                    <a:pt x="117" y="92"/>
                  </a:lnTo>
                  <a:lnTo>
                    <a:pt x="117" y="88"/>
                  </a:lnTo>
                  <a:lnTo>
                    <a:pt x="117" y="86"/>
                  </a:lnTo>
                  <a:lnTo>
                    <a:pt x="117" y="84"/>
                  </a:lnTo>
                  <a:lnTo>
                    <a:pt x="119" y="82"/>
                  </a:lnTo>
                  <a:lnTo>
                    <a:pt x="119" y="80"/>
                  </a:lnTo>
                  <a:lnTo>
                    <a:pt x="119" y="78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9" y="67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7" y="61"/>
                  </a:lnTo>
                  <a:lnTo>
                    <a:pt x="115" y="59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09" y="57"/>
                  </a:lnTo>
                  <a:lnTo>
                    <a:pt x="105" y="57"/>
                  </a:lnTo>
                  <a:lnTo>
                    <a:pt x="102" y="55"/>
                  </a:lnTo>
                  <a:lnTo>
                    <a:pt x="100" y="53"/>
                  </a:lnTo>
                  <a:lnTo>
                    <a:pt x="102" y="51"/>
                  </a:lnTo>
                  <a:lnTo>
                    <a:pt x="103" y="49"/>
                  </a:lnTo>
                  <a:lnTo>
                    <a:pt x="105" y="48"/>
                  </a:lnTo>
                  <a:lnTo>
                    <a:pt x="105" y="46"/>
                  </a:lnTo>
                  <a:lnTo>
                    <a:pt x="109" y="46"/>
                  </a:lnTo>
                  <a:lnTo>
                    <a:pt x="111" y="44"/>
                  </a:lnTo>
                  <a:lnTo>
                    <a:pt x="113" y="40"/>
                  </a:lnTo>
                  <a:lnTo>
                    <a:pt x="115" y="38"/>
                  </a:lnTo>
                  <a:lnTo>
                    <a:pt x="115" y="34"/>
                  </a:lnTo>
                  <a:lnTo>
                    <a:pt x="117" y="32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19" y="25"/>
                  </a:lnTo>
                  <a:lnTo>
                    <a:pt x="119" y="21"/>
                  </a:lnTo>
                  <a:lnTo>
                    <a:pt x="111" y="21"/>
                  </a:lnTo>
                  <a:lnTo>
                    <a:pt x="109" y="23"/>
                  </a:lnTo>
                  <a:lnTo>
                    <a:pt x="109" y="25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6"/>
                  </a:lnTo>
                  <a:lnTo>
                    <a:pt x="96" y="26"/>
                  </a:lnTo>
                  <a:lnTo>
                    <a:pt x="94" y="25"/>
                  </a:lnTo>
                  <a:lnTo>
                    <a:pt x="90" y="23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4" y="5"/>
                  </a:lnTo>
                  <a:lnTo>
                    <a:pt x="82" y="3"/>
                  </a:lnTo>
                  <a:lnTo>
                    <a:pt x="79" y="2"/>
                  </a:lnTo>
                  <a:lnTo>
                    <a:pt x="75" y="2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63" y="0"/>
                  </a:lnTo>
                  <a:lnTo>
                    <a:pt x="61" y="2"/>
                  </a:lnTo>
                  <a:lnTo>
                    <a:pt x="57" y="3"/>
                  </a:lnTo>
                  <a:lnTo>
                    <a:pt x="56" y="7"/>
                  </a:lnTo>
                  <a:lnTo>
                    <a:pt x="54" y="7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8" y="13"/>
                  </a:lnTo>
                  <a:lnTo>
                    <a:pt x="46" y="15"/>
                  </a:lnTo>
                  <a:lnTo>
                    <a:pt x="44" y="17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4" y="23"/>
                  </a:lnTo>
                  <a:lnTo>
                    <a:pt x="32" y="26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5" y="32"/>
                  </a:lnTo>
                  <a:lnTo>
                    <a:pt x="23" y="32"/>
                  </a:lnTo>
                  <a:lnTo>
                    <a:pt x="25" y="38"/>
                  </a:lnTo>
                  <a:lnTo>
                    <a:pt x="25" y="42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9"/>
                  </a:lnTo>
                  <a:lnTo>
                    <a:pt x="29" y="53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5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8"/>
                  </a:lnTo>
                  <a:lnTo>
                    <a:pt x="29" y="88"/>
                  </a:lnTo>
                  <a:lnTo>
                    <a:pt x="27" y="90"/>
                  </a:lnTo>
                  <a:lnTo>
                    <a:pt x="27" y="92"/>
                  </a:lnTo>
                  <a:lnTo>
                    <a:pt x="23" y="96"/>
                  </a:lnTo>
                  <a:lnTo>
                    <a:pt x="21" y="97"/>
                  </a:lnTo>
                  <a:lnTo>
                    <a:pt x="19" y="101"/>
                  </a:lnTo>
                  <a:lnTo>
                    <a:pt x="15" y="103"/>
                  </a:lnTo>
                  <a:lnTo>
                    <a:pt x="13" y="107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8" y="111"/>
                  </a:lnTo>
                  <a:lnTo>
                    <a:pt x="6" y="111"/>
                  </a:lnTo>
                  <a:lnTo>
                    <a:pt x="4" y="115"/>
                  </a:lnTo>
                  <a:lnTo>
                    <a:pt x="2" y="117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0" y="126"/>
                  </a:lnTo>
                  <a:lnTo>
                    <a:pt x="0" y="130"/>
                  </a:lnTo>
                  <a:lnTo>
                    <a:pt x="0" y="132"/>
                  </a:lnTo>
                  <a:lnTo>
                    <a:pt x="0" y="134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4"/>
                  </a:lnTo>
                  <a:lnTo>
                    <a:pt x="2" y="147"/>
                  </a:lnTo>
                  <a:lnTo>
                    <a:pt x="4" y="151"/>
                  </a:lnTo>
                  <a:lnTo>
                    <a:pt x="4" y="155"/>
                  </a:lnTo>
                  <a:lnTo>
                    <a:pt x="6" y="159"/>
                  </a:lnTo>
                  <a:lnTo>
                    <a:pt x="8" y="161"/>
                  </a:lnTo>
                  <a:lnTo>
                    <a:pt x="11" y="163"/>
                  </a:lnTo>
                  <a:lnTo>
                    <a:pt x="11" y="165"/>
                  </a:lnTo>
                  <a:lnTo>
                    <a:pt x="11" y="168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5" y="176"/>
                  </a:lnTo>
                  <a:lnTo>
                    <a:pt x="19" y="178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3" y="186"/>
                  </a:lnTo>
                  <a:lnTo>
                    <a:pt x="27" y="186"/>
                  </a:lnTo>
                  <a:lnTo>
                    <a:pt x="29" y="188"/>
                  </a:lnTo>
                  <a:lnTo>
                    <a:pt x="31" y="188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40" y="190"/>
                  </a:lnTo>
                  <a:lnTo>
                    <a:pt x="42" y="191"/>
                  </a:lnTo>
                  <a:lnTo>
                    <a:pt x="44" y="193"/>
                  </a:lnTo>
                  <a:lnTo>
                    <a:pt x="44" y="195"/>
                  </a:lnTo>
                  <a:lnTo>
                    <a:pt x="48" y="197"/>
                  </a:lnTo>
                  <a:lnTo>
                    <a:pt x="48" y="199"/>
                  </a:lnTo>
                  <a:lnTo>
                    <a:pt x="48" y="203"/>
                  </a:lnTo>
                  <a:lnTo>
                    <a:pt x="48" y="205"/>
                  </a:lnTo>
                  <a:lnTo>
                    <a:pt x="46" y="207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6" y="211"/>
                  </a:lnTo>
                  <a:lnTo>
                    <a:pt x="46" y="215"/>
                  </a:lnTo>
                  <a:lnTo>
                    <a:pt x="46" y="218"/>
                  </a:lnTo>
                  <a:lnTo>
                    <a:pt x="48" y="218"/>
                  </a:lnTo>
                  <a:lnTo>
                    <a:pt x="48" y="222"/>
                  </a:lnTo>
                  <a:lnTo>
                    <a:pt x="50" y="224"/>
                  </a:lnTo>
                  <a:lnTo>
                    <a:pt x="52" y="224"/>
                  </a:lnTo>
                  <a:lnTo>
                    <a:pt x="54" y="226"/>
                  </a:lnTo>
                  <a:lnTo>
                    <a:pt x="54" y="230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9" y="236"/>
                  </a:lnTo>
                  <a:lnTo>
                    <a:pt x="61" y="239"/>
                  </a:lnTo>
                  <a:lnTo>
                    <a:pt x="61" y="243"/>
                  </a:lnTo>
                  <a:lnTo>
                    <a:pt x="63" y="245"/>
                  </a:lnTo>
                  <a:lnTo>
                    <a:pt x="65" y="249"/>
                  </a:lnTo>
                  <a:lnTo>
                    <a:pt x="67" y="253"/>
                  </a:lnTo>
                  <a:lnTo>
                    <a:pt x="69" y="255"/>
                  </a:lnTo>
                  <a:lnTo>
                    <a:pt x="69" y="259"/>
                  </a:lnTo>
                  <a:lnTo>
                    <a:pt x="71" y="261"/>
                  </a:lnTo>
                  <a:lnTo>
                    <a:pt x="73" y="261"/>
                  </a:lnTo>
                  <a:lnTo>
                    <a:pt x="75" y="261"/>
                  </a:lnTo>
                  <a:lnTo>
                    <a:pt x="79" y="257"/>
                  </a:lnTo>
                  <a:lnTo>
                    <a:pt x="82" y="255"/>
                  </a:lnTo>
                  <a:lnTo>
                    <a:pt x="84" y="251"/>
                  </a:lnTo>
                  <a:lnTo>
                    <a:pt x="86" y="249"/>
                  </a:lnTo>
                  <a:lnTo>
                    <a:pt x="88" y="249"/>
                  </a:lnTo>
                  <a:lnTo>
                    <a:pt x="90" y="247"/>
                  </a:lnTo>
                  <a:lnTo>
                    <a:pt x="90" y="241"/>
                  </a:lnTo>
                  <a:lnTo>
                    <a:pt x="90" y="238"/>
                  </a:lnTo>
                  <a:lnTo>
                    <a:pt x="90" y="236"/>
                  </a:lnTo>
                  <a:lnTo>
                    <a:pt x="90" y="232"/>
                  </a:lnTo>
                  <a:lnTo>
                    <a:pt x="90" y="230"/>
                  </a:lnTo>
                  <a:lnTo>
                    <a:pt x="90" y="228"/>
                  </a:lnTo>
                  <a:lnTo>
                    <a:pt x="90" y="226"/>
                  </a:lnTo>
                  <a:lnTo>
                    <a:pt x="90" y="226"/>
                  </a:lnTo>
                  <a:lnTo>
                    <a:pt x="90" y="224"/>
                  </a:lnTo>
                  <a:lnTo>
                    <a:pt x="90" y="218"/>
                  </a:lnTo>
                  <a:lnTo>
                    <a:pt x="92" y="216"/>
                  </a:lnTo>
                  <a:lnTo>
                    <a:pt x="94" y="213"/>
                  </a:lnTo>
                  <a:lnTo>
                    <a:pt x="98" y="213"/>
                  </a:lnTo>
                  <a:lnTo>
                    <a:pt x="100" y="211"/>
                  </a:lnTo>
                  <a:lnTo>
                    <a:pt x="103" y="209"/>
                  </a:lnTo>
                  <a:lnTo>
                    <a:pt x="105" y="207"/>
                  </a:lnTo>
                  <a:lnTo>
                    <a:pt x="107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17" y="205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7" y="197"/>
                  </a:lnTo>
                  <a:lnTo>
                    <a:pt x="130" y="197"/>
                  </a:lnTo>
                  <a:lnTo>
                    <a:pt x="130" y="193"/>
                  </a:lnTo>
                  <a:lnTo>
                    <a:pt x="132" y="191"/>
                  </a:lnTo>
                  <a:lnTo>
                    <a:pt x="134" y="190"/>
                  </a:lnTo>
                  <a:lnTo>
                    <a:pt x="134" y="186"/>
                  </a:lnTo>
                  <a:lnTo>
                    <a:pt x="136" y="186"/>
                  </a:lnTo>
                  <a:lnTo>
                    <a:pt x="138" y="184"/>
                  </a:lnTo>
                  <a:lnTo>
                    <a:pt x="142" y="184"/>
                  </a:lnTo>
                  <a:lnTo>
                    <a:pt x="142" y="182"/>
                  </a:lnTo>
                  <a:lnTo>
                    <a:pt x="146" y="182"/>
                  </a:lnTo>
                  <a:lnTo>
                    <a:pt x="150" y="180"/>
                  </a:lnTo>
                  <a:lnTo>
                    <a:pt x="150" y="178"/>
                  </a:lnTo>
                  <a:lnTo>
                    <a:pt x="151" y="176"/>
                  </a:lnTo>
                  <a:lnTo>
                    <a:pt x="151" y="172"/>
                  </a:lnTo>
                  <a:lnTo>
                    <a:pt x="150" y="172"/>
                  </a:lnTo>
                  <a:lnTo>
                    <a:pt x="150" y="170"/>
                  </a:lnTo>
                  <a:lnTo>
                    <a:pt x="150" y="165"/>
                  </a:lnTo>
                  <a:lnTo>
                    <a:pt x="148" y="16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3" name="Freeform 59"/>
            <p:cNvSpPr>
              <a:spLocks/>
            </p:cNvSpPr>
            <p:nvPr/>
          </p:nvSpPr>
          <p:spPr bwMode="auto">
            <a:xfrm>
              <a:off x="889" y="960"/>
              <a:ext cx="726" cy="666"/>
            </a:xfrm>
            <a:custGeom>
              <a:avLst/>
              <a:gdLst/>
              <a:ahLst/>
              <a:cxnLst>
                <a:cxn ang="0">
                  <a:pos x="566" y="4"/>
                </a:cxn>
                <a:cxn ang="0">
                  <a:pos x="524" y="13"/>
                </a:cxn>
                <a:cxn ang="0">
                  <a:pos x="484" y="6"/>
                </a:cxn>
                <a:cxn ang="0">
                  <a:pos x="449" y="6"/>
                </a:cxn>
                <a:cxn ang="0">
                  <a:pos x="394" y="10"/>
                </a:cxn>
                <a:cxn ang="0">
                  <a:pos x="365" y="21"/>
                </a:cxn>
                <a:cxn ang="0">
                  <a:pos x="329" y="34"/>
                </a:cxn>
                <a:cxn ang="0">
                  <a:pos x="302" y="36"/>
                </a:cxn>
                <a:cxn ang="0">
                  <a:pos x="277" y="54"/>
                </a:cxn>
                <a:cxn ang="0">
                  <a:pos x="252" y="65"/>
                </a:cxn>
                <a:cxn ang="0">
                  <a:pos x="263" y="96"/>
                </a:cxn>
                <a:cxn ang="0">
                  <a:pos x="267" y="140"/>
                </a:cxn>
                <a:cxn ang="0">
                  <a:pos x="282" y="161"/>
                </a:cxn>
                <a:cxn ang="0">
                  <a:pos x="271" y="180"/>
                </a:cxn>
                <a:cxn ang="0">
                  <a:pos x="229" y="180"/>
                </a:cxn>
                <a:cxn ang="0">
                  <a:pos x="200" y="188"/>
                </a:cxn>
                <a:cxn ang="0">
                  <a:pos x="188" y="203"/>
                </a:cxn>
                <a:cxn ang="0">
                  <a:pos x="173" y="228"/>
                </a:cxn>
                <a:cxn ang="0">
                  <a:pos x="150" y="244"/>
                </a:cxn>
                <a:cxn ang="0">
                  <a:pos x="131" y="257"/>
                </a:cxn>
                <a:cxn ang="0">
                  <a:pos x="104" y="267"/>
                </a:cxn>
                <a:cxn ang="0">
                  <a:pos x="73" y="265"/>
                </a:cxn>
                <a:cxn ang="0">
                  <a:pos x="46" y="282"/>
                </a:cxn>
                <a:cxn ang="0">
                  <a:pos x="29" y="299"/>
                </a:cxn>
                <a:cxn ang="0">
                  <a:pos x="0" y="311"/>
                </a:cxn>
                <a:cxn ang="0">
                  <a:pos x="8" y="365"/>
                </a:cxn>
                <a:cxn ang="0">
                  <a:pos x="33" y="376"/>
                </a:cxn>
                <a:cxn ang="0">
                  <a:pos x="60" y="391"/>
                </a:cxn>
                <a:cxn ang="0">
                  <a:pos x="85" y="411"/>
                </a:cxn>
                <a:cxn ang="0">
                  <a:pos x="114" y="432"/>
                </a:cxn>
                <a:cxn ang="0">
                  <a:pos x="350" y="604"/>
                </a:cxn>
                <a:cxn ang="0">
                  <a:pos x="375" y="627"/>
                </a:cxn>
                <a:cxn ang="0">
                  <a:pos x="396" y="645"/>
                </a:cxn>
                <a:cxn ang="0">
                  <a:pos x="403" y="662"/>
                </a:cxn>
                <a:cxn ang="0">
                  <a:pos x="434" y="666"/>
                </a:cxn>
                <a:cxn ang="0">
                  <a:pos x="465" y="662"/>
                </a:cxn>
                <a:cxn ang="0">
                  <a:pos x="495" y="652"/>
                </a:cxn>
                <a:cxn ang="0">
                  <a:pos x="724" y="485"/>
                </a:cxn>
                <a:cxn ang="0">
                  <a:pos x="708" y="466"/>
                </a:cxn>
                <a:cxn ang="0">
                  <a:pos x="682" y="460"/>
                </a:cxn>
                <a:cxn ang="0">
                  <a:pos x="653" y="449"/>
                </a:cxn>
                <a:cxn ang="0">
                  <a:pos x="645" y="422"/>
                </a:cxn>
                <a:cxn ang="0">
                  <a:pos x="632" y="399"/>
                </a:cxn>
                <a:cxn ang="0">
                  <a:pos x="643" y="380"/>
                </a:cxn>
                <a:cxn ang="0">
                  <a:pos x="664" y="372"/>
                </a:cxn>
                <a:cxn ang="0">
                  <a:pos x="655" y="347"/>
                </a:cxn>
                <a:cxn ang="0">
                  <a:pos x="651" y="313"/>
                </a:cxn>
                <a:cxn ang="0">
                  <a:pos x="655" y="286"/>
                </a:cxn>
                <a:cxn ang="0">
                  <a:pos x="651" y="249"/>
                </a:cxn>
                <a:cxn ang="0">
                  <a:pos x="639" y="223"/>
                </a:cxn>
                <a:cxn ang="0">
                  <a:pos x="626" y="201"/>
                </a:cxn>
                <a:cxn ang="0">
                  <a:pos x="624" y="173"/>
                </a:cxn>
                <a:cxn ang="0">
                  <a:pos x="599" y="169"/>
                </a:cxn>
                <a:cxn ang="0">
                  <a:pos x="586" y="142"/>
                </a:cxn>
                <a:cxn ang="0">
                  <a:pos x="578" y="113"/>
                </a:cxn>
                <a:cxn ang="0">
                  <a:pos x="586" y="90"/>
                </a:cxn>
                <a:cxn ang="0">
                  <a:pos x="607" y="69"/>
                </a:cxn>
                <a:cxn ang="0">
                  <a:pos x="609" y="38"/>
                </a:cxn>
              </a:cxnLst>
              <a:rect l="0" t="0" r="r" b="b"/>
              <a:pathLst>
                <a:path w="726" h="666">
                  <a:moveTo>
                    <a:pt x="605" y="13"/>
                  </a:moveTo>
                  <a:lnTo>
                    <a:pt x="595" y="13"/>
                  </a:lnTo>
                  <a:lnTo>
                    <a:pt x="593" y="13"/>
                  </a:lnTo>
                  <a:lnTo>
                    <a:pt x="593" y="10"/>
                  </a:lnTo>
                  <a:lnTo>
                    <a:pt x="591" y="8"/>
                  </a:lnTo>
                  <a:lnTo>
                    <a:pt x="588" y="6"/>
                  </a:lnTo>
                  <a:lnTo>
                    <a:pt x="584" y="6"/>
                  </a:lnTo>
                  <a:lnTo>
                    <a:pt x="580" y="6"/>
                  </a:lnTo>
                  <a:lnTo>
                    <a:pt x="576" y="4"/>
                  </a:lnTo>
                  <a:lnTo>
                    <a:pt x="566" y="4"/>
                  </a:lnTo>
                  <a:lnTo>
                    <a:pt x="557" y="6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5" y="8"/>
                  </a:lnTo>
                  <a:lnTo>
                    <a:pt x="543" y="10"/>
                  </a:lnTo>
                  <a:lnTo>
                    <a:pt x="536" y="10"/>
                  </a:lnTo>
                  <a:lnTo>
                    <a:pt x="534" y="10"/>
                  </a:lnTo>
                  <a:lnTo>
                    <a:pt x="532" y="11"/>
                  </a:lnTo>
                  <a:lnTo>
                    <a:pt x="528" y="13"/>
                  </a:lnTo>
                  <a:lnTo>
                    <a:pt x="524" y="13"/>
                  </a:lnTo>
                  <a:lnTo>
                    <a:pt x="520" y="13"/>
                  </a:lnTo>
                  <a:lnTo>
                    <a:pt x="513" y="13"/>
                  </a:lnTo>
                  <a:lnTo>
                    <a:pt x="507" y="13"/>
                  </a:lnTo>
                  <a:lnTo>
                    <a:pt x="503" y="13"/>
                  </a:lnTo>
                  <a:lnTo>
                    <a:pt x="499" y="13"/>
                  </a:lnTo>
                  <a:lnTo>
                    <a:pt x="495" y="10"/>
                  </a:lnTo>
                  <a:lnTo>
                    <a:pt x="494" y="10"/>
                  </a:lnTo>
                  <a:lnTo>
                    <a:pt x="490" y="8"/>
                  </a:lnTo>
                  <a:lnTo>
                    <a:pt x="488" y="6"/>
                  </a:lnTo>
                  <a:lnTo>
                    <a:pt x="484" y="6"/>
                  </a:lnTo>
                  <a:lnTo>
                    <a:pt x="482" y="4"/>
                  </a:lnTo>
                  <a:lnTo>
                    <a:pt x="480" y="2"/>
                  </a:lnTo>
                  <a:lnTo>
                    <a:pt x="476" y="2"/>
                  </a:lnTo>
                  <a:lnTo>
                    <a:pt x="472" y="0"/>
                  </a:lnTo>
                  <a:lnTo>
                    <a:pt x="469" y="2"/>
                  </a:lnTo>
                  <a:lnTo>
                    <a:pt x="467" y="2"/>
                  </a:lnTo>
                  <a:lnTo>
                    <a:pt x="457" y="2"/>
                  </a:lnTo>
                  <a:lnTo>
                    <a:pt x="455" y="4"/>
                  </a:lnTo>
                  <a:lnTo>
                    <a:pt x="453" y="6"/>
                  </a:lnTo>
                  <a:lnTo>
                    <a:pt x="449" y="6"/>
                  </a:lnTo>
                  <a:lnTo>
                    <a:pt x="446" y="8"/>
                  </a:lnTo>
                  <a:lnTo>
                    <a:pt x="444" y="10"/>
                  </a:lnTo>
                  <a:lnTo>
                    <a:pt x="440" y="11"/>
                  </a:lnTo>
                  <a:lnTo>
                    <a:pt x="436" y="11"/>
                  </a:lnTo>
                  <a:lnTo>
                    <a:pt x="434" y="10"/>
                  </a:lnTo>
                  <a:lnTo>
                    <a:pt x="428" y="10"/>
                  </a:lnTo>
                  <a:lnTo>
                    <a:pt x="423" y="10"/>
                  </a:lnTo>
                  <a:lnTo>
                    <a:pt x="409" y="8"/>
                  </a:lnTo>
                  <a:lnTo>
                    <a:pt x="394" y="8"/>
                  </a:lnTo>
                  <a:lnTo>
                    <a:pt x="394" y="10"/>
                  </a:lnTo>
                  <a:lnTo>
                    <a:pt x="392" y="10"/>
                  </a:lnTo>
                  <a:lnTo>
                    <a:pt x="390" y="11"/>
                  </a:lnTo>
                  <a:lnTo>
                    <a:pt x="390" y="13"/>
                  </a:lnTo>
                  <a:lnTo>
                    <a:pt x="386" y="13"/>
                  </a:lnTo>
                  <a:lnTo>
                    <a:pt x="384" y="15"/>
                  </a:lnTo>
                  <a:lnTo>
                    <a:pt x="380" y="17"/>
                  </a:lnTo>
                  <a:lnTo>
                    <a:pt x="378" y="19"/>
                  </a:lnTo>
                  <a:lnTo>
                    <a:pt x="373" y="19"/>
                  </a:lnTo>
                  <a:lnTo>
                    <a:pt x="371" y="21"/>
                  </a:lnTo>
                  <a:lnTo>
                    <a:pt x="365" y="21"/>
                  </a:lnTo>
                  <a:lnTo>
                    <a:pt x="357" y="21"/>
                  </a:lnTo>
                  <a:lnTo>
                    <a:pt x="355" y="23"/>
                  </a:lnTo>
                  <a:lnTo>
                    <a:pt x="350" y="23"/>
                  </a:lnTo>
                  <a:lnTo>
                    <a:pt x="344" y="23"/>
                  </a:lnTo>
                  <a:lnTo>
                    <a:pt x="342" y="25"/>
                  </a:lnTo>
                  <a:lnTo>
                    <a:pt x="338" y="27"/>
                  </a:lnTo>
                  <a:lnTo>
                    <a:pt x="336" y="29"/>
                  </a:lnTo>
                  <a:lnTo>
                    <a:pt x="334" y="31"/>
                  </a:lnTo>
                  <a:lnTo>
                    <a:pt x="332" y="33"/>
                  </a:lnTo>
                  <a:lnTo>
                    <a:pt x="329" y="34"/>
                  </a:lnTo>
                  <a:lnTo>
                    <a:pt x="325" y="34"/>
                  </a:lnTo>
                  <a:lnTo>
                    <a:pt x="323" y="36"/>
                  </a:lnTo>
                  <a:lnTo>
                    <a:pt x="321" y="36"/>
                  </a:lnTo>
                  <a:lnTo>
                    <a:pt x="317" y="38"/>
                  </a:lnTo>
                  <a:lnTo>
                    <a:pt x="315" y="38"/>
                  </a:lnTo>
                  <a:lnTo>
                    <a:pt x="311" y="38"/>
                  </a:lnTo>
                  <a:lnTo>
                    <a:pt x="309" y="40"/>
                  </a:lnTo>
                  <a:lnTo>
                    <a:pt x="305" y="40"/>
                  </a:lnTo>
                  <a:lnTo>
                    <a:pt x="304" y="40"/>
                  </a:lnTo>
                  <a:lnTo>
                    <a:pt x="302" y="36"/>
                  </a:lnTo>
                  <a:lnTo>
                    <a:pt x="290" y="36"/>
                  </a:lnTo>
                  <a:lnTo>
                    <a:pt x="286" y="38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2" y="44"/>
                  </a:lnTo>
                  <a:lnTo>
                    <a:pt x="281" y="46"/>
                  </a:lnTo>
                  <a:lnTo>
                    <a:pt x="281" y="50"/>
                  </a:lnTo>
                  <a:lnTo>
                    <a:pt x="279" y="52"/>
                  </a:lnTo>
                  <a:lnTo>
                    <a:pt x="277" y="52"/>
                  </a:lnTo>
                  <a:lnTo>
                    <a:pt x="277" y="54"/>
                  </a:lnTo>
                  <a:lnTo>
                    <a:pt x="275" y="56"/>
                  </a:lnTo>
                  <a:lnTo>
                    <a:pt x="271" y="56"/>
                  </a:lnTo>
                  <a:lnTo>
                    <a:pt x="267" y="56"/>
                  </a:lnTo>
                  <a:lnTo>
                    <a:pt x="265" y="58"/>
                  </a:lnTo>
                  <a:lnTo>
                    <a:pt x="263" y="58"/>
                  </a:lnTo>
                  <a:lnTo>
                    <a:pt x="261" y="59"/>
                  </a:lnTo>
                  <a:lnTo>
                    <a:pt x="258" y="63"/>
                  </a:lnTo>
                  <a:lnTo>
                    <a:pt x="256" y="63"/>
                  </a:lnTo>
                  <a:lnTo>
                    <a:pt x="254" y="65"/>
                  </a:lnTo>
                  <a:lnTo>
                    <a:pt x="252" y="65"/>
                  </a:lnTo>
                  <a:lnTo>
                    <a:pt x="254" y="67"/>
                  </a:lnTo>
                  <a:lnTo>
                    <a:pt x="254" y="71"/>
                  </a:lnTo>
                  <a:lnTo>
                    <a:pt x="254" y="75"/>
                  </a:lnTo>
                  <a:lnTo>
                    <a:pt x="254" y="79"/>
                  </a:lnTo>
                  <a:lnTo>
                    <a:pt x="256" y="82"/>
                  </a:lnTo>
                  <a:lnTo>
                    <a:pt x="258" y="86"/>
                  </a:lnTo>
                  <a:lnTo>
                    <a:pt x="259" y="90"/>
                  </a:lnTo>
                  <a:lnTo>
                    <a:pt x="259" y="92"/>
                  </a:lnTo>
                  <a:lnTo>
                    <a:pt x="263" y="94"/>
                  </a:lnTo>
                  <a:lnTo>
                    <a:pt x="263" y="96"/>
                  </a:lnTo>
                  <a:lnTo>
                    <a:pt x="263" y="107"/>
                  </a:lnTo>
                  <a:lnTo>
                    <a:pt x="261" y="109"/>
                  </a:lnTo>
                  <a:lnTo>
                    <a:pt x="261" y="117"/>
                  </a:lnTo>
                  <a:lnTo>
                    <a:pt x="261" y="127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3" y="134"/>
                  </a:lnTo>
                  <a:lnTo>
                    <a:pt x="265" y="136"/>
                  </a:lnTo>
                  <a:lnTo>
                    <a:pt x="265" y="138"/>
                  </a:lnTo>
                  <a:lnTo>
                    <a:pt x="267" y="140"/>
                  </a:lnTo>
                  <a:lnTo>
                    <a:pt x="269" y="144"/>
                  </a:lnTo>
                  <a:lnTo>
                    <a:pt x="271" y="146"/>
                  </a:lnTo>
                  <a:lnTo>
                    <a:pt x="275" y="148"/>
                  </a:lnTo>
                  <a:lnTo>
                    <a:pt x="277" y="150"/>
                  </a:lnTo>
                  <a:lnTo>
                    <a:pt x="277" y="150"/>
                  </a:lnTo>
                  <a:lnTo>
                    <a:pt x="277" y="153"/>
                  </a:lnTo>
                  <a:lnTo>
                    <a:pt x="281" y="153"/>
                  </a:lnTo>
                  <a:lnTo>
                    <a:pt x="282" y="155"/>
                  </a:lnTo>
                  <a:lnTo>
                    <a:pt x="282" y="159"/>
                  </a:lnTo>
                  <a:lnTo>
                    <a:pt x="282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2" y="167"/>
                  </a:lnTo>
                  <a:lnTo>
                    <a:pt x="279" y="167"/>
                  </a:lnTo>
                  <a:lnTo>
                    <a:pt x="277" y="167"/>
                  </a:lnTo>
                  <a:lnTo>
                    <a:pt x="275" y="169"/>
                  </a:lnTo>
                  <a:lnTo>
                    <a:pt x="273" y="171"/>
                  </a:lnTo>
                  <a:lnTo>
                    <a:pt x="273" y="175"/>
                  </a:lnTo>
                  <a:lnTo>
                    <a:pt x="275" y="178"/>
                  </a:lnTo>
                  <a:lnTo>
                    <a:pt x="271" y="180"/>
                  </a:lnTo>
                  <a:lnTo>
                    <a:pt x="267" y="180"/>
                  </a:lnTo>
                  <a:lnTo>
                    <a:pt x="263" y="182"/>
                  </a:lnTo>
                  <a:lnTo>
                    <a:pt x="258" y="182"/>
                  </a:lnTo>
                  <a:lnTo>
                    <a:pt x="256" y="180"/>
                  </a:lnTo>
                  <a:lnTo>
                    <a:pt x="254" y="178"/>
                  </a:lnTo>
                  <a:lnTo>
                    <a:pt x="248" y="178"/>
                  </a:lnTo>
                  <a:lnTo>
                    <a:pt x="244" y="176"/>
                  </a:lnTo>
                  <a:lnTo>
                    <a:pt x="236" y="176"/>
                  </a:lnTo>
                  <a:lnTo>
                    <a:pt x="231" y="176"/>
                  </a:lnTo>
                  <a:lnTo>
                    <a:pt x="229" y="180"/>
                  </a:lnTo>
                  <a:lnTo>
                    <a:pt x="229" y="182"/>
                  </a:lnTo>
                  <a:lnTo>
                    <a:pt x="225" y="182"/>
                  </a:lnTo>
                  <a:lnTo>
                    <a:pt x="221" y="184"/>
                  </a:lnTo>
                  <a:lnTo>
                    <a:pt x="219" y="184"/>
                  </a:lnTo>
                  <a:lnTo>
                    <a:pt x="217" y="184"/>
                  </a:lnTo>
                  <a:lnTo>
                    <a:pt x="213" y="186"/>
                  </a:lnTo>
                  <a:lnTo>
                    <a:pt x="210" y="186"/>
                  </a:lnTo>
                  <a:lnTo>
                    <a:pt x="206" y="188"/>
                  </a:lnTo>
                  <a:lnTo>
                    <a:pt x="202" y="188"/>
                  </a:lnTo>
                  <a:lnTo>
                    <a:pt x="200" y="188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0" y="190"/>
                  </a:lnTo>
                  <a:lnTo>
                    <a:pt x="188" y="192"/>
                  </a:lnTo>
                  <a:lnTo>
                    <a:pt x="187" y="192"/>
                  </a:lnTo>
                  <a:lnTo>
                    <a:pt x="185" y="194"/>
                  </a:lnTo>
                  <a:lnTo>
                    <a:pt x="187" y="198"/>
                  </a:lnTo>
                  <a:lnTo>
                    <a:pt x="187" y="200"/>
                  </a:lnTo>
                  <a:lnTo>
                    <a:pt x="187" y="203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90" y="209"/>
                  </a:lnTo>
                  <a:lnTo>
                    <a:pt x="190" y="217"/>
                  </a:lnTo>
                  <a:lnTo>
                    <a:pt x="190" y="224"/>
                  </a:lnTo>
                  <a:lnTo>
                    <a:pt x="188" y="226"/>
                  </a:lnTo>
                  <a:lnTo>
                    <a:pt x="187" y="228"/>
                  </a:lnTo>
                  <a:lnTo>
                    <a:pt x="183" y="228"/>
                  </a:lnTo>
                  <a:lnTo>
                    <a:pt x="179" y="228"/>
                  </a:lnTo>
                  <a:lnTo>
                    <a:pt x="177" y="228"/>
                  </a:lnTo>
                  <a:lnTo>
                    <a:pt x="173" y="228"/>
                  </a:lnTo>
                  <a:lnTo>
                    <a:pt x="171" y="230"/>
                  </a:lnTo>
                  <a:lnTo>
                    <a:pt x="167" y="230"/>
                  </a:lnTo>
                  <a:lnTo>
                    <a:pt x="165" y="232"/>
                  </a:lnTo>
                  <a:lnTo>
                    <a:pt x="163" y="232"/>
                  </a:lnTo>
                  <a:lnTo>
                    <a:pt x="160" y="234"/>
                  </a:lnTo>
                  <a:lnTo>
                    <a:pt x="158" y="236"/>
                  </a:lnTo>
                  <a:lnTo>
                    <a:pt x="156" y="238"/>
                  </a:lnTo>
                  <a:lnTo>
                    <a:pt x="154" y="240"/>
                  </a:lnTo>
                  <a:lnTo>
                    <a:pt x="152" y="242"/>
                  </a:lnTo>
                  <a:lnTo>
                    <a:pt x="150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2" y="246"/>
                  </a:lnTo>
                  <a:lnTo>
                    <a:pt x="139" y="246"/>
                  </a:lnTo>
                  <a:lnTo>
                    <a:pt x="139" y="246"/>
                  </a:lnTo>
                  <a:lnTo>
                    <a:pt x="137" y="247"/>
                  </a:lnTo>
                  <a:lnTo>
                    <a:pt x="137" y="249"/>
                  </a:lnTo>
                  <a:lnTo>
                    <a:pt x="135" y="251"/>
                  </a:lnTo>
                  <a:lnTo>
                    <a:pt x="133" y="255"/>
                  </a:lnTo>
                  <a:lnTo>
                    <a:pt x="131" y="257"/>
                  </a:lnTo>
                  <a:lnTo>
                    <a:pt x="127" y="259"/>
                  </a:lnTo>
                  <a:lnTo>
                    <a:pt x="125" y="259"/>
                  </a:lnTo>
                  <a:lnTo>
                    <a:pt x="123" y="261"/>
                  </a:lnTo>
                  <a:lnTo>
                    <a:pt x="121" y="263"/>
                  </a:lnTo>
                  <a:lnTo>
                    <a:pt x="117" y="265"/>
                  </a:lnTo>
                  <a:lnTo>
                    <a:pt x="116" y="265"/>
                  </a:lnTo>
                  <a:lnTo>
                    <a:pt x="114" y="265"/>
                  </a:lnTo>
                  <a:lnTo>
                    <a:pt x="112" y="267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0" y="265"/>
                  </a:lnTo>
                  <a:lnTo>
                    <a:pt x="98" y="265"/>
                  </a:lnTo>
                  <a:lnTo>
                    <a:pt x="94" y="263"/>
                  </a:lnTo>
                  <a:lnTo>
                    <a:pt x="93" y="263"/>
                  </a:lnTo>
                  <a:lnTo>
                    <a:pt x="91" y="261"/>
                  </a:lnTo>
                  <a:lnTo>
                    <a:pt x="87" y="261"/>
                  </a:lnTo>
                  <a:lnTo>
                    <a:pt x="83" y="263"/>
                  </a:lnTo>
                  <a:lnTo>
                    <a:pt x="79" y="263"/>
                  </a:lnTo>
                  <a:lnTo>
                    <a:pt x="75" y="263"/>
                  </a:lnTo>
                  <a:lnTo>
                    <a:pt x="73" y="265"/>
                  </a:lnTo>
                  <a:lnTo>
                    <a:pt x="71" y="267"/>
                  </a:lnTo>
                  <a:lnTo>
                    <a:pt x="71" y="269"/>
                  </a:lnTo>
                  <a:lnTo>
                    <a:pt x="69" y="272"/>
                  </a:lnTo>
                  <a:lnTo>
                    <a:pt x="69" y="274"/>
                  </a:lnTo>
                  <a:lnTo>
                    <a:pt x="68" y="276"/>
                  </a:lnTo>
                  <a:lnTo>
                    <a:pt x="66" y="278"/>
                  </a:lnTo>
                  <a:lnTo>
                    <a:pt x="58" y="278"/>
                  </a:lnTo>
                  <a:lnTo>
                    <a:pt x="48" y="278"/>
                  </a:lnTo>
                  <a:lnTo>
                    <a:pt x="46" y="280"/>
                  </a:lnTo>
                  <a:lnTo>
                    <a:pt x="46" y="282"/>
                  </a:lnTo>
                  <a:lnTo>
                    <a:pt x="45" y="286"/>
                  </a:lnTo>
                  <a:lnTo>
                    <a:pt x="43" y="288"/>
                  </a:lnTo>
                  <a:lnTo>
                    <a:pt x="41" y="288"/>
                  </a:lnTo>
                  <a:lnTo>
                    <a:pt x="39" y="288"/>
                  </a:lnTo>
                  <a:lnTo>
                    <a:pt x="39" y="292"/>
                  </a:lnTo>
                  <a:lnTo>
                    <a:pt x="39" y="294"/>
                  </a:lnTo>
                  <a:lnTo>
                    <a:pt x="37" y="295"/>
                  </a:lnTo>
                  <a:lnTo>
                    <a:pt x="33" y="295"/>
                  </a:lnTo>
                  <a:lnTo>
                    <a:pt x="31" y="297"/>
                  </a:lnTo>
                  <a:lnTo>
                    <a:pt x="29" y="299"/>
                  </a:lnTo>
                  <a:lnTo>
                    <a:pt x="23" y="299"/>
                  </a:lnTo>
                  <a:lnTo>
                    <a:pt x="22" y="301"/>
                  </a:lnTo>
                  <a:lnTo>
                    <a:pt x="18" y="301"/>
                  </a:lnTo>
                  <a:lnTo>
                    <a:pt x="12" y="301"/>
                  </a:lnTo>
                  <a:lnTo>
                    <a:pt x="10" y="303"/>
                  </a:lnTo>
                  <a:lnTo>
                    <a:pt x="8" y="303"/>
                  </a:lnTo>
                  <a:lnTo>
                    <a:pt x="6" y="307"/>
                  </a:lnTo>
                  <a:lnTo>
                    <a:pt x="4" y="307"/>
                  </a:lnTo>
                  <a:lnTo>
                    <a:pt x="2" y="309"/>
                  </a:lnTo>
                  <a:lnTo>
                    <a:pt x="0" y="311"/>
                  </a:lnTo>
                  <a:lnTo>
                    <a:pt x="0" y="317"/>
                  </a:lnTo>
                  <a:lnTo>
                    <a:pt x="0" y="320"/>
                  </a:lnTo>
                  <a:lnTo>
                    <a:pt x="0" y="332"/>
                  </a:lnTo>
                  <a:lnTo>
                    <a:pt x="0" y="345"/>
                  </a:lnTo>
                  <a:lnTo>
                    <a:pt x="0" y="347"/>
                  </a:lnTo>
                  <a:lnTo>
                    <a:pt x="0" y="353"/>
                  </a:lnTo>
                  <a:lnTo>
                    <a:pt x="0" y="359"/>
                  </a:lnTo>
                  <a:lnTo>
                    <a:pt x="2" y="359"/>
                  </a:lnTo>
                  <a:lnTo>
                    <a:pt x="4" y="361"/>
                  </a:lnTo>
                  <a:lnTo>
                    <a:pt x="8" y="365"/>
                  </a:lnTo>
                  <a:lnTo>
                    <a:pt x="12" y="365"/>
                  </a:lnTo>
                  <a:lnTo>
                    <a:pt x="12" y="365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8" y="368"/>
                  </a:lnTo>
                  <a:lnTo>
                    <a:pt x="20" y="370"/>
                  </a:lnTo>
                  <a:lnTo>
                    <a:pt x="23" y="372"/>
                  </a:lnTo>
                  <a:lnTo>
                    <a:pt x="27" y="372"/>
                  </a:lnTo>
                  <a:lnTo>
                    <a:pt x="31" y="374"/>
                  </a:lnTo>
                  <a:lnTo>
                    <a:pt x="33" y="376"/>
                  </a:lnTo>
                  <a:lnTo>
                    <a:pt x="35" y="378"/>
                  </a:lnTo>
                  <a:lnTo>
                    <a:pt x="39" y="378"/>
                  </a:lnTo>
                  <a:lnTo>
                    <a:pt x="41" y="380"/>
                  </a:lnTo>
                  <a:lnTo>
                    <a:pt x="45" y="384"/>
                  </a:lnTo>
                  <a:lnTo>
                    <a:pt x="48" y="384"/>
                  </a:lnTo>
                  <a:lnTo>
                    <a:pt x="52" y="386"/>
                  </a:lnTo>
                  <a:lnTo>
                    <a:pt x="54" y="386"/>
                  </a:lnTo>
                  <a:lnTo>
                    <a:pt x="56" y="389"/>
                  </a:lnTo>
                  <a:lnTo>
                    <a:pt x="60" y="389"/>
                  </a:lnTo>
                  <a:lnTo>
                    <a:pt x="60" y="391"/>
                  </a:lnTo>
                  <a:lnTo>
                    <a:pt x="64" y="393"/>
                  </a:lnTo>
                  <a:lnTo>
                    <a:pt x="68" y="397"/>
                  </a:lnTo>
                  <a:lnTo>
                    <a:pt x="69" y="399"/>
                  </a:lnTo>
                  <a:lnTo>
                    <a:pt x="71" y="399"/>
                  </a:lnTo>
                  <a:lnTo>
                    <a:pt x="75" y="401"/>
                  </a:lnTo>
                  <a:lnTo>
                    <a:pt x="75" y="403"/>
                  </a:lnTo>
                  <a:lnTo>
                    <a:pt x="79" y="405"/>
                  </a:lnTo>
                  <a:lnTo>
                    <a:pt x="79" y="407"/>
                  </a:lnTo>
                  <a:lnTo>
                    <a:pt x="81" y="407"/>
                  </a:lnTo>
                  <a:lnTo>
                    <a:pt x="85" y="411"/>
                  </a:lnTo>
                  <a:lnTo>
                    <a:pt x="89" y="413"/>
                  </a:lnTo>
                  <a:lnTo>
                    <a:pt x="91" y="414"/>
                  </a:lnTo>
                  <a:lnTo>
                    <a:pt x="91" y="416"/>
                  </a:lnTo>
                  <a:lnTo>
                    <a:pt x="94" y="420"/>
                  </a:lnTo>
                  <a:lnTo>
                    <a:pt x="96" y="420"/>
                  </a:lnTo>
                  <a:lnTo>
                    <a:pt x="98" y="422"/>
                  </a:lnTo>
                  <a:lnTo>
                    <a:pt x="100" y="426"/>
                  </a:lnTo>
                  <a:lnTo>
                    <a:pt x="106" y="426"/>
                  </a:lnTo>
                  <a:lnTo>
                    <a:pt x="112" y="428"/>
                  </a:lnTo>
                  <a:lnTo>
                    <a:pt x="114" y="432"/>
                  </a:lnTo>
                  <a:lnTo>
                    <a:pt x="117" y="432"/>
                  </a:lnTo>
                  <a:lnTo>
                    <a:pt x="117" y="434"/>
                  </a:lnTo>
                  <a:lnTo>
                    <a:pt x="117" y="436"/>
                  </a:lnTo>
                  <a:lnTo>
                    <a:pt x="121" y="436"/>
                  </a:lnTo>
                  <a:lnTo>
                    <a:pt x="123" y="437"/>
                  </a:lnTo>
                  <a:lnTo>
                    <a:pt x="125" y="439"/>
                  </a:lnTo>
                  <a:lnTo>
                    <a:pt x="125" y="441"/>
                  </a:lnTo>
                  <a:lnTo>
                    <a:pt x="127" y="439"/>
                  </a:lnTo>
                  <a:lnTo>
                    <a:pt x="342" y="601"/>
                  </a:lnTo>
                  <a:lnTo>
                    <a:pt x="350" y="604"/>
                  </a:lnTo>
                  <a:lnTo>
                    <a:pt x="357" y="608"/>
                  </a:lnTo>
                  <a:lnTo>
                    <a:pt x="357" y="612"/>
                  </a:lnTo>
                  <a:lnTo>
                    <a:pt x="357" y="616"/>
                  </a:lnTo>
                  <a:lnTo>
                    <a:pt x="357" y="620"/>
                  </a:lnTo>
                  <a:lnTo>
                    <a:pt x="357" y="622"/>
                  </a:lnTo>
                  <a:lnTo>
                    <a:pt x="361" y="624"/>
                  </a:lnTo>
                  <a:lnTo>
                    <a:pt x="365" y="624"/>
                  </a:lnTo>
                  <a:lnTo>
                    <a:pt x="369" y="624"/>
                  </a:lnTo>
                  <a:lnTo>
                    <a:pt x="373" y="626"/>
                  </a:lnTo>
                  <a:lnTo>
                    <a:pt x="375" y="627"/>
                  </a:lnTo>
                  <a:lnTo>
                    <a:pt x="376" y="627"/>
                  </a:lnTo>
                  <a:lnTo>
                    <a:pt x="378" y="629"/>
                  </a:lnTo>
                  <a:lnTo>
                    <a:pt x="380" y="629"/>
                  </a:lnTo>
                  <a:lnTo>
                    <a:pt x="382" y="633"/>
                  </a:lnTo>
                  <a:lnTo>
                    <a:pt x="384" y="635"/>
                  </a:lnTo>
                  <a:lnTo>
                    <a:pt x="388" y="635"/>
                  </a:lnTo>
                  <a:lnTo>
                    <a:pt x="392" y="637"/>
                  </a:lnTo>
                  <a:lnTo>
                    <a:pt x="394" y="639"/>
                  </a:lnTo>
                  <a:lnTo>
                    <a:pt x="396" y="641"/>
                  </a:lnTo>
                  <a:lnTo>
                    <a:pt x="396" y="645"/>
                  </a:lnTo>
                  <a:lnTo>
                    <a:pt x="396" y="647"/>
                  </a:lnTo>
                  <a:lnTo>
                    <a:pt x="398" y="649"/>
                  </a:lnTo>
                  <a:lnTo>
                    <a:pt x="401" y="650"/>
                  </a:lnTo>
                  <a:lnTo>
                    <a:pt x="403" y="652"/>
                  </a:lnTo>
                  <a:lnTo>
                    <a:pt x="403" y="652"/>
                  </a:lnTo>
                  <a:lnTo>
                    <a:pt x="403" y="650"/>
                  </a:lnTo>
                  <a:lnTo>
                    <a:pt x="403" y="654"/>
                  </a:lnTo>
                  <a:lnTo>
                    <a:pt x="403" y="658"/>
                  </a:lnTo>
                  <a:lnTo>
                    <a:pt x="403" y="660"/>
                  </a:lnTo>
                  <a:lnTo>
                    <a:pt x="403" y="662"/>
                  </a:lnTo>
                  <a:lnTo>
                    <a:pt x="405" y="664"/>
                  </a:lnTo>
                  <a:lnTo>
                    <a:pt x="407" y="666"/>
                  </a:lnTo>
                  <a:lnTo>
                    <a:pt x="411" y="666"/>
                  </a:lnTo>
                  <a:lnTo>
                    <a:pt x="413" y="666"/>
                  </a:lnTo>
                  <a:lnTo>
                    <a:pt x="417" y="666"/>
                  </a:lnTo>
                  <a:lnTo>
                    <a:pt x="421" y="666"/>
                  </a:lnTo>
                  <a:lnTo>
                    <a:pt x="424" y="666"/>
                  </a:lnTo>
                  <a:lnTo>
                    <a:pt x="428" y="666"/>
                  </a:lnTo>
                  <a:lnTo>
                    <a:pt x="432" y="666"/>
                  </a:lnTo>
                  <a:lnTo>
                    <a:pt x="434" y="666"/>
                  </a:lnTo>
                  <a:lnTo>
                    <a:pt x="438" y="666"/>
                  </a:lnTo>
                  <a:lnTo>
                    <a:pt x="442" y="666"/>
                  </a:lnTo>
                  <a:lnTo>
                    <a:pt x="446" y="666"/>
                  </a:lnTo>
                  <a:lnTo>
                    <a:pt x="449" y="666"/>
                  </a:lnTo>
                  <a:lnTo>
                    <a:pt x="453" y="666"/>
                  </a:lnTo>
                  <a:lnTo>
                    <a:pt x="453" y="664"/>
                  </a:lnTo>
                  <a:lnTo>
                    <a:pt x="457" y="664"/>
                  </a:lnTo>
                  <a:lnTo>
                    <a:pt x="459" y="664"/>
                  </a:lnTo>
                  <a:lnTo>
                    <a:pt x="463" y="662"/>
                  </a:lnTo>
                  <a:lnTo>
                    <a:pt x="465" y="662"/>
                  </a:lnTo>
                  <a:lnTo>
                    <a:pt x="469" y="662"/>
                  </a:lnTo>
                  <a:lnTo>
                    <a:pt x="472" y="662"/>
                  </a:lnTo>
                  <a:lnTo>
                    <a:pt x="474" y="660"/>
                  </a:lnTo>
                  <a:lnTo>
                    <a:pt x="476" y="660"/>
                  </a:lnTo>
                  <a:lnTo>
                    <a:pt x="482" y="660"/>
                  </a:lnTo>
                  <a:lnTo>
                    <a:pt x="486" y="658"/>
                  </a:lnTo>
                  <a:lnTo>
                    <a:pt x="490" y="658"/>
                  </a:lnTo>
                  <a:lnTo>
                    <a:pt x="492" y="656"/>
                  </a:lnTo>
                  <a:lnTo>
                    <a:pt x="494" y="656"/>
                  </a:lnTo>
                  <a:lnTo>
                    <a:pt x="495" y="652"/>
                  </a:lnTo>
                  <a:lnTo>
                    <a:pt x="495" y="650"/>
                  </a:lnTo>
                  <a:lnTo>
                    <a:pt x="497" y="650"/>
                  </a:lnTo>
                  <a:lnTo>
                    <a:pt x="499" y="649"/>
                  </a:lnTo>
                  <a:lnTo>
                    <a:pt x="499" y="645"/>
                  </a:lnTo>
                  <a:lnTo>
                    <a:pt x="501" y="643"/>
                  </a:lnTo>
                  <a:lnTo>
                    <a:pt x="568" y="595"/>
                  </a:lnTo>
                  <a:lnTo>
                    <a:pt x="726" y="503"/>
                  </a:lnTo>
                  <a:lnTo>
                    <a:pt x="724" y="497"/>
                  </a:lnTo>
                  <a:lnTo>
                    <a:pt x="724" y="493"/>
                  </a:lnTo>
                  <a:lnTo>
                    <a:pt x="724" y="485"/>
                  </a:lnTo>
                  <a:lnTo>
                    <a:pt x="722" y="484"/>
                  </a:lnTo>
                  <a:lnTo>
                    <a:pt x="720" y="482"/>
                  </a:lnTo>
                  <a:lnTo>
                    <a:pt x="718" y="480"/>
                  </a:lnTo>
                  <a:lnTo>
                    <a:pt x="716" y="480"/>
                  </a:lnTo>
                  <a:lnTo>
                    <a:pt x="716" y="476"/>
                  </a:lnTo>
                  <a:lnTo>
                    <a:pt x="712" y="474"/>
                  </a:lnTo>
                  <a:lnTo>
                    <a:pt x="710" y="472"/>
                  </a:lnTo>
                  <a:lnTo>
                    <a:pt x="710" y="470"/>
                  </a:lnTo>
                  <a:lnTo>
                    <a:pt x="708" y="468"/>
                  </a:lnTo>
                  <a:lnTo>
                    <a:pt x="708" y="466"/>
                  </a:lnTo>
                  <a:lnTo>
                    <a:pt x="703" y="466"/>
                  </a:lnTo>
                  <a:lnTo>
                    <a:pt x="701" y="464"/>
                  </a:lnTo>
                  <a:lnTo>
                    <a:pt x="697" y="464"/>
                  </a:lnTo>
                  <a:lnTo>
                    <a:pt x="697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89" y="462"/>
                  </a:lnTo>
                  <a:lnTo>
                    <a:pt x="689" y="460"/>
                  </a:lnTo>
                  <a:lnTo>
                    <a:pt x="685" y="460"/>
                  </a:lnTo>
                  <a:lnTo>
                    <a:pt x="682" y="460"/>
                  </a:lnTo>
                  <a:lnTo>
                    <a:pt x="678" y="460"/>
                  </a:lnTo>
                  <a:lnTo>
                    <a:pt x="674" y="460"/>
                  </a:lnTo>
                  <a:lnTo>
                    <a:pt x="672" y="460"/>
                  </a:lnTo>
                  <a:lnTo>
                    <a:pt x="670" y="460"/>
                  </a:lnTo>
                  <a:lnTo>
                    <a:pt x="668" y="459"/>
                  </a:lnTo>
                  <a:lnTo>
                    <a:pt x="664" y="459"/>
                  </a:lnTo>
                  <a:lnTo>
                    <a:pt x="660" y="457"/>
                  </a:lnTo>
                  <a:lnTo>
                    <a:pt x="659" y="455"/>
                  </a:lnTo>
                  <a:lnTo>
                    <a:pt x="655" y="453"/>
                  </a:lnTo>
                  <a:lnTo>
                    <a:pt x="653" y="449"/>
                  </a:lnTo>
                  <a:lnTo>
                    <a:pt x="653" y="445"/>
                  </a:lnTo>
                  <a:lnTo>
                    <a:pt x="651" y="445"/>
                  </a:lnTo>
                  <a:lnTo>
                    <a:pt x="651" y="441"/>
                  </a:lnTo>
                  <a:lnTo>
                    <a:pt x="651" y="437"/>
                  </a:lnTo>
                  <a:lnTo>
                    <a:pt x="653" y="434"/>
                  </a:lnTo>
                  <a:lnTo>
                    <a:pt x="653" y="430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49" y="424"/>
                  </a:lnTo>
                  <a:lnTo>
                    <a:pt x="645" y="422"/>
                  </a:lnTo>
                  <a:lnTo>
                    <a:pt x="643" y="420"/>
                  </a:lnTo>
                  <a:lnTo>
                    <a:pt x="641" y="418"/>
                  </a:lnTo>
                  <a:lnTo>
                    <a:pt x="639" y="416"/>
                  </a:lnTo>
                  <a:lnTo>
                    <a:pt x="639" y="413"/>
                  </a:lnTo>
                  <a:lnTo>
                    <a:pt x="637" y="411"/>
                  </a:lnTo>
                  <a:lnTo>
                    <a:pt x="636" y="411"/>
                  </a:lnTo>
                  <a:lnTo>
                    <a:pt x="634" y="409"/>
                  </a:lnTo>
                  <a:lnTo>
                    <a:pt x="632" y="407"/>
                  </a:lnTo>
                  <a:lnTo>
                    <a:pt x="632" y="403"/>
                  </a:lnTo>
                  <a:lnTo>
                    <a:pt x="632" y="399"/>
                  </a:lnTo>
                  <a:lnTo>
                    <a:pt x="632" y="395"/>
                  </a:lnTo>
                  <a:lnTo>
                    <a:pt x="634" y="393"/>
                  </a:lnTo>
                  <a:lnTo>
                    <a:pt x="636" y="391"/>
                  </a:lnTo>
                  <a:lnTo>
                    <a:pt x="636" y="388"/>
                  </a:lnTo>
                  <a:lnTo>
                    <a:pt x="637" y="388"/>
                  </a:lnTo>
                  <a:lnTo>
                    <a:pt x="639" y="386"/>
                  </a:lnTo>
                  <a:lnTo>
                    <a:pt x="639" y="382"/>
                  </a:lnTo>
                  <a:lnTo>
                    <a:pt x="643" y="382"/>
                  </a:lnTo>
                  <a:lnTo>
                    <a:pt x="645" y="380"/>
                  </a:lnTo>
                  <a:lnTo>
                    <a:pt x="643" y="380"/>
                  </a:lnTo>
                  <a:lnTo>
                    <a:pt x="645" y="382"/>
                  </a:lnTo>
                  <a:lnTo>
                    <a:pt x="645" y="380"/>
                  </a:lnTo>
                  <a:lnTo>
                    <a:pt x="643" y="378"/>
                  </a:lnTo>
                  <a:lnTo>
                    <a:pt x="643" y="378"/>
                  </a:lnTo>
                  <a:lnTo>
                    <a:pt x="649" y="378"/>
                  </a:lnTo>
                  <a:lnTo>
                    <a:pt x="651" y="376"/>
                  </a:lnTo>
                  <a:lnTo>
                    <a:pt x="655" y="376"/>
                  </a:lnTo>
                  <a:lnTo>
                    <a:pt x="659" y="376"/>
                  </a:lnTo>
                  <a:lnTo>
                    <a:pt x="660" y="374"/>
                  </a:lnTo>
                  <a:lnTo>
                    <a:pt x="664" y="372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7" y="365"/>
                  </a:lnTo>
                  <a:lnTo>
                    <a:pt x="653" y="363"/>
                  </a:lnTo>
                  <a:lnTo>
                    <a:pt x="653" y="359"/>
                  </a:lnTo>
                  <a:lnTo>
                    <a:pt x="653" y="357"/>
                  </a:lnTo>
                  <a:lnTo>
                    <a:pt x="653" y="353"/>
                  </a:lnTo>
                  <a:lnTo>
                    <a:pt x="655" y="351"/>
                  </a:lnTo>
                  <a:lnTo>
                    <a:pt x="655" y="347"/>
                  </a:lnTo>
                  <a:lnTo>
                    <a:pt x="655" y="345"/>
                  </a:lnTo>
                  <a:lnTo>
                    <a:pt x="655" y="342"/>
                  </a:lnTo>
                  <a:lnTo>
                    <a:pt x="653" y="340"/>
                  </a:lnTo>
                  <a:lnTo>
                    <a:pt x="653" y="336"/>
                  </a:lnTo>
                  <a:lnTo>
                    <a:pt x="653" y="332"/>
                  </a:lnTo>
                  <a:lnTo>
                    <a:pt x="653" y="328"/>
                  </a:lnTo>
                  <a:lnTo>
                    <a:pt x="653" y="324"/>
                  </a:lnTo>
                  <a:lnTo>
                    <a:pt x="651" y="320"/>
                  </a:lnTo>
                  <a:lnTo>
                    <a:pt x="651" y="317"/>
                  </a:lnTo>
                  <a:lnTo>
                    <a:pt x="651" y="313"/>
                  </a:lnTo>
                  <a:lnTo>
                    <a:pt x="651" y="309"/>
                  </a:lnTo>
                  <a:lnTo>
                    <a:pt x="651" y="307"/>
                  </a:lnTo>
                  <a:lnTo>
                    <a:pt x="651" y="303"/>
                  </a:lnTo>
                  <a:lnTo>
                    <a:pt x="651" y="301"/>
                  </a:lnTo>
                  <a:lnTo>
                    <a:pt x="653" y="299"/>
                  </a:lnTo>
                  <a:lnTo>
                    <a:pt x="653" y="297"/>
                  </a:lnTo>
                  <a:lnTo>
                    <a:pt x="653" y="294"/>
                  </a:lnTo>
                  <a:lnTo>
                    <a:pt x="655" y="292"/>
                  </a:lnTo>
                  <a:lnTo>
                    <a:pt x="655" y="288"/>
                  </a:lnTo>
                  <a:lnTo>
                    <a:pt x="655" y="286"/>
                  </a:lnTo>
                  <a:lnTo>
                    <a:pt x="655" y="282"/>
                  </a:lnTo>
                  <a:lnTo>
                    <a:pt x="655" y="278"/>
                  </a:lnTo>
                  <a:lnTo>
                    <a:pt x="653" y="272"/>
                  </a:lnTo>
                  <a:lnTo>
                    <a:pt x="653" y="269"/>
                  </a:lnTo>
                  <a:lnTo>
                    <a:pt x="653" y="267"/>
                  </a:lnTo>
                  <a:lnTo>
                    <a:pt x="653" y="263"/>
                  </a:lnTo>
                  <a:lnTo>
                    <a:pt x="653" y="259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1" y="249"/>
                  </a:lnTo>
                  <a:lnTo>
                    <a:pt x="651" y="246"/>
                  </a:lnTo>
                  <a:lnTo>
                    <a:pt x="651" y="244"/>
                  </a:lnTo>
                  <a:lnTo>
                    <a:pt x="651" y="240"/>
                  </a:lnTo>
                  <a:lnTo>
                    <a:pt x="649" y="238"/>
                  </a:lnTo>
                  <a:lnTo>
                    <a:pt x="647" y="236"/>
                  </a:lnTo>
                  <a:lnTo>
                    <a:pt x="643" y="234"/>
                  </a:lnTo>
                  <a:lnTo>
                    <a:pt x="641" y="230"/>
                  </a:lnTo>
                  <a:lnTo>
                    <a:pt x="639" y="228"/>
                  </a:lnTo>
                  <a:lnTo>
                    <a:pt x="639" y="224"/>
                  </a:lnTo>
                  <a:lnTo>
                    <a:pt x="639" y="223"/>
                  </a:lnTo>
                  <a:lnTo>
                    <a:pt x="637" y="221"/>
                  </a:lnTo>
                  <a:lnTo>
                    <a:pt x="637" y="217"/>
                  </a:lnTo>
                  <a:lnTo>
                    <a:pt x="636" y="217"/>
                  </a:lnTo>
                  <a:lnTo>
                    <a:pt x="636" y="213"/>
                  </a:lnTo>
                  <a:lnTo>
                    <a:pt x="634" y="209"/>
                  </a:lnTo>
                  <a:lnTo>
                    <a:pt x="632" y="209"/>
                  </a:lnTo>
                  <a:lnTo>
                    <a:pt x="630" y="207"/>
                  </a:lnTo>
                  <a:lnTo>
                    <a:pt x="630" y="205"/>
                  </a:lnTo>
                  <a:lnTo>
                    <a:pt x="628" y="205"/>
                  </a:lnTo>
                  <a:lnTo>
                    <a:pt x="626" y="201"/>
                  </a:lnTo>
                  <a:lnTo>
                    <a:pt x="624" y="198"/>
                  </a:lnTo>
                  <a:lnTo>
                    <a:pt x="624" y="194"/>
                  </a:lnTo>
                  <a:lnTo>
                    <a:pt x="624" y="192"/>
                  </a:lnTo>
                  <a:lnTo>
                    <a:pt x="624" y="190"/>
                  </a:lnTo>
                  <a:lnTo>
                    <a:pt x="626" y="188"/>
                  </a:lnTo>
                  <a:lnTo>
                    <a:pt x="626" y="184"/>
                  </a:lnTo>
                  <a:lnTo>
                    <a:pt x="626" y="180"/>
                  </a:lnTo>
                  <a:lnTo>
                    <a:pt x="626" y="178"/>
                  </a:lnTo>
                  <a:lnTo>
                    <a:pt x="624" y="176"/>
                  </a:lnTo>
                  <a:lnTo>
                    <a:pt x="624" y="173"/>
                  </a:lnTo>
                  <a:lnTo>
                    <a:pt x="620" y="173"/>
                  </a:lnTo>
                  <a:lnTo>
                    <a:pt x="618" y="173"/>
                  </a:lnTo>
                  <a:lnTo>
                    <a:pt x="616" y="171"/>
                  </a:lnTo>
                  <a:lnTo>
                    <a:pt x="612" y="171"/>
                  </a:lnTo>
                  <a:lnTo>
                    <a:pt x="611" y="171"/>
                  </a:lnTo>
                  <a:lnTo>
                    <a:pt x="607" y="171"/>
                  </a:lnTo>
                  <a:lnTo>
                    <a:pt x="605" y="171"/>
                  </a:lnTo>
                  <a:lnTo>
                    <a:pt x="603" y="171"/>
                  </a:lnTo>
                  <a:lnTo>
                    <a:pt x="601" y="171"/>
                  </a:lnTo>
                  <a:lnTo>
                    <a:pt x="599" y="169"/>
                  </a:lnTo>
                  <a:lnTo>
                    <a:pt x="597" y="167"/>
                  </a:lnTo>
                  <a:lnTo>
                    <a:pt x="597" y="163"/>
                  </a:lnTo>
                  <a:lnTo>
                    <a:pt x="595" y="161"/>
                  </a:lnTo>
                  <a:lnTo>
                    <a:pt x="595" y="157"/>
                  </a:lnTo>
                  <a:lnTo>
                    <a:pt x="593" y="155"/>
                  </a:lnTo>
                  <a:lnTo>
                    <a:pt x="593" y="152"/>
                  </a:lnTo>
                  <a:lnTo>
                    <a:pt x="591" y="150"/>
                  </a:lnTo>
                  <a:lnTo>
                    <a:pt x="591" y="148"/>
                  </a:lnTo>
                  <a:lnTo>
                    <a:pt x="589" y="146"/>
                  </a:lnTo>
                  <a:lnTo>
                    <a:pt x="586" y="142"/>
                  </a:lnTo>
                  <a:lnTo>
                    <a:pt x="584" y="140"/>
                  </a:lnTo>
                  <a:lnTo>
                    <a:pt x="582" y="136"/>
                  </a:lnTo>
                  <a:lnTo>
                    <a:pt x="582" y="134"/>
                  </a:lnTo>
                  <a:lnTo>
                    <a:pt x="582" y="130"/>
                  </a:lnTo>
                  <a:lnTo>
                    <a:pt x="580" y="130"/>
                  </a:lnTo>
                  <a:lnTo>
                    <a:pt x="580" y="127"/>
                  </a:lnTo>
                  <a:lnTo>
                    <a:pt x="578" y="125"/>
                  </a:lnTo>
                  <a:lnTo>
                    <a:pt x="578" y="121"/>
                  </a:lnTo>
                  <a:lnTo>
                    <a:pt x="578" y="117"/>
                  </a:lnTo>
                  <a:lnTo>
                    <a:pt x="578" y="113"/>
                  </a:lnTo>
                  <a:lnTo>
                    <a:pt x="578" y="111"/>
                  </a:lnTo>
                  <a:lnTo>
                    <a:pt x="580" y="109"/>
                  </a:lnTo>
                  <a:lnTo>
                    <a:pt x="580" y="105"/>
                  </a:lnTo>
                  <a:lnTo>
                    <a:pt x="580" y="104"/>
                  </a:lnTo>
                  <a:lnTo>
                    <a:pt x="582" y="102"/>
                  </a:lnTo>
                  <a:lnTo>
                    <a:pt x="582" y="100"/>
                  </a:lnTo>
                  <a:lnTo>
                    <a:pt x="582" y="96"/>
                  </a:lnTo>
                  <a:lnTo>
                    <a:pt x="584" y="96"/>
                  </a:lnTo>
                  <a:lnTo>
                    <a:pt x="584" y="92"/>
                  </a:lnTo>
                  <a:lnTo>
                    <a:pt x="586" y="90"/>
                  </a:lnTo>
                  <a:lnTo>
                    <a:pt x="589" y="90"/>
                  </a:lnTo>
                  <a:lnTo>
                    <a:pt x="591" y="88"/>
                  </a:lnTo>
                  <a:lnTo>
                    <a:pt x="593" y="84"/>
                  </a:lnTo>
                  <a:lnTo>
                    <a:pt x="595" y="82"/>
                  </a:lnTo>
                  <a:lnTo>
                    <a:pt x="597" y="81"/>
                  </a:lnTo>
                  <a:lnTo>
                    <a:pt x="599" y="77"/>
                  </a:lnTo>
                  <a:lnTo>
                    <a:pt x="603" y="75"/>
                  </a:lnTo>
                  <a:lnTo>
                    <a:pt x="603" y="73"/>
                  </a:lnTo>
                  <a:lnTo>
                    <a:pt x="605" y="71"/>
                  </a:lnTo>
                  <a:lnTo>
                    <a:pt x="607" y="69"/>
                  </a:lnTo>
                  <a:lnTo>
                    <a:pt x="609" y="69"/>
                  </a:lnTo>
                  <a:lnTo>
                    <a:pt x="609" y="65"/>
                  </a:lnTo>
                  <a:lnTo>
                    <a:pt x="611" y="63"/>
                  </a:lnTo>
                  <a:lnTo>
                    <a:pt x="611" y="59"/>
                  </a:lnTo>
                  <a:lnTo>
                    <a:pt x="611" y="56"/>
                  </a:lnTo>
                  <a:lnTo>
                    <a:pt x="611" y="52"/>
                  </a:lnTo>
                  <a:lnTo>
                    <a:pt x="609" y="50"/>
                  </a:lnTo>
                  <a:lnTo>
                    <a:pt x="609" y="46"/>
                  </a:lnTo>
                  <a:lnTo>
                    <a:pt x="609" y="42"/>
                  </a:lnTo>
                  <a:lnTo>
                    <a:pt x="609" y="38"/>
                  </a:lnTo>
                  <a:lnTo>
                    <a:pt x="609" y="34"/>
                  </a:lnTo>
                  <a:lnTo>
                    <a:pt x="607" y="33"/>
                  </a:lnTo>
                  <a:lnTo>
                    <a:pt x="607" y="31"/>
                  </a:lnTo>
                  <a:lnTo>
                    <a:pt x="607" y="27"/>
                  </a:lnTo>
                  <a:lnTo>
                    <a:pt x="607" y="23"/>
                  </a:lnTo>
                  <a:lnTo>
                    <a:pt x="607" y="19"/>
                  </a:lnTo>
                  <a:lnTo>
                    <a:pt x="605" y="17"/>
                  </a:lnTo>
                  <a:lnTo>
                    <a:pt x="605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4" name="Freeform 60"/>
            <p:cNvSpPr>
              <a:spLocks/>
            </p:cNvSpPr>
            <p:nvPr/>
          </p:nvSpPr>
          <p:spPr bwMode="auto">
            <a:xfrm>
              <a:off x="889" y="960"/>
              <a:ext cx="726" cy="666"/>
            </a:xfrm>
            <a:custGeom>
              <a:avLst/>
              <a:gdLst/>
              <a:ahLst/>
              <a:cxnLst>
                <a:cxn ang="0">
                  <a:pos x="566" y="4"/>
                </a:cxn>
                <a:cxn ang="0">
                  <a:pos x="524" y="13"/>
                </a:cxn>
                <a:cxn ang="0">
                  <a:pos x="484" y="6"/>
                </a:cxn>
                <a:cxn ang="0">
                  <a:pos x="449" y="6"/>
                </a:cxn>
                <a:cxn ang="0">
                  <a:pos x="394" y="10"/>
                </a:cxn>
                <a:cxn ang="0">
                  <a:pos x="365" y="21"/>
                </a:cxn>
                <a:cxn ang="0">
                  <a:pos x="329" y="34"/>
                </a:cxn>
                <a:cxn ang="0">
                  <a:pos x="302" y="36"/>
                </a:cxn>
                <a:cxn ang="0">
                  <a:pos x="277" y="54"/>
                </a:cxn>
                <a:cxn ang="0">
                  <a:pos x="252" y="65"/>
                </a:cxn>
                <a:cxn ang="0">
                  <a:pos x="263" y="96"/>
                </a:cxn>
                <a:cxn ang="0">
                  <a:pos x="267" y="140"/>
                </a:cxn>
                <a:cxn ang="0">
                  <a:pos x="282" y="161"/>
                </a:cxn>
                <a:cxn ang="0">
                  <a:pos x="271" y="180"/>
                </a:cxn>
                <a:cxn ang="0">
                  <a:pos x="229" y="180"/>
                </a:cxn>
                <a:cxn ang="0">
                  <a:pos x="200" y="188"/>
                </a:cxn>
                <a:cxn ang="0">
                  <a:pos x="188" y="203"/>
                </a:cxn>
                <a:cxn ang="0">
                  <a:pos x="173" y="228"/>
                </a:cxn>
                <a:cxn ang="0">
                  <a:pos x="150" y="244"/>
                </a:cxn>
                <a:cxn ang="0">
                  <a:pos x="131" y="257"/>
                </a:cxn>
                <a:cxn ang="0">
                  <a:pos x="104" y="267"/>
                </a:cxn>
                <a:cxn ang="0">
                  <a:pos x="73" y="265"/>
                </a:cxn>
                <a:cxn ang="0">
                  <a:pos x="46" y="282"/>
                </a:cxn>
                <a:cxn ang="0">
                  <a:pos x="29" y="299"/>
                </a:cxn>
                <a:cxn ang="0">
                  <a:pos x="0" y="311"/>
                </a:cxn>
                <a:cxn ang="0">
                  <a:pos x="8" y="365"/>
                </a:cxn>
                <a:cxn ang="0">
                  <a:pos x="33" y="376"/>
                </a:cxn>
                <a:cxn ang="0">
                  <a:pos x="60" y="391"/>
                </a:cxn>
                <a:cxn ang="0">
                  <a:pos x="85" y="411"/>
                </a:cxn>
                <a:cxn ang="0">
                  <a:pos x="114" y="432"/>
                </a:cxn>
                <a:cxn ang="0">
                  <a:pos x="350" y="604"/>
                </a:cxn>
                <a:cxn ang="0">
                  <a:pos x="375" y="627"/>
                </a:cxn>
                <a:cxn ang="0">
                  <a:pos x="396" y="645"/>
                </a:cxn>
                <a:cxn ang="0">
                  <a:pos x="403" y="662"/>
                </a:cxn>
                <a:cxn ang="0">
                  <a:pos x="434" y="666"/>
                </a:cxn>
                <a:cxn ang="0">
                  <a:pos x="465" y="662"/>
                </a:cxn>
                <a:cxn ang="0">
                  <a:pos x="495" y="652"/>
                </a:cxn>
                <a:cxn ang="0">
                  <a:pos x="724" y="485"/>
                </a:cxn>
                <a:cxn ang="0">
                  <a:pos x="708" y="466"/>
                </a:cxn>
                <a:cxn ang="0">
                  <a:pos x="682" y="460"/>
                </a:cxn>
                <a:cxn ang="0">
                  <a:pos x="653" y="449"/>
                </a:cxn>
                <a:cxn ang="0">
                  <a:pos x="645" y="422"/>
                </a:cxn>
                <a:cxn ang="0">
                  <a:pos x="632" y="399"/>
                </a:cxn>
                <a:cxn ang="0">
                  <a:pos x="645" y="380"/>
                </a:cxn>
                <a:cxn ang="0">
                  <a:pos x="660" y="374"/>
                </a:cxn>
                <a:cxn ang="0">
                  <a:pos x="655" y="351"/>
                </a:cxn>
                <a:cxn ang="0">
                  <a:pos x="651" y="317"/>
                </a:cxn>
                <a:cxn ang="0">
                  <a:pos x="655" y="288"/>
                </a:cxn>
                <a:cxn ang="0">
                  <a:pos x="651" y="251"/>
                </a:cxn>
                <a:cxn ang="0">
                  <a:pos x="639" y="224"/>
                </a:cxn>
                <a:cxn ang="0">
                  <a:pos x="628" y="205"/>
                </a:cxn>
                <a:cxn ang="0">
                  <a:pos x="624" y="176"/>
                </a:cxn>
                <a:cxn ang="0">
                  <a:pos x="601" y="171"/>
                </a:cxn>
                <a:cxn ang="0">
                  <a:pos x="589" y="146"/>
                </a:cxn>
                <a:cxn ang="0">
                  <a:pos x="578" y="117"/>
                </a:cxn>
                <a:cxn ang="0">
                  <a:pos x="584" y="92"/>
                </a:cxn>
                <a:cxn ang="0">
                  <a:pos x="605" y="71"/>
                </a:cxn>
                <a:cxn ang="0">
                  <a:pos x="609" y="42"/>
                </a:cxn>
                <a:cxn ang="0">
                  <a:pos x="605" y="13"/>
                </a:cxn>
              </a:cxnLst>
              <a:rect l="0" t="0" r="r" b="b"/>
              <a:pathLst>
                <a:path w="726" h="666">
                  <a:moveTo>
                    <a:pt x="605" y="13"/>
                  </a:moveTo>
                  <a:lnTo>
                    <a:pt x="595" y="13"/>
                  </a:lnTo>
                  <a:lnTo>
                    <a:pt x="593" y="13"/>
                  </a:lnTo>
                  <a:lnTo>
                    <a:pt x="593" y="10"/>
                  </a:lnTo>
                  <a:lnTo>
                    <a:pt x="591" y="8"/>
                  </a:lnTo>
                  <a:lnTo>
                    <a:pt x="588" y="6"/>
                  </a:lnTo>
                  <a:lnTo>
                    <a:pt x="584" y="6"/>
                  </a:lnTo>
                  <a:lnTo>
                    <a:pt x="580" y="6"/>
                  </a:lnTo>
                  <a:lnTo>
                    <a:pt x="576" y="4"/>
                  </a:lnTo>
                  <a:lnTo>
                    <a:pt x="566" y="4"/>
                  </a:lnTo>
                  <a:lnTo>
                    <a:pt x="557" y="6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5" y="8"/>
                  </a:lnTo>
                  <a:lnTo>
                    <a:pt x="543" y="10"/>
                  </a:lnTo>
                  <a:lnTo>
                    <a:pt x="536" y="10"/>
                  </a:lnTo>
                  <a:lnTo>
                    <a:pt x="534" y="10"/>
                  </a:lnTo>
                  <a:lnTo>
                    <a:pt x="532" y="11"/>
                  </a:lnTo>
                  <a:lnTo>
                    <a:pt x="528" y="13"/>
                  </a:lnTo>
                  <a:lnTo>
                    <a:pt x="524" y="13"/>
                  </a:lnTo>
                  <a:lnTo>
                    <a:pt x="520" y="13"/>
                  </a:lnTo>
                  <a:lnTo>
                    <a:pt x="513" y="13"/>
                  </a:lnTo>
                  <a:lnTo>
                    <a:pt x="507" y="13"/>
                  </a:lnTo>
                  <a:lnTo>
                    <a:pt x="503" y="13"/>
                  </a:lnTo>
                  <a:lnTo>
                    <a:pt x="499" y="13"/>
                  </a:lnTo>
                  <a:lnTo>
                    <a:pt x="495" y="10"/>
                  </a:lnTo>
                  <a:lnTo>
                    <a:pt x="494" y="10"/>
                  </a:lnTo>
                  <a:lnTo>
                    <a:pt x="490" y="8"/>
                  </a:lnTo>
                  <a:lnTo>
                    <a:pt x="488" y="6"/>
                  </a:lnTo>
                  <a:lnTo>
                    <a:pt x="484" y="6"/>
                  </a:lnTo>
                  <a:lnTo>
                    <a:pt x="482" y="4"/>
                  </a:lnTo>
                  <a:lnTo>
                    <a:pt x="480" y="2"/>
                  </a:lnTo>
                  <a:lnTo>
                    <a:pt x="476" y="2"/>
                  </a:lnTo>
                  <a:lnTo>
                    <a:pt x="472" y="0"/>
                  </a:lnTo>
                  <a:lnTo>
                    <a:pt x="469" y="2"/>
                  </a:lnTo>
                  <a:lnTo>
                    <a:pt x="467" y="2"/>
                  </a:lnTo>
                  <a:lnTo>
                    <a:pt x="457" y="2"/>
                  </a:lnTo>
                  <a:lnTo>
                    <a:pt x="455" y="4"/>
                  </a:lnTo>
                  <a:lnTo>
                    <a:pt x="453" y="6"/>
                  </a:lnTo>
                  <a:lnTo>
                    <a:pt x="449" y="6"/>
                  </a:lnTo>
                  <a:lnTo>
                    <a:pt x="446" y="8"/>
                  </a:lnTo>
                  <a:lnTo>
                    <a:pt x="444" y="10"/>
                  </a:lnTo>
                  <a:lnTo>
                    <a:pt x="440" y="11"/>
                  </a:lnTo>
                  <a:lnTo>
                    <a:pt x="436" y="11"/>
                  </a:lnTo>
                  <a:lnTo>
                    <a:pt x="434" y="10"/>
                  </a:lnTo>
                  <a:lnTo>
                    <a:pt x="428" y="10"/>
                  </a:lnTo>
                  <a:lnTo>
                    <a:pt x="423" y="10"/>
                  </a:lnTo>
                  <a:lnTo>
                    <a:pt x="409" y="8"/>
                  </a:lnTo>
                  <a:lnTo>
                    <a:pt x="394" y="8"/>
                  </a:lnTo>
                  <a:lnTo>
                    <a:pt x="394" y="10"/>
                  </a:lnTo>
                  <a:lnTo>
                    <a:pt x="392" y="10"/>
                  </a:lnTo>
                  <a:lnTo>
                    <a:pt x="390" y="11"/>
                  </a:lnTo>
                  <a:lnTo>
                    <a:pt x="390" y="13"/>
                  </a:lnTo>
                  <a:lnTo>
                    <a:pt x="386" y="13"/>
                  </a:lnTo>
                  <a:lnTo>
                    <a:pt x="384" y="15"/>
                  </a:lnTo>
                  <a:lnTo>
                    <a:pt x="380" y="17"/>
                  </a:lnTo>
                  <a:lnTo>
                    <a:pt x="378" y="19"/>
                  </a:lnTo>
                  <a:lnTo>
                    <a:pt x="373" y="19"/>
                  </a:lnTo>
                  <a:lnTo>
                    <a:pt x="371" y="21"/>
                  </a:lnTo>
                  <a:lnTo>
                    <a:pt x="365" y="21"/>
                  </a:lnTo>
                  <a:lnTo>
                    <a:pt x="357" y="21"/>
                  </a:lnTo>
                  <a:lnTo>
                    <a:pt x="355" y="23"/>
                  </a:lnTo>
                  <a:lnTo>
                    <a:pt x="350" y="23"/>
                  </a:lnTo>
                  <a:lnTo>
                    <a:pt x="344" y="23"/>
                  </a:lnTo>
                  <a:lnTo>
                    <a:pt x="342" y="25"/>
                  </a:lnTo>
                  <a:lnTo>
                    <a:pt x="338" y="27"/>
                  </a:lnTo>
                  <a:lnTo>
                    <a:pt x="336" y="29"/>
                  </a:lnTo>
                  <a:lnTo>
                    <a:pt x="334" y="31"/>
                  </a:lnTo>
                  <a:lnTo>
                    <a:pt x="332" y="33"/>
                  </a:lnTo>
                  <a:lnTo>
                    <a:pt x="329" y="34"/>
                  </a:lnTo>
                  <a:lnTo>
                    <a:pt x="325" y="34"/>
                  </a:lnTo>
                  <a:lnTo>
                    <a:pt x="323" y="36"/>
                  </a:lnTo>
                  <a:lnTo>
                    <a:pt x="321" y="36"/>
                  </a:lnTo>
                  <a:lnTo>
                    <a:pt x="317" y="38"/>
                  </a:lnTo>
                  <a:lnTo>
                    <a:pt x="315" y="38"/>
                  </a:lnTo>
                  <a:lnTo>
                    <a:pt x="311" y="38"/>
                  </a:lnTo>
                  <a:lnTo>
                    <a:pt x="309" y="40"/>
                  </a:lnTo>
                  <a:lnTo>
                    <a:pt x="305" y="40"/>
                  </a:lnTo>
                  <a:lnTo>
                    <a:pt x="304" y="40"/>
                  </a:lnTo>
                  <a:lnTo>
                    <a:pt x="302" y="36"/>
                  </a:lnTo>
                  <a:lnTo>
                    <a:pt x="290" y="36"/>
                  </a:lnTo>
                  <a:lnTo>
                    <a:pt x="286" y="38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2" y="44"/>
                  </a:lnTo>
                  <a:lnTo>
                    <a:pt x="281" y="46"/>
                  </a:lnTo>
                  <a:lnTo>
                    <a:pt x="281" y="50"/>
                  </a:lnTo>
                  <a:lnTo>
                    <a:pt x="279" y="52"/>
                  </a:lnTo>
                  <a:lnTo>
                    <a:pt x="277" y="52"/>
                  </a:lnTo>
                  <a:lnTo>
                    <a:pt x="277" y="54"/>
                  </a:lnTo>
                  <a:lnTo>
                    <a:pt x="275" y="56"/>
                  </a:lnTo>
                  <a:lnTo>
                    <a:pt x="271" y="56"/>
                  </a:lnTo>
                  <a:lnTo>
                    <a:pt x="267" y="56"/>
                  </a:lnTo>
                  <a:lnTo>
                    <a:pt x="265" y="58"/>
                  </a:lnTo>
                  <a:lnTo>
                    <a:pt x="263" y="58"/>
                  </a:lnTo>
                  <a:lnTo>
                    <a:pt x="261" y="59"/>
                  </a:lnTo>
                  <a:lnTo>
                    <a:pt x="258" y="63"/>
                  </a:lnTo>
                  <a:lnTo>
                    <a:pt x="256" y="63"/>
                  </a:lnTo>
                  <a:lnTo>
                    <a:pt x="254" y="65"/>
                  </a:lnTo>
                  <a:lnTo>
                    <a:pt x="252" y="65"/>
                  </a:lnTo>
                  <a:lnTo>
                    <a:pt x="254" y="67"/>
                  </a:lnTo>
                  <a:lnTo>
                    <a:pt x="254" y="71"/>
                  </a:lnTo>
                  <a:lnTo>
                    <a:pt x="254" y="75"/>
                  </a:lnTo>
                  <a:lnTo>
                    <a:pt x="254" y="79"/>
                  </a:lnTo>
                  <a:lnTo>
                    <a:pt x="256" y="82"/>
                  </a:lnTo>
                  <a:lnTo>
                    <a:pt x="258" y="86"/>
                  </a:lnTo>
                  <a:lnTo>
                    <a:pt x="259" y="90"/>
                  </a:lnTo>
                  <a:lnTo>
                    <a:pt x="259" y="92"/>
                  </a:lnTo>
                  <a:lnTo>
                    <a:pt x="263" y="94"/>
                  </a:lnTo>
                  <a:lnTo>
                    <a:pt x="263" y="96"/>
                  </a:lnTo>
                  <a:lnTo>
                    <a:pt x="263" y="107"/>
                  </a:lnTo>
                  <a:lnTo>
                    <a:pt x="261" y="109"/>
                  </a:lnTo>
                  <a:lnTo>
                    <a:pt x="261" y="117"/>
                  </a:lnTo>
                  <a:lnTo>
                    <a:pt x="261" y="127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3" y="134"/>
                  </a:lnTo>
                  <a:lnTo>
                    <a:pt x="265" y="136"/>
                  </a:lnTo>
                  <a:lnTo>
                    <a:pt x="265" y="138"/>
                  </a:lnTo>
                  <a:lnTo>
                    <a:pt x="267" y="140"/>
                  </a:lnTo>
                  <a:lnTo>
                    <a:pt x="269" y="144"/>
                  </a:lnTo>
                  <a:lnTo>
                    <a:pt x="271" y="146"/>
                  </a:lnTo>
                  <a:lnTo>
                    <a:pt x="275" y="148"/>
                  </a:lnTo>
                  <a:lnTo>
                    <a:pt x="277" y="150"/>
                  </a:lnTo>
                  <a:lnTo>
                    <a:pt x="277" y="150"/>
                  </a:lnTo>
                  <a:lnTo>
                    <a:pt x="277" y="153"/>
                  </a:lnTo>
                  <a:lnTo>
                    <a:pt x="281" y="153"/>
                  </a:lnTo>
                  <a:lnTo>
                    <a:pt x="282" y="155"/>
                  </a:lnTo>
                  <a:lnTo>
                    <a:pt x="282" y="159"/>
                  </a:lnTo>
                  <a:lnTo>
                    <a:pt x="282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2" y="167"/>
                  </a:lnTo>
                  <a:lnTo>
                    <a:pt x="279" y="167"/>
                  </a:lnTo>
                  <a:lnTo>
                    <a:pt x="277" y="167"/>
                  </a:lnTo>
                  <a:lnTo>
                    <a:pt x="275" y="169"/>
                  </a:lnTo>
                  <a:lnTo>
                    <a:pt x="273" y="171"/>
                  </a:lnTo>
                  <a:lnTo>
                    <a:pt x="273" y="175"/>
                  </a:lnTo>
                  <a:lnTo>
                    <a:pt x="275" y="178"/>
                  </a:lnTo>
                  <a:lnTo>
                    <a:pt x="271" y="180"/>
                  </a:lnTo>
                  <a:lnTo>
                    <a:pt x="267" y="180"/>
                  </a:lnTo>
                  <a:lnTo>
                    <a:pt x="263" y="182"/>
                  </a:lnTo>
                  <a:lnTo>
                    <a:pt x="258" y="182"/>
                  </a:lnTo>
                  <a:lnTo>
                    <a:pt x="256" y="180"/>
                  </a:lnTo>
                  <a:lnTo>
                    <a:pt x="254" y="178"/>
                  </a:lnTo>
                  <a:lnTo>
                    <a:pt x="248" y="178"/>
                  </a:lnTo>
                  <a:lnTo>
                    <a:pt x="244" y="176"/>
                  </a:lnTo>
                  <a:lnTo>
                    <a:pt x="236" y="176"/>
                  </a:lnTo>
                  <a:lnTo>
                    <a:pt x="231" y="176"/>
                  </a:lnTo>
                  <a:lnTo>
                    <a:pt x="229" y="180"/>
                  </a:lnTo>
                  <a:lnTo>
                    <a:pt x="229" y="182"/>
                  </a:lnTo>
                  <a:lnTo>
                    <a:pt x="225" y="182"/>
                  </a:lnTo>
                  <a:lnTo>
                    <a:pt x="221" y="184"/>
                  </a:lnTo>
                  <a:lnTo>
                    <a:pt x="219" y="184"/>
                  </a:lnTo>
                  <a:lnTo>
                    <a:pt x="217" y="184"/>
                  </a:lnTo>
                  <a:lnTo>
                    <a:pt x="213" y="186"/>
                  </a:lnTo>
                  <a:lnTo>
                    <a:pt x="210" y="186"/>
                  </a:lnTo>
                  <a:lnTo>
                    <a:pt x="206" y="188"/>
                  </a:lnTo>
                  <a:lnTo>
                    <a:pt x="202" y="188"/>
                  </a:lnTo>
                  <a:lnTo>
                    <a:pt x="200" y="188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0" y="190"/>
                  </a:lnTo>
                  <a:lnTo>
                    <a:pt x="188" y="192"/>
                  </a:lnTo>
                  <a:lnTo>
                    <a:pt x="187" y="192"/>
                  </a:lnTo>
                  <a:lnTo>
                    <a:pt x="185" y="194"/>
                  </a:lnTo>
                  <a:lnTo>
                    <a:pt x="187" y="198"/>
                  </a:lnTo>
                  <a:lnTo>
                    <a:pt x="187" y="200"/>
                  </a:lnTo>
                  <a:lnTo>
                    <a:pt x="187" y="203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90" y="209"/>
                  </a:lnTo>
                  <a:lnTo>
                    <a:pt x="190" y="217"/>
                  </a:lnTo>
                  <a:lnTo>
                    <a:pt x="190" y="224"/>
                  </a:lnTo>
                  <a:lnTo>
                    <a:pt x="188" y="226"/>
                  </a:lnTo>
                  <a:lnTo>
                    <a:pt x="187" y="228"/>
                  </a:lnTo>
                  <a:lnTo>
                    <a:pt x="183" y="228"/>
                  </a:lnTo>
                  <a:lnTo>
                    <a:pt x="179" y="228"/>
                  </a:lnTo>
                  <a:lnTo>
                    <a:pt x="177" y="228"/>
                  </a:lnTo>
                  <a:lnTo>
                    <a:pt x="173" y="228"/>
                  </a:lnTo>
                  <a:lnTo>
                    <a:pt x="171" y="230"/>
                  </a:lnTo>
                  <a:lnTo>
                    <a:pt x="167" y="230"/>
                  </a:lnTo>
                  <a:lnTo>
                    <a:pt x="165" y="232"/>
                  </a:lnTo>
                  <a:lnTo>
                    <a:pt x="163" y="232"/>
                  </a:lnTo>
                  <a:lnTo>
                    <a:pt x="160" y="234"/>
                  </a:lnTo>
                  <a:lnTo>
                    <a:pt x="158" y="236"/>
                  </a:lnTo>
                  <a:lnTo>
                    <a:pt x="156" y="238"/>
                  </a:lnTo>
                  <a:lnTo>
                    <a:pt x="154" y="240"/>
                  </a:lnTo>
                  <a:lnTo>
                    <a:pt x="152" y="242"/>
                  </a:lnTo>
                  <a:lnTo>
                    <a:pt x="150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2" y="246"/>
                  </a:lnTo>
                  <a:lnTo>
                    <a:pt x="139" y="246"/>
                  </a:lnTo>
                  <a:lnTo>
                    <a:pt x="139" y="246"/>
                  </a:lnTo>
                  <a:lnTo>
                    <a:pt x="137" y="247"/>
                  </a:lnTo>
                  <a:lnTo>
                    <a:pt x="137" y="249"/>
                  </a:lnTo>
                  <a:lnTo>
                    <a:pt x="135" y="251"/>
                  </a:lnTo>
                  <a:lnTo>
                    <a:pt x="133" y="255"/>
                  </a:lnTo>
                  <a:lnTo>
                    <a:pt x="131" y="257"/>
                  </a:lnTo>
                  <a:lnTo>
                    <a:pt x="127" y="259"/>
                  </a:lnTo>
                  <a:lnTo>
                    <a:pt x="125" y="259"/>
                  </a:lnTo>
                  <a:lnTo>
                    <a:pt x="123" y="261"/>
                  </a:lnTo>
                  <a:lnTo>
                    <a:pt x="121" y="263"/>
                  </a:lnTo>
                  <a:lnTo>
                    <a:pt x="117" y="265"/>
                  </a:lnTo>
                  <a:lnTo>
                    <a:pt x="116" y="265"/>
                  </a:lnTo>
                  <a:lnTo>
                    <a:pt x="114" y="265"/>
                  </a:lnTo>
                  <a:lnTo>
                    <a:pt x="112" y="267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0" y="265"/>
                  </a:lnTo>
                  <a:lnTo>
                    <a:pt x="98" y="265"/>
                  </a:lnTo>
                  <a:lnTo>
                    <a:pt x="94" y="263"/>
                  </a:lnTo>
                  <a:lnTo>
                    <a:pt x="93" y="263"/>
                  </a:lnTo>
                  <a:lnTo>
                    <a:pt x="91" y="261"/>
                  </a:lnTo>
                  <a:lnTo>
                    <a:pt x="87" y="261"/>
                  </a:lnTo>
                  <a:lnTo>
                    <a:pt x="83" y="263"/>
                  </a:lnTo>
                  <a:lnTo>
                    <a:pt x="79" y="263"/>
                  </a:lnTo>
                  <a:lnTo>
                    <a:pt x="75" y="263"/>
                  </a:lnTo>
                  <a:lnTo>
                    <a:pt x="73" y="265"/>
                  </a:lnTo>
                  <a:lnTo>
                    <a:pt x="71" y="267"/>
                  </a:lnTo>
                  <a:lnTo>
                    <a:pt x="71" y="269"/>
                  </a:lnTo>
                  <a:lnTo>
                    <a:pt x="69" y="272"/>
                  </a:lnTo>
                  <a:lnTo>
                    <a:pt x="69" y="274"/>
                  </a:lnTo>
                  <a:lnTo>
                    <a:pt x="68" y="276"/>
                  </a:lnTo>
                  <a:lnTo>
                    <a:pt x="66" y="278"/>
                  </a:lnTo>
                  <a:lnTo>
                    <a:pt x="58" y="278"/>
                  </a:lnTo>
                  <a:lnTo>
                    <a:pt x="48" y="278"/>
                  </a:lnTo>
                  <a:lnTo>
                    <a:pt x="46" y="280"/>
                  </a:lnTo>
                  <a:lnTo>
                    <a:pt x="46" y="282"/>
                  </a:lnTo>
                  <a:lnTo>
                    <a:pt x="45" y="286"/>
                  </a:lnTo>
                  <a:lnTo>
                    <a:pt x="43" y="288"/>
                  </a:lnTo>
                  <a:lnTo>
                    <a:pt x="41" y="288"/>
                  </a:lnTo>
                  <a:lnTo>
                    <a:pt x="39" y="288"/>
                  </a:lnTo>
                  <a:lnTo>
                    <a:pt x="39" y="292"/>
                  </a:lnTo>
                  <a:lnTo>
                    <a:pt x="39" y="294"/>
                  </a:lnTo>
                  <a:lnTo>
                    <a:pt x="37" y="295"/>
                  </a:lnTo>
                  <a:lnTo>
                    <a:pt x="33" y="295"/>
                  </a:lnTo>
                  <a:lnTo>
                    <a:pt x="31" y="297"/>
                  </a:lnTo>
                  <a:lnTo>
                    <a:pt x="29" y="299"/>
                  </a:lnTo>
                  <a:lnTo>
                    <a:pt x="23" y="299"/>
                  </a:lnTo>
                  <a:lnTo>
                    <a:pt x="22" y="301"/>
                  </a:lnTo>
                  <a:lnTo>
                    <a:pt x="18" y="301"/>
                  </a:lnTo>
                  <a:lnTo>
                    <a:pt x="12" y="301"/>
                  </a:lnTo>
                  <a:lnTo>
                    <a:pt x="10" y="303"/>
                  </a:lnTo>
                  <a:lnTo>
                    <a:pt x="8" y="303"/>
                  </a:lnTo>
                  <a:lnTo>
                    <a:pt x="6" y="307"/>
                  </a:lnTo>
                  <a:lnTo>
                    <a:pt x="4" y="307"/>
                  </a:lnTo>
                  <a:lnTo>
                    <a:pt x="2" y="309"/>
                  </a:lnTo>
                  <a:lnTo>
                    <a:pt x="0" y="311"/>
                  </a:lnTo>
                  <a:lnTo>
                    <a:pt x="0" y="317"/>
                  </a:lnTo>
                  <a:lnTo>
                    <a:pt x="0" y="320"/>
                  </a:lnTo>
                  <a:lnTo>
                    <a:pt x="0" y="332"/>
                  </a:lnTo>
                  <a:lnTo>
                    <a:pt x="0" y="345"/>
                  </a:lnTo>
                  <a:lnTo>
                    <a:pt x="0" y="347"/>
                  </a:lnTo>
                  <a:lnTo>
                    <a:pt x="0" y="353"/>
                  </a:lnTo>
                  <a:lnTo>
                    <a:pt x="0" y="359"/>
                  </a:lnTo>
                  <a:lnTo>
                    <a:pt x="2" y="359"/>
                  </a:lnTo>
                  <a:lnTo>
                    <a:pt x="4" y="361"/>
                  </a:lnTo>
                  <a:lnTo>
                    <a:pt x="8" y="365"/>
                  </a:lnTo>
                  <a:lnTo>
                    <a:pt x="12" y="365"/>
                  </a:lnTo>
                  <a:lnTo>
                    <a:pt x="12" y="365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8" y="368"/>
                  </a:lnTo>
                  <a:lnTo>
                    <a:pt x="20" y="370"/>
                  </a:lnTo>
                  <a:lnTo>
                    <a:pt x="23" y="372"/>
                  </a:lnTo>
                  <a:lnTo>
                    <a:pt x="27" y="372"/>
                  </a:lnTo>
                  <a:lnTo>
                    <a:pt x="31" y="374"/>
                  </a:lnTo>
                  <a:lnTo>
                    <a:pt x="33" y="376"/>
                  </a:lnTo>
                  <a:lnTo>
                    <a:pt x="35" y="378"/>
                  </a:lnTo>
                  <a:lnTo>
                    <a:pt x="39" y="378"/>
                  </a:lnTo>
                  <a:lnTo>
                    <a:pt x="41" y="380"/>
                  </a:lnTo>
                  <a:lnTo>
                    <a:pt x="45" y="384"/>
                  </a:lnTo>
                  <a:lnTo>
                    <a:pt x="48" y="384"/>
                  </a:lnTo>
                  <a:lnTo>
                    <a:pt x="52" y="386"/>
                  </a:lnTo>
                  <a:lnTo>
                    <a:pt x="54" y="386"/>
                  </a:lnTo>
                  <a:lnTo>
                    <a:pt x="56" y="389"/>
                  </a:lnTo>
                  <a:lnTo>
                    <a:pt x="60" y="389"/>
                  </a:lnTo>
                  <a:lnTo>
                    <a:pt x="60" y="391"/>
                  </a:lnTo>
                  <a:lnTo>
                    <a:pt x="64" y="393"/>
                  </a:lnTo>
                  <a:lnTo>
                    <a:pt x="68" y="397"/>
                  </a:lnTo>
                  <a:lnTo>
                    <a:pt x="69" y="399"/>
                  </a:lnTo>
                  <a:lnTo>
                    <a:pt x="71" y="399"/>
                  </a:lnTo>
                  <a:lnTo>
                    <a:pt x="75" y="401"/>
                  </a:lnTo>
                  <a:lnTo>
                    <a:pt x="75" y="403"/>
                  </a:lnTo>
                  <a:lnTo>
                    <a:pt x="79" y="405"/>
                  </a:lnTo>
                  <a:lnTo>
                    <a:pt x="79" y="407"/>
                  </a:lnTo>
                  <a:lnTo>
                    <a:pt x="81" y="407"/>
                  </a:lnTo>
                  <a:lnTo>
                    <a:pt x="85" y="411"/>
                  </a:lnTo>
                  <a:lnTo>
                    <a:pt x="89" y="413"/>
                  </a:lnTo>
                  <a:lnTo>
                    <a:pt x="91" y="414"/>
                  </a:lnTo>
                  <a:lnTo>
                    <a:pt x="91" y="416"/>
                  </a:lnTo>
                  <a:lnTo>
                    <a:pt x="94" y="420"/>
                  </a:lnTo>
                  <a:lnTo>
                    <a:pt x="96" y="420"/>
                  </a:lnTo>
                  <a:lnTo>
                    <a:pt x="98" y="422"/>
                  </a:lnTo>
                  <a:lnTo>
                    <a:pt x="100" y="426"/>
                  </a:lnTo>
                  <a:lnTo>
                    <a:pt x="106" y="426"/>
                  </a:lnTo>
                  <a:lnTo>
                    <a:pt x="112" y="428"/>
                  </a:lnTo>
                  <a:lnTo>
                    <a:pt x="114" y="432"/>
                  </a:lnTo>
                  <a:lnTo>
                    <a:pt x="117" y="432"/>
                  </a:lnTo>
                  <a:lnTo>
                    <a:pt x="117" y="434"/>
                  </a:lnTo>
                  <a:lnTo>
                    <a:pt x="117" y="436"/>
                  </a:lnTo>
                  <a:lnTo>
                    <a:pt x="121" y="436"/>
                  </a:lnTo>
                  <a:lnTo>
                    <a:pt x="123" y="437"/>
                  </a:lnTo>
                  <a:lnTo>
                    <a:pt x="125" y="439"/>
                  </a:lnTo>
                  <a:lnTo>
                    <a:pt x="125" y="441"/>
                  </a:lnTo>
                  <a:lnTo>
                    <a:pt x="127" y="439"/>
                  </a:lnTo>
                  <a:lnTo>
                    <a:pt x="342" y="601"/>
                  </a:lnTo>
                  <a:lnTo>
                    <a:pt x="350" y="604"/>
                  </a:lnTo>
                  <a:lnTo>
                    <a:pt x="357" y="608"/>
                  </a:lnTo>
                  <a:lnTo>
                    <a:pt x="357" y="612"/>
                  </a:lnTo>
                  <a:lnTo>
                    <a:pt x="357" y="616"/>
                  </a:lnTo>
                  <a:lnTo>
                    <a:pt x="357" y="620"/>
                  </a:lnTo>
                  <a:lnTo>
                    <a:pt x="357" y="622"/>
                  </a:lnTo>
                  <a:lnTo>
                    <a:pt x="361" y="624"/>
                  </a:lnTo>
                  <a:lnTo>
                    <a:pt x="365" y="624"/>
                  </a:lnTo>
                  <a:lnTo>
                    <a:pt x="369" y="624"/>
                  </a:lnTo>
                  <a:lnTo>
                    <a:pt x="373" y="626"/>
                  </a:lnTo>
                  <a:lnTo>
                    <a:pt x="375" y="627"/>
                  </a:lnTo>
                  <a:lnTo>
                    <a:pt x="376" y="627"/>
                  </a:lnTo>
                  <a:lnTo>
                    <a:pt x="378" y="629"/>
                  </a:lnTo>
                  <a:lnTo>
                    <a:pt x="380" y="629"/>
                  </a:lnTo>
                  <a:lnTo>
                    <a:pt x="382" y="633"/>
                  </a:lnTo>
                  <a:lnTo>
                    <a:pt x="384" y="635"/>
                  </a:lnTo>
                  <a:lnTo>
                    <a:pt x="388" y="635"/>
                  </a:lnTo>
                  <a:lnTo>
                    <a:pt x="392" y="637"/>
                  </a:lnTo>
                  <a:lnTo>
                    <a:pt x="394" y="639"/>
                  </a:lnTo>
                  <a:lnTo>
                    <a:pt x="396" y="641"/>
                  </a:lnTo>
                  <a:lnTo>
                    <a:pt x="396" y="645"/>
                  </a:lnTo>
                  <a:lnTo>
                    <a:pt x="396" y="647"/>
                  </a:lnTo>
                  <a:lnTo>
                    <a:pt x="398" y="649"/>
                  </a:lnTo>
                  <a:lnTo>
                    <a:pt x="401" y="650"/>
                  </a:lnTo>
                  <a:lnTo>
                    <a:pt x="403" y="652"/>
                  </a:lnTo>
                  <a:lnTo>
                    <a:pt x="403" y="652"/>
                  </a:lnTo>
                  <a:lnTo>
                    <a:pt x="403" y="650"/>
                  </a:lnTo>
                  <a:lnTo>
                    <a:pt x="403" y="654"/>
                  </a:lnTo>
                  <a:lnTo>
                    <a:pt x="403" y="658"/>
                  </a:lnTo>
                  <a:lnTo>
                    <a:pt x="403" y="660"/>
                  </a:lnTo>
                  <a:lnTo>
                    <a:pt x="403" y="662"/>
                  </a:lnTo>
                  <a:lnTo>
                    <a:pt x="405" y="664"/>
                  </a:lnTo>
                  <a:lnTo>
                    <a:pt x="407" y="666"/>
                  </a:lnTo>
                  <a:lnTo>
                    <a:pt x="411" y="666"/>
                  </a:lnTo>
                  <a:lnTo>
                    <a:pt x="413" y="666"/>
                  </a:lnTo>
                  <a:lnTo>
                    <a:pt x="417" y="666"/>
                  </a:lnTo>
                  <a:lnTo>
                    <a:pt x="421" y="666"/>
                  </a:lnTo>
                  <a:lnTo>
                    <a:pt x="424" y="666"/>
                  </a:lnTo>
                  <a:lnTo>
                    <a:pt x="428" y="666"/>
                  </a:lnTo>
                  <a:lnTo>
                    <a:pt x="432" y="666"/>
                  </a:lnTo>
                  <a:lnTo>
                    <a:pt x="434" y="666"/>
                  </a:lnTo>
                  <a:lnTo>
                    <a:pt x="438" y="666"/>
                  </a:lnTo>
                  <a:lnTo>
                    <a:pt x="442" y="666"/>
                  </a:lnTo>
                  <a:lnTo>
                    <a:pt x="446" y="666"/>
                  </a:lnTo>
                  <a:lnTo>
                    <a:pt x="449" y="666"/>
                  </a:lnTo>
                  <a:lnTo>
                    <a:pt x="453" y="666"/>
                  </a:lnTo>
                  <a:lnTo>
                    <a:pt x="453" y="664"/>
                  </a:lnTo>
                  <a:lnTo>
                    <a:pt x="457" y="664"/>
                  </a:lnTo>
                  <a:lnTo>
                    <a:pt x="459" y="664"/>
                  </a:lnTo>
                  <a:lnTo>
                    <a:pt x="463" y="662"/>
                  </a:lnTo>
                  <a:lnTo>
                    <a:pt x="465" y="662"/>
                  </a:lnTo>
                  <a:lnTo>
                    <a:pt x="469" y="662"/>
                  </a:lnTo>
                  <a:lnTo>
                    <a:pt x="472" y="662"/>
                  </a:lnTo>
                  <a:lnTo>
                    <a:pt x="474" y="660"/>
                  </a:lnTo>
                  <a:lnTo>
                    <a:pt x="476" y="660"/>
                  </a:lnTo>
                  <a:lnTo>
                    <a:pt x="482" y="660"/>
                  </a:lnTo>
                  <a:lnTo>
                    <a:pt x="486" y="658"/>
                  </a:lnTo>
                  <a:lnTo>
                    <a:pt x="490" y="658"/>
                  </a:lnTo>
                  <a:lnTo>
                    <a:pt x="492" y="656"/>
                  </a:lnTo>
                  <a:lnTo>
                    <a:pt x="494" y="656"/>
                  </a:lnTo>
                  <a:lnTo>
                    <a:pt x="495" y="652"/>
                  </a:lnTo>
                  <a:lnTo>
                    <a:pt x="495" y="650"/>
                  </a:lnTo>
                  <a:lnTo>
                    <a:pt x="497" y="650"/>
                  </a:lnTo>
                  <a:lnTo>
                    <a:pt x="499" y="649"/>
                  </a:lnTo>
                  <a:lnTo>
                    <a:pt x="499" y="645"/>
                  </a:lnTo>
                  <a:lnTo>
                    <a:pt x="501" y="643"/>
                  </a:lnTo>
                  <a:lnTo>
                    <a:pt x="568" y="595"/>
                  </a:lnTo>
                  <a:lnTo>
                    <a:pt x="726" y="503"/>
                  </a:lnTo>
                  <a:lnTo>
                    <a:pt x="724" y="497"/>
                  </a:lnTo>
                  <a:lnTo>
                    <a:pt x="724" y="493"/>
                  </a:lnTo>
                  <a:lnTo>
                    <a:pt x="724" y="485"/>
                  </a:lnTo>
                  <a:lnTo>
                    <a:pt x="722" y="484"/>
                  </a:lnTo>
                  <a:lnTo>
                    <a:pt x="720" y="482"/>
                  </a:lnTo>
                  <a:lnTo>
                    <a:pt x="718" y="480"/>
                  </a:lnTo>
                  <a:lnTo>
                    <a:pt x="716" y="480"/>
                  </a:lnTo>
                  <a:lnTo>
                    <a:pt x="716" y="476"/>
                  </a:lnTo>
                  <a:lnTo>
                    <a:pt x="712" y="474"/>
                  </a:lnTo>
                  <a:lnTo>
                    <a:pt x="710" y="472"/>
                  </a:lnTo>
                  <a:lnTo>
                    <a:pt x="710" y="470"/>
                  </a:lnTo>
                  <a:lnTo>
                    <a:pt x="708" y="468"/>
                  </a:lnTo>
                  <a:lnTo>
                    <a:pt x="708" y="466"/>
                  </a:lnTo>
                  <a:lnTo>
                    <a:pt x="703" y="466"/>
                  </a:lnTo>
                  <a:lnTo>
                    <a:pt x="701" y="464"/>
                  </a:lnTo>
                  <a:lnTo>
                    <a:pt x="697" y="464"/>
                  </a:lnTo>
                  <a:lnTo>
                    <a:pt x="697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89" y="462"/>
                  </a:lnTo>
                  <a:lnTo>
                    <a:pt x="689" y="460"/>
                  </a:lnTo>
                  <a:lnTo>
                    <a:pt x="685" y="460"/>
                  </a:lnTo>
                  <a:lnTo>
                    <a:pt x="682" y="460"/>
                  </a:lnTo>
                  <a:lnTo>
                    <a:pt x="678" y="460"/>
                  </a:lnTo>
                  <a:lnTo>
                    <a:pt x="674" y="460"/>
                  </a:lnTo>
                  <a:lnTo>
                    <a:pt x="672" y="460"/>
                  </a:lnTo>
                  <a:lnTo>
                    <a:pt x="670" y="460"/>
                  </a:lnTo>
                  <a:lnTo>
                    <a:pt x="668" y="459"/>
                  </a:lnTo>
                  <a:lnTo>
                    <a:pt x="664" y="459"/>
                  </a:lnTo>
                  <a:lnTo>
                    <a:pt x="660" y="457"/>
                  </a:lnTo>
                  <a:lnTo>
                    <a:pt x="659" y="455"/>
                  </a:lnTo>
                  <a:lnTo>
                    <a:pt x="655" y="453"/>
                  </a:lnTo>
                  <a:lnTo>
                    <a:pt x="653" y="449"/>
                  </a:lnTo>
                  <a:lnTo>
                    <a:pt x="653" y="445"/>
                  </a:lnTo>
                  <a:lnTo>
                    <a:pt x="651" y="445"/>
                  </a:lnTo>
                  <a:lnTo>
                    <a:pt x="651" y="441"/>
                  </a:lnTo>
                  <a:lnTo>
                    <a:pt x="651" y="437"/>
                  </a:lnTo>
                  <a:lnTo>
                    <a:pt x="653" y="434"/>
                  </a:lnTo>
                  <a:lnTo>
                    <a:pt x="653" y="430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49" y="424"/>
                  </a:lnTo>
                  <a:lnTo>
                    <a:pt x="645" y="422"/>
                  </a:lnTo>
                  <a:lnTo>
                    <a:pt x="643" y="420"/>
                  </a:lnTo>
                  <a:lnTo>
                    <a:pt x="641" y="418"/>
                  </a:lnTo>
                  <a:lnTo>
                    <a:pt x="639" y="416"/>
                  </a:lnTo>
                  <a:lnTo>
                    <a:pt x="639" y="413"/>
                  </a:lnTo>
                  <a:lnTo>
                    <a:pt x="637" y="411"/>
                  </a:lnTo>
                  <a:lnTo>
                    <a:pt x="636" y="411"/>
                  </a:lnTo>
                  <a:lnTo>
                    <a:pt x="634" y="409"/>
                  </a:lnTo>
                  <a:lnTo>
                    <a:pt x="632" y="407"/>
                  </a:lnTo>
                  <a:lnTo>
                    <a:pt x="632" y="403"/>
                  </a:lnTo>
                  <a:lnTo>
                    <a:pt x="632" y="399"/>
                  </a:lnTo>
                  <a:lnTo>
                    <a:pt x="632" y="395"/>
                  </a:lnTo>
                  <a:lnTo>
                    <a:pt x="634" y="393"/>
                  </a:lnTo>
                  <a:lnTo>
                    <a:pt x="636" y="391"/>
                  </a:lnTo>
                  <a:lnTo>
                    <a:pt x="636" y="388"/>
                  </a:lnTo>
                  <a:lnTo>
                    <a:pt x="637" y="388"/>
                  </a:lnTo>
                  <a:lnTo>
                    <a:pt x="639" y="386"/>
                  </a:lnTo>
                  <a:lnTo>
                    <a:pt x="639" y="382"/>
                  </a:lnTo>
                  <a:lnTo>
                    <a:pt x="643" y="382"/>
                  </a:lnTo>
                  <a:lnTo>
                    <a:pt x="645" y="380"/>
                  </a:lnTo>
                  <a:lnTo>
                    <a:pt x="645" y="380"/>
                  </a:lnTo>
                  <a:lnTo>
                    <a:pt x="643" y="380"/>
                  </a:lnTo>
                  <a:lnTo>
                    <a:pt x="645" y="382"/>
                  </a:lnTo>
                  <a:lnTo>
                    <a:pt x="645" y="380"/>
                  </a:lnTo>
                  <a:lnTo>
                    <a:pt x="643" y="378"/>
                  </a:lnTo>
                  <a:lnTo>
                    <a:pt x="643" y="378"/>
                  </a:lnTo>
                  <a:lnTo>
                    <a:pt x="649" y="378"/>
                  </a:lnTo>
                  <a:lnTo>
                    <a:pt x="651" y="376"/>
                  </a:lnTo>
                  <a:lnTo>
                    <a:pt x="655" y="376"/>
                  </a:lnTo>
                  <a:lnTo>
                    <a:pt x="659" y="376"/>
                  </a:lnTo>
                  <a:lnTo>
                    <a:pt x="660" y="374"/>
                  </a:lnTo>
                  <a:lnTo>
                    <a:pt x="664" y="372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7" y="365"/>
                  </a:lnTo>
                  <a:lnTo>
                    <a:pt x="653" y="363"/>
                  </a:lnTo>
                  <a:lnTo>
                    <a:pt x="653" y="359"/>
                  </a:lnTo>
                  <a:lnTo>
                    <a:pt x="653" y="357"/>
                  </a:lnTo>
                  <a:lnTo>
                    <a:pt x="653" y="353"/>
                  </a:lnTo>
                  <a:lnTo>
                    <a:pt x="655" y="351"/>
                  </a:lnTo>
                  <a:lnTo>
                    <a:pt x="655" y="347"/>
                  </a:lnTo>
                  <a:lnTo>
                    <a:pt x="655" y="345"/>
                  </a:lnTo>
                  <a:lnTo>
                    <a:pt x="655" y="342"/>
                  </a:lnTo>
                  <a:lnTo>
                    <a:pt x="653" y="340"/>
                  </a:lnTo>
                  <a:lnTo>
                    <a:pt x="653" y="336"/>
                  </a:lnTo>
                  <a:lnTo>
                    <a:pt x="653" y="332"/>
                  </a:lnTo>
                  <a:lnTo>
                    <a:pt x="653" y="328"/>
                  </a:lnTo>
                  <a:lnTo>
                    <a:pt x="653" y="324"/>
                  </a:lnTo>
                  <a:lnTo>
                    <a:pt x="651" y="320"/>
                  </a:lnTo>
                  <a:lnTo>
                    <a:pt x="651" y="317"/>
                  </a:lnTo>
                  <a:lnTo>
                    <a:pt x="651" y="313"/>
                  </a:lnTo>
                  <a:lnTo>
                    <a:pt x="651" y="309"/>
                  </a:lnTo>
                  <a:lnTo>
                    <a:pt x="651" y="307"/>
                  </a:lnTo>
                  <a:lnTo>
                    <a:pt x="651" y="303"/>
                  </a:lnTo>
                  <a:lnTo>
                    <a:pt x="651" y="301"/>
                  </a:lnTo>
                  <a:lnTo>
                    <a:pt x="653" y="299"/>
                  </a:lnTo>
                  <a:lnTo>
                    <a:pt x="653" y="297"/>
                  </a:lnTo>
                  <a:lnTo>
                    <a:pt x="653" y="294"/>
                  </a:lnTo>
                  <a:lnTo>
                    <a:pt x="655" y="292"/>
                  </a:lnTo>
                  <a:lnTo>
                    <a:pt x="655" y="288"/>
                  </a:lnTo>
                  <a:lnTo>
                    <a:pt x="655" y="286"/>
                  </a:lnTo>
                  <a:lnTo>
                    <a:pt x="655" y="282"/>
                  </a:lnTo>
                  <a:lnTo>
                    <a:pt x="655" y="278"/>
                  </a:lnTo>
                  <a:lnTo>
                    <a:pt x="653" y="272"/>
                  </a:lnTo>
                  <a:lnTo>
                    <a:pt x="653" y="269"/>
                  </a:lnTo>
                  <a:lnTo>
                    <a:pt x="653" y="267"/>
                  </a:lnTo>
                  <a:lnTo>
                    <a:pt x="653" y="263"/>
                  </a:lnTo>
                  <a:lnTo>
                    <a:pt x="653" y="259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1" y="249"/>
                  </a:lnTo>
                  <a:lnTo>
                    <a:pt x="651" y="246"/>
                  </a:lnTo>
                  <a:lnTo>
                    <a:pt x="651" y="244"/>
                  </a:lnTo>
                  <a:lnTo>
                    <a:pt x="651" y="240"/>
                  </a:lnTo>
                  <a:lnTo>
                    <a:pt x="649" y="238"/>
                  </a:lnTo>
                  <a:lnTo>
                    <a:pt x="647" y="236"/>
                  </a:lnTo>
                  <a:lnTo>
                    <a:pt x="643" y="234"/>
                  </a:lnTo>
                  <a:lnTo>
                    <a:pt x="641" y="230"/>
                  </a:lnTo>
                  <a:lnTo>
                    <a:pt x="639" y="228"/>
                  </a:lnTo>
                  <a:lnTo>
                    <a:pt x="639" y="224"/>
                  </a:lnTo>
                  <a:lnTo>
                    <a:pt x="639" y="223"/>
                  </a:lnTo>
                  <a:lnTo>
                    <a:pt x="637" y="221"/>
                  </a:lnTo>
                  <a:lnTo>
                    <a:pt x="637" y="217"/>
                  </a:lnTo>
                  <a:lnTo>
                    <a:pt x="636" y="217"/>
                  </a:lnTo>
                  <a:lnTo>
                    <a:pt x="636" y="213"/>
                  </a:lnTo>
                  <a:lnTo>
                    <a:pt x="634" y="209"/>
                  </a:lnTo>
                  <a:lnTo>
                    <a:pt x="632" y="209"/>
                  </a:lnTo>
                  <a:lnTo>
                    <a:pt x="630" y="207"/>
                  </a:lnTo>
                  <a:lnTo>
                    <a:pt x="630" y="205"/>
                  </a:lnTo>
                  <a:lnTo>
                    <a:pt x="628" y="205"/>
                  </a:lnTo>
                  <a:lnTo>
                    <a:pt x="626" y="201"/>
                  </a:lnTo>
                  <a:lnTo>
                    <a:pt x="624" y="198"/>
                  </a:lnTo>
                  <a:lnTo>
                    <a:pt x="624" y="194"/>
                  </a:lnTo>
                  <a:lnTo>
                    <a:pt x="624" y="192"/>
                  </a:lnTo>
                  <a:lnTo>
                    <a:pt x="624" y="190"/>
                  </a:lnTo>
                  <a:lnTo>
                    <a:pt x="626" y="188"/>
                  </a:lnTo>
                  <a:lnTo>
                    <a:pt x="626" y="184"/>
                  </a:lnTo>
                  <a:lnTo>
                    <a:pt x="626" y="180"/>
                  </a:lnTo>
                  <a:lnTo>
                    <a:pt x="626" y="178"/>
                  </a:lnTo>
                  <a:lnTo>
                    <a:pt x="624" y="176"/>
                  </a:lnTo>
                  <a:lnTo>
                    <a:pt x="624" y="173"/>
                  </a:lnTo>
                  <a:lnTo>
                    <a:pt x="620" y="173"/>
                  </a:lnTo>
                  <a:lnTo>
                    <a:pt x="618" y="173"/>
                  </a:lnTo>
                  <a:lnTo>
                    <a:pt x="616" y="171"/>
                  </a:lnTo>
                  <a:lnTo>
                    <a:pt x="612" y="171"/>
                  </a:lnTo>
                  <a:lnTo>
                    <a:pt x="611" y="171"/>
                  </a:lnTo>
                  <a:lnTo>
                    <a:pt x="607" y="171"/>
                  </a:lnTo>
                  <a:lnTo>
                    <a:pt x="605" y="171"/>
                  </a:lnTo>
                  <a:lnTo>
                    <a:pt x="603" y="171"/>
                  </a:lnTo>
                  <a:lnTo>
                    <a:pt x="601" y="171"/>
                  </a:lnTo>
                  <a:lnTo>
                    <a:pt x="599" y="169"/>
                  </a:lnTo>
                  <a:lnTo>
                    <a:pt x="597" y="167"/>
                  </a:lnTo>
                  <a:lnTo>
                    <a:pt x="597" y="163"/>
                  </a:lnTo>
                  <a:lnTo>
                    <a:pt x="595" y="161"/>
                  </a:lnTo>
                  <a:lnTo>
                    <a:pt x="595" y="157"/>
                  </a:lnTo>
                  <a:lnTo>
                    <a:pt x="593" y="155"/>
                  </a:lnTo>
                  <a:lnTo>
                    <a:pt x="593" y="152"/>
                  </a:lnTo>
                  <a:lnTo>
                    <a:pt x="591" y="150"/>
                  </a:lnTo>
                  <a:lnTo>
                    <a:pt x="591" y="148"/>
                  </a:lnTo>
                  <a:lnTo>
                    <a:pt x="589" y="146"/>
                  </a:lnTo>
                  <a:lnTo>
                    <a:pt x="586" y="142"/>
                  </a:lnTo>
                  <a:lnTo>
                    <a:pt x="584" y="140"/>
                  </a:lnTo>
                  <a:lnTo>
                    <a:pt x="582" y="136"/>
                  </a:lnTo>
                  <a:lnTo>
                    <a:pt x="582" y="134"/>
                  </a:lnTo>
                  <a:lnTo>
                    <a:pt x="582" y="130"/>
                  </a:lnTo>
                  <a:lnTo>
                    <a:pt x="580" y="130"/>
                  </a:lnTo>
                  <a:lnTo>
                    <a:pt x="580" y="127"/>
                  </a:lnTo>
                  <a:lnTo>
                    <a:pt x="578" y="125"/>
                  </a:lnTo>
                  <a:lnTo>
                    <a:pt x="578" y="121"/>
                  </a:lnTo>
                  <a:lnTo>
                    <a:pt x="578" y="117"/>
                  </a:lnTo>
                  <a:lnTo>
                    <a:pt x="578" y="113"/>
                  </a:lnTo>
                  <a:lnTo>
                    <a:pt x="578" y="111"/>
                  </a:lnTo>
                  <a:lnTo>
                    <a:pt x="580" y="109"/>
                  </a:lnTo>
                  <a:lnTo>
                    <a:pt x="580" y="105"/>
                  </a:lnTo>
                  <a:lnTo>
                    <a:pt x="580" y="104"/>
                  </a:lnTo>
                  <a:lnTo>
                    <a:pt x="582" y="102"/>
                  </a:lnTo>
                  <a:lnTo>
                    <a:pt x="582" y="100"/>
                  </a:lnTo>
                  <a:lnTo>
                    <a:pt x="582" y="96"/>
                  </a:lnTo>
                  <a:lnTo>
                    <a:pt x="584" y="96"/>
                  </a:lnTo>
                  <a:lnTo>
                    <a:pt x="584" y="92"/>
                  </a:lnTo>
                  <a:lnTo>
                    <a:pt x="586" y="90"/>
                  </a:lnTo>
                  <a:lnTo>
                    <a:pt x="589" y="90"/>
                  </a:lnTo>
                  <a:lnTo>
                    <a:pt x="591" y="88"/>
                  </a:lnTo>
                  <a:lnTo>
                    <a:pt x="593" y="84"/>
                  </a:lnTo>
                  <a:lnTo>
                    <a:pt x="595" y="82"/>
                  </a:lnTo>
                  <a:lnTo>
                    <a:pt x="597" y="81"/>
                  </a:lnTo>
                  <a:lnTo>
                    <a:pt x="599" y="77"/>
                  </a:lnTo>
                  <a:lnTo>
                    <a:pt x="603" y="75"/>
                  </a:lnTo>
                  <a:lnTo>
                    <a:pt x="603" y="73"/>
                  </a:lnTo>
                  <a:lnTo>
                    <a:pt x="605" y="71"/>
                  </a:lnTo>
                  <a:lnTo>
                    <a:pt x="607" y="69"/>
                  </a:lnTo>
                  <a:lnTo>
                    <a:pt x="609" y="69"/>
                  </a:lnTo>
                  <a:lnTo>
                    <a:pt x="609" y="65"/>
                  </a:lnTo>
                  <a:lnTo>
                    <a:pt x="611" y="63"/>
                  </a:lnTo>
                  <a:lnTo>
                    <a:pt x="611" y="59"/>
                  </a:lnTo>
                  <a:lnTo>
                    <a:pt x="611" y="56"/>
                  </a:lnTo>
                  <a:lnTo>
                    <a:pt x="611" y="52"/>
                  </a:lnTo>
                  <a:lnTo>
                    <a:pt x="609" y="50"/>
                  </a:lnTo>
                  <a:lnTo>
                    <a:pt x="609" y="46"/>
                  </a:lnTo>
                  <a:lnTo>
                    <a:pt x="609" y="42"/>
                  </a:lnTo>
                  <a:lnTo>
                    <a:pt x="609" y="38"/>
                  </a:lnTo>
                  <a:lnTo>
                    <a:pt x="609" y="34"/>
                  </a:lnTo>
                  <a:lnTo>
                    <a:pt x="607" y="33"/>
                  </a:lnTo>
                  <a:lnTo>
                    <a:pt x="607" y="31"/>
                  </a:lnTo>
                  <a:lnTo>
                    <a:pt x="607" y="27"/>
                  </a:lnTo>
                  <a:lnTo>
                    <a:pt x="607" y="23"/>
                  </a:lnTo>
                  <a:lnTo>
                    <a:pt x="607" y="19"/>
                  </a:lnTo>
                  <a:lnTo>
                    <a:pt x="605" y="17"/>
                  </a:lnTo>
                  <a:lnTo>
                    <a:pt x="605" y="13"/>
                  </a:lnTo>
                  <a:lnTo>
                    <a:pt x="605" y="1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5" name="Freeform 61"/>
            <p:cNvSpPr>
              <a:spLocks/>
            </p:cNvSpPr>
            <p:nvPr/>
          </p:nvSpPr>
          <p:spPr bwMode="auto">
            <a:xfrm>
              <a:off x="703" y="996"/>
              <a:ext cx="472" cy="315"/>
            </a:xfrm>
            <a:custGeom>
              <a:avLst/>
              <a:gdLst/>
              <a:ahLst/>
              <a:cxnLst>
                <a:cxn ang="0">
                  <a:pos x="419" y="33"/>
                </a:cxn>
                <a:cxn ang="0">
                  <a:pos x="396" y="29"/>
                </a:cxn>
                <a:cxn ang="0">
                  <a:pos x="382" y="25"/>
                </a:cxn>
                <a:cxn ang="0">
                  <a:pos x="351" y="23"/>
                </a:cxn>
                <a:cxn ang="0">
                  <a:pos x="338" y="20"/>
                </a:cxn>
                <a:cxn ang="0">
                  <a:pos x="330" y="4"/>
                </a:cxn>
                <a:cxn ang="0">
                  <a:pos x="319" y="4"/>
                </a:cxn>
                <a:cxn ang="0">
                  <a:pos x="302" y="4"/>
                </a:cxn>
                <a:cxn ang="0">
                  <a:pos x="294" y="20"/>
                </a:cxn>
                <a:cxn ang="0">
                  <a:pos x="286" y="37"/>
                </a:cxn>
                <a:cxn ang="0">
                  <a:pos x="280" y="50"/>
                </a:cxn>
                <a:cxn ang="0">
                  <a:pos x="273" y="60"/>
                </a:cxn>
                <a:cxn ang="0">
                  <a:pos x="259" y="69"/>
                </a:cxn>
                <a:cxn ang="0">
                  <a:pos x="234" y="75"/>
                </a:cxn>
                <a:cxn ang="0">
                  <a:pos x="206" y="81"/>
                </a:cxn>
                <a:cxn ang="0">
                  <a:pos x="188" y="87"/>
                </a:cxn>
                <a:cxn ang="0">
                  <a:pos x="173" y="102"/>
                </a:cxn>
                <a:cxn ang="0">
                  <a:pos x="163" y="116"/>
                </a:cxn>
                <a:cxn ang="0">
                  <a:pos x="158" y="139"/>
                </a:cxn>
                <a:cxn ang="0">
                  <a:pos x="154" y="164"/>
                </a:cxn>
                <a:cxn ang="0">
                  <a:pos x="150" y="187"/>
                </a:cxn>
                <a:cxn ang="0">
                  <a:pos x="160" y="213"/>
                </a:cxn>
                <a:cxn ang="0">
                  <a:pos x="154" y="235"/>
                </a:cxn>
                <a:cxn ang="0">
                  <a:pos x="140" y="246"/>
                </a:cxn>
                <a:cxn ang="0">
                  <a:pos x="127" y="254"/>
                </a:cxn>
                <a:cxn ang="0">
                  <a:pos x="108" y="259"/>
                </a:cxn>
                <a:cxn ang="0">
                  <a:pos x="89" y="267"/>
                </a:cxn>
                <a:cxn ang="0">
                  <a:pos x="75" y="271"/>
                </a:cxn>
                <a:cxn ang="0">
                  <a:pos x="60" y="279"/>
                </a:cxn>
                <a:cxn ang="0">
                  <a:pos x="48" y="284"/>
                </a:cxn>
                <a:cxn ang="0">
                  <a:pos x="25" y="290"/>
                </a:cxn>
                <a:cxn ang="0">
                  <a:pos x="8" y="294"/>
                </a:cxn>
                <a:cxn ang="0">
                  <a:pos x="4" y="306"/>
                </a:cxn>
                <a:cxn ang="0">
                  <a:pos x="184" y="309"/>
                </a:cxn>
                <a:cxn ang="0">
                  <a:pos x="186" y="292"/>
                </a:cxn>
                <a:cxn ang="0">
                  <a:pos x="188" y="273"/>
                </a:cxn>
                <a:cxn ang="0">
                  <a:pos x="204" y="265"/>
                </a:cxn>
                <a:cxn ang="0">
                  <a:pos x="225" y="258"/>
                </a:cxn>
                <a:cxn ang="0">
                  <a:pos x="234" y="246"/>
                </a:cxn>
                <a:cxn ang="0">
                  <a:pos x="254" y="238"/>
                </a:cxn>
                <a:cxn ang="0">
                  <a:pos x="267" y="227"/>
                </a:cxn>
                <a:cxn ang="0">
                  <a:pos x="284" y="231"/>
                </a:cxn>
                <a:cxn ang="0">
                  <a:pos x="300" y="233"/>
                </a:cxn>
                <a:cxn ang="0">
                  <a:pos x="313" y="223"/>
                </a:cxn>
                <a:cxn ang="0">
                  <a:pos x="325" y="211"/>
                </a:cxn>
                <a:cxn ang="0">
                  <a:pos x="338" y="202"/>
                </a:cxn>
                <a:cxn ang="0">
                  <a:pos x="353" y="196"/>
                </a:cxn>
                <a:cxn ang="0">
                  <a:pos x="376" y="187"/>
                </a:cxn>
                <a:cxn ang="0">
                  <a:pos x="374" y="167"/>
                </a:cxn>
                <a:cxn ang="0">
                  <a:pos x="382" y="152"/>
                </a:cxn>
                <a:cxn ang="0">
                  <a:pos x="411" y="144"/>
                </a:cxn>
                <a:cxn ang="0">
                  <a:pos x="426" y="139"/>
                </a:cxn>
                <a:cxn ang="0">
                  <a:pos x="440" y="146"/>
                </a:cxn>
                <a:cxn ang="0">
                  <a:pos x="461" y="146"/>
                </a:cxn>
                <a:cxn ang="0">
                  <a:pos x="467" y="127"/>
                </a:cxn>
                <a:cxn ang="0">
                  <a:pos x="465" y="116"/>
                </a:cxn>
                <a:cxn ang="0">
                  <a:pos x="457" y="106"/>
                </a:cxn>
                <a:cxn ang="0">
                  <a:pos x="449" y="89"/>
                </a:cxn>
                <a:cxn ang="0">
                  <a:pos x="451" y="69"/>
                </a:cxn>
                <a:cxn ang="0">
                  <a:pos x="449" y="50"/>
                </a:cxn>
                <a:cxn ang="0">
                  <a:pos x="442" y="39"/>
                </a:cxn>
              </a:cxnLst>
              <a:rect l="0" t="0" r="r" b="b"/>
              <a:pathLst>
                <a:path w="472" h="315">
                  <a:moveTo>
                    <a:pt x="440" y="29"/>
                  </a:moveTo>
                  <a:lnTo>
                    <a:pt x="426" y="29"/>
                  </a:lnTo>
                  <a:lnTo>
                    <a:pt x="426" y="31"/>
                  </a:lnTo>
                  <a:lnTo>
                    <a:pt x="422" y="31"/>
                  </a:lnTo>
                  <a:lnTo>
                    <a:pt x="420" y="33"/>
                  </a:lnTo>
                  <a:lnTo>
                    <a:pt x="419" y="33"/>
                  </a:lnTo>
                  <a:lnTo>
                    <a:pt x="413" y="33"/>
                  </a:lnTo>
                  <a:lnTo>
                    <a:pt x="405" y="35"/>
                  </a:lnTo>
                  <a:lnTo>
                    <a:pt x="401" y="33"/>
                  </a:lnTo>
                  <a:lnTo>
                    <a:pt x="397" y="33"/>
                  </a:lnTo>
                  <a:lnTo>
                    <a:pt x="396" y="31"/>
                  </a:lnTo>
                  <a:lnTo>
                    <a:pt x="396" y="29"/>
                  </a:lnTo>
                  <a:lnTo>
                    <a:pt x="394" y="27"/>
                  </a:lnTo>
                  <a:lnTo>
                    <a:pt x="392" y="25"/>
                  </a:lnTo>
                  <a:lnTo>
                    <a:pt x="388" y="25"/>
                  </a:lnTo>
                  <a:lnTo>
                    <a:pt x="386" y="23"/>
                  </a:lnTo>
                  <a:lnTo>
                    <a:pt x="384" y="25"/>
                  </a:lnTo>
                  <a:lnTo>
                    <a:pt x="382" y="25"/>
                  </a:lnTo>
                  <a:lnTo>
                    <a:pt x="373" y="27"/>
                  </a:lnTo>
                  <a:lnTo>
                    <a:pt x="361" y="27"/>
                  </a:lnTo>
                  <a:lnTo>
                    <a:pt x="357" y="25"/>
                  </a:lnTo>
                  <a:lnTo>
                    <a:pt x="355" y="25"/>
                  </a:lnTo>
                  <a:lnTo>
                    <a:pt x="353" y="22"/>
                  </a:lnTo>
                  <a:lnTo>
                    <a:pt x="351" y="23"/>
                  </a:lnTo>
                  <a:lnTo>
                    <a:pt x="348" y="23"/>
                  </a:lnTo>
                  <a:lnTo>
                    <a:pt x="346" y="22"/>
                  </a:lnTo>
                  <a:lnTo>
                    <a:pt x="344" y="23"/>
                  </a:lnTo>
                  <a:lnTo>
                    <a:pt x="342" y="22"/>
                  </a:lnTo>
                  <a:lnTo>
                    <a:pt x="340" y="20"/>
                  </a:lnTo>
                  <a:lnTo>
                    <a:pt x="338" y="20"/>
                  </a:lnTo>
                  <a:lnTo>
                    <a:pt x="336" y="18"/>
                  </a:lnTo>
                  <a:lnTo>
                    <a:pt x="336" y="16"/>
                  </a:lnTo>
                  <a:lnTo>
                    <a:pt x="334" y="14"/>
                  </a:lnTo>
                  <a:lnTo>
                    <a:pt x="332" y="14"/>
                  </a:lnTo>
                  <a:lnTo>
                    <a:pt x="332" y="6"/>
                  </a:lnTo>
                  <a:lnTo>
                    <a:pt x="330" y="4"/>
                  </a:lnTo>
                  <a:lnTo>
                    <a:pt x="330" y="2"/>
                  </a:lnTo>
                  <a:lnTo>
                    <a:pt x="328" y="0"/>
                  </a:lnTo>
                  <a:lnTo>
                    <a:pt x="325" y="2"/>
                  </a:lnTo>
                  <a:lnTo>
                    <a:pt x="323" y="2"/>
                  </a:lnTo>
                  <a:lnTo>
                    <a:pt x="321" y="4"/>
                  </a:lnTo>
                  <a:lnTo>
                    <a:pt x="319" y="4"/>
                  </a:lnTo>
                  <a:lnTo>
                    <a:pt x="315" y="4"/>
                  </a:lnTo>
                  <a:lnTo>
                    <a:pt x="311" y="2"/>
                  </a:lnTo>
                  <a:lnTo>
                    <a:pt x="309" y="2"/>
                  </a:lnTo>
                  <a:lnTo>
                    <a:pt x="303" y="0"/>
                  </a:lnTo>
                  <a:lnTo>
                    <a:pt x="303" y="2"/>
                  </a:lnTo>
                  <a:lnTo>
                    <a:pt x="302" y="4"/>
                  </a:lnTo>
                  <a:lnTo>
                    <a:pt x="300" y="6"/>
                  </a:lnTo>
                  <a:lnTo>
                    <a:pt x="298" y="10"/>
                  </a:lnTo>
                  <a:lnTo>
                    <a:pt x="298" y="14"/>
                  </a:lnTo>
                  <a:lnTo>
                    <a:pt x="296" y="14"/>
                  </a:lnTo>
                  <a:lnTo>
                    <a:pt x="296" y="16"/>
                  </a:lnTo>
                  <a:lnTo>
                    <a:pt x="294" y="20"/>
                  </a:lnTo>
                  <a:lnTo>
                    <a:pt x="294" y="22"/>
                  </a:lnTo>
                  <a:lnTo>
                    <a:pt x="290" y="25"/>
                  </a:lnTo>
                  <a:lnTo>
                    <a:pt x="290" y="29"/>
                  </a:lnTo>
                  <a:lnTo>
                    <a:pt x="288" y="33"/>
                  </a:lnTo>
                  <a:lnTo>
                    <a:pt x="286" y="37"/>
                  </a:lnTo>
                  <a:lnTo>
                    <a:pt x="286" y="37"/>
                  </a:lnTo>
                  <a:lnTo>
                    <a:pt x="284" y="39"/>
                  </a:lnTo>
                  <a:lnTo>
                    <a:pt x="284" y="43"/>
                  </a:lnTo>
                  <a:lnTo>
                    <a:pt x="282" y="45"/>
                  </a:lnTo>
                  <a:lnTo>
                    <a:pt x="282" y="46"/>
                  </a:lnTo>
                  <a:lnTo>
                    <a:pt x="280" y="48"/>
                  </a:lnTo>
                  <a:lnTo>
                    <a:pt x="280" y="50"/>
                  </a:lnTo>
                  <a:lnTo>
                    <a:pt x="279" y="50"/>
                  </a:lnTo>
                  <a:lnTo>
                    <a:pt x="279" y="54"/>
                  </a:lnTo>
                  <a:lnTo>
                    <a:pt x="277" y="56"/>
                  </a:lnTo>
                  <a:lnTo>
                    <a:pt x="275" y="56"/>
                  </a:lnTo>
                  <a:lnTo>
                    <a:pt x="273" y="56"/>
                  </a:lnTo>
                  <a:lnTo>
                    <a:pt x="273" y="60"/>
                  </a:lnTo>
                  <a:lnTo>
                    <a:pt x="269" y="60"/>
                  </a:lnTo>
                  <a:lnTo>
                    <a:pt x="267" y="62"/>
                  </a:lnTo>
                  <a:lnTo>
                    <a:pt x="265" y="64"/>
                  </a:lnTo>
                  <a:lnTo>
                    <a:pt x="263" y="66"/>
                  </a:lnTo>
                  <a:lnTo>
                    <a:pt x="261" y="68"/>
                  </a:lnTo>
                  <a:lnTo>
                    <a:pt x="259" y="69"/>
                  </a:lnTo>
                  <a:lnTo>
                    <a:pt x="255" y="69"/>
                  </a:lnTo>
                  <a:lnTo>
                    <a:pt x="252" y="71"/>
                  </a:lnTo>
                  <a:lnTo>
                    <a:pt x="244" y="71"/>
                  </a:lnTo>
                  <a:lnTo>
                    <a:pt x="240" y="71"/>
                  </a:lnTo>
                  <a:lnTo>
                    <a:pt x="238" y="73"/>
                  </a:lnTo>
                  <a:lnTo>
                    <a:pt x="234" y="75"/>
                  </a:lnTo>
                  <a:lnTo>
                    <a:pt x="231" y="75"/>
                  </a:lnTo>
                  <a:lnTo>
                    <a:pt x="227" y="77"/>
                  </a:lnTo>
                  <a:lnTo>
                    <a:pt x="223" y="77"/>
                  </a:lnTo>
                  <a:lnTo>
                    <a:pt x="211" y="77"/>
                  </a:lnTo>
                  <a:lnTo>
                    <a:pt x="209" y="79"/>
                  </a:lnTo>
                  <a:lnTo>
                    <a:pt x="206" y="81"/>
                  </a:lnTo>
                  <a:lnTo>
                    <a:pt x="202" y="81"/>
                  </a:lnTo>
                  <a:lnTo>
                    <a:pt x="198" y="83"/>
                  </a:lnTo>
                  <a:lnTo>
                    <a:pt x="192" y="83"/>
                  </a:lnTo>
                  <a:lnTo>
                    <a:pt x="192" y="85"/>
                  </a:lnTo>
                  <a:lnTo>
                    <a:pt x="188" y="85"/>
                  </a:lnTo>
                  <a:lnTo>
                    <a:pt x="188" y="87"/>
                  </a:lnTo>
                  <a:lnTo>
                    <a:pt x="186" y="89"/>
                  </a:lnTo>
                  <a:lnTo>
                    <a:pt x="183" y="93"/>
                  </a:lnTo>
                  <a:lnTo>
                    <a:pt x="179" y="96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2"/>
                  </a:lnTo>
                  <a:lnTo>
                    <a:pt x="171" y="104"/>
                  </a:lnTo>
                  <a:lnTo>
                    <a:pt x="169" y="104"/>
                  </a:lnTo>
                  <a:lnTo>
                    <a:pt x="167" y="106"/>
                  </a:lnTo>
                  <a:lnTo>
                    <a:pt x="165" y="110"/>
                  </a:lnTo>
                  <a:lnTo>
                    <a:pt x="165" y="114"/>
                  </a:lnTo>
                  <a:lnTo>
                    <a:pt x="163" y="116"/>
                  </a:lnTo>
                  <a:lnTo>
                    <a:pt x="163" y="119"/>
                  </a:lnTo>
                  <a:lnTo>
                    <a:pt x="161" y="123"/>
                  </a:lnTo>
                  <a:lnTo>
                    <a:pt x="161" y="127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58" y="139"/>
                  </a:lnTo>
                  <a:lnTo>
                    <a:pt x="158" y="142"/>
                  </a:lnTo>
                  <a:lnTo>
                    <a:pt x="156" y="148"/>
                  </a:lnTo>
                  <a:lnTo>
                    <a:pt x="156" y="154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54" y="164"/>
                  </a:lnTo>
                  <a:lnTo>
                    <a:pt x="152" y="165"/>
                  </a:lnTo>
                  <a:lnTo>
                    <a:pt x="152" y="167"/>
                  </a:lnTo>
                  <a:lnTo>
                    <a:pt x="150" y="173"/>
                  </a:lnTo>
                  <a:lnTo>
                    <a:pt x="148" y="177"/>
                  </a:lnTo>
                  <a:lnTo>
                    <a:pt x="148" y="183"/>
                  </a:lnTo>
                  <a:lnTo>
                    <a:pt x="150" y="187"/>
                  </a:lnTo>
                  <a:lnTo>
                    <a:pt x="152" y="190"/>
                  </a:lnTo>
                  <a:lnTo>
                    <a:pt x="154" y="192"/>
                  </a:lnTo>
                  <a:lnTo>
                    <a:pt x="156" y="194"/>
                  </a:lnTo>
                  <a:lnTo>
                    <a:pt x="158" y="196"/>
                  </a:lnTo>
                  <a:lnTo>
                    <a:pt x="158" y="202"/>
                  </a:lnTo>
                  <a:lnTo>
                    <a:pt x="160" y="213"/>
                  </a:lnTo>
                  <a:lnTo>
                    <a:pt x="160" y="225"/>
                  </a:lnTo>
                  <a:lnTo>
                    <a:pt x="158" y="227"/>
                  </a:lnTo>
                  <a:lnTo>
                    <a:pt x="158" y="231"/>
                  </a:lnTo>
                  <a:lnTo>
                    <a:pt x="156" y="231"/>
                  </a:lnTo>
                  <a:lnTo>
                    <a:pt x="154" y="233"/>
                  </a:lnTo>
                  <a:lnTo>
                    <a:pt x="154" y="235"/>
                  </a:lnTo>
                  <a:lnTo>
                    <a:pt x="152" y="236"/>
                  </a:lnTo>
                  <a:lnTo>
                    <a:pt x="150" y="238"/>
                  </a:lnTo>
                  <a:lnTo>
                    <a:pt x="148" y="238"/>
                  </a:lnTo>
                  <a:lnTo>
                    <a:pt x="146" y="242"/>
                  </a:lnTo>
                  <a:lnTo>
                    <a:pt x="144" y="246"/>
                  </a:lnTo>
                  <a:lnTo>
                    <a:pt x="140" y="246"/>
                  </a:lnTo>
                  <a:lnTo>
                    <a:pt x="138" y="250"/>
                  </a:lnTo>
                  <a:lnTo>
                    <a:pt x="135" y="250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7" y="256"/>
                  </a:lnTo>
                  <a:lnTo>
                    <a:pt x="121" y="256"/>
                  </a:lnTo>
                  <a:lnTo>
                    <a:pt x="117" y="258"/>
                  </a:lnTo>
                  <a:lnTo>
                    <a:pt x="115" y="258"/>
                  </a:lnTo>
                  <a:lnTo>
                    <a:pt x="112" y="259"/>
                  </a:lnTo>
                  <a:lnTo>
                    <a:pt x="108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0" y="265"/>
                  </a:lnTo>
                  <a:lnTo>
                    <a:pt x="89" y="267"/>
                  </a:lnTo>
                  <a:lnTo>
                    <a:pt x="87" y="267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3" y="271"/>
                  </a:lnTo>
                  <a:lnTo>
                    <a:pt x="73" y="273"/>
                  </a:lnTo>
                  <a:lnTo>
                    <a:pt x="69" y="273"/>
                  </a:lnTo>
                  <a:lnTo>
                    <a:pt x="67" y="277"/>
                  </a:lnTo>
                  <a:lnTo>
                    <a:pt x="64" y="279"/>
                  </a:lnTo>
                  <a:lnTo>
                    <a:pt x="60" y="279"/>
                  </a:lnTo>
                  <a:lnTo>
                    <a:pt x="58" y="281"/>
                  </a:lnTo>
                  <a:lnTo>
                    <a:pt x="54" y="281"/>
                  </a:lnTo>
                  <a:lnTo>
                    <a:pt x="54" y="282"/>
                  </a:lnTo>
                  <a:lnTo>
                    <a:pt x="50" y="282"/>
                  </a:lnTo>
                  <a:lnTo>
                    <a:pt x="50" y="284"/>
                  </a:lnTo>
                  <a:lnTo>
                    <a:pt x="48" y="284"/>
                  </a:lnTo>
                  <a:lnTo>
                    <a:pt x="44" y="284"/>
                  </a:lnTo>
                  <a:lnTo>
                    <a:pt x="39" y="286"/>
                  </a:lnTo>
                  <a:lnTo>
                    <a:pt x="35" y="286"/>
                  </a:lnTo>
                  <a:lnTo>
                    <a:pt x="31" y="288"/>
                  </a:lnTo>
                  <a:lnTo>
                    <a:pt x="29" y="288"/>
                  </a:lnTo>
                  <a:lnTo>
                    <a:pt x="25" y="290"/>
                  </a:lnTo>
                  <a:lnTo>
                    <a:pt x="21" y="290"/>
                  </a:lnTo>
                  <a:lnTo>
                    <a:pt x="16" y="292"/>
                  </a:lnTo>
                  <a:lnTo>
                    <a:pt x="16" y="292"/>
                  </a:lnTo>
                  <a:lnTo>
                    <a:pt x="12" y="292"/>
                  </a:lnTo>
                  <a:lnTo>
                    <a:pt x="12" y="294"/>
                  </a:lnTo>
                  <a:lnTo>
                    <a:pt x="8" y="294"/>
                  </a:lnTo>
                  <a:lnTo>
                    <a:pt x="8" y="296"/>
                  </a:lnTo>
                  <a:lnTo>
                    <a:pt x="8" y="300"/>
                  </a:lnTo>
                  <a:lnTo>
                    <a:pt x="8" y="302"/>
                  </a:lnTo>
                  <a:lnTo>
                    <a:pt x="6" y="304"/>
                  </a:lnTo>
                  <a:lnTo>
                    <a:pt x="6" y="306"/>
                  </a:lnTo>
                  <a:lnTo>
                    <a:pt x="4" y="306"/>
                  </a:lnTo>
                  <a:lnTo>
                    <a:pt x="4" y="309"/>
                  </a:lnTo>
                  <a:lnTo>
                    <a:pt x="2" y="309"/>
                  </a:lnTo>
                  <a:lnTo>
                    <a:pt x="2" y="311"/>
                  </a:lnTo>
                  <a:lnTo>
                    <a:pt x="0" y="315"/>
                  </a:lnTo>
                  <a:lnTo>
                    <a:pt x="186" y="313"/>
                  </a:lnTo>
                  <a:lnTo>
                    <a:pt x="184" y="309"/>
                  </a:lnTo>
                  <a:lnTo>
                    <a:pt x="186" y="306"/>
                  </a:lnTo>
                  <a:lnTo>
                    <a:pt x="186" y="302"/>
                  </a:lnTo>
                  <a:lnTo>
                    <a:pt x="186" y="300"/>
                  </a:lnTo>
                  <a:lnTo>
                    <a:pt x="186" y="296"/>
                  </a:lnTo>
                  <a:lnTo>
                    <a:pt x="186" y="294"/>
                  </a:lnTo>
                  <a:lnTo>
                    <a:pt x="186" y="292"/>
                  </a:lnTo>
                  <a:lnTo>
                    <a:pt x="186" y="288"/>
                  </a:lnTo>
                  <a:lnTo>
                    <a:pt x="186" y="284"/>
                  </a:lnTo>
                  <a:lnTo>
                    <a:pt x="186" y="281"/>
                  </a:lnTo>
                  <a:lnTo>
                    <a:pt x="186" y="277"/>
                  </a:lnTo>
                  <a:lnTo>
                    <a:pt x="186" y="273"/>
                  </a:lnTo>
                  <a:lnTo>
                    <a:pt x="188" y="273"/>
                  </a:lnTo>
                  <a:lnTo>
                    <a:pt x="192" y="271"/>
                  </a:lnTo>
                  <a:lnTo>
                    <a:pt x="196" y="269"/>
                  </a:lnTo>
                  <a:lnTo>
                    <a:pt x="198" y="267"/>
                  </a:lnTo>
                  <a:lnTo>
                    <a:pt x="200" y="265"/>
                  </a:lnTo>
                  <a:lnTo>
                    <a:pt x="202" y="263"/>
                  </a:lnTo>
                  <a:lnTo>
                    <a:pt x="204" y="265"/>
                  </a:lnTo>
                  <a:lnTo>
                    <a:pt x="206" y="263"/>
                  </a:lnTo>
                  <a:lnTo>
                    <a:pt x="213" y="263"/>
                  </a:lnTo>
                  <a:lnTo>
                    <a:pt x="215" y="261"/>
                  </a:lnTo>
                  <a:lnTo>
                    <a:pt x="219" y="261"/>
                  </a:lnTo>
                  <a:lnTo>
                    <a:pt x="221" y="258"/>
                  </a:lnTo>
                  <a:lnTo>
                    <a:pt x="225" y="258"/>
                  </a:lnTo>
                  <a:lnTo>
                    <a:pt x="225" y="256"/>
                  </a:lnTo>
                  <a:lnTo>
                    <a:pt x="229" y="254"/>
                  </a:lnTo>
                  <a:lnTo>
                    <a:pt x="231" y="252"/>
                  </a:lnTo>
                  <a:lnTo>
                    <a:pt x="232" y="252"/>
                  </a:lnTo>
                  <a:lnTo>
                    <a:pt x="234" y="250"/>
                  </a:lnTo>
                  <a:lnTo>
                    <a:pt x="234" y="246"/>
                  </a:lnTo>
                  <a:lnTo>
                    <a:pt x="238" y="242"/>
                  </a:lnTo>
                  <a:lnTo>
                    <a:pt x="242" y="242"/>
                  </a:lnTo>
                  <a:lnTo>
                    <a:pt x="244" y="240"/>
                  </a:lnTo>
                  <a:lnTo>
                    <a:pt x="246" y="240"/>
                  </a:lnTo>
                  <a:lnTo>
                    <a:pt x="250" y="240"/>
                  </a:lnTo>
                  <a:lnTo>
                    <a:pt x="254" y="238"/>
                  </a:lnTo>
                  <a:lnTo>
                    <a:pt x="255" y="236"/>
                  </a:lnTo>
                  <a:lnTo>
                    <a:pt x="257" y="233"/>
                  </a:lnTo>
                  <a:lnTo>
                    <a:pt x="261" y="233"/>
                  </a:lnTo>
                  <a:lnTo>
                    <a:pt x="261" y="229"/>
                  </a:lnTo>
                  <a:lnTo>
                    <a:pt x="265" y="227"/>
                  </a:lnTo>
                  <a:lnTo>
                    <a:pt x="267" y="227"/>
                  </a:lnTo>
                  <a:lnTo>
                    <a:pt x="271" y="227"/>
                  </a:lnTo>
                  <a:lnTo>
                    <a:pt x="273" y="227"/>
                  </a:lnTo>
                  <a:lnTo>
                    <a:pt x="275" y="229"/>
                  </a:lnTo>
                  <a:lnTo>
                    <a:pt x="279" y="229"/>
                  </a:lnTo>
                  <a:lnTo>
                    <a:pt x="282" y="229"/>
                  </a:lnTo>
                  <a:lnTo>
                    <a:pt x="284" y="231"/>
                  </a:lnTo>
                  <a:lnTo>
                    <a:pt x="286" y="231"/>
                  </a:lnTo>
                  <a:lnTo>
                    <a:pt x="290" y="231"/>
                  </a:lnTo>
                  <a:lnTo>
                    <a:pt x="294" y="231"/>
                  </a:lnTo>
                  <a:lnTo>
                    <a:pt x="296" y="231"/>
                  </a:lnTo>
                  <a:lnTo>
                    <a:pt x="296" y="231"/>
                  </a:lnTo>
                  <a:lnTo>
                    <a:pt x="300" y="233"/>
                  </a:lnTo>
                  <a:lnTo>
                    <a:pt x="302" y="231"/>
                  </a:lnTo>
                  <a:lnTo>
                    <a:pt x="303" y="231"/>
                  </a:lnTo>
                  <a:lnTo>
                    <a:pt x="307" y="229"/>
                  </a:lnTo>
                  <a:lnTo>
                    <a:pt x="309" y="229"/>
                  </a:lnTo>
                  <a:lnTo>
                    <a:pt x="313" y="227"/>
                  </a:lnTo>
                  <a:lnTo>
                    <a:pt x="313" y="223"/>
                  </a:lnTo>
                  <a:lnTo>
                    <a:pt x="315" y="221"/>
                  </a:lnTo>
                  <a:lnTo>
                    <a:pt x="317" y="217"/>
                  </a:lnTo>
                  <a:lnTo>
                    <a:pt x="319" y="215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5" y="211"/>
                  </a:lnTo>
                  <a:lnTo>
                    <a:pt x="326" y="210"/>
                  </a:lnTo>
                  <a:lnTo>
                    <a:pt x="330" y="210"/>
                  </a:lnTo>
                  <a:lnTo>
                    <a:pt x="332" y="208"/>
                  </a:lnTo>
                  <a:lnTo>
                    <a:pt x="336" y="206"/>
                  </a:lnTo>
                  <a:lnTo>
                    <a:pt x="336" y="204"/>
                  </a:lnTo>
                  <a:lnTo>
                    <a:pt x="338" y="202"/>
                  </a:lnTo>
                  <a:lnTo>
                    <a:pt x="344" y="202"/>
                  </a:lnTo>
                  <a:lnTo>
                    <a:pt x="344" y="200"/>
                  </a:lnTo>
                  <a:lnTo>
                    <a:pt x="346" y="200"/>
                  </a:lnTo>
                  <a:lnTo>
                    <a:pt x="348" y="196"/>
                  </a:lnTo>
                  <a:lnTo>
                    <a:pt x="351" y="196"/>
                  </a:lnTo>
                  <a:lnTo>
                    <a:pt x="353" y="196"/>
                  </a:lnTo>
                  <a:lnTo>
                    <a:pt x="357" y="194"/>
                  </a:lnTo>
                  <a:lnTo>
                    <a:pt x="363" y="192"/>
                  </a:lnTo>
                  <a:lnTo>
                    <a:pt x="365" y="192"/>
                  </a:lnTo>
                  <a:lnTo>
                    <a:pt x="369" y="190"/>
                  </a:lnTo>
                  <a:lnTo>
                    <a:pt x="376" y="190"/>
                  </a:lnTo>
                  <a:lnTo>
                    <a:pt x="376" y="187"/>
                  </a:lnTo>
                  <a:lnTo>
                    <a:pt x="376" y="183"/>
                  </a:lnTo>
                  <a:lnTo>
                    <a:pt x="376" y="179"/>
                  </a:lnTo>
                  <a:lnTo>
                    <a:pt x="376" y="175"/>
                  </a:lnTo>
                  <a:lnTo>
                    <a:pt x="376" y="173"/>
                  </a:lnTo>
                  <a:lnTo>
                    <a:pt x="374" y="171"/>
                  </a:lnTo>
                  <a:lnTo>
                    <a:pt x="374" y="167"/>
                  </a:lnTo>
                  <a:lnTo>
                    <a:pt x="374" y="164"/>
                  </a:lnTo>
                  <a:lnTo>
                    <a:pt x="374" y="160"/>
                  </a:lnTo>
                  <a:lnTo>
                    <a:pt x="374" y="158"/>
                  </a:lnTo>
                  <a:lnTo>
                    <a:pt x="374" y="154"/>
                  </a:lnTo>
                  <a:lnTo>
                    <a:pt x="378" y="154"/>
                  </a:lnTo>
                  <a:lnTo>
                    <a:pt x="382" y="152"/>
                  </a:lnTo>
                  <a:lnTo>
                    <a:pt x="392" y="152"/>
                  </a:lnTo>
                  <a:lnTo>
                    <a:pt x="396" y="150"/>
                  </a:lnTo>
                  <a:lnTo>
                    <a:pt x="399" y="146"/>
                  </a:lnTo>
                  <a:lnTo>
                    <a:pt x="403" y="144"/>
                  </a:lnTo>
                  <a:lnTo>
                    <a:pt x="407" y="144"/>
                  </a:lnTo>
                  <a:lnTo>
                    <a:pt x="411" y="144"/>
                  </a:lnTo>
                  <a:lnTo>
                    <a:pt x="415" y="144"/>
                  </a:lnTo>
                  <a:lnTo>
                    <a:pt x="419" y="144"/>
                  </a:lnTo>
                  <a:lnTo>
                    <a:pt x="419" y="142"/>
                  </a:lnTo>
                  <a:lnTo>
                    <a:pt x="420" y="140"/>
                  </a:lnTo>
                  <a:lnTo>
                    <a:pt x="422" y="139"/>
                  </a:lnTo>
                  <a:lnTo>
                    <a:pt x="426" y="139"/>
                  </a:lnTo>
                  <a:lnTo>
                    <a:pt x="428" y="139"/>
                  </a:lnTo>
                  <a:lnTo>
                    <a:pt x="430" y="140"/>
                  </a:lnTo>
                  <a:lnTo>
                    <a:pt x="432" y="142"/>
                  </a:lnTo>
                  <a:lnTo>
                    <a:pt x="432" y="144"/>
                  </a:lnTo>
                  <a:lnTo>
                    <a:pt x="438" y="144"/>
                  </a:lnTo>
                  <a:lnTo>
                    <a:pt x="440" y="146"/>
                  </a:lnTo>
                  <a:lnTo>
                    <a:pt x="442" y="146"/>
                  </a:lnTo>
                  <a:lnTo>
                    <a:pt x="445" y="146"/>
                  </a:lnTo>
                  <a:lnTo>
                    <a:pt x="449" y="146"/>
                  </a:lnTo>
                  <a:lnTo>
                    <a:pt x="453" y="146"/>
                  </a:lnTo>
                  <a:lnTo>
                    <a:pt x="457" y="146"/>
                  </a:lnTo>
                  <a:lnTo>
                    <a:pt x="461" y="146"/>
                  </a:lnTo>
                  <a:lnTo>
                    <a:pt x="463" y="142"/>
                  </a:lnTo>
                  <a:lnTo>
                    <a:pt x="463" y="139"/>
                  </a:lnTo>
                  <a:lnTo>
                    <a:pt x="463" y="135"/>
                  </a:lnTo>
                  <a:lnTo>
                    <a:pt x="463" y="133"/>
                  </a:lnTo>
                  <a:lnTo>
                    <a:pt x="465" y="131"/>
                  </a:lnTo>
                  <a:lnTo>
                    <a:pt x="467" y="127"/>
                  </a:lnTo>
                  <a:lnTo>
                    <a:pt x="472" y="127"/>
                  </a:lnTo>
                  <a:lnTo>
                    <a:pt x="470" y="125"/>
                  </a:lnTo>
                  <a:lnTo>
                    <a:pt x="468" y="123"/>
                  </a:lnTo>
                  <a:lnTo>
                    <a:pt x="468" y="119"/>
                  </a:lnTo>
                  <a:lnTo>
                    <a:pt x="467" y="117"/>
                  </a:lnTo>
                  <a:lnTo>
                    <a:pt x="465" y="116"/>
                  </a:lnTo>
                  <a:lnTo>
                    <a:pt x="463" y="114"/>
                  </a:lnTo>
                  <a:lnTo>
                    <a:pt x="461" y="114"/>
                  </a:lnTo>
                  <a:lnTo>
                    <a:pt x="459" y="114"/>
                  </a:lnTo>
                  <a:lnTo>
                    <a:pt x="457" y="112"/>
                  </a:lnTo>
                  <a:lnTo>
                    <a:pt x="457" y="108"/>
                  </a:lnTo>
                  <a:lnTo>
                    <a:pt x="457" y="106"/>
                  </a:lnTo>
                  <a:lnTo>
                    <a:pt x="455" y="104"/>
                  </a:lnTo>
                  <a:lnTo>
                    <a:pt x="455" y="102"/>
                  </a:lnTo>
                  <a:lnTo>
                    <a:pt x="453" y="98"/>
                  </a:lnTo>
                  <a:lnTo>
                    <a:pt x="451" y="96"/>
                  </a:lnTo>
                  <a:lnTo>
                    <a:pt x="449" y="94"/>
                  </a:lnTo>
                  <a:lnTo>
                    <a:pt x="449" y="89"/>
                  </a:lnTo>
                  <a:lnTo>
                    <a:pt x="447" y="85"/>
                  </a:lnTo>
                  <a:lnTo>
                    <a:pt x="447" y="81"/>
                  </a:lnTo>
                  <a:lnTo>
                    <a:pt x="447" y="77"/>
                  </a:lnTo>
                  <a:lnTo>
                    <a:pt x="449" y="75"/>
                  </a:lnTo>
                  <a:lnTo>
                    <a:pt x="449" y="71"/>
                  </a:lnTo>
                  <a:lnTo>
                    <a:pt x="451" y="69"/>
                  </a:lnTo>
                  <a:lnTo>
                    <a:pt x="451" y="66"/>
                  </a:lnTo>
                  <a:lnTo>
                    <a:pt x="453" y="62"/>
                  </a:lnTo>
                  <a:lnTo>
                    <a:pt x="453" y="58"/>
                  </a:lnTo>
                  <a:lnTo>
                    <a:pt x="453" y="56"/>
                  </a:lnTo>
                  <a:lnTo>
                    <a:pt x="451" y="54"/>
                  </a:lnTo>
                  <a:lnTo>
                    <a:pt x="449" y="50"/>
                  </a:lnTo>
                  <a:lnTo>
                    <a:pt x="447" y="48"/>
                  </a:lnTo>
                  <a:lnTo>
                    <a:pt x="444" y="48"/>
                  </a:lnTo>
                  <a:lnTo>
                    <a:pt x="442" y="46"/>
                  </a:lnTo>
                  <a:lnTo>
                    <a:pt x="442" y="45"/>
                  </a:lnTo>
                  <a:lnTo>
                    <a:pt x="442" y="41"/>
                  </a:lnTo>
                  <a:lnTo>
                    <a:pt x="442" y="39"/>
                  </a:lnTo>
                  <a:lnTo>
                    <a:pt x="442" y="37"/>
                  </a:lnTo>
                  <a:lnTo>
                    <a:pt x="442" y="33"/>
                  </a:lnTo>
                  <a:lnTo>
                    <a:pt x="442" y="29"/>
                  </a:lnTo>
                  <a:lnTo>
                    <a:pt x="440" y="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6" name="Freeform 62"/>
            <p:cNvSpPr>
              <a:spLocks/>
            </p:cNvSpPr>
            <p:nvPr/>
          </p:nvSpPr>
          <p:spPr bwMode="auto">
            <a:xfrm>
              <a:off x="703" y="996"/>
              <a:ext cx="472" cy="315"/>
            </a:xfrm>
            <a:custGeom>
              <a:avLst/>
              <a:gdLst/>
              <a:ahLst/>
              <a:cxnLst>
                <a:cxn ang="0">
                  <a:pos x="419" y="33"/>
                </a:cxn>
                <a:cxn ang="0">
                  <a:pos x="396" y="29"/>
                </a:cxn>
                <a:cxn ang="0">
                  <a:pos x="382" y="25"/>
                </a:cxn>
                <a:cxn ang="0">
                  <a:pos x="351" y="23"/>
                </a:cxn>
                <a:cxn ang="0">
                  <a:pos x="338" y="20"/>
                </a:cxn>
                <a:cxn ang="0">
                  <a:pos x="330" y="4"/>
                </a:cxn>
                <a:cxn ang="0">
                  <a:pos x="319" y="4"/>
                </a:cxn>
                <a:cxn ang="0">
                  <a:pos x="302" y="4"/>
                </a:cxn>
                <a:cxn ang="0">
                  <a:pos x="294" y="20"/>
                </a:cxn>
                <a:cxn ang="0">
                  <a:pos x="286" y="37"/>
                </a:cxn>
                <a:cxn ang="0">
                  <a:pos x="280" y="50"/>
                </a:cxn>
                <a:cxn ang="0">
                  <a:pos x="273" y="60"/>
                </a:cxn>
                <a:cxn ang="0">
                  <a:pos x="259" y="69"/>
                </a:cxn>
                <a:cxn ang="0">
                  <a:pos x="234" y="75"/>
                </a:cxn>
                <a:cxn ang="0">
                  <a:pos x="206" y="81"/>
                </a:cxn>
                <a:cxn ang="0">
                  <a:pos x="188" y="87"/>
                </a:cxn>
                <a:cxn ang="0">
                  <a:pos x="173" y="102"/>
                </a:cxn>
                <a:cxn ang="0">
                  <a:pos x="163" y="116"/>
                </a:cxn>
                <a:cxn ang="0">
                  <a:pos x="158" y="139"/>
                </a:cxn>
                <a:cxn ang="0">
                  <a:pos x="154" y="164"/>
                </a:cxn>
                <a:cxn ang="0">
                  <a:pos x="150" y="187"/>
                </a:cxn>
                <a:cxn ang="0">
                  <a:pos x="160" y="213"/>
                </a:cxn>
                <a:cxn ang="0">
                  <a:pos x="154" y="235"/>
                </a:cxn>
                <a:cxn ang="0">
                  <a:pos x="140" y="246"/>
                </a:cxn>
                <a:cxn ang="0">
                  <a:pos x="127" y="254"/>
                </a:cxn>
                <a:cxn ang="0">
                  <a:pos x="108" y="259"/>
                </a:cxn>
                <a:cxn ang="0">
                  <a:pos x="89" y="267"/>
                </a:cxn>
                <a:cxn ang="0">
                  <a:pos x="75" y="271"/>
                </a:cxn>
                <a:cxn ang="0">
                  <a:pos x="60" y="279"/>
                </a:cxn>
                <a:cxn ang="0">
                  <a:pos x="48" y="284"/>
                </a:cxn>
                <a:cxn ang="0">
                  <a:pos x="25" y="290"/>
                </a:cxn>
                <a:cxn ang="0">
                  <a:pos x="8" y="294"/>
                </a:cxn>
                <a:cxn ang="0">
                  <a:pos x="4" y="306"/>
                </a:cxn>
                <a:cxn ang="0">
                  <a:pos x="184" y="309"/>
                </a:cxn>
                <a:cxn ang="0">
                  <a:pos x="186" y="292"/>
                </a:cxn>
                <a:cxn ang="0">
                  <a:pos x="188" y="273"/>
                </a:cxn>
                <a:cxn ang="0">
                  <a:pos x="204" y="265"/>
                </a:cxn>
                <a:cxn ang="0">
                  <a:pos x="225" y="258"/>
                </a:cxn>
                <a:cxn ang="0">
                  <a:pos x="234" y="246"/>
                </a:cxn>
                <a:cxn ang="0">
                  <a:pos x="254" y="238"/>
                </a:cxn>
                <a:cxn ang="0">
                  <a:pos x="267" y="227"/>
                </a:cxn>
                <a:cxn ang="0">
                  <a:pos x="284" y="231"/>
                </a:cxn>
                <a:cxn ang="0">
                  <a:pos x="300" y="233"/>
                </a:cxn>
                <a:cxn ang="0">
                  <a:pos x="313" y="223"/>
                </a:cxn>
                <a:cxn ang="0">
                  <a:pos x="325" y="211"/>
                </a:cxn>
                <a:cxn ang="0">
                  <a:pos x="338" y="202"/>
                </a:cxn>
                <a:cxn ang="0">
                  <a:pos x="353" y="196"/>
                </a:cxn>
                <a:cxn ang="0">
                  <a:pos x="376" y="187"/>
                </a:cxn>
                <a:cxn ang="0">
                  <a:pos x="374" y="167"/>
                </a:cxn>
                <a:cxn ang="0">
                  <a:pos x="382" y="152"/>
                </a:cxn>
                <a:cxn ang="0">
                  <a:pos x="411" y="144"/>
                </a:cxn>
                <a:cxn ang="0">
                  <a:pos x="426" y="139"/>
                </a:cxn>
                <a:cxn ang="0">
                  <a:pos x="440" y="146"/>
                </a:cxn>
                <a:cxn ang="0">
                  <a:pos x="461" y="146"/>
                </a:cxn>
                <a:cxn ang="0">
                  <a:pos x="467" y="127"/>
                </a:cxn>
                <a:cxn ang="0">
                  <a:pos x="465" y="116"/>
                </a:cxn>
                <a:cxn ang="0">
                  <a:pos x="457" y="106"/>
                </a:cxn>
                <a:cxn ang="0">
                  <a:pos x="449" y="89"/>
                </a:cxn>
                <a:cxn ang="0">
                  <a:pos x="451" y="69"/>
                </a:cxn>
                <a:cxn ang="0">
                  <a:pos x="449" y="50"/>
                </a:cxn>
                <a:cxn ang="0">
                  <a:pos x="442" y="39"/>
                </a:cxn>
              </a:cxnLst>
              <a:rect l="0" t="0" r="r" b="b"/>
              <a:pathLst>
                <a:path w="472" h="315">
                  <a:moveTo>
                    <a:pt x="440" y="29"/>
                  </a:moveTo>
                  <a:lnTo>
                    <a:pt x="426" y="29"/>
                  </a:lnTo>
                  <a:lnTo>
                    <a:pt x="426" y="31"/>
                  </a:lnTo>
                  <a:lnTo>
                    <a:pt x="422" y="31"/>
                  </a:lnTo>
                  <a:lnTo>
                    <a:pt x="420" y="33"/>
                  </a:lnTo>
                  <a:lnTo>
                    <a:pt x="419" y="33"/>
                  </a:lnTo>
                  <a:lnTo>
                    <a:pt x="413" y="33"/>
                  </a:lnTo>
                  <a:lnTo>
                    <a:pt x="405" y="35"/>
                  </a:lnTo>
                  <a:lnTo>
                    <a:pt x="401" y="33"/>
                  </a:lnTo>
                  <a:lnTo>
                    <a:pt x="397" y="33"/>
                  </a:lnTo>
                  <a:lnTo>
                    <a:pt x="396" y="31"/>
                  </a:lnTo>
                  <a:lnTo>
                    <a:pt x="396" y="29"/>
                  </a:lnTo>
                  <a:lnTo>
                    <a:pt x="394" y="27"/>
                  </a:lnTo>
                  <a:lnTo>
                    <a:pt x="392" y="25"/>
                  </a:lnTo>
                  <a:lnTo>
                    <a:pt x="388" y="25"/>
                  </a:lnTo>
                  <a:lnTo>
                    <a:pt x="386" y="23"/>
                  </a:lnTo>
                  <a:lnTo>
                    <a:pt x="384" y="25"/>
                  </a:lnTo>
                  <a:lnTo>
                    <a:pt x="382" y="25"/>
                  </a:lnTo>
                  <a:lnTo>
                    <a:pt x="373" y="27"/>
                  </a:lnTo>
                  <a:lnTo>
                    <a:pt x="361" y="27"/>
                  </a:lnTo>
                  <a:lnTo>
                    <a:pt x="357" y="25"/>
                  </a:lnTo>
                  <a:lnTo>
                    <a:pt x="355" y="25"/>
                  </a:lnTo>
                  <a:lnTo>
                    <a:pt x="353" y="22"/>
                  </a:lnTo>
                  <a:lnTo>
                    <a:pt x="351" y="23"/>
                  </a:lnTo>
                  <a:lnTo>
                    <a:pt x="348" y="23"/>
                  </a:lnTo>
                  <a:lnTo>
                    <a:pt x="346" y="22"/>
                  </a:lnTo>
                  <a:lnTo>
                    <a:pt x="344" y="23"/>
                  </a:lnTo>
                  <a:lnTo>
                    <a:pt x="342" y="22"/>
                  </a:lnTo>
                  <a:lnTo>
                    <a:pt x="340" y="20"/>
                  </a:lnTo>
                  <a:lnTo>
                    <a:pt x="338" y="20"/>
                  </a:lnTo>
                  <a:lnTo>
                    <a:pt x="336" y="18"/>
                  </a:lnTo>
                  <a:lnTo>
                    <a:pt x="336" y="16"/>
                  </a:lnTo>
                  <a:lnTo>
                    <a:pt x="334" y="14"/>
                  </a:lnTo>
                  <a:lnTo>
                    <a:pt x="332" y="14"/>
                  </a:lnTo>
                  <a:lnTo>
                    <a:pt x="332" y="6"/>
                  </a:lnTo>
                  <a:lnTo>
                    <a:pt x="330" y="4"/>
                  </a:lnTo>
                  <a:lnTo>
                    <a:pt x="330" y="2"/>
                  </a:lnTo>
                  <a:lnTo>
                    <a:pt x="328" y="0"/>
                  </a:lnTo>
                  <a:lnTo>
                    <a:pt x="325" y="2"/>
                  </a:lnTo>
                  <a:lnTo>
                    <a:pt x="323" y="2"/>
                  </a:lnTo>
                  <a:lnTo>
                    <a:pt x="321" y="4"/>
                  </a:lnTo>
                  <a:lnTo>
                    <a:pt x="319" y="4"/>
                  </a:lnTo>
                  <a:lnTo>
                    <a:pt x="315" y="4"/>
                  </a:lnTo>
                  <a:lnTo>
                    <a:pt x="311" y="2"/>
                  </a:lnTo>
                  <a:lnTo>
                    <a:pt x="309" y="2"/>
                  </a:lnTo>
                  <a:lnTo>
                    <a:pt x="303" y="0"/>
                  </a:lnTo>
                  <a:lnTo>
                    <a:pt x="303" y="2"/>
                  </a:lnTo>
                  <a:lnTo>
                    <a:pt x="302" y="4"/>
                  </a:lnTo>
                  <a:lnTo>
                    <a:pt x="300" y="6"/>
                  </a:lnTo>
                  <a:lnTo>
                    <a:pt x="298" y="10"/>
                  </a:lnTo>
                  <a:lnTo>
                    <a:pt x="298" y="14"/>
                  </a:lnTo>
                  <a:lnTo>
                    <a:pt x="296" y="14"/>
                  </a:lnTo>
                  <a:lnTo>
                    <a:pt x="296" y="16"/>
                  </a:lnTo>
                  <a:lnTo>
                    <a:pt x="294" y="20"/>
                  </a:lnTo>
                  <a:lnTo>
                    <a:pt x="294" y="22"/>
                  </a:lnTo>
                  <a:lnTo>
                    <a:pt x="290" y="25"/>
                  </a:lnTo>
                  <a:lnTo>
                    <a:pt x="290" y="29"/>
                  </a:lnTo>
                  <a:lnTo>
                    <a:pt x="288" y="33"/>
                  </a:lnTo>
                  <a:lnTo>
                    <a:pt x="286" y="37"/>
                  </a:lnTo>
                  <a:lnTo>
                    <a:pt x="286" y="37"/>
                  </a:lnTo>
                  <a:lnTo>
                    <a:pt x="284" y="39"/>
                  </a:lnTo>
                  <a:lnTo>
                    <a:pt x="284" y="43"/>
                  </a:lnTo>
                  <a:lnTo>
                    <a:pt x="282" y="45"/>
                  </a:lnTo>
                  <a:lnTo>
                    <a:pt x="282" y="46"/>
                  </a:lnTo>
                  <a:lnTo>
                    <a:pt x="280" y="48"/>
                  </a:lnTo>
                  <a:lnTo>
                    <a:pt x="280" y="50"/>
                  </a:lnTo>
                  <a:lnTo>
                    <a:pt x="279" y="50"/>
                  </a:lnTo>
                  <a:lnTo>
                    <a:pt x="279" y="54"/>
                  </a:lnTo>
                  <a:lnTo>
                    <a:pt x="277" y="56"/>
                  </a:lnTo>
                  <a:lnTo>
                    <a:pt x="275" y="56"/>
                  </a:lnTo>
                  <a:lnTo>
                    <a:pt x="273" y="56"/>
                  </a:lnTo>
                  <a:lnTo>
                    <a:pt x="273" y="60"/>
                  </a:lnTo>
                  <a:lnTo>
                    <a:pt x="269" y="60"/>
                  </a:lnTo>
                  <a:lnTo>
                    <a:pt x="267" y="62"/>
                  </a:lnTo>
                  <a:lnTo>
                    <a:pt x="265" y="64"/>
                  </a:lnTo>
                  <a:lnTo>
                    <a:pt x="263" y="66"/>
                  </a:lnTo>
                  <a:lnTo>
                    <a:pt x="261" y="68"/>
                  </a:lnTo>
                  <a:lnTo>
                    <a:pt x="259" y="69"/>
                  </a:lnTo>
                  <a:lnTo>
                    <a:pt x="255" y="69"/>
                  </a:lnTo>
                  <a:lnTo>
                    <a:pt x="252" y="71"/>
                  </a:lnTo>
                  <a:lnTo>
                    <a:pt x="244" y="71"/>
                  </a:lnTo>
                  <a:lnTo>
                    <a:pt x="240" y="71"/>
                  </a:lnTo>
                  <a:lnTo>
                    <a:pt x="238" y="73"/>
                  </a:lnTo>
                  <a:lnTo>
                    <a:pt x="234" y="75"/>
                  </a:lnTo>
                  <a:lnTo>
                    <a:pt x="231" y="75"/>
                  </a:lnTo>
                  <a:lnTo>
                    <a:pt x="227" y="77"/>
                  </a:lnTo>
                  <a:lnTo>
                    <a:pt x="223" y="77"/>
                  </a:lnTo>
                  <a:lnTo>
                    <a:pt x="211" y="77"/>
                  </a:lnTo>
                  <a:lnTo>
                    <a:pt x="209" y="79"/>
                  </a:lnTo>
                  <a:lnTo>
                    <a:pt x="206" y="81"/>
                  </a:lnTo>
                  <a:lnTo>
                    <a:pt x="202" y="81"/>
                  </a:lnTo>
                  <a:lnTo>
                    <a:pt x="198" y="83"/>
                  </a:lnTo>
                  <a:lnTo>
                    <a:pt x="192" y="83"/>
                  </a:lnTo>
                  <a:lnTo>
                    <a:pt x="192" y="85"/>
                  </a:lnTo>
                  <a:lnTo>
                    <a:pt x="188" y="85"/>
                  </a:lnTo>
                  <a:lnTo>
                    <a:pt x="188" y="87"/>
                  </a:lnTo>
                  <a:lnTo>
                    <a:pt x="186" y="89"/>
                  </a:lnTo>
                  <a:lnTo>
                    <a:pt x="183" y="93"/>
                  </a:lnTo>
                  <a:lnTo>
                    <a:pt x="179" y="96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2"/>
                  </a:lnTo>
                  <a:lnTo>
                    <a:pt x="171" y="104"/>
                  </a:lnTo>
                  <a:lnTo>
                    <a:pt x="169" y="104"/>
                  </a:lnTo>
                  <a:lnTo>
                    <a:pt x="167" y="106"/>
                  </a:lnTo>
                  <a:lnTo>
                    <a:pt x="165" y="110"/>
                  </a:lnTo>
                  <a:lnTo>
                    <a:pt x="165" y="114"/>
                  </a:lnTo>
                  <a:lnTo>
                    <a:pt x="163" y="116"/>
                  </a:lnTo>
                  <a:lnTo>
                    <a:pt x="163" y="119"/>
                  </a:lnTo>
                  <a:lnTo>
                    <a:pt x="161" y="123"/>
                  </a:lnTo>
                  <a:lnTo>
                    <a:pt x="161" y="127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58" y="139"/>
                  </a:lnTo>
                  <a:lnTo>
                    <a:pt x="158" y="142"/>
                  </a:lnTo>
                  <a:lnTo>
                    <a:pt x="156" y="148"/>
                  </a:lnTo>
                  <a:lnTo>
                    <a:pt x="156" y="154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54" y="164"/>
                  </a:lnTo>
                  <a:lnTo>
                    <a:pt x="152" y="165"/>
                  </a:lnTo>
                  <a:lnTo>
                    <a:pt x="152" y="167"/>
                  </a:lnTo>
                  <a:lnTo>
                    <a:pt x="150" y="173"/>
                  </a:lnTo>
                  <a:lnTo>
                    <a:pt x="148" y="177"/>
                  </a:lnTo>
                  <a:lnTo>
                    <a:pt x="148" y="183"/>
                  </a:lnTo>
                  <a:lnTo>
                    <a:pt x="150" y="187"/>
                  </a:lnTo>
                  <a:lnTo>
                    <a:pt x="152" y="190"/>
                  </a:lnTo>
                  <a:lnTo>
                    <a:pt x="154" y="192"/>
                  </a:lnTo>
                  <a:lnTo>
                    <a:pt x="156" y="194"/>
                  </a:lnTo>
                  <a:lnTo>
                    <a:pt x="158" y="196"/>
                  </a:lnTo>
                  <a:lnTo>
                    <a:pt x="158" y="202"/>
                  </a:lnTo>
                  <a:lnTo>
                    <a:pt x="160" y="213"/>
                  </a:lnTo>
                  <a:lnTo>
                    <a:pt x="160" y="225"/>
                  </a:lnTo>
                  <a:lnTo>
                    <a:pt x="158" y="227"/>
                  </a:lnTo>
                  <a:lnTo>
                    <a:pt x="158" y="231"/>
                  </a:lnTo>
                  <a:lnTo>
                    <a:pt x="156" y="231"/>
                  </a:lnTo>
                  <a:lnTo>
                    <a:pt x="154" y="233"/>
                  </a:lnTo>
                  <a:lnTo>
                    <a:pt x="154" y="235"/>
                  </a:lnTo>
                  <a:lnTo>
                    <a:pt x="152" y="236"/>
                  </a:lnTo>
                  <a:lnTo>
                    <a:pt x="150" y="238"/>
                  </a:lnTo>
                  <a:lnTo>
                    <a:pt x="148" y="238"/>
                  </a:lnTo>
                  <a:lnTo>
                    <a:pt x="146" y="242"/>
                  </a:lnTo>
                  <a:lnTo>
                    <a:pt x="144" y="246"/>
                  </a:lnTo>
                  <a:lnTo>
                    <a:pt x="140" y="246"/>
                  </a:lnTo>
                  <a:lnTo>
                    <a:pt x="138" y="250"/>
                  </a:lnTo>
                  <a:lnTo>
                    <a:pt x="135" y="250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7" y="256"/>
                  </a:lnTo>
                  <a:lnTo>
                    <a:pt x="121" y="256"/>
                  </a:lnTo>
                  <a:lnTo>
                    <a:pt x="117" y="258"/>
                  </a:lnTo>
                  <a:lnTo>
                    <a:pt x="115" y="258"/>
                  </a:lnTo>
                  <a:lnTo>
                    <a:pt x="112" y="259"/>
                  </a:lnTo>
                  <a:lnTo>
                    <a:pt x="108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0" y="265"/>
                  </a:lnTo>
                  <a:lnTo>
                    <a:pt x="89" y="267"/>
                  </a:lnTo>
                  <a:lnTo>
                    <a:pt x="87" y="267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3" y="271"/>
                  </a:lnTo>
                  <a:lnTo>
                    <a:pt x="73" y="273"/>
                  </a:lnTo>
                  <a:lnTo>
                    <a:pt x="69" y="273"/>
                  </a:lnTo>
                  <a:lnTo>
                    <a:pt x="67" y="277"/>
                  </a:lnTo>
                  <a:lnTo>
                    <a:pt x="64" y="279"/>
                  </a:lnTo>
                  <a:lnTo>
                    <a:pt x="60" y="279"/>
                  </a:lnTo>
                  <a:lnTo>
                    <a:pt x="58" y="281"/>
                  </a:lnTo>
                  <a:lnTo>
                    <a:pt x="54" y="281"/>
                  </a:lnTo>
                  <a:lnTo>
                    <a:pt x="54" y="282"/>
                  </a:lnTo>
                  <a:lnTo>
                    <a:pt x="50" y="282"/>
                  </a:lnTo>
                  <a:lnTo>
                    <a:pt x="50" y="284"/>
                  </a:lnTo>
                  <a:lnTo>
                    <a:pt x="48" y="284"/>
                  </a:lnTo>
                  <a:lnTo>
                    <a:pt x="44" y="284"/>
                  </a:lnTo>
                  <a:lnTo>
                    <a:pt x="39" y="286"/>
                  </a:lnTo>
                  <a:lnTo>
                    <a:pt x="35" y="286"/>
                  </a:lnTo>
                  <a:lnTo>
                    <a:pt x="31" y="288"/>
                  </a:lnTo>
                  <a:lnTo>
                    <a:pt x="29" y="288"/>
                  </a:lnTo>
                  <a:lnTo>
                    <a:pt x="25" y="290"/>
                  </a:lnTo>
                  <a:lnTo>
                    <a:pt x="21" y="290"/>
                  </a:lnTo>
                  <a:lnTo>
                    <a:pt x="16" y="292"/>
                  </a:lnTo>
                  <a:lnTo>
                    <a:pt x="16" y="292"/>
                  </a:lnTo>
                  <a:lnTo>
                    <a:pt x="12" y="292"/>
                  </a:lnTo>
                  <a:lnTo>
                    <a:pt x="12" y="294"/>
                  </a:lnTo>
                  <a:lnTo>
                    <a:pt x="8" y="294"/>
                  </a:lnTo>
                  <a:lnTo>
                    <a:pt x="8" y="296"/>
                  </a:lnTo>
                  <a:lnTo>
                    <a:pt x="8" y="300"/>
                  </a:lnTo>
                  <a:lnTo>
                    <a:pt x="8" y="302"/>
                  </a:lnTo>
                  <a:lnTo>
                    <a:pt x="6" y="304"/>
                  </a:lnTo>
                  <a:lnTo>
                    <a:pt x="6" y="306"/>
                  </a:lnTo>
                  <a:lnTo>
                    <a:pt x="4" y="306"/>
                  </a:lnTo>
                  <a:lnTo>
                    <a:pt x="4" y="309"/>
                  </a:lnTo>
                  <a:lnTo>
                    <a:pt x="2" y="309"/>
                  </a:lnTo>
                  <a:lnTo>
                    <a:pt x="2" y="311"/>
                  </a:lnTo>
                  <a:lnTo>
                    <a:pt x="0" y="315"/>
                  </a:lnTo>
                  <a:lnTo>
                    <a:pt x="186" y="313"/>
                  </a:lnTo>
                  <a:lnTo>
                    <a:pt x="184" y="309"/>
                  </a:lnTo>
                  <a:lnTo>
                    <a:pt x="186" y="306"/>
                  </a:lnTo>
                  <a:lnTo>
                    <a:pt x="186" y="302"/>
                  </a:lnTo>
                  <a:lnTo>
                    <a:pt x="186" y="300"/>
                  </a:lnTo>
                  <a:lnTo>
                    <a:pt x="186" y="296"/>
                  </a:lnTo>
                  <a:lnTo>
                    <a:pt x="186" y="294"/>
                  </a:lnTo>
                  <a:lnTo>
                    <a:pt x="186" y="292"/>
                  </a:lnTo>
                  <a:lnTo>
                    <a:pt x="186" y="288"/>
                  </a:lnTo>
                  <a:lnTo>
                    <a:pt x="186" y="284"/>
                  </a:lnTo>
                  <a:lnTo>
                    <a:pt x="186" y="281"/>
                  </a:lnTo>
                  <a:lnTo>
                    <a:pt x="186" y="277"/>
                  </a:lnTo>
                  <a:lnTo>
                    <a:pt x="186" y="273"/>
                  </a:lnTo>
                  <a:lnTo>
                    <a:pt x="188" y="273"/>
                  </a:lnTo>
                  <a:lnTo>
                    <a:pt x="192" y="271"/>
                  </a:lnTo>
                  <a:lnTo>
                    <a:pt x="196" y="269"/>
                  </a:lnTo>
                  <a:lnTo>
                    <a:pt x="198" y="267"/>
                  </a:lnTo>
                  <a:lnTo>
                    <a:pt x="200" y="265"/>
                  </a:lnTo>
                  <a:lnTo>
                    <a:pt x="202" y="263"/>
                  </a:lnTo>
                  <a:lnTo>
                    <a:pt x="204" y="265"/>
                  </a:lnTo>
                  <a:lnTo>
                    <a:pt x="206" y="263"/>
                  </a:lnTo>
                  <a:lnTo>
                    <a:pt x="213" y="263"/>
                  </a:lnTo>
                  <a:lnTo>
                    <a:pt x="215" y="261"/>
                  </a:lnTo>
                  <a:lnTo>
                    <a:pt x="219" y="261"/>
                  </a:lnTo>
                  <a:lnTo>
                    <a:pt x="221" y="258"/>
                  </a:lnTo>
                  <a:lnTo>
                    <a:pt x="225" y="258"/>
                  </a:lnTo>
                  <a:lnTo>
                    <a:pt x="225" y="256"/>
                  </a:lnTo>
                  <a:lnTo>
                    <a:pt x="229" y="254"/>
                  </a:lnTo>
                  <a:lnTo>
                    <a:pt x="231" y="252"/>
                  </a:lnTo>
                  <a:lnTo>
                    <a:pt x="232" y="252"/>
                  </a:lnTo>
                  <a:lnTo>
                    <a:pt x="234" y="250"/>
                  </a:lnTo>
                  <a:lnTo>
                    <a:pt x="234" y="246"/>
                  </a:lnTo>
                  <a:lnTo>
                    <a:pt x="238" y="242"/>
                  </a:lnTo>
                  <a:lnTo>
                    <a:pt x="242" y="242"/>
                  </a:lnTo>
                  <a:lnTo>
                    <a:pt x="244" y="240"/>
                  </a:lnTo>
                  <a:lnTo>
                    <a:pt x="246" y="240"/>
                  </a:lnTo>
                  <a:lnTo>
                    <a:pt x="250" y="240"/>
                  </a:lnTo>
                  <a:lnTo>
                    <a:pt x="254" y="238"/>
                  </a:lnTo>
                  <a:lnTo>
                    <a:pt x="255" y="236"/>
                  </a:lnTo>
                  <a:lnTo>
                    <a:pt x="257" y="233"/>
                  </a:lnTo>
                  <a:lnTo>
                    <a:pt x="261" y="233"/>
                  </a:lnTo>
                  <a:lnTo>
                    <a:pt x="261" y="229"/>
                  </a:lnTo>
                  <a:lnTo>
                    <a:pt x="265" y="227"/>
                  </a:lnTo>
                  <a:lnTo>
                    <a:pt x="267" y="227"/>
                  </a:lnTo>
                  <a:lnTo>
                    <a:pt x="271" y="227"/>
                  </a:lnTo>
                  <a:lnTo>
                    <a:pt x="273" y="227"/>
                  </a:lnTo>
                  <a:lnTo>
                    <a:pt x="275" y="229"/>
                  </a:lnTo>
                  <a:lnTo>
                    <a:pt x="279" y="229"/>
                  </a:lnTo>
                  <a:lnTo>
                    <a:pt x="282" y="229"/>
                  </a:lnTo>
                  <a:lnTo>
                    <a:pt x="284" y="231"/>
                  </a:lnTo>
                  <a:lnTo>
                    <a:pt x="286" y="231"/>
                  </a:lnTo>
                  <a:lnTo>
                    <a:pt x="290" y="231"/>
                  </a:lnTo>
                  <a:lnTo>
                    <a:pt x="294" y="231"/>
                  </a:lnTo>
                  <a:lnTo>
                    <a:pt x="296" y="231"/>
                  </a:lnTo>
                  <a:lnTo>
                    <a:pt x="296" y="231"/>
                  </a:lnTo>
                  <a:lnTo>
                    <a:pt x="300" y="233"/>
                  </a:lnTo>
                  <a:lnTo>
                    <a:pt x="302" y="231"/>
                  </a:lnTo>
                  <a:lnTo>
                    <a:pt x="303" y="231"/>
                  </a:lnTo>
                  <a:lnTo>
                    <a:pt x="307" y="229"/>
                  </a:lnTo>
                  <a:lnTo>
                    <a:pt x="309" y="229"/>
                  </a:lnTo>
                  <a:lnTo>
                    <a:pt x="313" y="227"/>
                  </a:lnTo>
                  <a:lnTo>
                    <a:pt x="313" y="223"/>
                  </a:lnTo>
                  <a:lnTo>
                    <a:pt x="315" y="221"/>
                  </a:lnTo>
                  <a:lnTo>
                    <a:pt x="317" y="217"/>
                  </a:lnTo>
                  <a:lnTo>
                    <a:pt x="319" y="215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5" y="211"/>
                  </a:lnTo>
                  <a:lnTo>
                    <a:pt x="326" y="210"/>
                  </a:lnTo>
                  <a:lnTo>
                    <a:pt x="330" y="210"/>
                  </a:lnTo>
                  <a:lnTo>
                    <a:pt x="332" y="208"/>
                  </a:lnTo>
                  <a:lnTo>
                    <a:pt x="336" y="206"/>
                  </a:lnTo>
                  <a:lnTo>
                    <a:pt x="336" y="204"/>
                  </a:lnTo>
                  <a:lnTo>
                    <a:pt x="338" y="202"/>
                  </a:lnTo>
                  <a:lnTo>
                    <a:pt x="344" y="202"/>
                  </a:lnTo>
                  <a:lnTo>
                    <a:pt x="344" y="200"/>
                  </a:lnTo>
                  <a:lnTo>
                    <a:pt x="346" y="200"/>
                  </a:lnTo>
                  <a:lnTo>
                    <a:pt x="348" y="196"/>
                  </a:lnTo>
                  <a:lnTo>
                    <a:pt x="351" y="196"/>
                  </a:lnTo>
                  <a:lnTo>
                    <a:pt x="353" y="196"/>
                  </a:lnTo>
                  <a:lnTo>
                    <a:pt x="357" y="194"/>
                  </a:lnTo>
                  <a:lnTo>
                    <a:pt x="363" y="192"/>
                  </a:lnTo>
                  <a:lnTo>
                    <a:pt x="365" y="192"/>
                  </a:lnTo>
                  <a:lnTo>
                    <a:pt x="369" y="190"/>
                  </a:lnTo>
                  <a:lnTo>
                    <a:pt x="376" y="190"/>
                  </a:lnTo>
                  <a:lnTo>
                    <a:pt x="376" y="187"/>
                  </a:lnTo>
                  <a:lnTo>
                    <a:pt x="376" y="183"/>
                  </a:lnTo>
                  <a:lnTo>
                    <a:pt x="376" y="179"/>
                  </a:lnTo>
                  <a:lnTo>
                    <a:pt x="376" y="175"/>
                  </a:lnTo>
                  <a:lnTo>
                    <a:pt x="376" y="173"/>
                  </a:lnTo>
                  <a:lnTo>
                    <a:pt x="374" y="171"/>
                  </a:lnTo>
                  <a:lnTo>
                    <a:pt x="374" y="167"/>
                  </a:lnTo>
                  <a:lnTo>
                    <a:pt x="374" y="164"/>
                  </a:lnTo>
                  <a:lnTo>
                    <a:pt x="374" y="160"/>
                  </a:lnTo>
                  <a:lnTo>
                    <a:pt x="374" y="158"/>
                  </a:lnTo>
                  <a:lnTo>
                    <a:pt x="374" y="154"/>
                  </a:lnTo>
                  <a:lnTo>
                    <a:pt x="378" y="154"/>
                  </a:lnTo>
                  <a:lnTo>
                    <a:pt x="382" y="152"/>
                  </a:lnTo>
                  <a:lnTo>
                    <a:pt x="392" y="152"/>
                  </a:lnTo>
                  <a:lnTo>
                    <a:pt x="396" y="150"/>
                  </a:lnTo>
                  <a:lnTo>
                    <a:pt x="399" y="146"/>
                  </a:lnTo>
                  <a:lnTo>
                    <a:pt x="403" y="144"/>
                  </a:lnTo>
                  <a:lnTo>
                    <a:pt x="407" y="144"/>
                  </a:lnTo>
                  <a:lnTo>
                    <a:pt x="411" y="144"/>
                  </a:lnTo>
                  <a:lnTo>
                    <a:pt x="415" y="144"/>
                  </a:lnTo>
                  <a:lnTo>
                    <a:pt x="419" y="144"/>
                  </a:lnTo>
                  <a:lnTo>
                    <a:pt x="419" y="142"/>
                  </a:lnTo>
                  <a:lnTo>
                    <a:pt x="420" y="140"/>
                  </a:lnTo>
                  <a:lnTo>
                    <a:pt x="422" y="139"/>
                  </a:lnTo>
                  <a:lnTo>
                    <a:pt x="426" y="139"/>
                  </a:lnTo>
                  <a:lnTo>
                    <a:pt x="428" y="139"/>
                  </a:lnTo>
                  <a:lnTo>
                    <a:pt x="430" y="140"/>
                  </a:lnTo>
                  <a:lnTo>
                    <a:pt x="432" y="142"/>
                  </a:lnTo>
                  <a:lnTo>
                    <a:pt x="432" y="144"/>
                  </a:lnTo>
                  <a:lnTo>
                    <a:pt x="438" y="144"/>
                  </a:lnTo>
                  <a:lnTo>
                    <a:pt x="440" y="146"/>
                  </a:lnTo>
                  <a:lnTo>
                    <a:pt x="442" y="146"/>
                  </a:lnTo>
                  <a:lnTo>
                    <a:pt x="445" y="146"/>
                  </a:lnTo>
                  <a:lnTo>
                    <a:pt x="449" y="146"/>
                  </a:lnTo>
                  <a:lnTo>
                    <a:pt x="453" y="146"/>
                  </a:lnTo>
                  <a:lnTo>
                    <a:pt x="457" y="146"/>
                  </a:lnTo>
                  <a:lnTo>
                    <a:pt x="461" y="146"/>
                  </a:lnTo>
                  <a:lnTo>
                    <a:pt x="463" y="142"/>
                  </a:lnTo>
                  <a:lnTo>
                    <a:pt x="463" y="139"/>
                  </a:lnTo>
                  <a:lnTo>
                    <a:pt x="463" y="135"/>
                  </a:lnTo>
                  <a:lnTo>
                    <a:pt x="463" y="133"/>
                  </a:lnTo>
                  <a:lnTo>
                    <a:pt x="465" y="131"/>
                  </a:lnTo>
                  <a:lnTo>
                    <a:pt x="467" y="127"/>
                  </a:lnTo>
                  <a:lnTo>
                    <a:pt x="472" y="127"/>
                  </a:lnTo>
                  <a:lnTo>
                    <a:pt x="470" y="125"/>
                  </a:lnTo>
                  <a:lnTo>
                    <a:pt x="468" y="123"/>
                  </a:lnTo>
                  <a:lnTo>
                    <a:pt x="468" y="119"/>
                  </a:lnTo>
                  <a:lnTo>
                    <a:pt x="467" y="117"/>
                  </a:lnTo>
                  <a:lnTo>
                    <a:pt x="465" y="116"/>
                  </a:lnTo>
                  <a:lnTo>
                    <a:pt x="463" y="114"/>
                  </a:lnTo>
                  <a:lnTo>
                    <a:pt x="461" y="114"/>
                  </a:lnTo>
                  <a:lnTo>
                    <a:pt x="459" y="114"/>
                  </a:lnTo>
                  <a:lnTo>
                    <a:pt x="457" y="112"/>
                  </a:lnTo>
                  <a:lnTo>
                    <a:pt x="457" y="108"/>
                  </a:lnTo>
                  <a:lnTo>
                    <a:pt x="457" y="106"/>
                  </a:lnTo>
                  <a:lnTo>
                    <a:pt x="455" y="104"/>
                  </a:lnTo>
                  <a:lnTo>
                    <a:pt x="455" y="102"/>
                  </a:lnTo>
                  <a:lnTo>
                    <a:pt x="453" y="98"/>
                  </a:lnTo>
                  <a:lnTo>
                    <a:pt x="451" y="96"/>
                  </a:lnTo>
                  <a:lnTo>
                    <a:pt x="449" y="94"/>
                  </a:lnTo>
                  <a:lnTo>
                    <a:pt x="449" y="89"/>
                  </a:lnTo>
                  <a:lnTo>
                    <a:pt x="447" y="85"/>
                  </a:lnTo>
                  <a:lnTo>
                    <a:pt x="447" y="81"/>
                  </a:lnTo>
                  <a:lnTo>
                    <a:pt x="447" y="77"/>
                  </a:lnTo>
                  <a:lnTo>
                    <a:pt x="449" y="75"/>
                  </a:lnTo>
                  <a:lnTo>
                    <a:pt x="449" y="71"/>
                  </a:lnTo>
                  <a:lnTo>
                    <a:pt x="451" y="69"/>
                  </a:lnTo>
                  <a:lnTo>
                    <a:pt x="451" y="66"/>
                  </a:lnTo>
                  <a:lnTo>
                    <a:pt x="453" y="62"/>
                  </a:lnTo>
                  <a:lnTo>
                    <a:pt x="453" y="58"/>
                  </a:lnTo>
                  <a:lnTo>
                    <a:pt x="453" y="56"/>
                  </a:lnTo>
                  <a:lnTo>
                    <a:pt x="451" y="54"/>
                  </a:lnTo>
                  <a:lnTo>
                    <a:pt x="449" y="50"/>
                  </a:lnTo>
                  <a:lnTo>
                    <a:pt x="447" y="48"/>
                  </a:lnTo>
                  <a:lnTo>
                    <a:pt x="444" y="48"/>
                  </a:lnTo>
                  <a:lnTo>
                    <a:pt x="442" y="46"/>
                  </a:lnTo>
                  <a:lnTo>
                    <a:pt x="442" y="45"/>
                  </a:lnTo>
                  <a:lnTo>
                    <a:pt x="442" y="41"/>
                  </a:lnTo>
                  <a:lnTo>
                    <a:pt x="442" y="39"/>
                  </a:lnTo>
                  <a:lnTo>
                    <a:pt x="442" y="37"/>
                  </a:lnTo>
                  <a:lnTo>
                    <a:pt x="442" y="33"/>
                  </a:lnTo>
                  <a:lnTo>
                    <a:pt x="442" y="29"/>
                  </a:lnTo>
                  <a:lnTo>
                    <a:pt x="440" y="29"/>
                  </a:lnTo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7" name="Freeform 63"/>
            <p:cNvSpPr>
              <a:spLocks/>
            </p:cNvSpPr>
            <p:nvPr/>
          </p:nvSpPr>
          <p:spPr bwMode="auto">
            <a:xfrm>
              <a:off x="2127" y="3357"/>
              <a:ext cx="88" cy="80"/>
            </a:xfrm>
            <a:custGeom>
              <a:avLst/>
              <a:gdLst/>
              <a:ahLst/>
              <a:cxnLst>
                <a:cxn ang="0">
                  <a:pos x="15" y="80"/>
                </a:cxn>
                <a:cxn ang="0">
                  <a:pos x="25" y="80"/>
                </a:cxn>
                <a:cxn ang="0">
                  <a:pos x="31" y="80"/>
                </a:cxn>
                <a:cxn ang="0">
                  <a:pos x="35" y="80"/>
                </a:cxn>
                <a:cxn ang="0">
                  <a:pos x="38" y="80"/>
                </a:cxn>
                <a:cxn ang="0">
                  <a:pos x="40" y="80"/>
                </a:cxn>
                <a:cxn ang="0">
                  <a:pos x="46" y="78"/>
                </a:cxn>
                <a:cxn ang="0">
                  <a:pos x="54" y="76"/>
                </a:cxn>
                <a:cxn ang="0">
                  <a:pos x="65" y="71"/>
                </a:cxn>
                <a:cxn ang="0">
                  <a:pos x="69" y="67"/>
                </a:cxn>
                <a:cxn ang="0">
                  <a:pos x="75" y="61"/>
                </a:cxn>
                <a:cxn ang="0">
                  <a:pos x="81" y="55"/>
                </a:cxn>
                <a:cxn ang="0">
                  <a:pos x="83" y="53"/>
                </a:cxn>
                <a:cxn ang="0">
                  <a:pos x="86" y="48"/>
                </a:cxn>
                <a:cxn ang="0">
                  <a:pos x="88" y="44"/>
                </a:cxn>
                <a:cxn ang="0">
                  <a:pos x="88" y="40"/>
                </a:cxn>
                <a:cxn ang="0">
                  <a:pos x="88" y="36"/>
                </a:cxn>
                <a:cxn ang="0">
                  <a:pos x="88" y="34"/>
                </a:cxn>
                <a:cxn ang="0">
                  <a:pos x="88" y="28"/>
                </a:cxn>
                <a:cxn ang="0">
                  <a:pos x="86" y="21"/>
                </a:cxn>
                <a:cxn ang="0">
                  <a:pos x="84" y="15"/>
                </a:cxn>
                <a:cxn ang="0">
                  <a:pos x="83" y="11"/>
                </a:cxn>
                <a:cxn ang="0">
                  <a:pos x="83" y="9"/>
                </a:cxn>
                <a:cxn ang="0">
                  <a:pos x="73" y="3"/>
                </a:cxn>
                <a:cxn ang="0">
                  <a:pos x="67" y="3"/>
                </a:cxn>
                <a:cxn ang="0">
                  <a:pos x="61" y="3"/>
                </a:cxn>
                <a:cxn ang="0">
                  <a:pos x="56" y="2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1" y="3"/>
                </a:cxn>
                <a:cxn ang="0">
                  <a:pos x="25" y="7"/>
                </a:cxn>
                <a:cxn ang="0">
                  <a:pos x="23" y="9"/>
                </a:cxn>
                <a:cxn ang="0">
                  <a:pos x="21" y="15"/>
                </a:cxn>
                <a:cxn ang="0">
                  <a:pos x="19" y="21"/>
                </a:cxn>
                <a:cxn ang="0">
                  <a:pos x="15" y="27"/>
                </a:cxn>
                <a:cxn ang="0">
                  <a:pos x="12" y="30"/>
                </a:cxn>
                <a:cxn ang="0">
                  <a:pos x="8" y="34"/>
                </a:cxn>
                <a:cxn ang="0">
                  <a:pos x="4" y="38"/>
                </a:cxn>
                <a:cxn ang="0">
                  <a:pos x="0" y="42"/>
                </a:cxn>
                <a:cxn ang="0">
                  <a:pos x="0" y="46"/>
                </a:cxn>
                <a:cxn ang="0">
                  <a:pos x="0" y="50"/>
                </a:cxn>
                <a:cxn ang="0">
                  <a:pos x="0" y="53"/>
                </a:cxn>
                <a:cxn ang="0">
                  <a:pos x="0" y="59"/>
                </a:cxn>
                <a:cxn ang="0">
                  <a:pos x="0" y="65"/>
                </a:cxn>
                <a:cxn ang="0">
                  <a:pos x="0" y="67"/>
                </a:cxn>
                <a:cxn ang="0">
                  <a:pos x="2" y="73"/>
                </a:cxn>
                <a:cxn ang="0">
                  <a:pos x="8" y="80"/>
                </a:cxn>
              </a:cxnLst>
              <a:rect l="0" t="0" r="r" b="b"/>
              <a:pathLst>
                <a:path w="88" h="80">
                  <a:moveTo>
                    <a:pt x="10" y="80"/>
                  </a:moveTo>
                  <a:lnTo>
                    <a:pt x="12" y="80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21" y="80"/>
                  </a:lnTo>
                  <a:lnTo>
                    <a:pt x="25" y="80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3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2" y="80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6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0" y="76"/>
                  </a:lnTo>
                  <a:lnTo>
                    <a:pt x="54" y="76"/>
                  </a:lnTo>
                  <a:lnTo>
                    <a:pt x="58" y="74"/>
                  </a:lnTo>
                  <a:lnTo>
                    <a:pt x="59" y="74"/>
                  </a:lnTo>
                  <a:lnTo>
                    <a:pt x="61" y="73"/>
                  </a:lnTo>
                  <a:lnTo>
                    <a:pt x="65" y="71"/>
                  </a:lnTo>
                  <a:lnTo>
                    <a:pt x="67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3" y="65"/>
                  </a:lnTo>
                  <a:lnTo>
                    <a:pt x="75" y="61"/>
                  </a:lnTo>
                  <a:lnTo>
                    <a:pt x="77" y="59"/>
                  </a:lnTo>
                  <a:lnTo>
                    <a:pt x="77" y="57"/>
                  </a:lnTo>
                  <a:lnTo>
                    <a:pt x="79" y="57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4" y="51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8" y="46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5"/>
                  </a:lnTo>
                  <a:lnTo>
                    <a:pt x="88" y="23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1" y="7"/>
                  </a:lnTo>
                  <a:lnTo>
                    <a:pt x="79" y="5"/>
                  </a:lnTo>
                  <a:lnTo>
                    <a:pt x="77" y="3"/>
                  </a:lnTo>
                  <a:lnTo>
                    <a:pt x="73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69" y="3"/>
                  </a:lnTo>
                  <a:lnTo>
                    <a:pt x="67" y="3"/>
                  </a:lnTo>
                  <a:lnTo>
                    <a:pt x="65" y="3"/>
                  </a:lnTo>
                  <a:lnTo>
                    <a:pt x="63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59" y="3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1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3"/>
                  </a:lnTo>
                  <a:lnTo>
                    <a:pt x="21" y="15"/>
                  </a:lnTo>
                  <a:lnTo>
                    <a:pt x="21" y="17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21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5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3"/>
                  </a:lnTo>
                  <a:lnTo>
                    <a:pt x="2" y="74"/>
                  </a:lnTo>
                  <a:lnTo>
                    <a:pt x="4" y="76"/>
                  </a:lnTo>
                  <a:lnTo>
                    <a:pt x="6" y="78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1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8" name="Freeform 64"/>
            <p:cNvSpPr>
              <a:spLocks/>
            </p:cNvSpPr>
            <p:nvPr/>
          </p:nvSpPr>
          <p:spPr bwMode="auto">
            <a:xfrm>
              <a:off x="2127" y="3357"/>
              <a:ext cx="88" cy="80"/>
            </a:xfrm>
            <a:custGeom>
              <a:avLst/>
              <a:gdLst/>
              <a:ahLst/>
              <a:cxnLst>
                <a:cxn ang="0">
                  <a:pos x="15" y="80"/>
                </a:cxn>
                <a:cxn ang="0">
                  <a:pos x="25" y="80"/>
                </a:cxn>
                <a:cxn ang="0">
                  <a:pos x="31" y="80"/>
                </a:cxn>
                <a:cxn ang="0">
                  <a:pos x="35" y="80"/>
                </a:cxn>
                <a:cxn ang="0">
                  <a:pos x="38" y="80"/>
                </a:cxn>
                <a:cxn ang="0">
                  <a:pos x="40" y="80"/>
                </a:cxn>
                <a:cxn ang="0">
                  <a:pos x="46" y="78"/>
                </a:cxn>
                <a:cxn ang="0">
                  <a:pos x="54" y="76"/>
                </a:cxn>
                <a:cxn ang="0">
                  <a:pos x="65" y="71"/>
                </a:cxn>
                <a:cxn ang="0">
                  <a:pos x="69" y="67"/>
                </a:cxn>
                <a:cxn ang="0">
                  <a:pos x="75" y="61"/>
                </a:cxn>
                <a:cxn ang="0">
                  <a:pos x="81" y="55"/>
                </a:cxn>
                <a:cxn ang="0">
                  <a:pos x="83" y="53"/>
                </a:cxn>
                <a:cxn ang="0">
                  <a:pos x="86" y="48"/>
                </a:cxn>
                <a:cxn ang="0">
                  <a:pos x="88" y="44"/>
                </a:cxn>
                <a:cxn ang="0">
                  <a:pos x="88" y="40"/>
                </a:cxn>
                <a:cxn ang="0">
                  <a:pos x="88" y="36"/>
                </a:cxn>
                <a:cxn ang="0">
                  <a:pos x="88" y="34"/>
                </a:cxn>
                <a:cxn ang="0">
                  <a:pos x="88" y="28"/>
                </a:cxn>
                <a:cxn ang="0">
                  <a:pos x="86" y="21"/>
                </a:cxn>
                <a:cxn ang="0">
                  <a:pos x="84" y="15"/>
                </a:cxn>
                <a:cxn ang="0">
                  <a:pos x="83" y="11"/>
                </a:cxn>
                <a:cxn ang="0">
                  <a:pos x="83" y="9"/>
                </a:cxn>
                <a:cxn ang="0">
                  <a:pos x="73" y="3"/>
                </a:cxn>
                <a:cxn ang="0">
                  <a:pos x="67" y="3"/>
                </a:cxn>
                <a:cxn ang="0">
                  <a:pos x="61" y="3"/>
                </a:cxn>
                <a:cxn ang="0">
                  <a:pos x="56" y="2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1" y="3"/>
                </a:cxn>
                <a:cxn ang="0">
                  <a:pos x="25" y="7"/>
                </a:cxn>
                <a:cxn ang="0">
                  <a:pos x="23" y="9"/>
                </a:cxn>
                <a:cxn ang="0">
                  <a:pos x="21" y="15"/>
                </a:cxn>
                <a:cxn ang="0">
                  <a:pos x="19" y="21"/>
                </a:cxn>
                <a:cxn ang="0">
                  <a:pos x="15" y="27"/>
                </a:cxn>
                <a:cxn ang="0">
                  <a:pos x="12" y="30"/>
                </a:cxn>
                <a:cxn ang="0">
                  <a:pos x="8" y="34"/>
                </a:cxn>
                <a:cxn ang="0">
                  <a:pos x="4" y="38"/>
                </a:cxn>
                <a:cxn ang="0">
                  <a:pos x="0" y="42"/>
                </a:cxn>
                <a:cxn ang="0">
                  <a:pos x="0" y="46"/>
                </a:cxn>
                <a:cxn ang="0">
                  <a:pos x="0" y="50"/>
                </a:cxn>
                <a:cxn ang="0">
                  <a:pos x="0" y="53"/>
                </a:cxn>
                <a:cxn ang="0">
                  <a:pos x="0" y="59"/>
                </a:cxn>
                <a:cxn ang="0">
                  <a:pos x="0" y="65"/>
                </a:cxn>
                <a:cxn ang="0">
                  <a:pos x="0" y="67"/>
                </a:cxn>
                <a:cxn ang="0">
                  <a:pos x="2" y="73"/>
                </a:cxn>
                <a:cxn ang="0">
                  <a:pos x="8" y="80"/>
                </a:cxn>
              </a:cxnLst>
              <a:rect l="0" t="0" r="r" b="b"/>
              <a:pathLst>
                <a:path w="88" h="80">
                  <a:moveTo>
                    <a:pt x="10" y="80"/>
                  </a:moveTo>
                  <a:lnTo>
                    <a:pt x="12" y="80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21" y="80"/>
                  </a:lnTo>
                  <a:lnTo>
                    <a:pt x="25" y="80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3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2" y="80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6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0" y="76"/>
                  </a:lnTo>
                  <a:lnTo>
                    <a:pt x="54" y="76"/>
                  </a:lnTo>
                  <a:lnTo>
                    <a:pt x="58" y="74"/>
                  </a:lnTo>
                  <a:lnTo>
                    <a:pt x="59" y="74"/>
                  </a:lnTo>
                  <a:lnTo>
                    <a:pt x="61" y="73"/>
                  </a:lnTo>
                  <a:lnTo>
                    <a:pt x="65" y="71"/>
                  </a:lnTo>
                  <a:lnTo>
                    <a:pt x="67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3" y="65"/>
                  </a:lnTo>
                  <a:lnTo>
                    <a:pt x="75" y="61"/>
                  </a:lnTo>
                  <a:lnTo>
                    <a:pt x="77" y="59"/>
                  </a:lnTo>
                  <a:lnTo>
                    <a:pt x="77" y="57"/>
                  </a:lnTo>
                  <a:lnTo>
                    <a:pt x="79" y="57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4" y="51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8" y="46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5"/>
                  </a:lnTo>
                  <a:lnTo>
                    <a:pt x="88" y="23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1" y="7"/>
                  </a:lnTo>
                  <a:lnTo>
                    <a:pt x="79" y="5"/>
                  </a:lnTo>
                  <a:lnTo>
                    <a:pt x="77" y="3"/>
                  </a:lnTo>
                  <a:lnTo>
                    <a:pt x="73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69" y="3"/>
                  </a:lnTo>
                  <a:lnTo>
                    <a:pt x="67" y="3"/>
                  </a:lnTo>
                  <a:lnTo>
                    <a:pt x="65" y="3"/>
                  </a:lnTo>
                  <a:lnTo>
                    <a:pt x="63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59" y="3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1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3"/>
                  </a:lnTo>
                  <a:lnTo>
                    <a:pt x="21" y="15"/>
                  </a:lnTo>
                  <a:lnTo>
                    <a:pt x="21" y="17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21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5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3"/>
                  </a:lnTo>
                  <a:lnTo>
                    <a:pt x="2" y="74"/>
                  </a:lnTo>
                  <a:lnTo>
                    <a:pt x="4" y="76"/>
                  </a:lnTo>
                  <a:lnTo>
                    <a:pt x="6" y="78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10" y="8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89" name="Freeform 65"/>
            <p:cNvSpPr>
              <a:spLocks/>
            </p:cNvSpPr>
            <p:nvPr/>
          </p:nvSpPr>
          <p:spPr bwMode="auto">
            <a:xfrm>
              <a:off x="563" y="1309"/>
              <a:ext cx="330" cy="242"/>
            </a:xfrm>
            <a:custGeom>
              <a:avLst/>
              <a:gdLst/>
              <a:ahLst/>
              <a:cxnLst>
                <a:cxn ang="0">
                  <a:pos x="323" y="21"/>
                </a:cxn>
                <a:cxn ang="0">
                  <a:pos x="321" y="42"/>
                </a:cxn>
                <a:cxn ang="0">
                  <a:pos x="317" y="50"/>
                </a:cxn>
                <a:cxn ang="0">
                  <a:pos x="303" y="54"/>
                </a:cxn>
                <a:cxn ang="0">
                  <a:pos x="273" y="58"/>
                </a:cxn>
                <a:cxn ang="0">
                  <a:pos x="242" y="62"/>
                </a:cxn>
                <a:cxn ang="0">
                  <a:pos x="207" y="62"/>
                </a:cxn>
                <a:cxn ang="0">
                  <a:pos x="211" y="81"/>
                </a:cxn>
                <a:cxn ang="0">
                  <a:pos x="213" y="113"/>
                </a:cxn>
                <a:cxn ang="0">
                  <a:pos x="213" y="148"/>
                </a:cxn>
                <a:cxn ang="0">
                  <a:pos x="202" y="150"/>
                </a:cxn>
                <a:cxn ang="0">
                  <a:pos x="186" y="156"/>
                </a:cxn>
                <a:cxn ang="0">
                  <a:pos x="173" y="163"/>
                </a:cxn>
                <a:cxn ang="0">
                  <a:pos x="163" y="169"/>
                </a:cxn>
                <a:cxn ang="0">
                  <a:pos x="156" y="184"/>
                </a:cxn>
                <a:cxn ang="0">
                  <a:pos x="154" y="211"/>
                </a:cxn>
                <a:cxn ang="0">
                  <a:pos x="148" y="223"/>
                </a:cxn>
                <a:cxn ang="0">
                  <a:pos x="133" y="227"/>
                </a:cxn>
                <a:cxn ang="0">
                  <a:pos x="92" y="227"/>
                </a:cxn>
                <a:cxn ang="0">
                  <a:pos x="52" y="227"/>
                </a:cxn>
                <a:cxn ang="0">
                  <a:pos x="27" y="229"/>
                </a:cxn>
                <a:cxn ang="0">
                  <a:pos x="6" y="229"/>
                </a:cxn>
                <a:cxn ang="0">
                  <a:pos x="6" y="236"/>
                </a:cxn>
                <a:cxn ang="0">
                  <a:pos x="0" y="242"/>
                </a:cxn>
                <a:cxn ang="0">
                  <a:pos x="2" y="213"/>
                </a:cxn>
                <a:cxn ang="0">
                  <a:pos x="12" y="179"/>
                </a:cxn>
                <a:cxn ang="0">
                  <a:pos x="23" y="159"/>
                </a:cxn>
                <a:cxn ang="0">
                  <a:pos x="35" y="150"/>
                </a:cxn>
                <a:cxn ang="0">
                  <a:pos x="62" y="127"/>
                </a:cxn>
                <a:cxn ang="0">
                  <a:pos x="75" y="110"/>
                </a:cxn>
                <a:cxn ang="0">
                  <a:pos x="83" y="92"/>
                </a:cxn>
                <a:cxn ang="0">
                  <a:pos x="88" y="81"/>
                </a:cxn>
                <a:cxn ang="0">
                  <a:pos x="98" y="54"/>
                </a:cxn>
                <a:cxn ang="0">
                  <a:pos x="125" y="25"/>
                </a:cxn>
                <a:cxn ang="0">
                  <a:pos x="142" y="2"/>
                </a:cxn>
                <a:cxn ang="0">
                  <a:pos x="328" y="6"/>
                </a:cxn>
                <a:cxn ang="0">
                  <a:pos x="326" y="10"/>
                </a:cxn>
              </a:cxnLst>
              <a:rect l="0" t="0" r="r" b="b"/>
              <a:pathLst>
                <a:path w="330" h="242">
                  <a:moveTo>
                    <a:pt x="326" y="10"/>
                  </a:moveTo>
                  <a:lnTo>
                    <a:pt x="323" y="21"/>
                  </a:lnTo>
                  <a:lnTo>
                    <a:pt x="321" y="31"/>
                  </a:lnTo>
                  <a:lnTo>
                    <a:pt x="321" y="42"/>
                  </a:lnTo>
                  <a:lnTo>
                    <a:pt x="321" y="52"/>
                  </a:lnTo>
                  <a:lnTo>
                    <a:pt x="317" y="50"/>
                  </a:lnTo>
                  <a:lnTo>
                    <a:pt x="313" y="52"/>
                  </a:lnTo>
                  <a:lnTo>
                    <a:pt x="303" y="54"/>
                  </a:lnTo>
                  <a:lnTo>
                    <a:pt x="288" y="56"/>
                  </a:lnTo>
                  <a:lnTo>
                    <a:pt x="273" y="58"/>
                  </a:lnTo>
                  <a:lnTo>
                    <a:pt x="257" y="62"/>
                  </a:lnTo>
                  <a:lnTo>
                    <a:pt x="242" y="62"/>
                  </a:lnTo>
                  <a:lnTo>
                    <a:pt x="225" y="62"/>
                  </a:lnTo>
                  <a:lnTo>
                    <a:pt x="207" y="62"/>
                  </a:lnTo>
                  <a:lnTo>
                    <a:pt x="209" y="71"/>
                  </a:lnTo>
                  <a:lnTo>
                    <a:pt x="211" y="81"/>
                  </a:lnTo>
                  <a:lnTo>
                    <a:pt x="213" y="96"/>
                  </a:lnTo>
                  <a:lnTo>
                    <a:pt x="213" y="113"/>
                  </a:lnTo>
                  <a:lnTo>
                    <a:pt x="215" y="133"/>
                  </a:lnTo>
                  <a:lnTo>
                    <a:pt x="213" y="148"/>
                  </a:lnTo>
                  <a:lnTo>
                    <a:pt x="209" y="148"/>
                  </a:lnTo>
                  <a:lnTo>
                    <a:pt x="202" y="150"/>
                  </a:lnTo>
                  <a:lnTo>
                    <a:pt x="194" y="154"/>
                  </a:lnTo>
                  <a:lnTo>
                    <a:pt x="186" y="156"/>
                  </a:lnTo>
                  <a:lnTo>
                    <a:pt x="179" y="161"/>
                  </a:lnTo>
                  <a:lnTo>
                    <a:pt x="173" y="163"/>
                  </a:lnTo>
                  <a:lnTo>
                    <a:pt x="167" y="167"/>
                  </a:lnTo>
                  <a:lnTo>
                    <a:pt x="163" y="169"/>
                  </a:lnTo>
                  <a:lnTo>
                    <a:pt x="159" y="175"/>
                  </a:lnTo>
                  <a:lnTo>
                    <a:pt x="156" y="184"/>
                  </a:lnTo>
                  <a:lnTo>
                    <a:pt x="154" y="194"/>
                  </a:lnTo>
                  <a:lnTo>
                    <a:pt x="154" y="211"/>
                  </a:lnTo>
                  <a:lnTo>
                    <a:pt x="152" y="217"/>
                  </a:lnTo>
                  <a:lnTo>
                    <a:pt x="148" y="223"/>
                  </a:lnTo>
                  <a:lnTo>
                    <a:pt x="140" y="225"/>
                  </a:lnTo>
                  <a:lnTo>
                    <a:pt x="133" y="227"/>
                  </a:lnTo>
                  <a:lnTo>
                    <a:pt x="113" y="227"/>
                  </a:lnTo>
                  <a:lnTo>
                    <a:pt x="92" y="227"/>
                  </a:lnTo>
                  <a:lnTo>
                    <a:pt x="71" y="227"/>
                  </a:lnTo>
                  <a:lnTo>
                    <a:pt x="52" y="227"/>
                  </a:lnTo>
                  <a:lnTo>
                    <a:pt x="41" y="229"/>
                  </a:lnTo>
                  <a:lnTo>
                    <a:pt x="27" y="229"/>
                  </a:lnTo>
                  <a:lnTo>
                    <a:pt x="16" y="229"/>
                  </a:lnTo>
                  <a:lnTo>
                    <a:pt x="6" y="229"/>
                  </a:lnTo>
                  <a:lnTo>
                    <a:pt x="6" y="232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0" y="242"/>
                  </a:lnTo>
                  <a:lnTo>
                    <a:pt x="2" y="227"/>
                  </a:lnTo>
                  <a:lnTo>
                    <a:pt x="2" y="213"/>
                  </a:lnTo>
                  <a:lnTo>
                    <a:pt x="6" y="196"/>
                  </a:lnTo>
                  <a:lnTo>
                    <a:pt x="12" y="179"/>
                  </a:lnTo>
                  <a:lnTo>
                    <a:pt x="17" y="169"/>
                  </a:lnTo>
                  <a:lnTo>
                    <a:pt x="23" y="159"/>
                  </a:lnTo>
                  <a:lnTo>
                    <a:pt x="29" y="154"/>
                  </a:lnTo>
                  <a:lnTo>
                    <a:pt x="35" y="150"/>
                  </a:lnTo>
                  <a:lnTo>
                    <a:pt x="48" y="138"/>
                  </a:lnTo>
                  <a:lnTo>
                    <a:pt x="62" y="127"/>
                  </a:lnTo>
                  <a:lnTo>
                    <a:pt x="67" y="119"/>
                  </a:lnTo>
                  <a:lnTo>
                    <a:pt x="75" y="110"/>
                  </a:lnTo>
                  <a:lnTo>
                    <a:pt x="81" y="102"/>
                  </a:lnTo>
                  <a:lnTo>
                    <a:pt x="83" y="92"/>
                  </a:lnTo>
                  <a:lnTo>
                    <a:pt x="85" y="87"/>
                  </a:lnTo>
                  <a:lnTo>
                    <a:pt x="88" y="81"/>
                  </a:lnTo>
                  <a:lnTo>
                    <a:pt x="92" y="67"/>
                  </a:lnTo>
                  <a:lnTo>
                    <a:pt x="98" y="54"/>
                  </a:lnTo>
                  <a:lnTo>
                    <a:pt x="110" y="39"/>
                  </a:lnTo>
                  <a:lnTo>
                    <a:pt x="125" y="25"/>
                  </a:lnTo>
                  <a:lnTo>
                    <a:pt x="135" y="14"/>
                  </a:lnTo>
                  <a:lnTo>
                    <a:pt x="142" y="2"/>
                  </a:lnTo>
                  <a:lnTo>
                    <a:pt x="326" y="0"/>
                  </a:lnTo>
                  <a:lnTo>
                    <a:pt x="328" y="6"/>
                  </a:lnTo>
                  <a:lnTo>
                    <a:pt x="330" y="8"/>
                  </a:lnTo>
                  <a:lnTo>
                    <a:pt x="326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0" name="Freeform 66"/>
            <p:cNvSpPr>
              <a:spLocks/>
            </p:cNvSpPr>
            <p:nvPr/>
          </p:nvSpPr>
          <p:spPr bwMode="auto">
            <a:xfrm>
              <a:off x="563" y="1309"/>
              <a:ext cx="330" cy="242"/>
            </a:xfrm>
            <a:custGeom>
              <a:avLst/>
              <a:gdLst/>
              <a:ahLst/>
              <a:cxnLst>
                <a:cxn ang="0">
                  <a:pos x="323" y="21"/>
                </a:cxn>
                <a:cxn ang="0">
                  <a:pos x="321" y="42"/>
                </a:cxn>
                <a:cxn ang="0">
                  <a:pos x="317" y="50"/>
                </a:cxn>
                <a:cxn ang="0">
                  <a:pos x="303" y="54"/>
                </a:cxn>
                <a:cxn ang="0">
                  <a:pos x="273" y="58"/>
                </a:cxn>
                <a:cxn ang="0">
                  <a:pos x="242" y="62"/>
                </a:cxn>
                <a:cxn ang="0">
                  <a:pos x="207" y="62"/>
                </a:cxn>
                <a:cxn ang="0">
                  <a:pos x="211" y="81"/>
                </a:cxn>
                <a:cxn ang="0">
                  <a:pos x="213" y="113"/>
                </a:cxn>
                <a:cxn ang="0">
                  <a:pos x="213" y="148"/>
                </a:cxn>
                <a:cxn ang="0">
                  <a:pos x="202" y="150"/>
                </a:cxn>
                <a:cxn ang="0">
                  <a:pos x="186" y="156"/>
                </a:cxn>
                <a:cxn ang="0">
                  <a:pos x="173" y="163"/>
                </a:cxn>
                <a:cxn ang="0">
                  <a:pos x="163" y="169"/>
                </a:cxn>
                <a:cxn ang="0">
                  <a:pos x="156" y="184"/>
                </a:cxn>
                <a:cxn ang="0">
                  <a:pos x="154" y="211"/>
                </a:cxn>
                <a:cxn ang="0">
                  <a:pos x="148" y="223"/>
                </a:cxn>
                <a:cxn ang="0">
                  <a:pos x="133" y="227"/>
                </a:cxn>
                <a:cxn ang="0">
                  <a:pos x="92" y="227"/>
                </a:cxn>
                <a:cxn ang="0">
                  <a:pos x="52" y="227"/>
                </a:cxn>
                <a:cxn ang="0">
                  <a:pos x="27" y="229"/>
                </a:cxn>
                <a:cxn ang="0">
                  <a:pos x="6" y="229"/>
                </a:cxn>
                <a:cxn ang="0">
                  <a:pos x="6" y="236"/>
                </a:cxn>
                <a:cxn ang="0">
                  <a:pos x="0" y="242"/>
                </a:cxn>
                <a:cxn ang="0">
                  <a:pos x="2" y="213"/>
                </a:cxn>
                <a:cxn ang="0">
                  <a:pos x="12" y="179"/>
                </a:cxn>
                <a:cxn ang="0">
                  <a:pos x="23" y="159"/>
                </a:cxn>
                <a:cxn ang="0">
                  <a:pos x="35" y="150"/>
                </a:cxn>
                <a:cxn ang="0">
                  <a:pos x="62" y="127"/>
                </a:cxn>
                <a:cxn ang="0">
                  <a:pos x="75" y="110"/>
                </a:cxn>
                <a:cxn ang="0">
                  <a:pos x="83" y="92"/>
                </a:cxn>
                <a:cxn ang="0">
                  <a:pos x="88" y="81"/>
                </a:cxn>
                <a:cxn ang="0">
                  <a:pos x="98" y="54"/>
                </a:cxn>
                <a:cxn ang="0">
                  <a:pos x="125" y="25"/>
                </a:cxn>
                <a:cxn ang="0">
                  <a:pos x="142" y="2"/>
                </a:cxn>
                <a:cxn ang="0">
                  <a:pos x="328" y="6"/>
                </a:cxn>
                <a:cxn ang="0">
                  <a:pos x="326" y="10"/>
                </a:cxn>
              </a:cxnLst>
              <a:rect l="0" t="0" r="r" b="b"/>
              <a:pathLst>
                <a:path w="330" h="242">
                  <a:moveTo>
                    <a:pt x="326" y="10"/>
                  </a:moveTo>
                  <a:lnTo>
                    <a:pt x="323" y="21"/>
                  </a:lnTo>
                  <a:lnTo>
                    <a:pt x="321" y="31"/>
                  </a:lnTo>
                  <a:lnTo>
                    <a:pt x="321" y="42"/>
                  </a:lnTo>
                  <a:lnTo>
                    <a:pt x="321" y="52"/>
                  </a:lnTo>
                  <a:lnTo>
                    <a:pt x="317" y="50"/>
                  </a:lnTo>
                  <a:lnTo>
                    <a:pt x="313" y="52"/>
                  </a:lnTo>
                  <a:lnTo>
                    <a:pt x="303" y="54"/>
                  </a:lnTo>
                  <a:lnTo>
                    <a:pt x="288" y="56"/>
                  </a:lnTo>
                  <a:lnTo>
                    <a:pt x="273" y="58"/>
                  </a:lnTo>
                  <a:lnTo>
                    <a:pt x="257" y="62"/>
                  </a:lnTo>
                  <a:lnTo>
                    <a:pt x="242" y="62"/>
                  </a:lnTo>
                  <a:lnTo>
                    <a:pt x="225" y="62"/>
                  </a:lnTo>
                  <a:lnTo>
                    <a:pt x="207" y="62"/>
                  </a:lnTo>
                  <a:lnTo>
                    <a:pt x="209" y="71"/>
                  </a:lnTo>
                  <a:lnTo>
                    <a:pt x="211" y="81"/>
                  </a:lnTo>
                  <a:lnTo>
                    <a:pt x="213" y="96"/>
                  </a:lnTo>
                  <a:lnTo>
                    <a:pt x="213" y="113"/>
                  </a:lnTo>
                  <a:lnTo>
                    <a:pt x="215" y="133"/>
                  </a:lnTo>
                  <a:lnTo>
                    <a:pt x="213" y="148"/>
                  </a:lnTo>
                  <a:lnTo>
                    <a:pt x="209" y="148"/>
                  </a:lnTo>
                  <a:lnTo>
                    <a:pt x="202" y="150"/>
                  </a:lnTo>
                  <a:lnTo>
                    <a:pt x="194" y="154"/>
                  </a:lnTo>
                  <a:lnTo>
                    <a:pt x="186" y="156"/>
                  </a:lnTo>
                  <a:lnTo>
                    <a:pt x="179" y="161"/>
                  </a:lnTo>
                  <a:lnTo>
                    <a:pt x="173" y="163"/>
                  </a:lnTo>
                  <a:lnTo>
                    <a:pt x="167" y="167"/>
                  </a:lnTo>
                  <a:lnTo>
                    <a:pt x="163" y="169"/>
                  </a:lnTo>
                  <a:lnTo>
                    <a:pt x="159" y="175"/>
                  </a:lnTo>
                  <a:lnTo>
                    <a:pt x="156" y="184"/>
                  </a:lnTo>
                  <a:lnTo>
                    <a:pt x="154" y="194"/>
                  </a:lnTo>
                  <a:lnTo>
                    <a:pt x="154" y="211"/>
                  </a:lnTo>
                  <a:lnTo>
                    <a:pt x="152" y="217"/>
                  </a:lnTo>
                  <a:lnTo>
                    <a:pt x="148" y="223"/>
                  </a:lnTo>
                  <a:lnTo>
                    <a:pt x="140" y="225"/>
                  </a:lnTo>
                  <a:lnTo>
                    <a:pt x="133" y="227"/>
                  </a:lnTo>
                  <a:lnTo>
                    <a:pt x="113" y="227"/>
                  </a:lnTo>
                  <a:lnTo>
                    <a:pt x="92" y="227"/>
                  </a:lnTo>
                  <a:lnTo>
                    <a:pt x="71" y="227"/>
                  </a:lnTo>
                  <a:lnTo>
                    <a:pt x="52" y="227"/>
                  </a:lnTo>
                  <a:lnTo>
                    <a:pt x="41" y="229"/>
                  </a:lnTo>
                  <a:lnTo>
                    <a:pt x="27" y="229"/>
                  </a:lnTo>
                  <a:lnTo>
                    <a:pt x="16" y="229"/>
                  </a:lnTo>
                  <a:lnTo>
                    <a:pt x="6" y="229"/>
                  </a:lnTo>
                  <a:lnTo>
                    <a:pt x="6" y="232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0" y="242"/>
                  </a:lnTo>
                  <a:lnTo>
                    <a:pt x="2" y="227"/>
                  </a:lnTo>
                  <a:lnTo>
                    <a:pt x="2" y="213"/>
                  </a:lnTo>
                  <a:lnTo>
                    <a:pt x="6" y="196"/>
                  </a:lnTo>
                  <a:lnTo>
                    <a:pt x="12" y="179"/>
                  </a:lnTo>
                  <a:lnTo>
                    <a:pt x="17" y="169"/>
                  </a:lnTo>
                  <a:lnTo>
                    <a:pt x="23" y="159"/>
                  </a:lnTo>
                  <a:lnTo>
                    <a:pt x="29" y="154"/>
                  </a:lnTo>
                  <a:lnTo>
                    <a:pt x="35" y="150"/>
                  </a:lnTo>
                  <a:lnTo>
                    <a:pt x="48" y="138"/>
                  </a:lnTo>
                  <a:lnTo>
                    <a:pt x="62" y="127"/>
                  </a:lnTo>
                  <a:lnTo>
                    <a:pt x="67" y="119"/>
                  </a:lnTo>
                  <a:lnTo>
                    <a:pt x="75" y="110"/>
                  </a:lnTo>
                  <a:lnTo>
                    <a:pt x="81" y="102"/>
                  </a:lnTo>
                  <a:lnTo>
                    <a:pt x="83" y="92"/>
                  </a:lnTo>
                  <a:lnTo>
                    <a:pt x="85" y="87"/>
                  </a:lnTo>
                  <a:lnTo>
                    <a:pt x="88" y="81"/>
                  </a:lnTo>
                  <a:lnTo>
                    <a:pt x="92" y="67"/>
                  </a:lnTo>
                  <a:lnTo>
                    <a:pt x="98" y="54"/>
                  </a:lnTo>
                  <a:lnTo>
                    <a:pt x="110" y="39"/>
                  </a:lnTo>
                  <a:lnTo>
                    <a:pt x="125" y="25"/>
                  </a:lnTo>
                  <a:lnTo>
                    <a:pt x="135" y="14"/>
                  </a:lnTo>
                  <a:lnTo>
                    <a:pt x="142" y="2"/>
                  </a:lnTo>
                  <a:lnTo>
                    <a:pt x="326" y="0"/>
                  </a:lnTo>
                  <a:lnTo>
                    <a:pt x="328" y="6"/>
                  </a:lnTo>
                  <a:lnTo>
                    <a:pt x="330" y="8"/>
                  </a:lnTo>
                  <a:lnTo>
                    <a:pt x="326" y="10"/>
                  </a:lnTo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1" name="Freeform 67"/>
            <p:cNvSpPr>
              <a:spLocks/>
            </p:cNvSpPr>
            <p:nvPr/>
          </p:nvSpPr>
          <p:spPr bwMode="auto">
            <a:xfrm>
              <a:off x="565" y="1319"/>
              <a:ext cx="453" cy="464"/>
            </a:xfrm>
            <a:custGeom>
              <a:avLst/>
              <a:gdLst/>
              <a:ahLst/>
              <a:cxnLst>
                <a:cxn ang="0">
                  <a:pos x="403" y="384"/>
                </a:cxn>
                <a:cxn ang="0">
                  <a:pos x="261" y="426"/>
                </a:cxn>
                <a:cxn ang="0">
                  <a:pos x="246" y="422"/>
                </a:cxn>
                <a:cxn ang="0">
                  <a:pos x="238" y="430"/>
                </a:cxn>
                <a:cxn ang="0">
                  <a:pos x="227" y="432"/>
                </a:cxn>
                <a:cxn ang="0">
                  <a:pos x="217" y="420"/>
                </a:cxn>
                <a:cxn ang="0">
                  <a:pos x="205" y="422"/>
                </a:cxn>
                <a:cxn ang="0">
                  <a:pos x="198" y="430"/>
                </a:cxn>
                <a:cxn ang="0">
                  <a:pos x="194" y="439"/>
                </a:cxn>
                <a:cxn ang="0">
                  <a:pos x="186" y="453"/>
                </a:cxn>
                <a:cxn ang="0">
                  <a:pos x="165" y="464"/>
                </a:cxn>
                <a:cxn ang="0">
                  <a:pos x="157" y="451"/>
                </a:cxn>
                <a:cxn ang="0">
                  <a:pos x="148" y="433"/>
                </a:cxn>
                <a:cxn ang="0">
                  <a:pos x="134" y="420"/>
                </a:cxn>
                <a:cxn ang="0">
                  <a:pos x="121" y="409"/>
                </a:cxn>
                <a:cxn ang="0">
                  <a:pos x="110" y="395"/>
                </a:cxn>
                <a:cxn ang="0">
                  <a:pos x="92" y="393"/>
                </a:cxn>
                <a:cxn ang="0">
                  <a:pos x="62" y="393"/>
                </a:cxn>
                <a:cxn ang="0">
                  <a:pos x="42" y="393"/>
                </a:cxn>
                <a:cxn ang="0">
                  <a:pos x="29" y="391"/>
                </a:cxn>
                <a:cxn ang="0">
                  <a:pos x="19" y="395"/>
                </a:cxn>
                <a:cxn ang="0">
                  <a:pos x="10" y="401"/>
                </a:cxn>
                <a:cxn ang="0">
                  <a:pos x="2" y="407"/>
                </a:cxn>
                <a:cxn ang="0">
                  <a:pos x="10" y="395"/>
                </a:cxn>
                <a:cxn ang="0">
                  <a:pos x="14" y="380"/>
                </a:cxn>
                <a:cxn ang="0">
                  <a:pos x="21" y="357"/>
                </a:cxn>
                <a:cxn ang="0">
                  <a:pos x="23" y="341"/>
                </a:cxn>
                <a:cxn ang="0">
                  <a:pos x="27" y="330"/>
                </a:cxn>
                <a:cxn ang="0">
                  <a:pos x="21" y="320"/>
                </a:cxn>
                <a:cxn ang="0">
                  <a:pos x="14" y="313"/>
                </a:cxn>
                <a:cxn ang="0">
                  <a:pos x="12" y="303"/>
                </a:cxn>
                <a:cxn ang="0">
                  <a:pos x="17" y="291"/>
                </a:cxn>
                <a:cxn ang="0">
                  <a:pos x="17" y="278"/>
                </a:cxn>
                <a:cxn ang="0">
                  <a:pos x="17" y="265"/>
                </a:cxn>
                <a:cxn ang="0">
                  <a:pos x="15" y="261"/>
                </a:cxn>
                <a:cxn ang="0">
                  <a:pos x="15" y="259"/>
                </a:cxn>
                <a:cxn ang="0">
                  <a:pos x="12" y="253"/>
                </a:cxn>
                <a:cxn ang="0">
                  <a:pos x="10" y="251"/>
                </a:cxn>
                <a:cxn ang="0">
                  <a:pos x="6" y="247"/>
                </a:cxn>
                <a:cxn ang="0">
                  <a:pos x="6" y="245"/>
                </a:cxn>
                <a:cxn ang="0">
                  <a:pos x="6" y="242"/>
                </a:cxn>
                <a:cxn ang="0">
                  <a:pos x="6" y="242"/>
                </a:cxn>
                <a:cxn ang="0">
                  <a:pos x="2" y="240"/>
                </a:cxn>
                <a:cxn ang="0">
                  <a:pos x="2" y="236"/>
                </a:cxn>
                <a:cxn ang="0">
                  <a:pos x="0" y="234"/>
                </a:cxn>
                <a:cxn ang="0">
                  <a:pos x="0" y="232"/>
                </a:cxn>
                <a:cxn ang="0">
                  <a:pos x="2" y="230"/>
                </a:cxn>
                <a:cxn ang="0">
                  <a:pos x="4" y="228"/>
                </a:cxn>
                <a:cxn ang="0">
                  <a:pos x="6" y="226"/>
                </a:cxn>
                <a:cxn ang="0">
                  <a:pos x="6" y="222"/>
                </a:cxn>
                <a:cxn ang="0">
                  <a:pos x="6" y="220"/>
                </a:cxn>
                <a:cxn ang="0">
                  <a:pos x="152" y="201"/>
                </a:cxn>
                <a:cxn ang="0">
                  <a:pos x="207" y="138"/>
                </a:cxn>
                <a:cxn ang="0">
                  <a:pos x="209" y="67"/>
                </a:cxn>
                <a:cxn ang="0">
                  <a:pos x="319" y="44"/>
                </a:cxn>
              </a:cxnLst>
              <a:rect l="0" t="0" r="r" b="b"/>
              <a:pathLst>
                <a:path w="453" h="464">
                  <a:moveTo>
                    <a:pt x="324" y="0"/>
                  </a:moveTo>
                  <a:lnTo>
                    <a:pt x="393" y="38"/>
                  </a:lnTo>
                  <a:lnTo>
                    <a:pt x="453" y="86"/>
                  </a:lnTo>
                  <a:lnTo>
                    <a:pt x="393" y="86"/>
                  </a:lnTo>
                  <a:lnTo>
                    <a:pt x="403" y="384"/>
                  </a:lnTo>
                  <a:lnTo>
                    <a:pt x="415" y="397"/>
                  </a:lnTo>
                  <a:lnTo>
                    <a:pt x="405" y="437"/>
                  </a:lnTo>
                  <a:lnTo>
                    <a:pt x="273" y="437"/>
                  </a:lnTo>
                  <a:lnTo>
                    <a:pt x="265" y="428"/>
                  </a:lnTo>
                  <a:lnTo>
                    <a:pt x="261" y="426"/>
                  </a:lnTo>
                  <a:lnTo>
                    <a:pt x="257" y="426"/>
                  </a:lnTo>
                  <a:lnTo>
                    <a:pt x="253" y="426"/>
                  </a:lnTo>
                  <a:lnTo>
                    <a:pt x="251" y="424"/>
                  </a:lnTo>
                  <a:lnTo>
                    <a:pt x="250" y="422"/>
                  </a:lnTo>
                  <a:lnTo>
                    <a:pt x="246" y="422"/>
                  </a:lnTo>
                  <a:lnTo>
                    <a:pt x="242" y="424"/>
                  </a:lnTo>
                  <a:lnTo>
                    <a:pt x="242" y="426"/>
                  </a:lnTo>
                  <a:lnTo>
                    <a:pt x="240" y="426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6" y="432"/>
                  </a:lnTo>
                  <a:lnTo>
                    <a:pt x="234" y="432"/>
                  </a:lnTo>
                  <a:lnTo>
                    <a:pt x="230" y="435"/>
                  </a:lnTo>
                  <a:lnTo>
                    <a:pt x="228" y="435"/>
                  </a:lnTo>
                  <a:lnTo>
                    <a:pt x="227" y="432"/>
                  </a:lnTo>
                  <a:lnTo>
                    <a:pt x="223" y="430"/>
                  </a:lnTo>
                  <a:lnTo>
                    <a:pt x="223" y="428"/>
                  </a:lnTo>
                  <a:lnTo>
                    <a:pt x="223" y="426"/>
                  </a:lnTo>
                  <a:lnTo>
                    <a:pt x="219" y="422"/>
                  </a:lnTo>
                  <a:lnTo>
                    <a:pt x="217" y="420"/>
                  </a:lnTo>
                  <a:lnTo>
                    <a:pt x="215" y="420"/>
                  </a:lnTo>
                  <a:lnTo>
                    <a:pt x="211" y="420"/>
                  </a:lnTo>
                  <a:lnTo>
                    <a:pt x="209" y="420"/>
                  </a:lnTo>
                  <a:lnTo>
                    <a:pt x="205" y="420"/>
                  </a:lnTo>
                  <a:lnTo>
                    <a:pt x="205" y="422"/>
                  </a:lnTo>
                  <a:lnTo>
                    <a:pt x="204" y="422"/>
                  </a:lnTo>
                  <a:lnTo>
                    <a:pt x="200" y="424"/>
                  </a:lnTo>
                  <a:lnTo>
                    <a:pt x="200" y="426"/>
                  </a:lnTo>
                  <a:lnTo>
                    <a:pt x="198" y="426"/>
                  </a:lnTo>
                  <a:lnTo>
                    <a:pt x="198" y="430"/>
                  </a:lnTo>
                  <a:lnTo>
                    <a:pt x="196" y="430"/>
                  </a:lnTo>
                  <a:lnTo>
                    <a:pt x="196" y="432"/>
                  </a:lnTo>
                  <a:lnTo>
                    <a:pt x="196" y="433"/>
                  </a:lnTo>
                  <a:lnTo>
                    <a:pt x="194" y="437"/>
                  </a:lnTo>
                  <a:lnTo>
                    <a:pt x="194" y="439"/>
                  </a:lnTo>
                  <a:lnTo>
                    <a:pt x="194" y="441"/>
                  </a:lnTo>
                  <a:lnTo>
                    <a:pt x="192" y="443"/>
                  </a:lnTo>
                  <a:lnTo>
                    <a:pt x="190" y="447"/>
                  </a:lnTo>
                  <a:lnTo>
                    <a:pt x="188" y="451"/>
                  </a:lnTo>
                  <a:lnTo>
                    <a:pt x="186" y="453"/>
                  </a:lnTo>
                  <a:lnTo>
                    <a:pt x="184" y="455"/>
                  </a:lnTo>
                  <a:lnTo>
                    <a:pt x="182" y="455"/>
                  </a:lnTo>
                  <a:lnTo>
                    <a:pt x="173" y="460"/>
                  </a:lnTo>
                  <a:lnTo>
                    <a:pt x="169" y="462"/>
                  </a:lnTo>
                  <a:lnTo>
                    <a:pt x="165" y="464"/>
                  </a:lnTo>
                  <a:lnTo>
                    <a:pt x="163" y="464"/>
                  </a:lnTo>
                  <a:lnTo>
                    <a:pt x="161" y="458"/>
                  </a:lnTo>
                  <a:lnTo>
                    <a:pt x="159" y="455"/>
                  </a:lnTo>
                  <a:lnTo>
                    <a:pt x="159" y="453"/>
                  </a:lnTo>
                  <a:lnTo>
                    <a:pt x="157" y="451"/>
                  </a:lnTo>
                  <a:lnTo>
                    <a:pt x="157" y="445"/>
                  </a:lnTo>
                  <a:lnTo>
                    <a:pt x="154" y="443"/>
                  </a:lnTo>
                  <a:lnTo>
                    <a:pt x="152" y="439"/>
                  </a:lnTo>
                  <a:lnTo>
                    <a:pt x="152" y="437"/>
                  </a:lnTo>
                  <a:lnTo>
                    <a:pt x="148" y="433"/>
                  </a:lnTo>
                  <a:lnTo>
                    <a:pt x="146" y="432"/>
                  </a:lnTo>
                  <a:lnTo>
                    <a:pt x="142" y="428"/>
                  </a:lnTo>
                  <a:lnTo>
                    <a:pt x="140" y="426"/>
                  </a:lnTo>
                  <a:lnTo>
                    <a:pt x="136" y="422"/>
                  </a:lnTo>
                  <a:lnTo>
                    <a:pt x="134" y="420"/>
                  </a:lnTo>
                  <a:lnTo>
                    <a:pt x="131" y="416"/>
                  </a:lnTo>
                  <a:lnTo>
                    <a:pt x="129" y="414"/>
                  </a:lnTo>
                  <a:lnTo>
                    <a:pt x="127" y="412"/>
                  </a:lnTo>
                  <a:lnTo>
                    <a:pt x="123" y="409"/>
                  </a:lnTo>
                  <a:lnTo>
                    <a:pt x="121" y="409"/>
                  </a:lnTo>
                  <a:lnTo>
                    <a:pt x="117" y="405"/>
                  </a:lnTo>
                  <a:lnTo>
                    <a:pt x="115" y="399"/>
                  </a:lnTo>
                  <a:lnTo>
                    <a:pt x="113" y="397"/>
                  </a:lnTo>
                  <a:lnTo>
                    <a:pt x="111" y="395"/>
                  </a:lnTo>
                  <a:lnTo>
                    <a:pt x="110" y="395"/>
                  </a:lnTo>
                  <a:lnTo>
                    <a:pt x="108" y="393"/>
                  </a:lnTo>
                  <a:lnTo>
                    <a:pt x="106" y="393"/>
                  </a:lnTo>
                  <a:lnTo>
                    <a:pt x="104" y="393"/>
                  </a:lnTo>
                  <a:lnTo>
                    <a:pt x="100" y="393"/>
                  </a:lnTo>
                  <a:lnTo>
                    <a:pt x="92" y="393"/>
                  </a:lnTo>
                  <a:lnTo>
                    <a:pt x="88" y="393"/>
                  </a:lnTo>
                  <a:lnTo>
                    <a:pt x="86" y="393"/>
                  </a:lnTo>
                  <a:lnTo>
                    <a:pt x="79" y="393"/>
                  </a:lnTo>
                  <a:lnTo>
                    <a:pt x="67" y="393"/>
                  </a:lnTo>
                  <a:lnTo>
                    <a:pt x="62" y="393"/>
                  </a:lnTo>
                  <a:lnTo>
                    <a:pt x="60" y="393"/>
                  </a:lnTo>
                  <a:lnTo>
                    <a:pt x="54" y="393"/>
                  </a:lnTo>
                  <a:lnTo>
                    <a:pt x="50" y="393"/>
                  </a:lnTo>
                  <a:lnTo>
                    <a:pt x="46" y="393"/>
                  </a:lnTo>
                  <a:lnTo>
                    <a:pt x="42" y="393"/>
                  </a:lnTo>
                  <a:lnTo>
                    <a:pt x="39" y="393"/>
                  </a:lnTo>
                  <a:lnTo>
                    <a:pt x="37" y="391"/>
                  </a:lnTo>
                  <a:lnTo>
                    <a:pt x="33" y="391"/>
                  </a:lnTo>
                  <a:lnTo>
                    <a:pt x="31" y="391"/>
                  </a:lnTo>
                  <a:lnTo>
                    <a:pt x="29" y="391"/>
                  </a:lnTo>
                  <a:lnTo>
                    <a:pt x="27" y="391"/>
                  </a:lnTo>
                  <a:lnTo>
                    <a:pt x="25" y="393"/>
                  </a:lnTo>
                  <a:lnTo>
                    <a:pt x="23" y="393"/>
                  </a:lnTo>
                  <a:lnTo>
                    <a:pt x="21" y="393"/>
                  </a:lnTo>
                  <a:lnTo>
                    <a:pt x="19" y="395"/>
                  </a:lnTo>
                  <a:lnTo>
                    <a:pt x="17" y="395"/>
                  </a:lnTo>
                  <a:lnTo>
                    <a:pt x="15" y="395"/>
                  </a:lnTo>
                  <a:lnTo>
                    <a:pt x="15" y="399"/>
                  </a:lnTo>
                  <a:lnTo>
                    <a:pt x="14" y="401"/>
                  </a:lnTo>
                  <a:lnTo>
                    <a:pt x="10" y="401"/>
                  </a:lnTo>
                  <a:lnTo>
                    <a:pt x="8" y="405"/>
                  </a:lnTo>
                  <a:lnTo>
                    <a:pt x="6" y="405"/>
                  </a:lnTo>
                  <a:lnTo>
                    <a:pt x="4" y="407"/>
                  </a:lnTo>
                  <a:lnTo>
                    <a:pt x="2" y="409"/>
                  </a:lnTo>
                  <a:lnTo>
                    <a:pt x="2" y="407"/>
                  </a:lnTo>
                  <a:lnTo>
                    <a:pt x="6" y="407"/>
                  </a:lnTo>
                  <a:lnTo>
                    <a:pt x="10" y="403"/>
                  </a:lnTo>
                  <a:lnTo>
                    <a:pt x="10" y="401"/>
                  </a:lnTo>
                  <a:lnTo>
                    <a:pt x="10" y="397"/>
                  </a:lnTo>
                  <a:lnTo>
                    <a:pt x="10" y="395"/>
                  </a:lnTo>
                  <a:lnTo>
                    <a:pt x="10" y="389"/>
                  </a:lnTo>
                  <a:lnTo>
                    <a:pt x="10" y="387"/>
                  </a:lnTo>
                  <a:lnTo>
                    <a:pt x="10" y="385"/>
                  </a:lnTo>
                  <a:lnTo>
                    <a:pt x="12" y="384"/>
                  </a:lnTo>
                  <a:lnTo>
                    <a:pt x="14" y="380"/>
                  </a:lnTo>
                  <a:lnTo>
                    <a:pt x="14" y="378"/>
                  </a:lnTo>
                  <a:lnTo>
                    <a:pt x="15" y="372"/>
                  </a:lnTo>
                  <a:lnTo>
                    <a:pt x="17" y="366"/>
                  </a:lnTo>
                  <a:lnTo>
                    <a:pt x="21" y="362"/>
                  </a:lnTo>
                  <a:lnTo>
                    <a:pt x="21" y="357"/>
                  </a:lnTo>
                  <a:lnTo>
                    <a:pt x="23" y="353"/>
                  </a:lnTo>
                  <a:lnTo>
                    <a:pt x="23" y="349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23" y="341"/>
                  </a:lnTo>
                  <a:lnTo>
                    <a:pt x="25" y="339"/>
                  </a:lnTo>
                  <a:lnTo>
                    <a:pt x="27" y="336"/>
                  </a:lnTo>
                  <a:lnTo>
                    <a:pt x="27" y="334"/>
                  </a:lnTo>
                  <a:lnTo>
                    <a:pt x="29" y="330"/>
                  </a:lnTo>
                  <a:lnTo>
                    <a:pt x="27" y="330"/>
                  </a:lnTo>
                  <a:lnTo>
                    <a:pt x="27" y="326"/>
                  </a:lnTo>
                  <a:lnTo>
                    <a:pt x="25" y="324"/>
                  </a:lnTo>
                  <a:lnTo>
                    <a:pt x="23" y="324"/>
                  </a:lnTo>
                  <a:lnTo>
                    <a:pt x="21" y="322"/>
                  </a:lnTo>
                  <a:lnTo>
                    <a:pt x="21" y="320"/>
                  </a:lnTo>
                  <a:lnTo>
                    <a:pt x="19" y="320"/>
                  </a:lnTo>
                  <a:lnTo>
                    <a:pt x="17" y="318"/>
                  </a:lnTo>
                  <a:lnTo>
                    <a:pt x="17" y="316"/>
                  </a:lnTo>
                  <a:lnTo>
                    <a:pt x="15" y="314"/>
                  </a:lnTo>
                  <a:lnTo>
                    <a:pt x="14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7"/>
                  </a:lnTo>
                  <a:lnTo>
                    <a:pt x="10" y="305"/>
                  </a:lnTo>
                  <a:lnTo>
                    <a:pt x="12" y="303"/>
                  </a:lnTo>
                  <a:lnTo>
                    <a:pt x="14" y="301"/>
                  </a:lnTo>
                  <a:lnTo>
                    <a:pt x="14" y="297"/>
                  </a:lnTo>
                  <a:lnTo>
                    <a:pt x="15" y="295"/>
                  </a:lnTo>
                  <a:lnTo>
                    <a:pt x="17" y="293"/>
                  </a:lnTo>
                  <a:lnTo>
                    <a:pt x="17" y="291"/>
                  </a:lnTo>
                  <a:lnTo>
                    <a:pt x="19" y="290"/>
                  </a:lnTo>
                  <a:lnTo>
                    <a:pt x="19" y="286"/>
                  </a:lnTo>
                  <a:lnTo>
                    <a:pt x="19" y="282"/>
                  </a:lnTo>
                  <a:lnTo>
                    <a:pt x="19" y="280"/>
                  </a:lnTo>
                  <a:lnTo>
                    <a:pt x="17" y="278"/>
                  </a:lnTo>
                  <a:lnTo>
                    <a:pt x="17" y="276"/>
                  </a:lnTo>
                  <a:lnTo>
                    <a:pt x="17" y="272"/>
                  </a:lnTo>
                  <a:lnTo>
                    <a:pt x="17" y="270"/>
                  </a:lnTo>
                  <a:lnTo>
                    <a:pt x="17" y="267"/>
                  </a:lnTo>
                  <a:lnTo>
                    <a:pt x="17" y="265"/>
                  </a:lnTo>
                  <a:lnTo>
                    <a:pt x="17" y="263"/>
                  </a:lnTo>
                  <a:lnTo>
                    <a:pt x="17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5"/>
                  </a:lnTo>
                  <a:lnTo>
                    <a:pt x="14" y="255"/>
                  </a:lnTo>
                  <a:lnTo>
                    <a:pt x="12" y="253"/>
                  </a:lnTo>
                  <a:lnTo>
                    <a:pt x="12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49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8" y="245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6" y="243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2" y="238"/>
                  </a:lnTo>
                  <a:lnTo>
                    <a:pt x="2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32"/>
                  </a:lnTo>
                  <a:lnTo>
                    <a:pt x="2" y="230"/>
                  </a:lnTo>
                  <a:lnTo>
                    <a:pt x="2" y="230"/>
                  </a:lnTo>
                  <a:lnTo>
                    <a:pt x="4" y="230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6" y="226"/>
                  </a:lnTo>
                  <a:lnTo>
                    <a:pt x="6" y="224"/>
                  </a:lnTo>
                  <a:lnTo>
                    <a:pt x="6" y="224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6" y="219"/>
                  </a:lnTo>
                  <a:lnTo>
                    <a:pt x="69" y="217"/>
                  </a:lnTo>
                  <a:lnTo>
                    <a:pt x="133" y="217"/>
                  </a:lnTo>
                  <a:lnTo>
                    <a:pt x="146" y="213"/>
                  </a:lnTo>
                  <a:lnTo>
                    <a:pt x="152" y="201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9" y="161"/>
                  </a:lnTo>
                  <a:lnTo>
                    <a:pt x="190" y="144"/>
                  </a:lnTo>
                  <a:lnTo>
                    <a:pt x="207" y="138"/>
                  </a:lnTo>
                  <a:lnTo>
                    <a:pt x="211" y="138"/>
                  </a:lnTo>
                  <a:lnTo>
                    <a:pt x="213" y="126"/>
                  </a:lnTo>
                  <a:lnTo>
                    <a:pt x="211" y="96"/>
                  </a:lnTo>
                  <a:lnTo>
                    <a:pt x="209" y="69"/>
                  </a:lnTo>
                  <a:lnTo>
                    <a:pt x="209" y="67"/>
                  </a:lnTo>
                  <a:lnTo>
                    <a:pt x="205" y="52"/>
                  </a:lnTo>
                  <a:lnTo>
                    <a:pt x="246" y="52"/>
                  </a:lnTo>
                  <a:lnTo>
                    <a:pt x="275" y="48"/>
                  </a:lnTo>
                  <a:lnTo>
                    <a:pt x="317" y="40"/>
                  </a:lnTo>
                  <a:lnTo>
                    <a:pt x="319" y="44"/>
                  </a:lnTo>
                  <a:lnTo>
                    <a:pt x="319" y="27"/>
                  </a:lnTo>
                  <a:lnTo>
                    <a:pt x="319" y="21"/>
                  </a:lnTo>
                  <a:lnTo>
                    <a:pt x="3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2" name="Freeform 68"/>
            <p:cNvSpPr>
              <a:spLocks/>
            </p:cNvSpPr>
            <p:nvPr/>
          </p:nvSpPr>
          <p:spPr bwMode="auto">
            <a:xfrm>
              <a:off x="565" y="1319"/>
              <a:ext cx="453" cy="464"/>
            </a:xfrm>
            <a:custGeom>
              <a:avLst/>
              <a:gdLst/>
              <a:ahLst/>
              <a:cxnLst>
                <a:cxn ang="0">
                  <a:pos x="403" y="384"/>
                </a:cxn>
                <a:cxn ang="0">
                  <a:pos x="261" y="426"/>
                </a:cxn>
                <a:cxn ang="0">
                  <a:pos x="246" y="422"/>
                </a:cxn>
                <a:cxn ang="0">
                  <a:pos x="238" y="430"/>
                </a:cxn>
                <a:cxn ang="0">
                  <a:pos x="227" y="432"/>
                </a:cxn>
                <a:cxn ang="0">
                  <a:pos x="217" y="420"/>
                </a:cxn>
                <a:cxn ang="0">
                  <a:pos x="205" y="422"/>
                </a:cxn>
                <a:cxn ang="0">
                  <a:pos x="198" y="430"/>
                </a:cxn>
                <a:cxn ang="0">
                  <a:pos x="194" y="439"/>
                </a:cxn>
                <a:cxn ang="0">
                  <a:pos x="186" y="453"/>
                </a:cxn>
                <a:cxn ang="0">
                  <a:pos x="165" y="464"/>
                </a:cxn>
                <a:cxn ang="0">
                  <a:pos x="157" y="451"/>
                </a:cxn>
                <a:cxn ang="0">
                  <a:pos x="148" y="433"/>
                </a:cxn>
                <a:cxn ang="0">
                  <a:pos x="134" y="420"/>
                </a:cxn>
                <a:cxn ang="0">
                  <a:pos x="121" y="409"/>
                </a:cxn>
                <a:cxn ang="0">
                  <a:pos x="110" y="395"/>
                </a:cxn>
                <a:cxn ang="0">
                  <a:pos x="92" y="393"/>
                </a:cxn>
                <a:cxn ang="0">
                  <a:pos x="62" y="393"/>
                </a:cxn>
                <a:cxn ang="0">
                  <a:pos x="42" y="393"/>
                </a:cxn>
                <a:cxn ang="0">
                  <a:pos x="29" y="391"/>
                </a:cxn>
                <a:cxn ang="0">
                  <a:pos x="19" y="395"/>
                </a:cxn>
                <a:cxn ang="0">
                  <a:pos x="10" y="401"/>
                </a:cxn>
                <a:cxn ang="0">
                  <a:pos x="2" y="407"/>
                </a:cxn>
                <a:cxn ang="0">
                  <a:pos x="10" y="395"/>
                </a:cxn>
                <a:cxn ang="0">
                  <a:pos x="14" y="380"/>
                </a:cxn>
                <a:cxn ang="0">
                  <a:pos x="21" y="357"/>
                </a:cxn>
                <a:cxn ang="0">
                  <a:pos x="23" y="341"/>
                </a:cxn>
                <a:cxn ang="0">
                  <a:pos x="27" y="330"/>
                </a:cxn>
                <a:cxn ang="0">
                  <a:pos x="21" y="320"/>
                </a:cxn>
                <a:cxn ang="0">
                  <a:pos x="14" y="313"/>
                </a:cxn>
                <a:cxn ang="0">
                  <a:pos x="12" y="303"/>
                </a:cxn>
                <a:cxn ang="0">
                  <a:pos x="17" y="291"/>
                </a:cxn>
                <a:cxn ang="0">
                  <a:pos x="17" y="278"/>
                </a:cxn>
                <a:cxn ang="0">
                  <a:pos x="17" y="265"/>
                </a:cxn>
                <a:cxn ang="0">
                  <a:pos x="15" y="261"/>
                </a:cxn>
                <a:cxn ang="0">
                  <a:pos x="15" y="259"/>
                </a:cxn>
                <a:cxn ang="0">
                  <a:pos x="12" y="253"/>
                </a:cxn>
                <a:cxn ang="0">
                  <a:pos x="10" y="251"/>
                </a:cxn>
                <a:cxn ang="0">
                  <a:pos x="6" y="247"/>
                </a:cxn>
                <a:cxn ang="0">
                  <a:pos x="6" y="245"/>
                </a:cxn>
                <a:cxn ang="0">
                  <a:pos x="6" y="242"/>
                </a:cxn>
                <a:cxn ang="0">
                  <a:pos x="6" y="242"/>
                </a:cxn>
                <a:cxn ang="0">
                  <a:pos x="2" y="240"/>
                </a:cxn>
                <a:cxn ang="0">
                  <a:pos x="2" y="236"/>
                </a:cxn>
                <a:cxn ang="0">
                  <a:pos x="0" y="234"/>
                </a:cxn>
                <a:cxn ang="0">
                  <a:pos x="0" y="232"/>
                </a:cxn>
                <a:cxn ang="0">
                  <a:pos x="2" y="230"/>
                </a:cxn>
                <a:cxn ang="0">
                  <a:pos x="4" y="228"/>
                </a:cxn>
                <a:cxn ang="0">
                  <a:pos x="6" y="226"/>
                </a:cxn>
                <a:cxn ang="0">
                  <a:pos x="6" y="222"/>
                </a:cxn>
                <a:cxn ang="0">
                  <a:pos x="6" y="220"/>
                </a:cxn>
                <a:cxn ang="0">
                  <a:pos x="152" y="201"/>
                </a:cxn>
                <a:cxn ang="0">
                  <a:pos x="207" y="138"/>
                </a:cxn>
                <a:cxn ang="0">
                  <a:pos x="209" y="67"/>
                </a:cxn>
                <a:cxn ang="0">
                  <a:pos x="319" y="44"/>
                </a:cxn>
              </a:cxnLst>
              <a:rect l="0" t="0" r="r" b="b"/>
              <a:pathLst>
                <a:path w="453" h="464">
                  <a:moveTo>
                    <a:pt x="324" y="0"/>
                  </a:moveTo>
                  <a:lnTo>
                    <a:pt x="393" y="38"/>
                  </a:lnTo>
                  <a:lnTo>
                    <a:pt x="453" y="86"/>
                  </a:lnTo>
                  <a:lnTo>
                    <a:pt x="393" y="86"/>
                  </a:lnTo>
                  <a:lnTo>
                    <a:pt x="403" y="384"/>
                  </a:lnTo>
                  <a:lnTo>
                    <a:pt x="415" y="397"/>
                  </a:lnTo>
                  <a:lnTo>
                    <a:pt x="405" y="437"/>
                  </a:lnTo>
                  <a:lnTo>
                    <a:pt x="273" y="437"/>
                  </a:lnTo>
                  <a:lnTo>
                    <a:pt x="265" y="428"/>
                  </a:lnTo>
                  <a:lnTo>
                    <a:pt x="261" y="426"/>
                  </a:lnTo>
                  <a:lnTo>
                    <a:pt x="257" y="426"/>
                  </a:lnTo>
                  <a:lnTo>
                    <a:pt x="253" y="426"/>
                  </a:lnTo>
                  <a:lnTo>
                    <a:pt x="251" y="424"/>
                  </a:lnTo>
                  <a:lnTo>
                    <a:pt x="250" y="422"/>
                  </a:lnTo>
                  <a:lnTo>
                    <a:pt x="246" y="422"/>
                  </a:lnTo>
                  <a:lnTo>
                    <a:pt x="242" y="424"/>
                  </a:lnTo>
                  <a:lnTo>
                    <a:pt x="242" y="426"/>
                  </a:lnTo>
                  <a:lnTo>
                    <a:pt x="240" y="426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6" y="432"/>
                  </a:lnTo>
                  <a:lnTo>
                    <a:pt x="234" y="432"/>
                  </a:lnTo>
                  <a:lnTo>
                    <a:pt x="230" y="435"/>
                  </a:lnTo>
                  <a:lnTo>
                    <a:pt x="228" y="435"/>
                  </a:lnTo>
                  <a:lnTo>
                    <a:pt x="227" y="432"/>
                  </a:lnTo>
                  <a:lnTo>
                    <a:pt x="223" y="430"/>
                  </a:lnTo>
                  <a:lnTo>
                    <a:pt x="223" y="428"/>
                  </a:lnTo>
                  <a:lnTo>
                    <a:pt x="223" y="426"/>
                  </a:lnTo>
                  <a:lnTo>
                    <a:pt x="219" y="422"/>
                  </a:lnTo>
                  <a:lnTo>
                    <a:pt x="217" y="420"/>
                  </a:lnTo>
                  <a:lnTo>
                    <a:pt x="215" y="420"/>
                  </a:lnTo>
                  <a:lnTo>
                    <a:pt x="211" y="420"/>
                  </a:lnTo>
                  <a:lnTo>
                    <a:pt x="209" y="420"/>
                  </a:lnTo>
                  <a:lnTo>
                    <a:pt x="205" y="420"/>
                  </a:lnTo>
                  <a:lnTo>
                    <a:pt x="205" y="422"/>
                  </a:lnTo>
                  <a:lnTo>
                    <a:pt x="204" y="422"/>
                  </a:lnTo>
                  <a:lnTo>
                    <a:pt x="200" y="424"/>
                  </a:lnTo>
                  <a:lnTo>
                    <a:pt x="200" y="426"/>
                  </a:lnTo>
                  <a:lnTo>
                    <a:pt x="198" y="426"/>
                  </a:lnTo>
                  <a:lnTo>
                    <a:pt x="198" y="430"/>
                  </a:lnTo>
                  <a:lnTo>
                    <a:pt x="196" y="430"/>
                  </a:lnTo>
                  <a:lnTo>
                    <a:pt x="196" y="432"/>
                  </a:lnTo>
                  <a:lnTo>
                    <a:pt x="196" y="433"/>
                  </a:lnTo>
                  <a:lnTo>
                    <a:pt x="194" y="437"/>
                  </a:lnTo>
                  <a:lnTo>
                    <a:pt x="194" y="439"/>
                  </a:lnTo>
                  <a:lnTo>
                    <a:pt x="194" y="441"/>
                  </a:lnTo>
                  <a:lnTo>
                    <a:pt x="192" y="443"/>
                  </a:lnTo>
                  <a:lnTo>
                    <a:pt x="190" y="447"/>
                  </a:lnTo>
                  <a:lnTo>
                    <a:pt x="188" y="451"/>
                  </a:lnTo>
                  <a:lnTo>
                    <a:pt x="186" y="453"/>
                  </a:lnTo>
                  <a:lnTo>
                    <a:pt x="184" y="455"/>
                  </a:lnTo>
                  <a:lnTo>
                    <a:pt x="182" y="455"/>
                  </a:lnTo>
                  <a:lnTo>
                    <a:pt x="173" y="460"/>
                  </a:lnTo>
                  <a:lnTo>
                    <a:pt x="169" y="462"/>
                  </a:lnTo>
                  <a:lnTo>
                    <a:pt x="165" y="464"/>
                  </a:lnTo>
                  <a:lnTo>
                    <a:pt x="163" y="464"/>
                  </a:lnTo>
                  <a:lnTo>
                    <a:pt x="161" y="458"/>
                  </a:lnTo>
                  <a:lnTo>
                    <a:pt x="159" y="455"/>
                  </a:lnTo>
                  <a:lnTo>
                    <a:pt x="159" y="453"/>
                  </a:lnTo>
                  <a:lnTo>
                    <a:pt x="157" y="451"/>
                  </a:lnTo>
                  <a:lnTo>
                    <a:pt x="157" y="445"/>
                  </a:lnTo>
                  <a:lnTo>
                    <a:pt x="154" y="443"/>
                  </a:lnTo>
                  <a:lnTo>
                    <a:pt x="152" y="439"/>
                  </a:lnTo>
                  <a:lnTo>
                    <a:pt x="152" y="437"/>
                  </a:lnTo>
                  <a:lnTo>
                    <a:pt x="148" y="433"/>
                  </a:lnTo>
                  <a:lnTo>
                    <a:pt x="146" y="432"/>
                  </a:lnTo>
                  <a:lnTo>
                    <a:pt x="142" y="428"/>
                  </a:lnTo>
                  <a:lnTo>
                    <a:pt x="140" y="426"/>
                  </a:lnTo>
                  <a:lnTo>
                    <a:pt x="136" y="422"/>
                  </a:lnTo>
                  <a:lnTo>
                    <a:pt x="134" y="420"/>
                  </a:lnTo>
                  <a:lnTo>
                    <a:pt x="131" y="416"/>
                  </a:lnTo>
                  <a:lnTo>
                    <a:pt x="129" y="414"/>
                  </a:lnTo>
                  <a:lnTo>
                    <a:pt x="127" y="412"/>
                  </a:lnTo>
                  <a:lnTo>
                    <a:pt x="123" y="409"/>
                  </a:lnTo>
                  <a:lnTo>
                    <a:pt x="121" y="409"/>
                  </a:lnTo>
                  <a:lnTo>
                    <a:pt x="117" y="405"/>
                  </a:lnTo>
                  <a:lnTo>
                    <a:pt x="115" y="399"/>
                  </a:lnTo>
                  <a:lnTo>
                    <a:pt x="113" y="397"/>
                  </a:lnTo>
                  <a:lnTo>
                    <a:pt x="111" y="395"/>
                  </a:lnTo>
                  <a:lnTo>
                    <a:pt x="110" y="395"/>
                  </a:lnTo>
                  <a:lnTo>
                    <a:pt x="108" y="393"/>
                  </a:lnTo>
                  <a:lnTo>
                    <a:pt x="106" y="393"/>
                  </a:lnTo>
                  <a:lnTo>
                    <a:pt x="104" y="393"/>
                  </a:lnTo>
                  <a:lnTo>
                    <a:pt x="100" y="393"/>
                  </a:lnTo>
                  <a:lnTo>
                    <a:pt x="92" y="393"/>
                  </a:lnTo>
                  <a:lnTo>
                    <a:pt x="88" y="393"/>
                  </a:lnTo>
                  <a:lnTo>
                    <a:pt x="86" y="393"/>
                  </a:lnTo>
                  <a:lnTo>
                    <a:pt x="79" y="393"/>
                  </a:lnTo>
                  <a:lnTo>
                    <a:pt x="67" y="393"/>
                  </a:lnTo>
                  <a:lnTo>
                    <a:pt x="62" y="393"/>
                  </a:lnTo>
                  <a:lnTo>
                    <a:pt x="60" y="393"/>
                  </a:lnTo>
                  <a:lnTo>
                    <a:pt x="54" y="393"/>
                  </a:lnTo>
                  <a:lnTo>
                    <a:pt x="50" y="393"/>
                  </a:lnTo>
                  <a:lnTo>
                    <a:pt x="46" y="393"/>
                  </a:lnTo>
                  <a:lnTo>
                    <a:pt x="42" y="393"/>
                  </a:lnTo>
                  <a:lnTo>
                    <a:pt x="39" y="393"/>
                  </a:lnTo>
                  <a:lnTo>
                    <a:pt x="37" y="391"/>
                  </a:lnTo>
                  <a:lnTo>
                    <a:pt x="33" y="391"/>
                  </a:lnTo>
                  <a:lnTo>
                    <a:pt x="31" y="391"/>
                  </a:lnTo>
                  <a:lnTo>
                    <a:pt x="29" y="391"/>
                  </a:lnTo>
                  <a:lnTo>
                    <a:pt x="27" y="391"/>
                  </a:lnTo>
                  <a:lnTo>
                    <a:pt x="25" y="393"/>
                  </a:lnTo>
                  <a:lnTo>
                    <a:pt x="23" y="393"/>
                  </a:lnTo>
                  <a:lnTo>
                    <a:pt x="21" y="393"/>
                  </a:lnTo>
                  <a:lnTo>
                    <a:pt x="19" y="395"/>
                  </a:lnTo>
                  <a:lnTo>
                    <a:pt x="17" y="395"/>
                  </a:lnTo>
                  <a:lnTo>
                    <a:pt x="15" y="395"/>
                  </a:lnTo>
                  <a:lnTo>
                    <a:pt x="15" y="399"/>
                  </a:lnTo>
                  <a:lnTo>
                    <a:pt x="14" y="401"/>
                  </a:lnTo>
                  <a:lnTo>
                    <a:pt x="10" y="401"/>
                  </a:lnTo>
                  <a:lnTo>
                    <a:pt x="8" y="405"/>
                  </a:lnTo>
                  <a:lnTo>
                    <a:pt x="6" y="405"/>
                  </a:lnTo>
                  <a:lnTo>
                    <a:pt x="4" y="407"/>
                  </a:lnTo>
                  <a:lnTo>
                    <a:pt x="2" y="409"/>
                  </a:lnTo>
                  <a:lnTo>
                    <a:pt x="2" y="407"/>
                  </a:lnTo>
                  <a:lnTo>
                    <a:pt x="6" y="407"/>
                  </a:lnTo>
                  <a:lnTo>
                    <a:pt x="10" y="403"/>
                  </a:lnTo>
                  <a:lnTo>
                    <a:pt x="10" y="401"/>
                  </a:lnTo>
                  <a:lnTo>
                    <a:pt x="10" y="397"/>
                  </a:lnTo>
                  <a:lnTo>
                    <a:pt x="10" y="395"/>
                  </a:lnTo>
                  <a:lnTo>
                    <a:pt x="10" y="389"/>
                  </a:lnTo>
                  <a:lnTo>
                    <a:pt x="10" y="387"/>
                  </a:lnTo>
                  <a:lnTo>
                    <a:pt x="10" y="385"/>
                  </a:lnTo>
                  <a:lnTo>
                    <a:pt x="12" y="384"/>
                  </a:lnTo>
                  <a:lnTo>
                    <a:pt x="14" y="380"/>
                  </a:lnTo>
                  <a:lnTo>
                    <a:pt x="14" y="378"/>
                  </a:lnTo>
                  <a:lnTo>
                    <a:pt x="15" y="372"/>
                  </a:lnTo>
                  <a:lnTo>
                    <a:pt x="17" y="366"/>
                  </a:lnTo>
                  <a:lnTo>
                    <a:pt x="21" y="362"/>
                  </a:lnTo>
                  <a:lnTo>
                    <a:pt x="21" y="357"/>
                  </a:lnTo>
                  <a:lnTo>
                    <a:pt x="23" y="353"/>
                  </a:lnTo>
                  <a:lnTo>
                    <a:pt x="23" y="349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23" y="341"/>
                  </a:lnTo>
                  <a:lnTo>
                    <a:pt x="25" y="339"/>
                  </a:lnTo>
                  <a:lnTo>
                    <a:pt x="27" y="336"/>
                  </a:lnTo>
                  <a:lnTo>
                    <a:pt x="27" y="334"/>
                  </a:lnTo>
                  <a:lnTo>
                    <a:pt x="29" y="330"/>
                  </a:lnTo>
                  <a:lnTo>
                    <a:pt x="27" y="330"/>
                  </a:lnTo>
                  <a:lnTo>
                    <a:pt x="27" y="326"/>
                  </a:lnTo>
                  <a:lnTo>
                    <a:pt x="25" y="324"/>
                  </a:lnTo>
                  <a:lnTo>
                    <a:pt x="23" y="324"/>
                  </a:lnTo>
                  <a:lnTo>
                    <a:pt x="21" y="322"/>
                  </a:lnTo>
                  <a:lnTo>
                    <a:pt x="21" y="320"/>
                  </a:lnTo>
                  <a:lnTo>
                    <a:pt x="19" y="320"/>
                  </a:lnTo>
                  <a:lnTo>
                    <a:pt x="17" y="318"/>
                  </a:lnTo>
                  <a:lnTo>
                    <a:pt x="17" y="316"/>
                  </a:lnTo>
                  <a:lnTo>
                    <a:pt x="15" y="314"/>
                  </a:lnTo>
                  <a:lnTo>
                    <a:pt x="14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7"/>
                  </a:lnTo>
                  <a:lnTo>
                    <a:pt x="10" y="305"/>
                  </a:lnTo>
                  <a:lnTo>
                    <a:pt x="12" y="303"/>
                  </a:lnTo>
                  <a:lnTo>
                    <a:pt x="14" y="301"/>
                  </a:lnTo>
                  <a:lnTo>
                    <a:pt x="14" y="297"/>
                  </a:lnTo>
                  <a:lnTo>
                    <a:pt x="15" y="295"/>
                  </a:lnTo>
                  <a:lnTo>
                    <a:pt x="17" y="293"/>
                  </a:lnTo>
                  <a:lnTo>
                    <a:pt x="17" y="291"/>
                  </a:lnTo>
                  <a:lnTo>
                    <a:pt x="19" y="290"/>
                  </a:lnTo>
                  <a:lnTo>
                    <a:pt x="19" y="286"/>
                  </a:lnTo>
                  <a:lnTo>
                    <a:pt x="19" y="282"/>
                  </a:lnTo>
                  <a:lnTo>
                    <a:pt x="19" y="280"/>
                  </a:lnTo>
                  <a:lnTo>
                    <a:pt x="17" y="278"/>
                  </a:lnTo>
                  <a:lnTo>
                    <a:pt x="17" y="276"/>
                  </a:lnTo>
                  <a:lnTo>
                    <a:pt x="17" y="272"/>
                  </a:lnTo>
                  <a:lnTo>
                    <a:pt x="17" y="270"/>
                  </a:lnTo>
                  <a:lnTo>
                    <a:pt x="17" y="267"/>
                  </a:lnTo>
                  <a:lnTo>
                    <a:pt x="17" y="265"/>
                  </a:lnTo>
                  <a:lnTo>
                    <a:pt x="17" y="263"/>
                  </a:lnTo>
                  <a:lnTo>
                    <a:pt x="17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5"/>
                  </a:lnTo>
                  <a:lnTo>
                    <a:pt x="14" y="255"/>
                  </a:lnTo>
                  <a:lnTo>
                    <a:pt x="12" y="253"/>
                  </a:lnTo>
                  <a:lnTo>
                    <a:pt x="12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49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8" y="245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6" y="243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2" y="238"/>
                  </a:lnTo>
                  <a:lnTo>
                    <a:pt x="2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32"/>
                  </a:lnTo>
                  <a:lnTo>
                    <a:pt x="2" y="230"/>
                  </a:lnTo>
                  <a:lnTo>
                    <a:pt x="2" y="230"/>
                  </a:lnTo>
                  <a:lnTo>
                    <a:pt x="4" y="230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6" y="226"/>
                  </a:lnTo>
                  <a:lnTo>
                    <a:pt x="6" y="224"/>
                  </a:lnTo>
                  <a:lnTo>
                    <a:pt x="6" y="224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6" y="219"/>
                  </a:lnTo>
                  <a:lnTo>
                    <a:pt x="69" y="217"/>
                  </a:lnTo>
                  <a:lnTo>
                    <a:pt x="133" y="217"/>
                  </a:lnTo>
                  <a:lnTo>
                    <a:pt x="146" y="213"/>
                  </a:lnTo>
                  <a:lnTo>
                    <a:pt x="152" y="201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9" y="161"/>
                  </a:lnTo>
                  <a:lnTo>
                    <a:pt x="190" y="144"/>
                  </a:lnTo>
                  <a:lnTo>
                    <a:pt x="207" y="138"/>
                  </a:lnTo>
                  <a:lnTo>
                    <a:pt x="211" y="138"/>
                  </a:lnTo>
                  <a:lnTo>
                    <a:pt x="213" y="126"/>
                  </a:lnTo>
                  <a:lnTo>
                    <a:pt x="211" y="96"/>
                  </a:lnTo>
                  <a:lnTo>
                    <a:pt x="209" y="69"/>
                  </a:lnTo>
                  <a:lnTo>
                    <a:pt x="209" y="67"/>
                  </a:lnTo>
                  <a:lnTo>
                    <a:pt x="205" y="52"/>
                  </a:lnTo>
                  <a:lnTo>
                    <a:pt x="246" y="52"/>
                  </a:lnTo>
                  <a:lnTo>
                    <a:pt x="275" y="48"/>
                  </a:lnTo>
                  <a:lnTo>
                    <a:pt x="317" y="40"/>
                  </a:lnTo>
                  <a:lnTo>
                    <a:pt x="319" y="44"/>
                  </a:lnTo>
                  <a:lnTo>
                    <a:pt x="319" y="27"/>
                  </a:lnTo>
                  <a:lnTo>
                    <a:pt x="319" y="21"/>
                  </a:lnTo>
                  <a:lnTo>
                    <a:pt x="324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3" name="Freeform 69"/>
            <p:cNvSpPr>
              <a:spLocks/>
            </p:cNvSpPr>
            <p:nvPr/>
          </p:nvSpPr>
          <p:spPr bwMode="auto">
            <a:xfrm>
              <a:off x="531" y="1710"/>
              <a:ext cx="222" cy="161"/>
            </a:xfrm>
            <a:custGeom>
              <a:avLst/>
              <a:gdLst/>
              <a:ahLst/>
              <a:cxnLst>
                <a:cxn ang="0">
                  <a:pos x="193" y="85"/>
                </a:cxn>
                <a:cxn ang="0">
                  <a:pos x="199" y="94"/>
                </a:cxn>
                <a:cxn ang="0">
                  <a:pos x="203" y="106"/>
                </a:cxn>
                <a:cxn ang="0">
                  <a:pos x="201" y="119"/>
                </a:cxn>
                <a:cxn ang="0">
                  <a:pos x="211" y="127"/>
                </a:cxn>
                <a:cxn ang="0">
                  <a:pos x="220" y="135"/>
                </a:cxn>
                <a:cxn ang="0">
                  <a:pos x="222" y="148"/>
                </a:cxn>
                <a:cxn ang="0">
                  <a:pos x="220" y="161"/>
                </a:cxn>
                <a:cxn ang="0">
                  <a:pos x="205" y="161"/>
                </a:cxn>
                <a:cxn ang="0">
                  <a:pos x="193" y="161"/>
                </a:cxn>
                <a:cxn ang="0">
                  <a:pos x="178" y="160"/>
                </a:cxn>
                <a:cxn ang="0">
                  <a:pos x="167" y="158"/>
                </a:cxn>
                <a:cxn ang="0">
                  <a:pos x="157" y="158"/>
                </a:cxn>
                <a:cxn ang="0">
                  <a:pos x="144" y="152"/>
                </a:cxn>
                <a:cxn ang="0">
                  <a:pos x="132" y="148"/>
                </a:cxn>
                <a:cxn ang="0">
                  <a:pos x="117" y="146"/>
                </a:cxn>
                <a:cxn ang="0">
                  <a:pos x="103" y="146"/>
                </a:cxn>
                <a:cxn ang="0">
                  <a:pos x="94" y="150"/>
                </a:cxn>
                <a:cxn ang="0">
                  <a:pos x="78" y="152"/>
                </a:cxn>
                <a:cxn ang="0">
                  <a:pos x="65" y="154"/>
                </a:cxn>
                <a:cxn ang="0">
                  <a:pos x="51" y="156"/>
                </a:cxn>
                <a:cxn ang="0">
                  <a:pos x="34" y="158"/>
                </a:cxn>
                <a:cxn ang="0">
                  <a:pos x="32" y="148"/>
                </a:cxn>
                <a:cxn ang="0">
                  <a:pos x="34" y="135"/>
                </a:cxn>
                <a:cxn ang="0">
                  <a:pos x="44" y="127"/>
                </a:cxn>
                <a:cxn ang="0">
                  <a:pos x="53" y="123"/>
                </a:cxn>
                <a:cxn ang="0">
                  <a:pos x="69" y="123"/>
                </a:cxn>
                <a:cxn ang="0">
                  <a:pos x="80" y="117"/>
                </a:cxn>
                <a:cxn ang="0">
                  <a:pos x="86" y="112"/>
                </a:cxn>
                <a:cxn ang="0">
                  <a:pos x="99" y="115"/>
                </a:cxn>
                <a:cxn ang="0">
                  <a:pos x="113" y="117"/>
                </a:cxn>
                <a:cxn ang="0">
                  <a:pos x="122" y="123"/>
                </a:cxn>
                <a:cxn ang="0">
                  <a:pos x="134" y="125"/>
                </a:cxn>
                <a:cxn ang="0">
                  <a:pos x="147" y="121"/>
                </a:cxn>
                <a:cxn ang="0">
                  <a:pos x="155" y="112"/>
                </a:cxn>
                <a:cxn ang="0">
                  <a:pos x="142" y="112"/>
                </a:cxn>
                <a:cxn ang="0">
                  <a:pos x="130" y="112"/>
                </a:cxn>
                <a:cxn ang="0">
                  <a:pos x="122" y="106"/>
                </a:cxn>
                <a:cxn ang="0">
                  <a:pos x="113" y="104"/>
                </a:cxn>
                <a:cxn ang="0">
                  <a:pos x="103" y="100"/>
                </a:cxn>
                <a:cxn ang="0">
                  <a:pos x="92" y="96"/>
                </a:cxn>
                <a:cxn ang="0">
                  <a:pos x="82" y="94"/>
                </a:cxn>
                <a:cxn ang="0">
                  <a:pos x="71" y="96"/>
                </a:cxn>
                <a:cxn ang="0">
                  <a:pos x="61" y="104"/>
                </a:cxn>
                <a:cxn ang="0">
                  <a:pos x="49" y="104"/>
                </a:cxn>
                <a:cxn ang="0">
                  <a:pos x="34" y="100"/>
                </a:cxn>
                <a:cxn ang="0">
                  <a:pos x="26" y="96"/>
                </a:cxn>
                <a:cxn ang="0">
                  <a:pos x="23" y="83"/>
                </a:cxn>
                <a:cxn ang="0">
                  <a:pos x="15" y="65"/>
                </a:cxn>
                <a:cxn ang="0">
                  <a:pos x="5" y="60"/>
                </a:cxn>
                <a:cxn ang="0">
                  <a:pos x="5" y="54"/>
                </a:cxn>
                <a:cxn ang="0">
                  <a:pos x="19" y="42"/>
                </a:cxn>
                <a:cxn ang="0">
                  <a:pos x="26" y="35"/>
                </a:cxn>
                <a:cxn ang="0">
                  <a:pos x="32" y="27"/>
                </a:cxn>
                <a:cxn ang="0">
                  <a:pos x="38" y="16"/>
                </a:cxn>
                <a:cxn ang="0">
                  <a:pos x="49" y="10"/>
                </a:cxn>
                <a:cxn ang="0">
                  <a:pos x="57" y="2"/>
                </a:cxn>
                <a:cxn ang="0">
                  <a:pos x="69" y="2"/>
                </a:cxn>
                <a:cxn ang="0">
                  <a:pos x="188" y="50"/>
                </a:cxn>
              </a:cxnLst>
              <a:rect l="0" t="0" r="r" b="b"/>
              <a:pathLst>
                <a:path w="222" h="161">
                  <a:moveTo>
                    <a:pt x="197" y="71"/>
                  </a:moveTo>
                  <a:lnTo>
                    <a:pt x="195" y="75"/>
                  </a:lnTo>
                  <a:lnTo>
                    <a:pt x="195" y="77"/>
                  </a:lnTo>
                  <a:lnTo>
                    <a:pt x="195" y="83"/>
                  </a:lnTo>
                  <a:lnTo>
                    <a:pt x="193" y="83"/>
                  </a:lnTo>
                  <a:lnTo>
                    <a:pt x="193" y="85"/>
                  </a:lnTo>
                  <a:lnTo>
                    <a:pt x="195" y="89"/>
                  </a:lnTo>
                  <a:lnTo>
                    <a:pt x="195" y="90"/>
                  </a:lnTo>
                  <a:lnTo>
                    <a:pt x="195" y="92"/>
                  </a:lnTo>
                  <a:lnTo>
                    <a:pt x="195" y="94"/>
                  </a:lnTo>
                  <a:lnTo>
                    <a:pt x="197" y="94"/>
                  </a:lnTo>
                  <a:lnTo>
                    <a:pt x="199" y="94"/>
                  </a:lnTo>
                  <a:lnTo>
                    <a:pt x="201" y="94"/>
                  </a:lnTo>
                  <a:lnTo>
                    <a:pt x="201" y="98"/>
                  </a:lnTo>
                  <a:lnTo>
                    <a:pt x="203" y="100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8"/>
                  </a:lnTo>
                  <a:lnTo>
                    <a:pt x="203" y="110"/>
                  </a:lnTo>
                  <a:lnTo>
                    <a:pt x="201" y="112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3" y="123"/>
                  </a:lnTo>
                  <a:lnTo>
                    <a:pt x="205" y="125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4" y="129"/>
                  </a:lnTo>
                  <a:lnTo>
                    <a:pt x="216" y="131"/>
                  </a:lnTo>
                  <a:lnTo>
                    <a:pt x="218" y="133"/>
                  </a:lnTo>
                  <a:lnTo>
                    <a:pt x="218" y="135"/>
                  </a:lnTo>
                  <a:lnTo>
                    <a:pt x="220" y="135"/>
                  </a:lnTo>
                  <a:lnTo>
                    <a:pt x="220" y="138"/>
                  </a:lnTo>
                  <a:lnTo>
                    <a:pt x="220" y="140"/>
                  </a:lnTo>
                  <a:lnTo>
                    <a:pt x="220" y="142"/>
                  </a:lnTo>
                  <a:lnTo>
                    <a:pt x="220" y="144"/>
                  </a:lnTo>
                  <a:lnTo>
                    <a:pt x="222" y="146"/>
                  </a:lnTo>
                  <a:lnTo>
                    <a:pt x="222" y="148"/>
                  </a:lnTo>
                  <a:lnTo>
                    <a:pt x="222" y="150"/>
                  </a:lnTo>
                  <a:lnTo>
                    <a:pt x="222" y="152"/>
                  </a:lnTo>
                  <a:lnTo>
                    <a:pt x="222" y="156"/>
                  </a:lnTo>
                  <a:lnTo>
                    <a:pt x="222" y="160"/>
                  </a:lnTo>
                  <a:lnTo>
                    <a:pt x="222" y="161"/>
                  </a:lnTo>
                  <a:lnTo>
                    <a:pt x="220" y="161"/>
                  </a:lnTo>
                  <a:lnTo>
                    <a:pt x="218" y="161"/>
                  </a:lnTo>
                  <a:lnTo>
                    <a:pt x="216" y="161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09" y="161"/>
                  </a:lnTo>
                  <a:lnTo>
                    <a:pt x="205" y="161"/>
                  </a:lnTo>
                  <a:lnTo>
                    <a:pt x="203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5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191" y="160"/>
                  </a:lnTo>
                  <a:lnTo>
                    <a:pt x="190" y="160"/>
                  </a:lnTo>
                  <a:lnTo>
                    <a:pt x="188" y="161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78" y="160"/>
                  </a:lnTo>
                  <a:lnTo>
                    <a:pt x="176" y="158"/>
                  </a:lnTo>
                  <a:lnTo>
                    <a:pt x="174" y="158"/>
                  </a:lnTo>
                  <a:lnTo>
                    <a:pt x="172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67" y="158"/>
                  </a:lnTo>
                  <a:lnTo>
                    <a:pt x="165" y="160"/>
                  </a:lnTo>
                  <a:lnTo>
                    <a:pt x="163" y="160"/>
                  </a:lnTo>
                  <a:lnTo>
                    <a:pt x="161" y="160"/>
                  </a:lnTo>
                  <a:lnTo>
                    <a:pt x="161" y="158"/>
                  </a:lnTo>
                  <a:lnTo>
                    <a:pt x="157" y="158"/>
                  </a:lnTo>
                  <a:lnTo>
                    <a:pt x="157" y="158"/>
                  </a:lnTo>
                  <a:lnTo>
                    <a:pt x="155" y="156"/>
                  </a:lnTo>
                  <a:lnTo>
                    <a:pt x="153" y="156"/>
                  </a:lnTo>
                  <a:lnTo>
                    <a:pt x="149" y="156"/>
                  </a:lnTo>
                  <a:lnTo>
                    <a:pt x="149" y="154"/>
                  </a:lnTo>
                  <a:lnTo>
                    <a:pt x="145" y="154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40" y="150"/>
                  </a:lnTo>
                  <a:lnTo>
                    <a:pt x="138" y="150"/>
                  </a:lnTo>
                  <a:lnTo>
                    <a:pt x="136" y="150"/>
                  </a:lnTo>
                  <a:lnTo>
                    <a:pt x="132" y="150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4" y="146"/>
                  </a:lnTo>
                  <a:lnTo>
                    <a:pt x="122" y="146"/>
                  </a:lnTo>
                  <a:lnTo>
                    <a:pt x="120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7" y="148"/>
                  </a:lnTo>
                  <a:lnTo>
                    <a:pt x="94" y="148"/>
                  </a:lnTo>
                  <a:lnTo>
                    <a:pt x="94" y="150"/>
                  </a:lnTo>
                  <a:lnTo>
                    <a:pt x="92" y="150"/>
                  </a:lnTo>
                  <a:lnTo>
                    <a:pt x="90" y="150"/>
                  </a:lnTo>
                  <a:lnTo>
                    <a:pt x="86" y="150"/>
                  </a:lnTo>
                  <a:lnTo>
                    <a:pt x="84" y="152"/>
                  </a:lnTo>
                  <a:lnTo>
                    <a:pt x="82" y="152"/>
                  </a:lnTo>
                  <a:lnTo>
                    <a:pt x="78" y="152"/>
                  </a:lnTo>
                  <a:lnTo>
                    <a:pt x="76" y="154"/>
                  </a:lnTo>
                  <a:lnTo>
                    <a:pt x="74" y="154"/>
                  </a:lnTo>
                  <a:lnTo>
                    <a:pt x="73" y="154"/>
                  </a:lnTo>
                  <a:lnTo>
                    <a:pt x="71" y="154"/>
                  </a:lnTo>
                  <a:lnTo>
                    <a:pt x="67" y="154"/>
                  </a:lnTo>
                  <a:lnTo>
                    <a:pt x="65" y="154"/>
                  </a:lnTo>
                  <a:lnTo>
                    <a:pt x="63" y="154"/>
                  </a:lnTo>
                  <a:lnTo>
                    <a:pt x="61" y="154"/>
                  </a:lnTo>
                  <a:lnTo>
                    <a:pt x="57" y="154"/>
                  </a:lnTo>
                  <a:lnTo>
                    <a:pt x="55" y="154"/>
                  </a:lnTo>
                  <a:lnTo>
                    <a:pt x="53" y="154"/>
                  </a:lnTo>
                  <a:lnTo>
                    <a:pt x="51" y="156"/>
                  </a:lnTo>
                  <a:lnTo>
                    <a:pt x="49" y="156"/>
                  </a:lnTo>
                  <a:lnTo>
                    <a:pt x="48" y="156"/>
                  </a:lnTo>
                  <a:lnTo>
                    <a:pt x="46" y="156"/>
                  </a:lnTo>
                  <a:lnTo>
                    <a:pt x="44" y="156"/>
                  </a:lnTo>
                  <a:lnTo>
                    <a:pt x="38" y="156"/>
                  </a:lnTo>
                  <a:lnTo>
                    <a:pt x="34" y="158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2" y="156"/>
                  </a:lnTo>
                  <a:lnTo>
                    <a:pt x="32" y="154"/>
                  </a:lnTo>
                  <a:lnTo>
                    <a:pt x="32" y="150"/>
                  </a:lnTo>
                  <a:lnTo>
                    <a:pt x="32" y="148"/>
                  </a:lnTo>
                  <a:lnTo>
                    <a:pt x="32" y="146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4" y="140"/>
                  </a:lnTo>
                  <a:lnTo>
                    <a:pt x="34" y="136"/>
                  </a:lnTo>
                  <a:lnTo>
                    <a:pt x="34" y="135"/>
                  </a:lnTo>
                  <a:lnTo>
                    <a:pt x="34" y="129"/>
                  </a:lnTo>
                  <a:lnTo>
                    <a:pt x="36" y="129"/>
                  </a:lnTo>
                  <a:lnTo>
                    <a:pt x="38" y="129"/>
                  </a:lnTo>
                  <a:lnTo>
                    <a:pt x="40" y="129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7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9" y="125"/>
                  </a:lnTo>
                  <a:lnTo>
                    <a:pt x="51" y="125"/>
                  </a:lnTo>
                  <a:lnTo>
                    <a:pt x="53" y="123"/>
                  </a:lnTo>
                  <a:lnTo>
                    <a:pt x="55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9" y="123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2" y="115"/>
                  </a:lnTo>
                  <a:lnTo>
                    <a:pt x="82" y="113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2"/>
                  </a:lnTo>
                  <a:lnTo>
                    <a:pt x="86" y="112"/>
                  </a:lnTo>
                  <a:lnTo>
                    <a:pt x="88" y="110"/>
                  </a:lnTo>
                  <a:lnTo>
                    <a:pt x="92" y="112"/>
                  </a:lnTo>
                  <a:lnTo>
                    <a:pt x="96" y="112"/>
                  </a:lnTo>
                  <a:lnTo>
                    <a:pt x="97" y="112"/>
                  </a:lnTo>
                  <a:lnTo>
                    <a:pt x="99" y="113"/>
                  </a:lnTo>
                  <a:lnTo>
                    <a:pt x="99" y="115"/>
                  </a:lnTo>
                  <a:lnTo>
                    <a:pt x="103" y="115"/>
                  </a:lnTo>
                  <a:lnTo>
                    <a:pt x="107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13" y="115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21"/>
                  </a:lnTo>
                  <a:lnTo>
                    <a:pt x="117" y="121"/>
                  </a:lnTo>
                  <a:lnTo>
                    <a:pt x="119" y="121"/>
                  </a:lnTo>
                  <a:lnTo>
                    <a:pt x="120" y="121"/>
                  </a:lnTo>
                  <a:lnTo>
                    <a:pt x="122" y="123"/>
                  </a:lnTo>
                  <a:lnTo>
                    <a:pt x="124" y="123"/>
                  </a:lnTo>
                  <a:lnTo>
                    <a:pt x="124" y="125"/>
                  </a:lnTo>
                  <a:lnTo>
                    <a:pt x="128" y="125"/>
                  </a:lnTo>
                  <a:lnTo>
                    <a:pt x="130" y="125"/>
                  </a:lnTo>
                  <a:lnTo>
                    <a:pt x="132" y="127"/>
                  </a:lnTo>
                  <a:lnTo>
                    <a:pt x="134" y="125"/>
                  </a:lnTo>
                  <a:lnTo>
                    <a:pt x="138" y="125"/>
                  </a:lnTo>
                  <a:lnTo>
                    <a:pt x="138" y="125"/>
                  </a:lnTo>
                  <a:lnTo>
                    <a:pt x="140" y="123"/>
                  </a:lnTo>
                  <a:lnTo>
                    <a:pt x="144" y="123"/>
                  </a:lnTo>
                  <a:lnTo>
                    <a:pt x="145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17"/>
                  </a:lnTo>
                  <a:lnTo>
                    <a:pt x="151" y="115"/>
                  </a:lnTo>
                  <a:lnTo>
                    <a:pt x="153" y="115"/>
                  </a:lnTo>
                  <a:lnTo>
                    <a:pt x="153" y="113"/>
                  </a:lnTo>
                  <a:lnTo>
                    <a:pt x="155" y="112"/>
                  </a:lnTo>
                  <a:lnTo>
                    <a:pt x="153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5" y="112"/>
                  </a:lnTo>
                  <a:lnTo>
                    <a:pt x="144" y="112"/>
                  </a:lnTo>
                  <a:lnTo>
                    <a:pt x="142" y="112"/>
                  </a:lnTo>
                  <a:lnTo>
                    <a:pt x="140" y="112"/>
                  </a:lnTo>
                  <a:lnTo>
                    <a:pt x="138" y="113"/>
                  </a:lnTo>
                  <a:lnTo>
                    <a:pt x="134" y="113"/>
                  </a:lnTo>
                  <a:lnTo>
                    <a:pt x="132" y="113"/>
                  </a:lnTo>
                  <a:lnTo>
                    <a:pt x="132" y="113"/>
                  </a:lnTo>
                  <a:lnTo>
                    <a:pt x="130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0"/>
                  </a:lnTo>
                  <a:lnTo>
                    <a:pt x="126" y="110"/>
                  </a:lnTo>
                  <a:lnTo>
                    <a:pt x="124" y="108"/>
                  </a:lnTo>
                  <a:lnTo>
                    <a:pt x="122" y="106"/>
                  </a:lnTo>
                  <a:lnTo>
                    <a:pt x="120" y="108"/>
                  </a:lnTo>
                  <a:lnTo>
                    <a:pt x="119" y="106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5" y="104"/>
                  </a:lnTo>
                  <a:lnTo>
                    <a:pt x="113" y="104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09" y="100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1" y="98"/>
                  </a:lnTo>
                  <a:lnTo>
                    <a:pt x="99" y="98"/>
                  </a:lnTo>
                  <a:lnTo>
                    <a:pt x="97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2" y="94"/>
                  </a:lnTo>
                  <a:lnTo>
                    <a:pt x="80" y="94"/>
                  </a:lnTo>
                  <a:lnTo>
                    <a:pt x="78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71" y="98"/>
                  </a:lnTo>
                  <a:lnTo>
                    <a:pt x="71" y="100"/>
                  </a:lnTo>
                  <a:lnTo>
                    <a:pt x="67" y="100"/>
                  </a:lnTo>
                  <a:lnTo>
                    <a:pt x="65" y="104"/>
                  </a:lnTo>
                  <a:lnTo>
                    <a:pt x="63" y="104"/>
                  </a:lnTo>
                  <a:lnTo>
                    <a:pt x="61" y="104"/>
                  </a:lnTo>
                  <a:lnTo>
                    <a:pt x="59" y="104"/>
                  </a:lnTo>
                  <a:lnTo>
                    <a:pt x="57" y="104"/>
                  </a:lnTo>
                  <a:lnTo>
                    <a:pt x="55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49" y="104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2" y="104"/>
                  </a:lnTo>
                  <a:lnTo>
                    <a:pt x="40" y="102"/>
                  </a:lnTo>
                  <a:lnTo>
                    <a:pt x="38" y="102"/>
                  </a:lnTo>
                  <a:lnTo>
                    <a:pt x="34" y="100"/>
                  </a:lnTo>
                  <a:lnTo>
                    <a:pt x="32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0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3" y="79"/>
                  </a:lnTo>
                  <a:lnTo>
                    <a:pt x="21" y="77"/>
                  </a:lnTo>
                  <a:lnTo>
                    <a:pt x="21" y="73"/>
                  </a:lnTo>
                  <a:lnTo>
                    <a:pt x="17" y="71"/>
                  </a:lnTo>
                  <a:lnTo>
                    <a:pt x="17" y="67"/>
                  </a:lnTo>
                  <a:lnTo>
                    <a:pt x="15" y="65"/>
                  </a:lnTo>
                  <a:lnTo>
                    <a:pt x="13" y="65"/>
                  </a:lnTo>
                  <a:lnTo>
                    <a:pt x="11" y="64"/>
                  </a:lnTo>
                  <a:lnTo>
                    <a:pt x="11" y="62"/>
                  </a:lnTo>
                  <a:lnTo>
                    <a:pt x="9" y="62"/>
                  </a:lnTo>
                  <a:lnTo>
                    <a:pt x="7" y="62"/>
                  </a:lnTo>
                  <a:lnTo>
                    <a:pt x="5" y="60"/>
                  </a:lnTo>
                  <a:lnTo>
                    <a:pt x="3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2" y="54"/>
                  </a:lnTo>
                  <a:lnTo>
                    <a:pt x="5" y="54"/>
                  </a:lnTo>
                  <a:lnTo>
                    <a:pt x="7" y="54"/>
                  </a:lnTo>
                  <a:lnTo>
                    <a:pt x="11" y="54"/>
                  </a:lnTo>
                  <a:lnTo>
                    <a:pt x="13" y="50"/>
                  </a:lnTo>
                  <a:lnTo>
                    <a:pt x="15" y="48"/>
                  </a:lnTo>
                  <a:lnTo>
                    <a:pt x="17" y="46"/>
                  </a:lnTo>
                  <a:lnTo>
                    <a:pt x="19" y="42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8" y="33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30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4" y="19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8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3" y="4"/>
                  </a:lnTo>
                  <a:lnTo>
                    <a:pt x="55" y="4"/>
                  </a:lnTo>
                  <a:lnTo>
                    <a:pt x="57" y="2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140" y="2"/>
                  </a:lnTo>
                  <a:lnTo>
                    <a:pt x="163" y="21"/>
                  </a:lnTo>
                  <a:lnTo>
                    <a:pt x="188" y="50"/>
                  </a:lnTo>
                  <a:lnTo>
                    <a:pt x="197" y="7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4" name="Freeform 70"/>
            <p:cNvSpPr>
              <a:spLocks/>
            </p:cNvSpPr>
            <p:nvPr/>
          </p:nvSpPr>
          <p:spPr bwMode="auto">
            <a:xfrm>
              <a:off x="531" y="1710"/>
              <a:ext cx="222" cy="161"/>
            </a:xfrm>
            <a:custGeom>
              <a:avLst/>
              <a:gdLst/>
              <a:ahLst/>
              <a:cxnLst>
                <a:cxn ang="0">
                  <a:pos x="193" y="85"/>
                </a:cxn>
                <a:cxn ang="0">
                  <a:pos x="199" y="94"/>
                </a:cxn>
                <a:cxn ang="0">
                  <a:pos x="203" y="106"/>
                </a:cxn>
                <a:cxn ang="0">
                  <a:pos x="201" y="119"/>
                </a:cxn>
                <a:cxn ang="0">
                  <a:pos x="211" y="127"/>
                </a:cxn>
                <a:cxn ang="0">
                  <a:pos x="220" y="135"/>
                </a:cxn>
                <a:cxn ang="0">
                  <a:pos x="222" y="148"/>
                </a:cxn>
                <a:cxn ang="0">
                  <a:pos x="220" y="161"/>
                </a:cxn>
                <a:cxn ang="0">
                  <a:pos x="205" y="161"/>
                </a:cxn>
                <a:cxn ang="0">
                  <a:pos x="193" y="161"/>
                </a:cxn>
                <a:cxn ang="0">
                  <a:pos x="178" y="160"/>
                </a:cxn>
                <a:cxn ang="0">
                  <a:pos x="167" y="158"/>
                </a:cxn>
                <a:cxn ang="0">
                  <a:pos x="157" y="158"/>
                </a:cxn>
                <a:cxn ang="0">
                  <a:pos x="144" y="152"/>
                </a:cxn>
                <a:cxn ang="0">
                  <a:pos x="132" y="148"/>
                </a:cxn>
                <a:cxn ang="0">
                  <a:pos x="117" y="146"/>
                </a:cxn>
                <a:cxn ang="0">
                  <a:pos x="103" y="146"/>
                </a:cxn>
                <a:cxn ang="0">
                  <a:pos x="94" y="150"/>
                </a:cxn>
                <a:cxn ang="0">
                  <a:pos x="78" y="152"/>
                </a:cxn>
                <a:cxn ang="0">
                  <a:pos x="65" y="154"/>
                </a:cxn>
                <a:cxn ang="0">
                  <a:pos x="51" y="156"/>
                </a:cxn>
                <a:cxn ang="0">
                  <a:pos x="34" y="158"/>
                </a:cxn>
                <a:cxn ang="0">
                  <a:pos x="32" y="148"/>
                </a:cxn>
                <a:cxn ang="0">
                  <a:pos x="34" y="135"/>
                </a:cxn>
                <a:cxn ang="0">
                  <a:pos x="44" y="127"/>
                </a:cxn>
                <a:cxn ang="0">
                  <a:pos x="53" y="123"/>
                </a:cxn>
                <a:cxn ang="0">
                  <a:pos x="69" y="123"/>
                </a:cxn>
                <a:cxn ang="0">
                  <a:pos x="80" y="117"/>
                </a:cxn>
                <a:cxn ang="0">
                  <a:pos x="86" y="112"/>
                </a:cxn>
                <a:cxn ang="0">
                  <a:pos x="99" y="115"/>
                </a:cxn>
                <a:cxn ang="0">
                  <a:pos x="113" y="117"/>
                </a:cxn>
                <a:cxn ang="0">
                  <a:pos x="122" y="123"/>
                </a:cxn>
                <a:cxn ang="0">
                  <a:pos x="134" y="125"/>
                </a:cxn>
                <a:cxn ang="0">
                  <a:pos x="147" y="121"/>
                </a:cxn>
                <a:cxn ang="0">
                  <a:pos x="155" y="112"/>
                </a:cxn>
                <a:cxn ang="0">
                  <a:pos x="142" y="112"/>
                </a:cxn>
                <a:cxn ang="0">
                  <a:pos x="130" y="112"/>
                </a:cxn>
                <a:cxn ang="0">
                  <a:pos x="122" y="106"/>
                </a:cxn>
                <a:cxn ang="0">
                  <a:pos x="113" y="104"/>
                </a:cxn>
                <a:cxn ang="0">
                  <a:pos x="103" y="100"/>
                </a:cxn>
                <a:cxn ang="0">
                  <a:pos x="92" y="96"/>
                </a:cxn>
                <a:cxn ang="0">
                  <a:pos x="82" y="94"/>
                </a:cxn>
                <a:cxn ang="0">
                  <a:pos x="71" y="96"/>
                </a:cxn>
                <a:cxn ang="0">
                  <a:pos x="61" y="104"/>
                </a:cxn>
                <a:cxn ang="0">
                  <a:pos x="49" y="104"/>
                </a:cxn>
                <a:cxn ang="0">
                  <a:pos x="34" y="100"/>
                </a:cxn>
                <a:cxn ang="0">
                  <a:pos x="26" y="96"/>
                </a:cxn>
                <a:cxn ang="0">
                  <a:pos x="23" y="83"/>
                </a:cxn>
                <a:cxn ang="0">
                  <a:pos x="15" y="65"/>
                </a:cxn>
                <a:cxn ang="0">
                  <a:pos x="5" y="60"/>
                </a:cxn>
                <a:cxn ang="0">
                  <a:pos x="5" y="54"/>
                </a:cxn>
                <a:cxn ang="0">
                  <a:pos x="19" y="42"/>
                </a:cxn>
                <a:cxn ang="0">
                  <a:pos x="26" y="35"/>
                </a:cxn>
                <a:cxn ang="0">
                  <a:pos x="32" y="27"/>
                </a:cxn>
                <a:cxn ang="0">
                  <a:pos x="38" y="16"/>
                </a:cxn>
                <a:cxn ang="0">
                  <a:pos x="49" y="10"/>
                </a:cxn>
                <a:cxn ang="0">
                  <a:pos x="57" y="2"/>
                </a:cxn>
                <a:cxn ang="0">
                  <a:pos x="69" y="2"/>
                </a:cxn>
                <a:cxn ang="0">
                  <a:pos x="188" y="50"/>
                </a:cxn>
              </a:cxnLst>
              <a:rect l="0" t="0" r="r" b="b"/>
              <a:pathLst>
                <a:path w="222" h="161">
                  <a:moveTo>
                    <a:pt x="197" y="71"/>
                  </a:moveTo>
                  <a:lnTo>
                    <a:pt x="195" y="75"/>
                  </a:lnTo>
                  <a:lnTo>
                    <a:pt x="195" y="77"/>
                  </a:lnTo>
                  <a:lnTo>
                    <a:pt x="195" y="83"/>
                  </a:lnTo>
                  <a:lnTo>
                    <a:pt x="193" y="83"/>
                  </a:lnTo>
                  <a:lnTo>
                    <a:pt x="193" y="85"/>
                  </a:lnTo>
                  <a:lnTo>
                    <a:pt x="195" y="89"/>
                  </a:lnTo>
                  <a:lnTo>
                    <a:pt x="195" y="90"/>
                  </a:lnTo>
                  <a:lnTo>
                    <a:pt x="195" y="92"/>
                  </a:lnTo>
                  <a:lnTo>
                    <a:pt x="195" y="94"/>
                  </a:lnTo>
                  <a:lnTo>
                    <a:pt x="197" y="94"/>
                  </a:lnTo>
                  <a:lnTo>
                    <a:pt x="199" y="94"/>
                  </a:lnTo>
                  <a:lnTo>
                    <a:pt x="201" y="94"/>
                  </a:lnTo>
                  <a:lnTo>
                    <a:pt x="201" y="98"/>
                  </a:lnTo>
                  <a:lnTo>
                    <a:pt x="203" y="100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8"/>
                  </a:lnTo>
                  <a:lnTo>
                    <a:pt x="203" y="110"/>
                  </a:lnTo>
                  <a:lnTo>
                    <a:pt x="201" y="112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3" y="123"/>
                  </a:lnTo>
                  <a:lnTo>
                    <a:pt x="205" y="125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4" y="129"/>
                  </a:lnTo>
                  <a:lnTo>
                    <a:pt x="216" y="131"/>
                  </a:lnTo>
                  <a:lnTo>
                    <a:pt x="218" y="133"/>
                  </a:lnTo>
                  <a:lnTo>
                    <a:pt x="218" y="135"/>
                  </a:lnTo>
                  <a:lnTo>
                    <a:pt x="220" y="135"/>
                  </a:lnTo>
                  <a:lnTo>
                    <a:pt x="220" y="138"/>
                  </a:lnTo>
                  <a:lnTo>
                    <a:pt x="220" y="140"/>
                  </a:lnTo>
                  <a:lnTo>
                    <a:pt x="220" y="142"/>
                  </a:lnTo>
                  <a:lnTo>
                    <a:pt x="220" y="144"/>
                  </a:lnTo>
                  <a:lnTo>
                    <a:pt x="222" y="146"/>
                  </a:lnTo>
                  <a:lnTo>
                    <a:pt x="222" y="148"/>
                  </a:lnTo>
                  <a:lnTo>
                    <a:pt x="222" y="150"/>
                  </a:lnTo>
                  <a:lnTo>
                    <a:pt x="222" y="152"/>
                  </a:lnTo>
                  <a:lnTo>
                    <a:pt x="222" y="156"/>
                  </a:lnTo>
                  <a:lnTo>
                    <a:pt x="222" y="160"/>
                  </a:lnTo>
                  <a:lnTo>
                    <a:pt x="222" y="161"/>
                  </a:lnTo>
                  <a:lnTo>
                    <a:pt x="220" y="161"/>
                  </a:lnTo>
                  <a:lnTo>
                    <a:pt x="218" y="161"/>
                  </a:lnTo>
                  <a:lnTo>
                    <a:pt x="216" y="161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09" y="161"/>
                  </a:lnTo>
                  <a:lnTo>
                    <a:pt x="205" y="161"/>
                  </a:lnTo>
                  <a:lnTo>
                    <a:pt x="203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5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191" y="160"/>
                  </a:lnTo>
                  <a:lnTo>
                    <a:pt x="190" y="160"/>
                  </a:lnTo>
                  <a:lnTo>
                    <a:pt x="188" y="161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78" y="160"/>
                  </a:lnTo>
                  <a:lnTo>
                    <a:pt x="176" y="158"/>
                  </a:lnTo>
                  <a:lnTo>
                    <a:pt x="174" y="158"/>
                  </a:lnTo>
                  <a:lnTo>
                    <a:pt x="172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67" y="158"/>
                  </a:lnTo>
                  <a:lnTo>
                    <a:pt x="165" y="160"/>
                  </a:lnTo>
                  <a:lnTo>
                    <a:pt x="163" y="160"/>
                  </a:lnTo>
                  <a:lnTo>
                    <a:pt x="161" y="160"/>
                  </a:lnTo>
                  <a:lnTo>
                    <a:pt x="161" y="158"/>
                  </a:lnTo>
                  <a:lnTo>
                    <a:pt x="157" y="158"/>
                  </a:lnTo>
                  <a:lnTo>
                    <a:pt x="157" y="158"/>
                  </a:lnTo>
                  <a:lnTo>
                    <a:pt x="155" y="156"/>
                  </a:lnTo>
                  <a:lnTo>
                    <a:pt x="153" y="156"/>
                  </a:lnTo>
                  <a:lnTo>
                    <a:pt x="149" y="156"/>
                  </a:lnTo>
                  <a:lnTo>
                    <a:pt x="149" y="154"/>
                  </a:lnTo>
                  <a:lnTo>
                    <a:pt x="145" y="154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40" y="150"/>
                  </a:lnTo>
                  <a:lnTo>
                    <a:pt x="138" y="150"/>
                  </a:lnTo>
                  <a:lnTo>
                    <a:pt x="136" y="150"/>
                  </a:lnTo>
                  <a:lnTo>
                    <a:pt x="132" y="150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4" y="146"/>
                  </a:lnTo>
                  <a:lnTo>
                    <a:pt x="122" y="146"/>
                  </a:lnTo>
                  <a:lnTo>
                    <a:pt x="120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7" y="148"/>
                  </a:lnTo>
                  <a:lnTo>
                    <a:pt x="94" y="148"/>
                  </a:lnTo>
                  <a:lnTo>
                    <a:pt x="94" y="150"/>
                  </a:lnTo>
                  <a:lnTo>
                    <a:pt x="92" y="150"/>
                  </a:lnTo>
                  <a:lnTo>
                    <a:pt x="90" y="150"/>
                  </a:lnTo>
                  <a:lnTo>
                    <a:pt x="86" y="150"/>
                  </a:lnTo>
                  <a:lnTo>
                    <a:pt x="84" y="152"/>
                  </a:lnTo>
                  <a:lnTo>
                    <a:pt x="82" y="152"/>
                  </a:lnTo>
                  <a:lnTo>
                    <a:pt x="78" y="152"/>
                  </a:lnTo>
                  <a:lnTo>
                    <a:pt x="76" y="154"/>
                  </a:lnTo>
                  <a:lnTo>
                    <a:pt x="74" y="154"/>
                  </a:lnTo>
                  <a:lnTo>
                    <a:pt x="73" y="154"/>
                  </a:lnTo>
                  <a:lnTo>
                    <a:pt x="71" y="154"/>
                  </a:lnTo>
                  <a:lnTo>
                    <a:pt x="67" y="154"/>
                  </a:lnTo>
                  <a:lnTo>
                    <a:pt x="65" y="154"/>
                  </a:lnTo>
                  <a:lnTo>
                    <a:pt x="63" y="154"/>
                  </a:lnTo>
                  <a:lnTo>
                    <a:pt x="61" y="154"/>
                  </a:lnTo>
                  <a:lnTo>
                    <a:pt x="57" y="154"/>
                  </a:lnTo>
                  <a:lnTo>
                    <a:pt x="55" y="154"/>
                  </a:lnTo>
                  <a:lnTo>
                    <a:pt x="53" y="154"/>
                  </a:lnTo>
                  <a:lnTo>
                    <a:pt x="51" y="156"/>
                  </a:lnTo>
                  <a:lnTo>
                    <a:pt x="49" y="156"/>
                  </a:lnTo>
                  <a:lnTo>
                    <a:pt x="48" y="156"/>
                  </a:lnTo>
                  <a:lnTo>
                    <a:pt x="46" y="156"/>
                  </a:lnTo>
                  <a:lnTo>
                    <a:pt x="44" y="156"/>
                  </a:lnTo>
                  <a:lnTo>
                    <a:pt x="38" y="156"/>
                  </a:lnTo>
                  <a:lnTo>
                    <a:pt x="34" y="158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2" y="156"/>
                  </a:lnTo>
                  <a:lnTo>
                    <a:pt x="32" y="154"/>
                  </a:lnTo>
                  <a:lnTo>
                    <a:pt x="32" y="150"/>
                  </a:lnTo>
                  <a:lnTo>
                    <a:pt x="32" y="148"/>
                  </a:lnTo>
                  <a:lnTo>
                    <a:pt x="32" y="146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4" y="140"/>
                  </a:lnTo>
                  <a:lnTo>
                    <a:pt x="34" y="136"/>
                  </a:lnTo>
                  <a:lnTo>
                    <a:pt x="34" y="135"/>
                  </a:lnTo>
                  <a:lnTo>
                    <a:pt x="34" y="129"/>
                  </a:lnTo>
                  <a:lnTo>
                    <a:pt x="36" y="129"/>
                  </a:lnTo>
                  <a:lnTo>
                    <a:pt x="38" y="129"/>
                  </a:lnTo>
                  <a:lnTo>
                    <a:pt x="40" y="129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7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9" y="125"/>
                  </a:lnTo>
                  <a:lnTo>
                    <a:pt x="51" y="125"/>
                  </a:lnTo>
                  <a:lnTo>
                    <a:pt x="53" y="123"/>
                  </a:lnTo>
                  <a:lnTo>
                    <a:pt x="55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9" y="123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2" y="115"/>
                  </a:lnTo>
                  <a:lnTo>
                    <a:pt x="82" y="113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2"/>
                  </a:lnTo>
                  <a:lnTo>
                    <a:pt x="86" y="112"/>
                  </a:lnTo>
                  <a:lnTo>
                    <a:pt x="88" y="110"/>
                  </a:lnTo>
                  <a:lnTo>
                    <a:pt x="92" y="112"/>
                  </a:lnTo>
                  <a:lnTo>
                    <a:pt x="96" y="112"/>
                  </a:lnTo>
                  <a:lnTo>
                    <a:pt x="97" y="112"/>
                  </a:lnTo>
                  <a:lnTo>
                    <a:pt x="99" y="113"/>
                  </a:lnTo>
                  <a:lnTo>
                    <a:pt x="99" y="115"/>
                  </a:lnTo>
                  <a:lnTo>
                    <a:pt x="103" y="115"/>
                  </a:lnTo>
                  <a:lnTo>
                    <a:pt x="107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13" y="115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21"/>
                  </a:lnTo>
                  <a:lnTo>
                    <a:pt x="117" y="121"/>
                  </a:lnTo>
                  <a:lnTo>
                    <a:pt x="119" y="121"/>
                  </a:lnTo>
                  <a:lnTo>
                    <a:pt x="120" y="121"/>
                  </a:lnTo>
                  <a:lnTo>
                    <a:pt x="122" y="123"/>
                  </a:lnTo>
                  <a:lnTo>
                    <a:pt x="124" y="123"/>
                  </a:lnTo>
                  <a:lnTo>
                    <a:pt x="124" y="125"/>
                  </a:lnTo>
                  <a:lnTo>
                    <a:pt x="128" y="125"/>
                  </a:lnTo>
                  <a:lnTo>
                    <a:pt x="130" y="125"/>
                  </a:lnTo>
                  <a:lnTo>
                    <a:pt x="132" y="127"/>
                  </a:lnTo>
                  <a:lnTo>
                    <a:pt x="134" y="125"/>
                  </a:lnTo>
                  <a:lnTo>
                    <a:pt x="138" y="125"/>
                  </a:lnTo>
                  <a:lnTo>
                    <a:pt x="138" y="125"/>
                  </a:lnTo>
                  <a:lnTo>
                    <a:pt x="140" y="123"/>
                  </a:lnTo>
                  <a:lnTo>
                    <a:pt x="144" y="123"/>
                  </a:lnTo>
                  <a:lnTo>
                    <a:pt x="145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17"/>
                  </a:lnTo>
                  <a:lnTo>
                    <a:pt x="151" y="115"/>
                  </a:lnTo>
                  <a:lnTo>
                    <a:pt x="153" y="115"/>
                  </a:lnTo>
                  <a:lnTo>
                    <a:pt x="153" y="113"/>
                  </a:lnTo>
                  <a:lnTo>
                    <a:pt x="155" y="112"/>
                  </a:lnTo>
                  <a:lnTo>
                    <a:pt x="153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5" y="112"/>
                  </a:lnTo>
                  <a:lnTo>
                    <a:pt x="144" y="112"/>
                  </a:lnTo>
                  <a:lnTo>
                    <a:pt x="142" y="112"/>
                  </a:lnTo>
                  <a:lnTo>
                    <a:pt x="140" y="112"/>
                  </a:lnTo>
                  <a:lnTo>
                    <a:pt x="138" y="113"/>
                  </a:lnTo>
                  <a:lnTo>
                    <a:pt x="134" y="113"/>
                  </a:lnTo>
                  <a:lnTo>
                    <a:pt x="132" y="113"/>
                  </a:lnTo>
                  <a:lnTo>
                    <a:pt x="132" y="113"/>
                  </a:lnTo>
                  <a:lnTo>
                    <a:pt x="130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0"/>
                  </a:lnTo>
                  <a:lnTo>
                    <a:pt x="126" y="110"/>
                  </a:lnTo>
                  <a:lnTo>
                    <a:pt x="124" y="108"/>
                  </a:lnTo>
                  <a:lnTo>
                    <a:pt x="122" y="106"/>
                  </a:lnTo>
                  <a:lnTo>
                    <a:pt x="120" y="108"/>
                  </a:lnTo>
                  <a:lnTo>
                    <a:pt x="119" y="106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5" y="104"/>
                  </a:lnTo>
                  <a:lnTo>
                    <a:pt x="113" y="104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09" y="100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1" y="98"/>
                  </a:lnTo>
                  <a:lnTo>
                    <a:pt x="99" y="98"/>
                  </a:lnTo>
                  <a:lnTo>
                    <a:pt x="97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2" y="94"/>
                  </a:lnTo>
                  <a:lnTo>
                    <a:pt x="80" y="94"/>
                  </a:lnTo>
                  <a:lnTo>
                    <a:pt x="78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71" y="98"/>
                  </a:lnTo>
                  <a:lnTo>
                    <a:pt x="71" y="100"/>
                  </a:lnTo>
                  <a:lnTo>
                    <a:pt x="67" y="100"/>
                  </a:lnTo>
                  <a:lnTo>
                    <a:pt x="65" y="104"/>
                  </a:lnTo>
                  <a:lnTo>
                    <a:pt x="63" y="104"/>
                  </a:lnTo>
                  <a:lnTo>
                    <a:pt x="61" y="104"/>
                  </a:lnTo>
                  <a:lnTo>
                    <a:pt x="59" y="104"/>
                  </a:lnTo>
                  <a:lnTo>
                    <a:pt x="57" y="104"/>
                  </a:lnTo>
                  <a:lnTo>
                    <a:pt x="55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49" y="104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2" y="104"/>
                  </a:lnTo>
                  <a:lnTo>
                    <a:pt x="40" y="102"/>
                  </a:lnTo>
                  <a:lnTo>
                    <a:pt x="38" y="102"/>
                  </a:lnTo>
                  <a:lnTo>
                    <a:pt x="34" y="100"/>
                  </a:lnTo>
                  <a:lnTo>
                    <a:pt x="32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0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3" y="79"/>
                  </a:lnTo>
                  <a:lnTo>
                    <a:pt x="21" y="77"/>
                  </a:lnTo>
                  <a:lnTo>
                    <a:pt x="21" y="73"/>
                  </a:lnTo>
                  <a:lnTo>
                    <a:pt x="17" y="71"/>
                  </a:lnTo>
                  <a:lnTo>
                    <a:pt x="17" y="67"/>
                  </a:lnTo>
                  <a:lnTo>
                    <a:pt x="15" y="65"/>
                  </a:lnTo>
                  <a:lnTo>
                    <a:pt x="13" y="65"/>
                  </a:lnTo>
                  <a:lnTo>
                    <a:pt x="11" y="64"/>
                  </a:lnTo>
                  <a:lnTo>
                    <a:pt x="11" y="62"/>
                  </a:lnTo>
                  <a:lnTo>
                    <a:pt x="9" y="62"/>
                  </a:lnTo>
                  <a:lnTo>
                    <a:pt x="7" y="62"/>
                  </a:lnTo>
                  <a:lnTo>
                    <a:pt x="5" y="60"/>
                  </a:lnTo>
                  <a:lnTo>
                    <a:pt x="3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2" y="54"/>
                  </a:lnTo>
                  <a:lnTo>
                    <a:pt x="5" y="54"/>
                  </a:lnTo>
                  <a:lnTo>
                    <a:pt x="7" y="54"/>
                  </a:lnTo>
                  <a:lnTo>
                    <a:pt x="11" y="54"/>
                  </a:lnTo>
                  <a:lnTo>
                    <a:pt x="13" y="50"/>
                  </a:lnTo>
                  <a:lnTo>
                    <a:pt x="15" y="48"/>
                  </a:lnTo>
                  <a:lnTo>
                    <a:pt x="17" y="46"/>
                  </a:lnTo>
                  <a:lnTo>
                    <a:pt x="19" y="42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8" y="33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30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4" y="19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8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3" y="4"/>
                  </a:lnTo>
                  <a:lnTo>
                    <a:pt x="55" y="4"/>
                  </a:lnTo>
                  <a:lnTo>
                    <a:pt x="57" y="2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140" y="2"/>
                  </a:lnTo>
                  <a:lnTo>
                    <a:pt x="163" y="21"/>
                  </a:lnTo>
                  <a:lnTo>
                    <a:pt x="188" y="50"/>
                  </a:lnTo>
                  <a:lnTo>
                    <a:pt x="197" y="7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5" name="Freeform 71"/>
            <p:cNvSpPr>
              <a:spLocks/>
            </p:cNvSpPr>
            <p:nvPr/>
          </p:nvSpPr>
          <p:spPr bwMode="auto">
            <a:xfrm>
              <a:off x="557" y="1804"/>
              <a:ext cx="129" cy="3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21"/>
                </a:cxn>
                <a:cxn ang="0">
                  <a:pos x="4" y="27"/>
                </a:cxn>
                <a:cxn ang="0">
                  <a:pos x="6" y="35"/>
                </a:cxn>
                <a:cxn ang="0">
                  <a:pos x="12" y="37"/>
                </a:cxn>
                <a:cxn ang="0">
                  <a:pos x="18" y="31"/>
                </a:cxn>
                <a:cxn ang="0">
                  <a:pos x="22" y="29"/>
                </a:cxn>
                <a:cxn ang="0">
                  <a:pos x="25" y="29"/>
                </a:cxn>
                <a:cxn ang="0">
                  <a:pos x="35" y="29"/>
                </a:cxn>
                <a:cxn ang="0">
                  <a:pos x="41" y="27"/>
                </a:cxn>
                <a:cxn ang="0">
                  <a:pos x="45" y="27"/>
                </a:cxn>
                <a:cxn ang="0">
                  <a:pos x="50" y="27"/>
                </a:cxn>
                <a:cxn ang="0">
                  <a:pos x="56" y="23"/>
                </a:cxn>
                <a:cxn ang="0">
                  <a:pos x="56" y="18"/>
                </a:cxn>
                <a:cxn ang="0">
                  <a:pos x="60" y="16"/>
                </a:cxn>
                <a:cxn ang="0">
                  <a:pos x="66" y="16"/>
                </a:cxn>
                <a:cxn ang="0">
                  <a:pos x="70" y="19"/>
                </a:cxn>
                <a:cxn ang="0">
                  <a:pos x="77" y="21"/>
                </a:cxn>
                <a:cxn ang="0">
                  <a:pos x="81" y="19"/>
                </a:cxn>
                <a:cxn ang="0">
                  <a:pos x="87" y="21"/>
                </a:cxn>
                <a:cxn ang="0">
                  <a:pos x="93" y="25"/>
                </a:cxn>
                <a:cxn ang="0">
                  <a:pos x="96" y="29"/>
                </a:cxn>
                <a:cxn ang="0">
                  <a:pos x="106" y="33"/>
                </a:cxn>
                <a:cxn ang="0">
                  <a:pos x="114" y="29"/>
                </a:cxn>
                <a:cxn ang="0">
                  <a:pos x="118" y="27"/>
                </a:cxn>
                <a:cxn ang="0">
                  <a:pos x="123" y="25"/>
                </a:cxn>
                <a:cxn ang="0">
                  <a:pos x="127" y="21"/>
                </a:cxn>
                <a:cxn ang="0">
                  <a:pos x="125" y="18"/>
                </a:cxn>
                <a:cxn ang="0">
                  <a:pos x="121" y="18"/>
                </a:cxn>
                <a:cxn ang="0">
                  <a:pos x="116" y="19"/>
                </a:cxn>
                <a:cxn ang="0">
                  <a:pos x="112" y="19"/>
                </a:cxn>
                <a:cxn ang="0">
                  <a:pos x="106" y="18"/>
                </a:cxn>
                <a:cxn ang="0">
                  <a:pos x="102" y="16"/>
                </a:cxn>
                <a:cxn ang="0">
                  <a:pos x="96" y="12"/>
                </a:cxn>
                <a:cxn ang="0">
                  <a:pos x="89" y="10"/>
                </a:cxn>
                <a:cxn ang="0">
                  <a:pos x="85" y="8"/>
                </a:cxn>
                <a:cxn ang="0">
                  <a:pos x="79" y="6"/>
                </a:cxn>
                <a:cxn ang="0">
                  <a:pos x="73" y="2"/>
                </a:cxn>
                <a:cxn ang="0">
                  <a:pos x="68" y="2"/>
                </a:cxn>
                <a:cxn ang="0">
                  <a:pos x="62" y="0"/>
                </a:cxn>
                <a:cxn ang="0">
                  <a:pos x="58" y="0"/>
                </a:cxn>
                <a:cxn ang="0">
                  <a:pos x="50" y="0"/>
                </a:cxn>
                <a:cxn ang="0">
                  <a:pos x="45" y="2"/>
                </a:cxn>
                <a:cxn ang="0">
                  <a:pos x="37" y="8"/>
                </a:cxn>
                <a:cxn ang="0">
                  <a:pos x="31" y="12"/>
                </a:cxn>
                <a:cxn ang="0">
                  <a:pos x="23" y="10"/>
                </a:cxn>
                <a:cxn ang="0">
                  <a:pos x="20" y="10"/>
                </a:cxn>
                <a:cxn ang="0">
                  <a:pos x="12" y="8"/>
                </a:cxn>
                <a:cxn ang="0">
                  <a:pos x="6" y="6"/>
                </a:cxn>
                <a:cxn ang="0">
                  <a:pos x="2" y="6"/>
                </a:cxn>
              </a:cxnLst>
              <a:rect l="0" t="0" r="r" b="b"/>
              <a:pathLst>
                <a:path w="129" h="39">
                  <a:moveTo>
                    <a:pt x="0" y="6"/>
                  </a:move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5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2" y="39"/>
                  </a:lnTo>
                  <a:lnTo>
                    <a:pt x="12" y="37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6" y="33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7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19"/>
                  </a:lnTo>
                  <a:lnTo>
                    <a:pt x="56" y="18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3"/>
                  </a:lnTo>
                  <a:lnTo>
                    <a:pt x="89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8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8" y="31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4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5" y="21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8"/>
                  </a:lnTo>
                  <a:lnTo>
                    <a:pt x="127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9" y="18"/>
                  </a:lnTo>
                  <a:lnTo>
                    <a:pt x="118" y="18"/>
                  </a:lnTo>
                  <a:lnTo>
                    <a:pt x="116" y="19"/>
                  </a:lnTo>
                  <a:lnTo>
                    <a:pt x="116" y="19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0" y="19"/>
                  </a:lnTo>
                  <a:lnTo>
                    <a:pt x="108" y="19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2" y="16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96" y="12"/>
                  </a:lnTo>
                  <a:lnTo>
                    <a:pt x="94" y="12"/>
                  </a:lnTo>
                  <a:lnTo>
                    <a:pt x="93" y="10"/>
                  </a:lnTo>
                  <a:lnTo>
                    <a:pt x="91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7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3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7" y="8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9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6" name="Freeform 72"/>
            <p:cNvSpPr>
              <a:spLocks/>
            </p:cNvSpPr>
            <p:nvPr/>
          </p:nvSpPr>
          <p:spPr bwMode="auto">
            <a:xfrm>
              <a:off x="557" y="1804"/>
              <a:ext cx="129" cy="3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21"/>
                </a:cxn>
                <a:cxn ang="0">
                  <a:pos x="4" y="27"/>
                </a:cxn>
                <a:cxn ang="0">
                  <a:pos x="6" y="35"/>
                </a:cxn>
                <a:cxn ang="0">
                  <a:pos x="12" y="37"/>
                </a:cxn>
                <a:cxn ang="0">
                  <a:pos x="18" y="31"/>
                </a:cxn>
                <a:cxn ang="0">
                  <a:pos x="22" y="29"/>
                </a:cxn>
                <a:cxn ang="0">
                  <a:pos x="25" y="29"/>
                </a:cxn>
                <a:cxn ang="0">
                  <a:pos x="35" y="29"/>
                </a:cxn>
                <a:cxn ang="0">
                  <a:pos x="41" y="27"/>
                </a:cxn>
                <a:cxn ang="0">
                  <a:pos x="45" y="27"/>
                </a:cxn>
                <a:cxn ang="0">
                  <a:pos x="50" y="27"/>
                </a:cxn>
                <a:cxn ang="0">
                  <a:pos x="56" y="23"/>
                </a:cxn>
                <a:cxn ang="0">
                  <a:pos x="56" y="18"/>
                </a:cxn>
                <a:cxn ang="0">
                  <a:pos x="60" y="16"/>
                </a:cxn>
                <a:cxn ang="0">
                  <a:pos x="66" y="16"/>
                </a:cxn>
                <a:cxn ang="0">
                  <a:pos x="70" y="19"/>
                </a:cxn>
                <a:cxn ang="0">
                  <a:pos x="77" y="21"/>
                </a:cxn>
                <a:cxn ang="0">
                  <a:pos x="81" y="19"/>
                </a:cxn>
                <a:cxn ang="0">
                  <a:pos x="87" y="21"/>
                </a:cxn>
                <a:cxn ang="0">
                  <a:pos x="93" y="25"/>
                </a:cxn>
                <a:cxn ang="0">
                  <a:pos x="96" y="29"/>
                </a:cxn>
                <a:cxn ang="0">
                  <a:pos x="106" y="33"/>
                </a:cxn>
                <a:cxn ang="0">
                  <a:pos x="114" y="29"/>
                </a:cxn>
                <a:cxn ang="0">
                  <a:pos x="118" y="27"/>
                </a:cxn>
                <a:cxn ang="0">
                  <a:pos x="123" y="25"/>
                </a:cxn>
                <a:cxn ang="0">
                  <a:pos x="127" y="21"/>
                </a:cxn>
                <a:cxn ang="0">
                  <a:pos x="125" y="18"/>
                </a:cxn>
                <a:cxn ang="0">
                  <a:pos x="121" y="18"/>
                </a:cxn>
                <a:cxn ang="0">
                  <a:pos x="116" y="19"/>
                </a:cxn>
                <a:cxn ang="0">
                  <a:pos x="112" y="19"/>
                </a:cxn>
                <a:cxn ang="0">
                  <a:pos x="106" y="18"/>
                </a:cxn>
                <a:cxn ang="0">
                  <a:pos x="102" y="16"/>
                </a:cxn>
                <a:cxn ang="0">
                  <a:pos x="96" y="12"/>
                </a:cxn>
                <a:cxn ang="0">
                  <a:pos x="89" y="10"/>
                </a:cxn>
                <a:cxn ang="0">
                  <a:pos x="85" y="8"/>
                </a:cxn>
                <a:cxn ang="0">
                  <a:pos x="79" y="6"/>
                </a:cxn>
                <a:cxn ang="0">
                  <a:pos x="73" y="2"/>
                </a:cxn>
                <a:cxn ang="0">
                  <a:pos x="68" y="2"/>
                </a:cxn>
                <a:cxn ang="0">
                  <a:pos x="62" y="0"/>
                </a:cxn>
                <a:cxn ang="0">
                  <a:pos x="58" y="0"/>
                </a:cxn>
                <a:cxn ang="0">
                  <a:pos x="50" y="0"/>
                </a:cxn>
                <a:cxn ang="0">
                  <a:pos x="45" y="2"/>
                </a:cxn>
                <a:cxn ang="0">
                  <a:pos x="37" y="8"/>
                </a:cxn>
                <a:cxn ang="0">
                  <a:pos x="31" y="12"/>
                </a:cxn>
                <a:cxn ang="0">
                  <a:pos x="23" y="10"/>
                </a:cxn>
                <a:cxn ang="0">
                  <a:pos x="20" y="10"/>
                </a:cxn>
                <a:cxn ang="0">
                  <a:pos x="12" y="8"/>
                </a:cxn>
                <a:cxn ang="0">
                  <a:pos x="6" y="6"/>
                </a:cxn>
                <a:cxn ang="0">
                  <a:pos x="2" y="6"/>
                </a:cxn>
              </a:cxnLst>
              <a:rect l="0" t="0" r="r" b="b"/>
              <a:pathLst>
                <a:path w="129" h="39">
                  <a:moveTo>
                    <a:pt x="0" y="6"/>
                  </a:move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5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2" y="39"/>
                  </a:lnTo>
                  <a:lnTo>
                    <a:pt x="12" y="37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6" y="33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7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19"/>
                  </a:lnTo>
                  <a:lnTo>
                    <a:pt x="56" y="18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3"/>
                  </a:lnTo>
                  <a:lnTo>
                    <a:pt x="89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8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8" y="31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4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5" y="21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8"/>
                  </a:lnTo>
                  <a:lnTo>
                    <a:pt x="127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9" y="18"/>
                  </a:lnTo>
                  <a:lnTo>
                    <a:pt x="118" y="18"/>
                  </a:lnTo>
                  <a:lnTo>
                    <a:pt x="116" y="19"/>
                  </a:lnTo>
                  <a:lnTo>
                    <a:pt x="116" y="19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0" y="19"/>
                  </a:lnTo>
                  <a:lnTo>
                    <a:pt x="108" y="19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2" y="16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96" y="12"/>
                  </a:lnTo>
                  <a:lnTo>
                    <a:pt x="94" y="12"/>
                  </a:lnTo>
                  <a:lnTo>
                    <a:pt x="93" y="10"/>
                  </a:lnTo>
                  <a:lnTo>
                    <a:pt x="91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7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3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7" y="8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9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7" name="Freeform 73"/>
            <p:cNvSpPr>
              <a:spLocks/>
            </p:cNvSpPr>
            <p:nvPr/>
          </p:nvSpPr>
          <p:spPr bwMode="auto">
            <a:xfrm>
              <a:off x="563" y="1856"/>
              <a:ext cx="117" cy="67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8" y="25"/>
                </a:cxn>
                <a:cxn ang="0">
                  <a:pos x="14" y="31"/>
                </a:cxn>
                <a:cxn ang="0">
                  <a:pos x="19" y="33"/>
                </a:cxn>
                <a:cxn ang="0">
                  <a:pos x="29" y="35"/>
                </a:cxn>
                <a:cxn ang="0">
                  <a:pos x="37" y="38"/>
                </a:cxn>
                <a:cxn ang="0">
                  <a:pos x="41" y="42"/>
                </a:cxn>
                <a:cxn ang="0">
                  <a:pos x="42" y="48"/>
                </a:cxn>
                <a:cxn ang="0">
                  <a:pos x="44" y="54"/>
                </a:cxn>
                <a:cxn ang="0">
                  <a:pos x="50" y="56"/>
                </a:cxn>
                <a:cxn ang="0">
                  <a:pos x="52" y="60"/>
                </a:cxn>
                <a:cxn ang="0">
                  <a:pos x="56" y="61"/>
                </a:cxn>
                <a:cxn ang="0">
                  <a:pos x="60" y="65"/>
                </a:cxn>
                <a:cxn ang="0">
                  <a:pos x="64" y="67"/>
                </a:cxn>
                <a:cxn ang="0">
                  <a:pos x="65" y="60"/>
                </a:cxn>
                <a:cxn ang="0">
                  <a:pos x="69" y="50"/>
                </a:cxn>
                <a:cxn ang="0">
                  <a:pos x="73" y="44"/>
                </a:cxn>
                <a:cxn ang="0">
                  <a:pos x="77" y="42"/>
                </a:cxn>
                <a:cxn ang="0">
                  <a:pos x="85" y="42"/>
                </a:cxn>
                <a:cxn ang="0">
                  <a:pos x="90" y="40"/>
                </a:cxn>
                <a:cxn ang="0">
                  <a:pos x="96" y="40"/>
                </a:cxn>
                <a:cxn ang="0">
                  <a:pos x="104" y="40"/>
                </a:cxn>
                <a:cxn ang="0">
                  <a:pos x="110" y="38"/>
                </a:cxn>
                <a:cxn ang="0">
                  <a:pos x="112" y="33"/>
                </a:cxn>
                <a:cxn ang="0">
                  <a:pos x="108" y="31"/>
                </a:cxn>
                <a:cxn ang="0">
                  <a:pos x="104" y="25"/>
                </a:cxn>
                <a:cxn ang="0">
                  <a:pos x="108" y="19"/>
                </a:cxn>
                <a:cxn ang="0">
                  <a:pos x="113" y="17"/>
                </a:cxn>
                <a:cxn ang="0">
                  <a:pos x="117" y="15"/>
                </a:cxn>
                <a:cxn ang="0">
                  <a:pos x="117" y="10"/>
                </a:cxn>
                <a:cxn ang="0">
                  <a:pos x="112" y="8"/>
                </a:cxn>
                <a:cxn ang="0">
                  <a:pos x="110" y="4"/>
                </a:cxn>
                <a:cxn ang="0">
                  <a:pos x="106" y="4"/>
                </a:cxn>
                <a:cxn ang="0">
                  <a:pos x="100" y="2"/>
                </a:cxn>
                <a:cxn ang="0">
                  <a:pos x="92" y="2"/>
                </a:cxn>
                <a:cxn ang="0">
                  <a:pos x="87" y="0"/>
                </a:cxn>
                <a:cxn ang="0">
                  <a:pos x="81" y="0"/>
                </a:cxn>
                <a:cxn ang="0">
                  <a:pos x="73" y="0"/>
                </a:cxn>
                <a:cxn ang="0">
                  <a:pos x="67" y="0"/>
                </a:cxn>
                <a:cxn ang="0">
                  <a:pos x="64" y="2"/>
                </a:cxn>
                <a:cxn ang="0">
                  <a:pos x="60" y="4"/>
                </a:cxn>
                <a:cxn ang="0">
                  <a:pos x="56" y="6"/>
                </a:cxn>
                <a:cxn ang="0">
                  <a:pos x="50" y="8"/>
                </a:cxn>
                <a:cxn ang="0">
                  <a:pos x="42" y="8"/>
                </a:cxn>
                <a:cxn ang="0">
                  <a:pos x="35" y="8"/>
                </a:cxn>
                <a:cxn ang="0">
                  <a:pos x="27" y="8"/>
                </a:cxn>
                <a:cxn ang="0">
                  <a:pos x="21" y="8"/>
                </a:cxn>
                <a:cxn ang="0">
                  <a:pos x="14" y="10"/>
                </a:cxn>
                <a:cxn ang="0">
                  <a:pos x="8" y="10"/>
                </a:cxn>
                <a:cxn ang="0">
                  <a:pos x="4" y="12"/>
                </a:cxn>
                <a:cxn ang="0">
                  <a:pos x="0" y="14"/>
                </a:cxn>
              </a:cxnLst>
              <a:rect l="0" t="0" r="r" b="b"/>
              <a:pathLst>
                <a:path w="117" h="67">
                  <a:moveTo>
                    <a:pt x="0" y="14"/>
                  </a:moveTo>
                  <a:lnTo>
                    <a:pt x="0" y="17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6" y="23"/>
                  </a:lnTo>
                  <a:lnTo>
                    <a:pt x="8" y="25"/>
                  </a:lnTo>
                  <a:lnTo>
                    <a:pt x="10" y="27"/>
                  </a:lnTo>
                  <a:lnTo>
                    <a:pt x="12" y="27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3" y="33"/>
                  </a:lnTo>
                  <a:lnTo>
                    <a:pt x="25" y="33"/>
                  </a:lnTo>
                  <a:lnTo>
                    <a:pt x="29" y="35"/>
                  </a:lnTo>
                  <a:lnTo>
                    <a:pt x="31" y="37"/>
                  </a:lnTo>
                  <a:lnTo>
                    <a:pt x="35" y="37"/>
                  </a:lnTo>
                  <a:lnTo>
                    <a:pt x="37" y="38"/>
                  </a:lnTo>
                  <a:lnTo>
                    <a:pt x="39" y="40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4" y="54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4" y="61"/>
                  </a:lnTo>
                  <a:lnTo>
                    <a:pt x="56" y="61"/>
                  </a:lnTo>
                  <a:lnTo>
                    <a:pt x="58" y="63"/>
                  </a:lnTo>
                  <a:lnTo>
                    <a:pt x="60" y="63"/>
                  </a:lnTo>
                  <a:lnTo>
                    <a:pt x="60" y="65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4" y="67"/>
                  </a:lnTo>
                  <a:lnTo>
                    <a:pt x="64" y="63"/>
                  </a:lnTo>
                  <a:lnTo>
                    <a:pt x="64" y="61"/>
                  </a:lnTo>
                  <a:lnTo>
                    <a:pt x="65" y="60"/>
                  </a:lnTo>
                  <a:lnTo>
                    <a:pt x="67" y="56"/>
                  </a:lnTo>
                  <a:lnTo>
                    <a:pt x="69" y="54"/>
                  </a:lnTo>
                  <a:lnTo>
                    <a:pt x="69" y="50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5" y="42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5" y="42"/>
                  </a:lnTo>
                  <a:lnTo>
                    <a:pt x="85" y="40"/>
                  </a:lnTo>
                  <a:lnTo>
                    <a:pt x="87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10" y="38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08" y="31"/>
                  </a:lnTo>
                  <a:lnTo>
                    <a:pt x="108" y="27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4" y="23"/>
                  </a:lnTo>
                  <a:lnTo>
                    <a:pt x="106" y="21"/>
                  </a:lnTo>
                  <a:lnTo>
                    <a:pt x="108" y="19"/>
                  </a:lnTo>
                  <a:lnTo>
                    <a:pt x="110" y="19"/>
                  </a:lnTo>
                  <a:lnTo>
                    <a:pt x="112" y="17"/>
                  </a:lnTo>
                  <a:lnTo>
                    <a:pt x="113" y="17"/>
                  </a:lnTo>
                  <a:lnTo>
                    <a:pt x="113" y="15"/>
                  </a:lnTo>
                  <a:lnTo>
                    <a:pt x="115" y="15"/>
                  </a:lnTo>
                  <a:lnTo>
                    <a:pt x="117" y="15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7" y="10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2" y="6"/>
                  </a:lnTo>
                  <a:lnTo>
                    <a:pt x="110" y="6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2" y="4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0"/>
                  </a:lnTo>
                  <a:lnTo>
                    <a:pt x="85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50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39" y="8"/>
                  </a:lnTo>
                  <a:lnTo>
                    <a:pt x="35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8" name="Freeform 74"/>
            <p:cNvSpPr>
              <a:spLocks/>
            </p:cNvSpPr>
            <p:nvPr/>
          </p:nvSpPr>
          <p:spPr bwMode="auto">
            <a:xfrm>
              <a:off x="563" y="1856"/>
              <a:ext cx="117" cy="67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8" y="25"/>
                </a:cxn>
                <a:cxn ang="0">
                  <a:pos x="14" y="31"/>
                </a:cxn>
                <a:cxn ang="0">
                  <a:pos x="19" y="33"/>
                </a:cxn>
                <a:cxn ang="0">
                  <a:pos x="29" y="35"/>
                </a:cxn>
                <a:cxn ang="0">
                  <a:pos x="37" y="38"/>
                </a:cxn>
                <a:cxn ang="0">
                  <a:pos x="41" y="42"/>
                </a:cxn>
                <a:cxn ang="0">
                  <a:pos x="42" y="48"/>
                </a:cxn>
                <a:cxn ang="0">
                  <a:pos x="44" y="54"/>
                </a:cxn>
                <a:cxn ang="0">
                  <a:pos x="50" y="56"/>
                </a:cxn>
                <a:cxn ang="0">
                  <a:pos x="52" y="60"/>
                </a:cxn>
                <a:cxn ang="0">
                  <a:pos x="56" y="61"/>
                </a:cxn>
                <a:cxn ang="0">
                  <a:pos x="60" y="65"/>
                </a:cxn>
                <a:cxn ang="0">
                  <a:pos x="64" y="67"/>
                </a:cxn>
                <a:cxn ang="0">
                  <a:pos x="65" y="60"/>
                </a:cxn>
                <a:cxn ang="0">
                  <a:pos x="69" y="50"/>
                </a:cxn>
                <a:cxn ang="0">
                  <a:pos x="73" y="44"/>
                </a:cxn>
                <a:cxn ang="0">
                  <a:pos x="77" y="42"/>
                </a:cxn>
                <a:cxn ang="0">
                  <a:pos x="85" y="42"/>
                </a:cxn>
                <a:cxn ang="0">
                  <a:pos x="90" y="40"/>
                </a:cxn>
                <a:cxn ang="0">
                  <a:pos x="96" y="40"/>
                </a:cxn>
                <a:cxn ang="0">
                  <a:pos x="104" y="40"/>
                </a:cxn>
                <a:cxn ang="0">
                  <a:pos x="110" y="38"/>
                </a:cxn>
                <a:cxn ang="0">
                  <a:pos x="112" y="33"/>
                </a:cxn>
                <a:cxn ang="0">
                  <a:pos x="108" y="31"/>
                </a:cxn>
                <a:cxn ang="0">
                  <a:pos x="104" y="25"/>
                </a:cxn>
                <a:cxn ang="0">
                  <a:pos x="108" y="19"/>
                </a:cxn>
                <a:cxn ang="0">
                  <a:pos x="113" y="17"/>
                </a:cxn>
                <a:cxn ang="0">
                  <a:pos x="117" y="15"/>
                </a:cxn>
                <a:cxn ang="0">
                  <a:pos x="117" y="10"/>
                </a:cxn>
                <a:cxn ang="0">
                  <a:pos x="112" y="8"/>
                </a:cxn>
                <a:cxn ang="0">
                  <a:pos x="110" y="4"/>
                </a:cxn>
                <a:cxn ang="0">
                  <a:pos x="106" y="4"/>
                </a:cxn>
                <a:cxn ang="0">
                  <a:pos x="100" y="2"/>
                </a:cxn>
                <a:cxn ang="0">
                  <a:pos x="92" y="2"/>
                </a:cxn>
                <a:cxn ang="0">
                  <a:pos x="87" y="0"/>
                </a:cxn>
                <a:cxn ang="0">
                  <a:pos x="81" y="0"/>
                </a:cxn>
                <a:cxn ang="0">
                  <a:pos x="73" y="0"/>
                </a:cxn>
                <a:cxn ang="0">
                  <a:pos x="67" y="0"/>
                </a:cxn>
                <a:cxn ang="0">
                  <a:pos x="64" y="2"/>
                </a:cxn>
                <a:cxn ang="0">
                  <a:pos x="60" y="4"/>
                </a:cxn>
                <a:cxn ang="0">
                  <a:pos x="56" y="6"/>
                </a:cxn>
                <a:cxn ang="0">
                  <a:pos x="50" y="8"/>
                </a:cxn>
                <a:cxn ang="0">
                  <a:pos x="42" y="8"/>
                </a:cxn>
                <a:cxn ang="0">
                  <a:pos x="35" y="8"/>
                </a:cxn>
                <a:cxn ang="0">
                  <a:pos x="27" y="8"/>
                </a:cxn>
                <a:cxn ang="0">
                  <a:pos x="21" y="8"/>
                </a:cxn>
                <a:cxn ang="0">
                  <a:pos x="14" y="10"/>
                </a:cxn>
                <a:cxn ang="0">
                  <a:pos x="8" y="10"/>
                </a:cxn>
                <a:cxn ang="0">
                  <a:pos x="4" y="12"/>
                </a:cxn>
                <a:cxn ang="0">
                  <a:pos x="0" y="14"/>
                </a:cxn>
              </a:cxnLst>
              <a:rect l="0" t="0" r="r" b="b"/>
              <a:pathLst>
                <a:path w="117" h="67">
                  <a:moveTo>
                    <a:pt x="0" y="14"/>
                  </a:moveTo>
                  <a:lnTo>
                    <a:pt x="0" y="17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6" y="23"/>
                  </a:lnTo>
                  <a:lnTo>
                    <a:pt x="8" y="25"/>
                  </a:lnTo>
                  <a:lnTo>
                    <a:pt x="10" y="27"/>
                  </a:lnTo>
                  <a:lnTo>
                    <a:pt x="12" y="27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3" y="33"/>
                  </a:lnTo>
                  <a:lnTo>
                    <a:pt x="25" y="33"/>
                  </a:lnTo>
                  <a:lnTo>
                    <a:pt x="29" y="35"/>
                  </a:lnTo>
                  <a:lnTo>
                    <a:pt x="31" y="37"/>
                  </a:lnTo>
                  <a:lnTo>
                    <a:pt x="35" y="37"/>
                  </a:lnTo>
                  <a:lnTo>
                    <a:pt x="37" y="38"/>
                  </a:lnTo>
                  <a:lnTo>
                    <a:pt x="39" y="40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4" y="54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4" y="61"/>
                  </a:lnTo>
                  <a:lnTo>
                    <a:pt x="56" y="61"/>
                  </a:lnTo>
                  <a:lnTo>
                    <a:pt x="58" y="63"/>
                  </a:lnTo>
                  <a:lnTo>
                    <a:pt x="60" y="63"/>
                  </a:lnTo>
                  <a:lnTo>
                    <a:pt x="60" y="65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4" y="67"/>
                  </a:lnTo>
                  <a:lnTo>
                    <a:pt x="64" y="63"/>
                  </a:lnTo>
                  <a:lnTo>
                    <a:pt x="64" y="61"/>
                  </a:lnTo>
                  <a:lnTo>
                    <a:pt x="65" y="60"/>
                  </a:lnTo>
                  <a:lnTo>
                    <a:pt x="67" y="56"/>
                  </a:lnTo>
                  <a:lnTo>
                    <a:pt x="69" y="54"/>
                  </a:lnTo>
                  <a:lnTo>
                    <a:pt x="69" y="50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5" y="42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5" y="42"/>
                  </a:lnTo>
                  <a:lnTo>
                    <a:pt x="85" y="40"/>
                  </a:lnTo>
                  <a:lnTo>
                    <a:pt x="87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10" y="38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08" y="31"/>
                  </a:lnTo>
                  <a:lnTo>
                    <a:pt x="108" y="27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4" y="23"/>
                  </a:lnTo>
                  <a:lnTo>
                    <a:pt x="106" y="21"/>
                  </a:lnTo>
                  <a:lnTo>
                    <a:pt x="108" y="19"/>
                  </a:lnTo>
                  <a:lnTo>
                    <a:pt x="110" y="19"/>
                  </a:lnTo>
                  <a:lnTo>
                    <a:pt x="112" y="17"/>
                  </a:lnTo>
                  <a:lnTo>
                    <a:pt x="113" y="17"/>
                  </a:lnTo>
                  <a:lnTo>
                    <a:pt x="113" y="15"/>
                  </a:lnTo>
                  <a:lnTo>
                    <a:pt x="115" y="15"/>
                  </a:lnTo>
                  <a:lnTo>
                    <a:pt x="117" y="15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7" y="10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2" y="6"/>
                  </a:lnTo>
                  <a:lnTo>
                    <a:pt x="110" y="6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2" y="4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0"/>
                  </a:lnTo>
                  <a:lnTo>
                    <a:pt x="85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50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39" y="8"/>
                  </a:lnTo>
                  <a:lnTo>
                    <a:pt x="35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499" name="Freeform 75"/>
            <p:cNvSpPr>
              <a:spLocks/>
            </p:cNvSpPr>
            <p:nvPr/>
          </p:nvSpPr>
          <p:spPr bwMode="auto">
            <a:xfrm>
              <a:off x="625" y="1860"/>
              <a:ext cx="261" cy="213"/>
            </a:xfrm>
            <a:custGeom>
              <a:avLst/>
              <a:gdLst/>
              <a:ahLst/>
              <a:cxnLst>
                <a:cxn ang="0">
                  <a:pos x="2" y="79"/>
                </a:cxn>
                <a:cxn ang="0">
                  <a:pos x="11" y="88"/>
                </a:cxn>
                <a:cxn ang="0">
                  <a:pos x="30" y="102"/>
                </a:cxn>
                <a:cxn ang="0">
                  <a:pos x="44" y="111"/>
                </a:cxn>
                <a:cxn ang="0">
                  <a:pos x="53" y="119"/>
                </a:cxn>
                <a:cxn ang="0">
                  <a:pos x="61" y="136"/>
                </a:cxn>
                <a:cxn ang="0">
                  <a:pos x="69" y="138"/>
                </a:cxn>
                <a:cxn ang="0">
                  <a:pos x="74" y="117"/>
                </a:cxn>
                <a:cxn ang="0">
                  <a:pos x="88" y="105"/>
                </a:cxn>
                <a:cxn ang="0">
                  <a:pos x="105" y="102"/>
                </a:cxn>
                <a:cxn ang="0">
                  <a:pos x="119" y="98"/>
                </a:cxn>
                <a:cxn ang="0">
                  <a:pos x="134" y="102"/>
                </a:cxn>
                <a:cxn ang="0">
                  <a:pos x="144" y="113"/>
                </a:cxn>
                <a:cxn ang="0">
                  <a:pos x="147" y="125"/>
                </a:cxn>
                <a:cxn ang="0">
                  <a:pos x="151" y="136"/>
                </a:cxn>
                <a:cxn ang="0">
                  <a:pos x="151" y="150"/>
                </a:cxn>
                <a:cxn ang="0">
                  <a:pos x="151" y="163"/>
                </a:cxn>
                <a:cxn ang="0">
                  <a:pos x="163" y="159"/>
                </a:cxn>
                <a:cxn ang="0">
                  <a:pos x="174" y="153"/>
                </a:cxn>
                <a:cxn ang="0">
                  <a:pos x="188" y="157"/>
                </a:cxn>
                <a:cxn ang="0">
                  <a:pos x="190" y="173"/>
                </a:cxn>
                <a:cxn ang="0">
                  <a:pos x="190" y="190"/>
                </a:cxn>
                <a:cxn ang="0">
                  <a:pos x="195" y="201"/>
                </a:cxn>
                <a:cxn ang="0">
                  <a:pos x="207" y="211"/>
                </a:cxn>
                <a:cxn ang="0">
                  <a:pos x="215" y="199"/>
                </a:cxn>
                <a:cxn ang="0">
                  <a:pos x="218" y="184"/>
                </a:cxn>
                <a:cxn ang="0">
                  <a:pos x="234" y="190"/>
                </a:cxn>
                <a:cxn ang="0">
                  <a:pos x="241" y="182"/>
                </a:cxn>
                <a:cxn ang="0">
                  <a:pos x="247" y="171"/>
                </a:cxn>
                <a:cxn ang="0">
                  <a:pos x="241" y="161"/>
                </a:cxn>
                <a:cxn ang="0">
                  <a:pos x="243" y="152"/>
                </a:cxn>
                <a:cxn ang="0">
                  <a:pos x="259" y="155"/>
                </a:cxn>
                <a:cxn ang="0">
                  <a:pos x="259" y="144"/>
                </a:cxn>
                <a:cxn ang="0">
                  <a:pos x="249" y="128"/>
                </a:cxn>
                <a:cxn ang="0">
                  <a:pos x="251" y="111"/>
                </a:cxn>
                <a:cxn ang="0">
                  <a:pos x="253" y="94"/>
                </a:cxn>
                <a:cxn ang="0">
                  <a:pos x="241" y="81"/>
                </a:cxn>
                <a:cxn ang="0">
                  <a:pos x="236" y="71"/>
                </a:cxn>
                <a:cxn ang="0">
                  <a:pos x="228" y="63"/>
                </a:cxn>
                <a:cxn ang="0">
                  <a:pos x="228" y="54"/>
                </a:cxn>
                <a:cxn ang="0">
                  <a:pos x="234" y="40"/>
                </a:cxn>
                <a:cxn ang="0">
                  <a:pos x="230" y="29"/>
                </a:cxn>
                <a:cxn ang="0">
                  <a:pos x="220" y="19"/>
                </a:cxn>
                <a:cxn ang="0">
                  <a:pos x="213" y="10"/>
                </a:cxn>
                <a:cxn ang="0">
                  <a:pos x="201" y="0"/>
                </a:cxn>
                <a:cxn ang="0">
                  <a:pos x="197" y="11"/>
                </a:cxn>
                <a:cxn ang="0">
                  <a:pos x="178" y="13"/>
                </a:cxn>
                <a:cxn ang="0">
                  <a:pos x="167" y="15"/>
                </a:cxn>
                <a:cxn ang="0">
                  <a:pos x="155" y="29"/>
                </a:cxn>
                <a:cxn ang="0">
                  <a:pos x="145" y="23"/>
                </a:cxn>
                <a:cxn ang="0">
                  <a:pos x="132" y="19"/>
                </a:cxn>
                <a:cxn ang="0">
                  <a:pos x="128" y="10"/>
                </a:cxn>
                <a:cxn ang="0">
                  <a:pos x="117" y="11"/>
                </a:cxn>
                <a:cxn ang="0">
                  <a:pos x="101" y="10"/>
                </a:cxn>
                <a:cxn ang="0">
                  <a:pos x="86" y="11"/>
                </a:cxn>
                <a:cxn ang="0">
                  <a:pos x="71" y="8"/>
                </a:cxn>
                <a:cxn ang="0">
                  <a:pos x="57" y="6"/>
                </a:cxn>
                <a:cxn ang="0">
                  <a:pos x="51" y="11"/>
                </a:cxn>
                <a:cxn ang="0">
                  <a:pos x="44" y="21"/>
                </a:cxn>
                <a:cxn ang="0">
                  <a:pos x="44" y="38"/>
                </a:cxn>
                <a:cxn ang="0">
                  <a:pos x="26" y="38"/>
                </a:cxn>
                <a:cxn ang="0">
                  <a:pos x="13" y="40"/>
                </a:cxn>
                <a:cxn ang="0">
                  <a:pos x="3" y="56"/>
                </a:cxn>
              </a:cxnLst>
              <a:rect l="0" t="0" r="r" b="b"/>
              <a:pathLst>
                <a:path w="261" h="213">
                  <a:moveTo>
                    <a:pt x="0" y="63"/>
                  </a:moveTo>
                  <a:lnTo>
                    <a:pt x="0" y="67"/>
                  </a:lnTo>
                  <a:lnTo>
                    <a:pt x="0" y="69"/>
                  </a:lnTo>
                  <a:lnTo>
                    <a:pt x="0" y="73"/>
                  </a:lnTo>
                  <a:lnTo>
                    <a:pt x="0" y="75"/>
                  </a:lnTo>
                  <a:lnTo>
                    <a:pt x="2" y="77"/>
                  </a:lnTo>
                  <a:lnTo>
                    <a:pt x="2" y="79"/>
                  </a:lnTo>
                  <a:lnTo>
                    <a:pt x="3" y="79"/>
                  </a:lnTo>
                  <a:lnTo>
                    <a:pt x="5" y="81"/>
                  </a:lnTo>
                  <a:lnTo>
                    <a:pt x="5" y="82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8"/>
                  </a:lnTo>
                  <a:lnTo>
                    <a:pt x="13" y="88"/>
                  </a:lnTo>
                  <a:lnTo>
                    <a:pt x="17" y="92"/>
                  </a:lnTo>
                  <a:lnTo>
                    <a:pt x="21" y="96"/>
                  </a:lnTo>
                  <a:lnTo>
                    <a:pt x="23" y="96"/>
                  </a:lnTo>
                  <a:lnTo>
                    <a:pt x="25" y="98"/>
                  </a:lnTo>
                  <a:lnTo>
                    <a:pt x="28" y="98"/>
                  </a:lnTo>
                  <a:lnTo>
                    <a:pt x="30" y="102"/>
                  </a:lnTo>
                  <a:lnTo>
                    <a:pt x="34" y="105"/>
                  </a:lnTo>
                  <a:lnTo>
                    <a:pt x="34" y="109"/>
                  </a:lnTo>
                  <a:lnTo>
                    <a:pt x="36" y="111"/>
                  </a:lnTo>
                  <a:lnTo>
                    <a:pt x="38" y="111"/>
                  </a:lnTo>
                  <a:lnTo>
                    <a:pt x="40" y="111"/>
                  </a:lnTo>
                  <a:lnTo>
                    <a:pt x="42" y="111"/>
                  </a:lnTo>
                  <a:lnTo>
                    <a:pt x="44" y="111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6" y="115"/>
                  </a:lnTo>
                  <a:lnTo>
                    <a:pt x="48" y="117"/>
                  </a:lnTo>
                  <a:lnTo>
                    <a:pt x="50" y="117"/>
                  </a:lnTo>
                  <a:lnTo>
                    <a:pt x="51" y="119"/>
                  </a:lnTo>
                  <a:lnTo>
                    <a:pt x="53" y="119"/>
                  </a:lnTo>
                  <a:lnTo>
                    <a:pt x="55" y="121"/>
                  </a:lnTo>
                  <a:lnTo>
                    <a:pt x="55" y="123"/>
                  </a:lnTo>
                  <a:lnTo>
                    <a:pt x="55" y="127"/>
                  </a:lnTo>
                  <a:lnTo>
                    <a:pt x="57" y="128"/>
                  </a:lnTo>
                  <a:lnTo>
                    <a:pt x="59" y="130"/>
                  </a:lnTo>
                  <a:lnTo>
                    <a:pt x="59" y="134"/>
                  </a:lnTo>
                  <a:lnTo>
                    <a:pt x="61" y="136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71" y="134"/>
                  </a:lnTo>
                  <a:lnTo>
                    <a:pt x="73" y="134"/>
                  </a:lnTo>
                  <a:lnTo>
                    <a:pt x="73" y="130"/>
                  </a:lnTo>
                  <a:lnTo>
                    <a:pt x="74" y="128"/>
                  </a:lnTo>
                  <a:lnTo>
                    <a:pt x="74" y="121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5"/>
                  </a:lnTo>
                  <a:lnTo>
                    <a:pt x="76" y="113"/>
                  </a:lnTo>
                  <a:lnTo>
                    <a:pt x="78" y="111"/>
                  </a:lnTo>
                  <a:lnTo>
                    <a:pt x="80" y="109"/>
                  </a:lnTo>
                  <a:lnTo>
                    <a:pt x="84" y="107"/>
                  </a:lnTo>
                  <a:lnTo>
                    <a:pt x="86" y="105"/>
                  </a:lnTo>
                  <a:lnTo>
                    <a:pt x="88" y="105"/>
                  </a:lnTo>
                  <a:lnTo>
                    <a:pt x="90" y="104"/>
                  </a:lnTo>
                  <a:lnTo>
                    <a:pt x="96" y="104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101" y="102"/>
                  </a:lnTo>
                  <a:lnTo>
                    <a:pt x="103" y="102"/>
                  </a:lnTo>
                  <a:lnTo>
                    <a:pt x="105" y="102"/>
                  </a:lnTo>
                  <a:lnTo>
                    <a:pt x="107" y="100"/>
                  </a:lnTo>
                  <a:lnTo>
                    <a:pt x="109" y="100"/>
                  </a:lnTo>
                  <a:lnTo>
                    <a:pt x="111" y="98"/>
                  </a:lnTo>
                  <a:lnTo>
                    <a:pt x="113" y="98"/>
                  </a:lnTo>
                  <a:lnTo>
                    <a:pt x="115" y="98"/>
                  </a:lnTo>
                  <a:lnTo>
                    <a:pt x="117" y="98"/>
                  </a:lnTo>
                  <a:lnTo>
                    <a:pt x="119" y="98"/>
                  </a:lnTo>
                  <a:lnTo>
                    <a:pt x="122" y="98"/>
                  </a:lnTo>
                  <a:lnTo>
                    <a:pt x="124" y="98"/>
                  </a:lnTo>
                  <a:lnTo>
                    <a:pt x="124" y="100"/>
                  </a:lnTo>
                  <a:lnTo>
                    <a:pt x="128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6" y="104"/>
                  </a:lnTo>
                  <a:lnTo>
                    <a:pt x="138" y="105"/>
                  </a:lnTo>
                  <a:lnTo>
                    <a:pt x="140" y="105"/>
                  </a:lnTo>
                  <a:lnTo>
                    <a:pt x="140" y="107"/>
                  </a:lnTo>
                  <a:lnTo>
                    <a:pt x="140" y="109"/>
                  </a:lnTo>
                  <a:lnTo>
                    <a:pt x="142" y="111"/>
                  </a:lnTo>
                  <a:lnTo>
                    <a:pt x="144" y="113"/>
                  </a:lnTo>
                  <a:lnTo>
                    <a:pt x="144" y="115"/>
                  </a:lnTo>
                  <a:lnTo>
                    <a:pt x="144" y="117"/>
                  </a:lnTo>
                  <a:lnTo>
                    <a:pt x="145" y="119"/>
                  </a:lnTo>
                  <a:lnTo>
                    <a:pt x="145" y="119"/>
                  </a:lnTo>
                  <a:lnTo>
                    <a:pt x="145" y="121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9" y="125"/>
                  </a:lnTo>
                  <a:lnTo>
                    <a:pt x="151" y="127"/>
                  </a:lnTo>
                  <a:lnTo>
                    <a:pt x="151" y="128"/>
                  </a:lnTo>
                  <a:lnTo>
                    <a:pt x="151" y="130"/>
                  </a:lnTo>
                  <a:lnTo>
                    <a:pt x="151" y="132"/>
                  </a:lnTo>
                  <a:lnTo>
                    <a:pt x="151" y="134"/>
                  </a:lnTo>
                  <a:lnTo>
                    <a:pt x="151" y="136"/>
                  </a:lnTo>
                  <a:lnTo>
                    <a:pt x="151" y="138"/>
                  </a:lnTo>
                  <a:lnTo>
                    <a:pt x="151" y="140"/>
                  </a:lnTo>
                  <a:lnTo>
                    <a:pt x="151" y="142"/>
                  </a:lnTo>
                  <a:lnTo>
                    <a:pt x="151" y="144"/>
                  </a:lnTo>
                  <a:lnTo>
                    <a:pt x="151" y="14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51" y="152"/>
                  </a:lnTo>
                  <a:lnTo>
                    <a:pt x="151" y="155"/>
                  </a:lnTo>
                  <a:lnTo>
                    <a:pt x="151" y="157"/>
                  </a:lnTo>
                  <a:lnTo>
                    <a:pt x="151" y="159"/>
                  </a:lnTo>
                  <a:lnTo>
                    <a:pt x="151" y="161"/>
                  </a:lnTo>
                  <a:lnTo>
                    <a:pt x="149" y="163"/>
                  </a:lnTo>
                  <a:lnTo>
                    <a:pt x="151" y="163"/>
                  </a:lnTo>
                  <a:lnTo>
                    <a:pt x="155" y="163"/>
                  </a:lnTo>
                  <a:lnTo>
                    <a:pt x="155" y="163"/>
                  </a:lnTo>
                  <a:lnTo>
                    <a:pt x="157" y="163"/>
                  </a:lnTo>
                  <a:lnTo>
                    <a:pt x="159" y="163"/>
                  </a:lnTo>
                  <a:lnTo>
                    <a:pt x="161" y="163"/>
                  </a:lnTo>
                  <a:lnTo>
                    <a:pt x="161" y="161"/>
                  </a:lnTo>
                  <a:lnTo>
                    <a:pt x="163" y="159"/>
                  </a:lnTo>
                  <a:lnTo>
                    <a:pt x="165" y="157"/>
                  </a:lnTo>
                  <a:lnTo>
                    <a:pt x="167" y="157"/>
                  </a:lnTo>
                  <a:lnTo>
                    <a:pt x="168" y="155"/>
                  </a:lnTo>
                  <a:lnTo>
                    <a:pt x="168" y="153"/>
                  </a:lnTo>
                  <a:lnTo>
                    <a:pt x="172" y="153"/>
                  </a:lnTo>
                  <a:lnTo>
                    <a:pt x="172" y="153"/>
                  </a:lnTo>
                  <a:lnTo>
                    <a:pt x="174" y="153"/>
                  </a:lnTo>
                  <a:lnTo>
                    <a:pt x="178" y="155"/>
                  </a:lnTo>
                  <a:lnTo>
                    <a:pt x="180" y="155"/>
                  </a:lnTo>
                  <a:lnTo>
                    <a:pt x="182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6" y="155"/>
                  </a:lnTo>
                  <a:lnTo>
                    <a:pt x="188" y="157"/>
                  </a:lnTo>
                  <a:lnTo>
                    <a:pt x="188" y="159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8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90" y="186"/>
                  </a:lnTo>
                  <a:lnTo>
                    <a:pt x="190" y="190"/>
                  </a:lnTo>
                  <a:lnTo>
                    <a:pt x="190" y="192"/>
                  </a:lnTo>
                  <a:lnTo>
                    <a:pt x="188" y="194"/>
                  </a:lnTo>
                  <a:lnTo>
                    <a:pt x="188" y="196"/>
                  </a:lnTo>
                  <a:lnTo>
                    <a:pt x="188" y="199"/>
                  </a:lnTo>
                  <a:lnTo>
                    <a:pt x="191" y="199"/>
                  </a:lnTo>
                  <a:lnTo>
                    <a:pt x="193" y="199"/>
                  </a:lnTo>
                  <a:lnTo>
                    <a:pt x="195" y="201"/>
                  </a:lnTo>
                  <a:lnTo>
                    <a:pt x="197" y="203"/>
                  </a:lnTo>
                  <a:lnTo>
                    <a:pt x="201" y="205"/>
                  </a:lnTo>
                  <a:lnTo>
                    <a:pt x="203" y="207"/>
                  </a:lnTo>
                  <a:lnTo>
                    <a:pt x="203" y="207"/>
                  </a:lnTo>
                  <a:lnTo>
                    <a:pt x="205" y="211"/>
                  </a:lnTo>
                  <a:lnTo>
                    <a:pt x="207" y="213"/>
                  </a:lnTo>
                  <a:lnTo>
                    <a:pt x="207" y="211"/>
                  </a:lnTo>
                  <a:lnTo>
                    <a:pt x="209" y="209"/>
                  </a:lnTo>
                  <a:lnTo>
                    <a:pt x="211" y="207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213" y="203"/>
                  </a:lnTo>
                  <a:lnTo>
                    <a:pt x="213" y="201"/>
                  </a:lnTo>
                  <a:lnTo>
                    <a:pt x="215" y="199"/>
                  </a:lnTo>
                  <a:lnTo>
                    <a:pt x="215" y="198"/>
                  </a:lnTo>
                  <a:lnTo>
                    <a:pt x="215" y="196"/>
                  </a:lnTo>
                  <a:lnTo>
                    <a:pt x="216" y="194"/>
                  </a:lnTo>
                  <a:lnTo>
                    <a:pt x="216" y="192"/>
                  </a:lnTo>
                  <a:lnTo>
                    <a:pt x="216" y="190"/>
                  </a:lnTo>
                  <a:lnTo>
                    <a:pt x="218" y="188"/>
                  </a:lnTo>
                  <a:lnTo>
                    <a:pt x="218" y="184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4" y="184"/>
                  </a:lnTo>
                  <a:lnTo>
                    <a:pt x="228" y="186"/>
                  </a:lnTo>
                  <a:lnTo>
                    <a:pt x="230" y="186"/>
                  </a:lnTo>
                  <a:lnTo>
                    <a:pt x="232" y="188"/>
                  </a:lnTo>
                  <a:lnTo>
                    <a:pt x="234" y="190"/>
                  </a:lnTo>
                  <a:lnTo>
                    <a:pt x="236" y="190"/>
                  </a:lnTo>
                  <a:lnTo>
                    <a:pt x="239" y="190"/>
                  </a:lnTo>
                  <a:lnTo>
                    <a:pt x="241" y="190"/>
                  </a:lnTo>
                  <a:lnTo>
                    <a:pt x="241" y="188"/>
                  </a:lnTo>
                  <a:lnTo>
                    <a:pt x="241" y="186"/>
                  </a:lnTo>
                  <a:lnTo>
                    <a:pt x="241" y="184"/>
                  </a:lnTo>
                  <a:lnTo>
                    <a:pt x="241" y="182"/>
                  </a:lnTo>
                  <a:lnTo>
                    <a:pt x="241" y="180"/>
                  </a:lnTo>
                  <a:lnTo>
                    <a:pt x="243" y="178"/>
                  </a:lnTo>
                  <a:lnTo>
                    <a:pt x="243" y="176"/>
                  </a:lnTo>
                  <a:lnTo>
                    <a:pt x="243" y="175"/>
                  </a:lnTo>
                  <a:lnTo>
                    <a:pt x="245" y="175"/>
                  </a:lnTo>
                  <a:lnTo>
                    <a:pt x="245" y="173"/>
                  </a:lnTo>
                  <a:lnTo>
                    <a:pt x="247" y="171"/>
                  </a:lnTo>
                  <a:lnTo>
                    <a:pt x="247" y="169"/>
                  </a:lnTo>
                  <a:lnTo>
                    <a:pt x="249" y="169"/>
                  </a:lnTo>
                  <a:lnTo>
                    <a:pt x="249" y="167"/>
                  </a:lnTo>
                  <a:lnTo>
                    <a:pt x="247" y="165"/>
                  </a:lnTo>
                  <a:lnTo>
                    <a:pt x="245" y="163"/>
                  </a:lnTo>
                  <a:lnTo>
                    <a:pt x="243" y="163"/>
                  </a:lnTo>
                  <a:lnTo>
                    <a:pt x="241" y="161"/>
                  </a:lnTo>
                  <a:lnTo>
                    <a:pt x="241" y="159"/>
                  </a:lnTo>
                  <a:lnTo>
                    <a:pt x="239" y="157"/>
                  </a:lnTo>
                  <a:lnTo>
                    <a:pt x="238" y="157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9" y="155"/>
                  </a:lnTo>
                  <a:lnTo>
                    <a:pt x="243" y="152"/>
                  </a:lnTo>
                  <a:lnTo>
                    <a:pt x="245" y="152"/>
                  </a:lnTo>
                  <a:lnTo>
                    <a:pt x="247" y="153"/>
                  </a:lnTo>
                  <a:lnTo>
                    <a:pt x="251" y="155"/>
                  </a:lnTo>
                  <a:lnTo>
                    <a:pt x="255" y="155"/>
                  </a:lnTo>
                  <a:lnTo>
                    <a:pt x="255" y="155"/>
                  </a:lnTo>
                  <a:lnTo>
                    <a:pt x="257" y="155"/>
                  </a:lnTo>
                  <a:lnTo>
                    <a:pt x="259" y="155"/>
                  </a:lnTo>
                  <a:lnTo>
                    <a:pt x="261" y="155"/>
                  </a:lnTo>
                  <a:lnTo>
                    <a:pt x="261" y="152"/>
                  </a:lnTo>
                  <a:lnTo>
                    <a:pt x="261" y="150"/>
                  </a:lnTo>
                  <a:lnTo>
                    <a:pt x="259" y="150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7" y="140"/>
                  </a:lnTo>
                  <a:lnTo>
                    <a:pt x="255" y="138"/>
                  </a:lnTo>
                  <a:lnTo>
                    <a:pt x="253" y="134"/>
                  </a:lnTo>
                  <a:lnTo>
                    <a:pt x="251" y="134"/>
                  </a:lnTo>
                  <a:lnTo>
                    <a:pt x="251" y="134"/>
                  </a:lnTo>
                  <a:lnTo>
                    <a:pt x="249" y="132"/>
                  </a:lnTo>
                  <a:lnTo>
                    <a:pt x="249" y="128"/>
                  </a:lnTo>
                  <a:lnTo>
                    <a:pt x="249" y="125"/>
                  </a:lnTo>
                  <a:lnTo>
                    <a:pt x="249" y="123"/>
                  </a:lnTo>
                  <a:lnTo>
                    <a:pt x="249" y="119"/>
                  </a:lnTo>
                  <a:lnTo>
                    <a:pt x="249" y="117"/>
                  </a:lnTo>
                  <a:lnTo>
                    <a:pt x="251" y="115"/>
                  </a:lnTo>
                  <a:lnTo>
                    <a:pt x="251" y="113"/>
                  </a:lnTo>
                  <a:lnTo>
                    <a:pt x="251" y="111"/>
                  </a:lnTo>
                  <a:lnTo>
                    <a:pt x="251" y="107"/>
                  </a:lnTo>
                  <a:lnTo>
                    <a:pt x="251" y="105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1" y="98"/>
                  </a:lnTo>
                  <a:lnTo>
                    <a:pt x="253" y="96"/>
                  </a:lnTo>
                  <a:lnTo>
                    <a:pt x="253" y="94"/>
                  </a:lnTo>
                  <a:lnTo>
                    <a:pt x="251" y="92"/>
                  </a:lnTo>
                  <a:lnTo>
                    <a:pt x="251" y="90"/>
                  </a:lnTo>
                  <a:lnTo>
                    <a:pt x="247" y="90"/>
                  </a:lnTo>
                  <a:lnTo>
                    <a:pt x="245" y="88"/>
                  </a:lnTo>
                  <a:lnTo>
                    <a:pt x="243" y="84"/>
                  </a:lnTo>
                  <a:lnTo>
                    <a:pt x="241" y="82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77"/>
                  </a:lnTo>
                  <a:lnTo>
                    <a:pt x="241" y="75"/>
                  </a:lnTo>
                  <a:lnTo>
                    <a:pt x="239" y="73"/>
                  </a:lnTo>
                  <a:lnTo>
                    <a:pt x="238" y="73"/>
                  </a:lnTo>
                  <a:lnTo>
                    <a:pt x="236" y="73"/>
                  </a:lnTo>
                  <a:lnTo>
                    <a:pt x="236" y="71"/>
                  </a:lnTo>
                  <a:lnTo>
                    <a:pt x="236" y="69"/>
                  </a:lnTo>
                  <a:lnTo>
                    <a:pt x="236" y="67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1"/>
                  </a:lnTo>
                  <a:lnTo>
                    <a:pt x="230" y="61"/>
                  </a:lnTo>
                  <a:lnTo>
                    <a:pt x="228" y="63"/>
                  </a:lnTo>
                  <a:lnTo>
                    <a:pt x="228" y="63"/>
                  </a:lnTo>
                  <a:lnTo>
                    <a:pt x="226" y="63"/>
                  </a:lnTo>
                  <a:lnTo>
                    <a:pt x="226" y="61"/>
                  </a:lnTo>
                  <a:lnTo>
                    <a:pt x="228" y="61"/>
                  </a:lnTo>
                  <a:lnTo>
                    <a:pt x="228" y="57"/>
                  </a:lnTo>
                  <a:lnTo>
                    <a:pt x="228" y="56"/>
                  </a:lnTo>
                  <a:lnTo>
                    <a:pt x="228" y="54"/>
                  </a:lnTo>
                  <a:lnTo>
                    <a:pt x="230" y="52"/>
                  </a:lnTo>
                  <a:lnTo>
                    <a:pt x="232" y="50"/>
                  </a:lnTo>
                  <a:lnTo>
                    <a:pt x="232" y="46"/>
                  </a:lnTo>
                  <a:lnTo>
                    <a:pt x="234" y="46"/>
                  </a:lnTo>
                  <a:lnTo>
                    <a:pt x="234" y="44"/>
                  </a:lnTo>
                  <a:lnTo>
                    <a:pt x="234" y="42"/>
                  </a:lnTo>
                  <a:lnTo>
                    <a:pt x="234" y="40"/>
                  </a:lnTo>
                  <a:lnTo>
                    <a:pt x="234" y="38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2" y="34"/>
                  </a:lnTo>
                  <a:lnTo>
                    <a:pt x="232" y="33"/>
                  </a:lnTo>
                  <a:lnTo>
                    <a:pt x="230" y="31"/>
                  </a:lnTo>
                  <a:lnTo>
                    <a:pt x="230" y="29"/>
                  </a:lnTo>
                  <a:lnTo>
                    <a:pt x="228" y="29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4" y="25"/>
                  </a:lnTo>
                  <a:lnTo>
                    <a:pt x="222" y="23"/>
                  </a:lnTo>
                  <a:lnTo>
                    <a:pt x="222" y="21"/>
                  </a:lnTo>
                  <a:lnTo>
                    <a:pt x="220" y="19"/>
                  </a:lnTo>
                  <a:lnTo>
                    <a:pt x="218" y="19"/>
                  </a:lnTo>
                  <a:lnTo>
                    <a:pt x="218" y="17"/>
                  </a:lnTo>
                  <a:lnTo>
                    <a:pt x="216" y="15"/>
                  </a:lnTo>
                  <a:lnTo>
                    <a:pt x="216" y="15"/>
                  </a:lnTo>
                  <a:lnTo>
                    <a:pt x="215" y="13"/>
                  </a:lnTo>
                  <a:lnTo>
                    <a:pt x="213" y="11"/>
                  </a:lnTo>
                  <a:lnTo>
                    <a:pt x="213" y="10"/>
                  </a:lnTo>
                  <a:lnTo>
                    <a:pt x="211" y="8"/>
                  </a:lnTo>
                  <a:lnTo>
                    <a:pt x="211" y="6"/>
                  </a:lnTo>
                  <a:lnTo>
                    <a:pt x="207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3" y="2"/>
                  </a:lnTo>
                  <a:lnTo>
                    <a:pt x="201" y="0"/>
                  </a:lnTo>
                  <a:lnTo>
                    <a:pt x="199" y="0"/>
                  </a:lnTo>
                  <a:lnTo>
                    <a:pt x="197" y="0"/>
                  </a:lnTo>
                  <a:lnTo>
                    <a:pt x="197" y="4"/>
                  </a:lnTo>
                  <a:lnTo>
                    <a:pt x="197" y="8"/>
                  </a:lnTo>
                  <a:lnTo>
                    <a:pt x="199" y="10"/>
                  </a:lnTo>
                  <a:lnTo>
                    <a:pt x="199" y="11"/>
                  </a:lnTo>
                  <a:lnTo>
                    <a:pt x="197" y="11"/>
                  </a:lnTo>
                  <a:lnTo>
                    <a:pt x="195" y="11"/>
                  </a:lnTo>
                  <a:lnTo>
                    <a:pt x="193" y="11"/>
                  </a:lnTo>
                  <a:lnTo>
                    <a:pt x="191" y="13"/>
                  </a:lnTo>
                  <a:lnTo>
                    <a:pt x="190" y="13"/>
                  </a:lnTo>
                  <a:lnTo>
                    <a:pt x="184" y="13"/>
                  </a:lnTo>
                  <a:lnTo>
                    <a:pt x="180" y="13"/>
                  </a:lnTo>
                  <a:lnTo>
                    <a:pt x="178" y="13"/>
                  </a:lnTo>
                  <a:lnTo>
                    <a:pt x="176" y="13"/>
                  </a:lnTo>
                  <a:lnTo>
                    <a:pt x="174" y="13"/>
                  </a:lnTo>
                  <a:lnTo>
                    <a:pt x="172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68" y="15"/>
                  </a:lnTo>
                  <a:lnTo>
                    <a:pt x="167" y="15"/>
                  </a:lnTo>
                  <a:lnTo>
                    <a:pt x="167" y="17"/>
                  </a:lnTo>
                  <a:lnTo>
                    <a:pt x="165" y="17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59" y="23"/>
                  </a:lnTo>
                  <a:lnTo>
                    <a:pt x="157" y="27"/>
                  </a:lnTo>
                  <a:lnTo>
                    <a:pt x="155" y="29"/>
                  </a:lnTo>
                  <a:lnTo>
                    <a:pt x="153" y="31"/>
                  </a:lnTo>
                  <a:lnTo>
                    <a:pt x="151" y="29"/>
                  </a:lnTo>
                  <a:lnTo>
                    <a:pt x="149" y="29"/>
                  </a:lnTo>
                  <a:lnTo>
                    <a:pt x="147" y="27"/>
                  </a:lnTo>
                  <a:lnTo>
                    <a:pt x="147" y="25"/>
                  </a:lnTo>
                  <a:lnTo>
                    <a:pt x="145" y="25"/>
                  </a:lnTo>
                  <a:lnTo>
                    <a:pt x="145" y="23"/>
                  </a:lnTo>
                  <a:lnTo>
                    <a:pt x="145" y="21"/>
                  </a:lnTo>
                  <a:lnTo>
                    <a:pt x="144" y="19"/>
                  </a:lnTo>
                  <a:lnTo>
                    <a:pt x="144" y="17"/>
                  </a:lnTo>
                  <a:lnTo>
                    <a:pt x="140" y="15"/>
                  </a:lnTo>
                  <a:lnTo>
                    <a:pt x="138" y="15"/>
                  </a:lnTo>
                  <a:lnTo>
                    <a:pt x="136" y="15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2" y="15"/>
                  </a:lnTo>
                  <a:lnTo>
                    <a:pt x="130" y="15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28" y="11"/>
                  </a:lnTo>
                  <a:lnTo>
                    <a:pt x="128" y="10"/>
                  </a:lnTo>
                  <a:lnTo>
                    <a:pt x="126" y="10"/>
                  </a:lnTo>
                  <a:lnTo>
                    <a:pt x="128" y="11"/>
                  </a:lnTo>
                  <a:lnTo>
                    <a:pt x="124" y="11"/>
                  </a:lnTo>
                  <a:lnTo>
                    <a:pt x="122" y="11"/>
                  </a:lnTo>
                  <a:lnTo>
                    <a:pt x="120" y="11"/>
                  </a:lnTo>
                  <a:lnTo>
                    <a:pt x="119" y="11"/>
                  </a:lnTo>
                  <a:lnTo>
                    <a:pt x="117" y="11"/>
                  </a:lnTo>
                  <a:lnTo>
                    <a:pt x="115" y="11"/>
                  </a:lnTo>
                  <a:lnTo>
                    <a:pt x="113" y="11"/>
                  </a:lnTo>
                  <a:lnTo>
                    <a:pt x="111" y="11"/>
                  </a:lnTo>
                  <a:lnTo>
                    <a:pt x="109" y="11"/>
                  </a:lnTo>
                  <a:lnTo>
                    <a:pt x="107" y="11"/>
                  </a:lnTo>
                  <a:lnTo>
                    <a:pt x="105" y="11"/>
                  </a:lnTo>
                  <a:lnTo>
                    <a:pt x="101" y="10"/>
                  </a:lnTo>
                  <a:lnTo>
                    <a:pt x="99" y="10"/>
                  </a:lnTo>
                  <a:lnTo>
                    <a:pt x="97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0" y="11"/>
                  </a:lnTo>
                  <a:lnTo>
                    <a:pt x="86" y="11"/>
                  </a:lnTo>
                  <a:lnTo>
                    <a:pt x="84" y="11"/>
                  </a:lnTo>
                  <a:lnTo>
                    <a:pt x="82" y="11"/>
                  </a:lnTo>
                  <a:lnTo>
                    <a:pt x="80" y="11"/>
                  </a:lnTo>
                  <a:lnTo>
                    <a:pt x="78" y="10"/>
                  </a:lnTo>
                  <a:lnTo>
                    <a:pt x="74" y="10"/>
                  </a:lnTo>
                  <a:lnTo>
                    <a:pt x="73" y="10"/>
                  </a:lnTo>
                  <a:lnTo>
                    <a:pt x="71" y="8"/>
                  </a:lnTo>
                  <a:lnTo>
                    <a:pt x="69" y="8"/>
                  </a:lnTo>
                  <a:lnTo>
                    <a:pt x="67" y="8"/>
                  </a:lnTo>
                  <a:lnTo>
                    <a:pt x="63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5" y="6"/>
                  </a:lnTo>
                  <a:lnTo>
                    <a:pt x="55" y="10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48" y="13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4" y="21"/>
                  </a:lnTo>
                  <a:lnTo>
                    <a:pt x="44" y="23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50" y="33"/>
                  </a:lnTo>
                  <a:lnTo>
                    <a:pt x="48" y="34"/>
                  </a:lnTo>
                  <a:lnTo>
                    <a:pt x="46" y="36"/>
                  </a:lnTo>
                  <a:lnTo>
                    <a:pt x="44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3" y="38"/>
                  </a:lnTo>
                  <a:lnTo>
                    <a:pt x="21" y="38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7" y="46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3" y="52"/>
                  </a:lnTo>
                  <a:lnTo>
                    <a:pt x="3" y="56"/>
                  </a:lnTo>
                  <a:lnTo>
                    <a:pt x="3" y="57"/>
                  </a:lnTo>
                  <a:lnTo>
                    <a:pt x="2" y="57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0" name="Freeform 76"/>
            <p:cNvSpPr>
              <a:spLocks/>
            </p:cNvSpPr>
            <p:nvPr/>
          </p:nvSpPr>
          <p:spPr bwMode="auto">
            <a:xfrm>
              <a:off x="625" y="1860"/>
              <a:ext cx="261" cy="213"/>
            </a:xfrm>
            <a:custGeom>
              <a:avLst/>
              <a:gdLst/>
              <a:ahLst/>
              <a:cxnLst>
                <a:cxn ang="0">
                  <a:pos x="2" y="79"/>
                </a:cxn>
                <a:cxn ang="0">
                  <a:pos x="11" y="88"/>
                </a:cxn>
                <a:cxn ang="0">
                  <a:pos x="30" y="102"/>
                </a:cxn>
                <a:cxn ang="0">
                  <a:pos x="44" y="111"/>
                </a:cxn>
                <a:cxn ang="0">
                  <a:pos x="53" y="119"/>
                </a:cxn>
                <a:cxn ang="0">
                  <a:pos x="61" y="136"/>
                </a:cxn>
                <a:cxn ang="0">
                  <a:pos x="69" y="138"/>
                </a:cxn>
                <a:cxn ang="0">
                  <a:pos x="74" y="117"/>
                </a:cxn>
                <a:cxn ang="0">
                  <a:pos x="88" y="105"/>
                </a:cxn>
                <a:cxn ang="0">
                  <a:pos x="105" y="102"/>
                </a:cxn>
                <a:cxn ang="0">
                  <a:pos x="119" y="98"/>
                </a:cxn>
                <a:cxn ang="0">
                  <a:pos x="134" y="102"/>
                </a:cxn>
                <a:cxn ang="0">
                  <a:pos x="144" y="113"/>
                </a:cxn>
                <a:cxn ang="0">
                  <a:pos x="147" y="125"/>
                </a:cxn>
                <a:cxn ang="0">
                  <a:pos x="151" y="136"/>
                </a:cxn>
                <a:cxn ang="0">
                  <a:pos x="151" y="150"/>
                </a:cxn>
                <a:cxn ang="0">
                  <a:pos x="151" y="163"/>
                </a:cxn>
                <a:cxn ang="0">
                  <a:pos x="163" y="159"/>
                </a:cxn>
                <a:cxn ang="0">
                  <a:pos x="174" y="153"/>
                </a:cxn>
                <a:cxn ang="0">
                  <a:pos x="188" y="157"/>
                </a:cxn>
                <a:cxn ang="0">
                  <a:pos x="190" y="173"/>
                </a:cxn>
                <a:cxn ang="0">
                  <a:pos x="190" y="190"/>
                </a:cxn>
                <a:cxn ang="0">
                  <a:pos x="195" y="201"/>
                </a:cxn>
                <a:cxn ang="0">
                  <a:pos x="207" y="211"/>
                </a:cxn>
                <a:cxn ang="0">
                  <a:pos x="215" y="199"/>
                </a:cxn>
                <a:cxn ang="0">
                  <a:pos x="218" y="184"/>
                </a:cxn>
                <a:cxn ang="0">
                  <a:pos x="234" y="190"/>
                </a:cxn>
                <a:cxn ang="0">
                  <a:pos x="241" y="182"/>
                </a:cxn>
                <a:cxn ang="0">
                  <a:pos x="247" y="171"/>
                </a:cxn>
                <a:cxn ang="0">
                  <a:pos x="241" y="161"/>
                </a:cxn>
                <a:cxn ang="0">
                  <a:pos x="243" y="152"/>
                </a:cxn>
                <a:cxn ang="0">
                  <a:pos x="259" y="155"/>
                </a:cxn>
                <a:cxn ang="0">
                  <a:pos x="259" y="144"/>
                </a:cxn>
                <a:cxn ang="0">
                  <a:pos x="249" y="128"/>
                </a:cxn>
                <a:cxn ang="0">
                  <a:pos x="251" y="111"/>
                </a:cxn>
                <a:cxn ang="0">
                  <a:pos x="253" y="94"/>
                </a:cxn>
                <a:cxn ang="0">
                  <a:pos x="241" y="81"/>
                </a:cxn>
                <a:cxn ang="0">
                  <a:pos x="236" y="71"/>
                </a:cxn>
                <a:cxn ang="0">
                  <a:pos x="228" y="63"/>
                </a:cxn>
                <a:cxn ang="0">
                  <a:pos x="228" y="54"/>
                </a:cxn>
                <a:cxn ang="0">
                  <a:pos x="234" y="40"/>
                </a:cxn>
                <a:cxn ang="0">
                  <a:pos x="230" y="29"/>
                </a:cxn>
                <a:cxn ang="0">
                  <a:pos x="220" y="19"/>
                </a:cxn>
                <a:cxn ang="0">
                  <a:pos x="213" y="10"/>
                </a:cxn>
                <a:cxn ang="0">
                  <a:pos x="201" y="0"/>
                </a:cxn>
                <a:cxn ang="0">
                  <a:pos x="197" y="11"/>
                </a:cxn>
                <a:cxn ang="0">
                  <a:pos x="178" y="13"/>
                </a:cxn>
                <a:cxn ang="0">
                  <a:pos x="167" y="15"/>
                </a:cxn>
                <a:cxn ang="0">
                  <a:pos x="155" y="29"/>
                </a:cxn>
                <a:cxn ang="0">
                  <a:pos x="145" y="23"/>
                </a:cxn>
                <a:cxn ang="0">
                  <a:pos x="132" y="19"/>
                </a:cxn>
                <a:cxn ang="0">
                  <a:pos x="128" y="10"/>
                </a:cxn>
                <a:cxn ang="0">
                  <a:pos x="117" y="11"/>
                </a:cxn>
                <a:cxn ang="0">
                  <a:pos x="101" y="10"/>
                </a:cxn>
                <a:cxn ang="0">
                  <a:pos x="86" y="11"/>
                </a:cxn>
                <a:cxn ang="0">
                  <a:pos x="71" y="8"/>
                </a:cxn>
                <a:cxn ang="0">
                  <a:pos x="57" y="6"/>
                </a:cxn>
                <a:cxn ang="0">
                  <a:pos x="51" y="11"/>
                </a:cxn>
                <a:cxn ang="0">
                  <a:pos x="44" y="21"/>
                </a:cxn>
                <a:cxn ang="0">
                  <a:pos x="44" y="38"/>
                </a:cxn>
                <a:cxn ang="0">
                  <a:pos x="26" y="38"/>
                </a:cxn>
                <a:cxn ang="0">
                  <a:pos x="13" y="40"/>
                </a:cxn>
                <a:cxn ang="0">
                  <a:pos x="3" y="56"/>
                </a:cxn>
              </a:cxnLst>
              <a:rect l="0" t="0" r="r" b="b"/>
              <a:pathLst>
                <a:path w="261" h="213">
                  <a:moveTo>
                    <a:pt x="0" y="63"/>
                  </a:moveTo>
                  <a:lnTo>
                    <a:pt x="0" y="67"/>
                  </a:lnTo>
                  <a:lnTo>
                    <a:pt x="0" y="69"/>
                  </a:lnTo>
                  <a:lnTo>
                    <a:pt x="0" y="73"/>
                  </a:lnTo>
                  <a:lnTo>
                    <a:pt x="0" y="75"/>
                  </a:lnTo>
                  <a:lnTo>
                    <a:pt x="2" y="77"/>
                  </a:lnTo>
                  <a:lnTo>
                    <a:pt x="2" y="79"/>
                  </a:lnTo>
                  <a:lnTo>
                    <a:pt x="3" y="79"/>
                  </a:lnTo>
                  <a:lnTo>
                    <a:pt x="5" y="81"/>
                  </a:lnTo>
                  <a:lnTo>
                    <a:pt x="5" y="82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8"/>
                  </a:lnTo>
                  <a:lnTo>
                    <a:pt x="13" y="88"/>
                  </a:lnTo>
                  <a:lnTo>
                    <a:pt x="17" y="92"/>
                  </a:lnTo>
                  <a:lnTo>
                    <a:pt x="21" y="96"/>
                  </a:lnTo>
                  <a:lnTo>
                    <a:pt x="23" y="96"/>
                  </a:lnTo>
                  <a:lnTo>
                    <a:pt x="25" y="98"/>
                  </a:lnTo>
                  <a:lnTo>
                    <a:pt x="28" y="98"/>
                  </a:lnTo>
                  <a:lnTo>
                    <a:pt x="30" y="102"/>
                  </a:lnTo>
                  <a:lnTo>
                    <a:pt x="34" y="105"/>
                  </a:lnTo>
                  <a:lnTo>
                    <a:pt x="34" y="109"/>
                  </a:lnTo>
                  <a:lnTo>
                    <a:pt x="36" y="111"/>
                  </a:lnTo>
                  <a:lnTo>
                    <a:pt x="38" y="111"/>
                  </a:lnTo>
                  <a:lnTo>
                    <a:pt x="40" y="111"/>
                  </a:lnTo>
                  <a:lnTo>
                    <a:pt x="42" y="111"/>
                  </a:lnTo>
                  <a:lnTo>
                    <a:pt x="44" y="111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6" y="115"/>
                  </a:lnTo>
                  <a:lnTo>
                    <a:pt x="48" y="117"/>
                  </a:lnTo>
                  <a:lnTo>
                    <a:pt x="50" y="117"/>
                  </a:lnTo>
                  <a:lnTo>
                    <a:pt x="51" y="119"/>
                  </a:lnTo>
                  <a:lnTo>
                    <a:pt x="53" y="119"/>
                  </a:lnTo>
                  <a:lnTo>
                    <a:pt x="55" y="121"/>
                  </a:lnTo>
                  <a:lnTo>
                    <a:pt x="55" y="123"/>
                  </a:lnTo>
                  <a:lnTo>
                    <a:pt x="55" y="127"/>
                  </a:lnTo>
                  <a:lnTo>
                    <a:pt x="57" y="128"/>
                  </a:lnTo>
                  <a:lnTo>
                    <a:pt x="59" y="130"/>
                  </a:lnTo>
                  <a:lnTo>
                    <a:pt x="59" y="134"/>
                  </a:lnTo>
                  <a:lnTo>
                    <a:pt x="61" y="136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71" y="134"/>
                  </a:lnTo>
                  <a:lnTo>
                    <a:pt x="73" y="134"/>
                  </a:lnTo>
                  <a:lnTo>
                    <a:pt x="73" y="130"/>
                  </a:lnTo>
                  <a:lnTo>
                    <a:pt x="74" y="128"/>
                  </a:lnTo>
                  <a:lnTo>
                    <a:pt x="74" y="121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5"/>
                  </a:lnTo>
                  <a:lnTo>
                    <a:pt x="76" y="113"/>
                  </a:lnTo>
                  <a:lnTo>
                    <a:pt x="78" y="111"/>
                  </a:lnTo>
                  <a:lnTo>
                    <a:pt x="80" y="109"/>
                  </a:lnTo>
                  <a:lnTo>
                    <a:pt x="84" y="107"/>
                  </a:lnTo>
                  <a:lnTo>
                    <a:pt x="86" y="105"/>
                  </a:lnTo>
                  <a:lnTo>
                    <a:pt x="88" y="105"/>
                  </a:lnTo>
                  <a:lnTo>
                    <a:pt x="90" y="104"/>
                  </a:lnTo>
                  <a:lnTo>
                    <a:pt x="96" y="104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101" y="102"/>
                  </a:lnTo>
                  <a:lnTo>
                    <a:pt x="103" y="102"/>
                  </a:lnTo>
                  <a:lnTo>
                    <a:pt x="105" y="102"/>
                  </a:lnTo>
                  <a:lnTo>
                    <a:pt x="107" y="100"/>
                  </a:lnTo>
                  <a:lnTo>
                    <a:pt x="109" y="100"/>
                  </a:lnTo>
                  <a:lnTo>
                    <a:pt x="111" y="98"/>
                  </a:lnTo>
                  <a:lnTo>
                    <a:pt x="113" y="98"/>
                  </a:lnTo>
                  <a:lnTo>
                    <a:pt x="115" y="98"/>
                  </a:lnTo>
                  <a:lnTo>
                    <a:pt x="117" y="98"/>
                  </a:lnTo>
                  <a:lnTo>
                    <a:pt x="119" y="98"/>
                  </a:lnTo>
                  <a:lnTo>
                    <a:pt x="122" y="98"/>
                  </a:lnTo>
                  <a:lnTo>
                    <a:pt x="124" y="98"/>
                  </a:lnTo>
                  <a:lnTo>
                    <a:pt x="124" y="100"/>
                  </a:lnTo>
                  <a:lnTo>
                    <a:pt x="128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6" y="104"/>
                  </a:lnTo>
                  <a:lnTo>
                    <a:pt x="138" y="105"/>
                  </a:lnTo>
                  <a:lnTo>
                    <a:pt x="140" y="105"/>
                  </a:lnTo>
                  <a:lnTo>
                    <a:pt x="140" y="107"/>
                  </a:lnTo>
                  <a:lnTo>
                    <a:pt x="140" y="109"/>
                  </a:lnTo>
                  <a:lnTo>
                    <a:pt x="142" y="111"/>
                  </a:lnTo>
                  <a:lnTo>
                    <a:pt x="144" y="113"/>
                  </a:lnTo>
                  <a:lnTo>
                    <a:pt x="144" y="115"/>
                  </a:lnTo>
                  <a:lnTo>
                    <a:pt x="144" y="117"/>
                  </a:lnTo>
                  <a:lnTo>
                    <a:pt x="145" y="119"/>
                  </a:lnTo>
                  <a:lnTo>
                    <a:pt x="145" y="119"/>
                  </a:lnTo>
                  <a:lnTo>
                    <a:pt x="145" y="121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9" y="125"/>
                  </a:lnTo>
                  <a:lnTo>
                    <a:pt x="151" y="127"/>
                  </a:lnTo>
                  <a:lnTo>
                    <a:pt x="151" y="128"/>
                  </a:lnTo>
                  <a:lnTo>
                    <a:pt x="151" y="130"/>
                  </a:lnTo>
                  <a:lnTo>
                    <a:pt x="151" y="132"/>
                  </a:lnTo>
                  <a:lnTo>
                    <a:pt x="151" y="134"/>
                  </a:lnTo>
                  <a:lnTo>
                    <a:pt x="151" y="136"/>
                  </a:lnTo>
                  <a:lnTo>
                    <a:pt x="151" y="138"/>
                  </a:lnTo>
                  <a:lnTo>
                    <a:pt x="151" y="140"/>
                  </a:lnTo>
                  <a:lnTo>
                    <a:pt x="151" y="142"/>
                  </a:lnTo>
                  <a:lnTo>
                    <a:pt x="151" y="144"/>
                  </a:lnTo>
                  <a:lnTo>
                    <a:pt x="151" y="14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51" y="152"/>
                  </a:lnTo>
                  <a:lnTo>
                    <a:pt x="151" y="155"/>
                  </a:lnTo>
                  <a:lnTo>
                    <a:pt x="151" y="157"/>
                  </a:lnTo>
                  <a:lnTo>
                    <a:pt x="151" y="159"/>
                  </a:lnTo>
                  <a:lnTo>
                    <a:pt x="151" y="161"/>
                  </a:lnTo>
                  <a:lnTo>
                    <a:pt x="149" y="163"/>
                  </a:lnTo>
                  <a:lnTo>
                    <a:pt x="151" y="163"/>
                  </a:lnTo>
                  <a:lnTo>
                    <a:pt x="155" y="163"/>
                  </a:lnTo>
                  <a:lnTo>
                    <a:pt x="155" y="163"/>
                  </a:lnTo>
                  <a:lnTo>
                    <a:pt x="157" y="163"/>
                  </a:lnTo>
                  <a:lnTo>
                    <a:pt x="159" y="163"/>
                  </a:lnTo>
                  <a:lnTo>
                    <a:pt x="161" y="163"/>
                  </a:lnTo>
                  <a:lnTo>
                    <a:pt x="161" y="161"/>
                  </a:lnTo>
                  <a:lnTo>
                    <a:pt x="163" y="159"/>
                  </a:lnTo>
                  <a:lnTo>
                    <a:pt x="165" y="157"/>
                  </a:lnTo>
                  <a:lnTo>
                    <a:pt x="167" y="157"/>
                  </a:lnTo>
                  <a:lnTo>
                    <a:pt x="168" y="155"/>
                  </a:lnTo>
                  <a:lnTo>
                    <a:pt x="168" y="153"/>
                  </a:lnTo>
                  <a:lnTo>
                    <a:pt x="172" y="153"/>
                  </a:lnTo>
                  <a:lnTo>
                    <a:pt x="172" y="153"/>
                  </a:lnTo>
                  <a:lnTo>
                    <a:pt x="174" y="153"/>
                  </a:lnTo>
                  <a:lnTo>
                    <a:pt x="178" y="155"/>
                  </a:lnTo>
                  <a:lnTo>
                    <a:pt x="180" y="155"/>
                  </a:lnTo>
                  <a:lnTo>
                    <a:pt x="182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6" y="155"/>
                  </a:lnTo>
                  <a:lnTo>
                    <a:pt x="188" y="157"/>
                  </a:lnTo>
                  <a:lnTo>
                    <a:pt x="188" y="159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8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90" y="186"/>
                  </a:lnTo>
                  <a:lnTo>
                    <a:pt x="190" y="190"/>
                  </a:lnTo>
                  <a:lnTo>
                    <a:pt x="190" y="192"/>
                  </a:lnTo>
                  <a:lnTo>
                    <a:pt x="188" y="194"/>
                  </a:lnTo>
                  <a:lnTo>
                    <a:pt x="188" y="196"/>
                  </a:lnTo>
                  <a:lnTo>
                    <a:pt x="188" y="199"/>
                  </a:lnTo>
                  <a:lnTo>
                    <a:pt x="191" y="199"/>
                  </a:lnTo>
                  <a:lnTo>
                    <a:pt x="193" y="199"/>
                  </a:lnTo>
                  <a:lnTo>
                    <a:pt x="195" y="201"/>
                  </a:lnTo>
                  <a:lnTo>
                    <a:pt x="197" y="203"/>
                  </a:lnTo>
                  <a:lnTo>
                    <a:pt x="201" y="205"/>
                  </a:lnTo>
                  <a:lnTo>
                    <a:pt x="203" y="207"/>
                  </a:lnTo>
                  <a:lnTo>
                    <a:pt x="203" y="207"/>
                  </a:lnTo>
                  <a:lnTo>
                    <a:pt x="205" y="211"/>
                  </a:lnTo>
                  <a:lnTo>
                    <a:pt x="207" y="213"/>
                  </a:lnTo>
                  <a:lnTo>
                    <a:pt x="207" y="211"/>
                  </a:lnTo>
                  <a:lnTo>
                    <a:pt x="209" y="209"/>
                  </a:lnTo>
                  <a:lnTo>
                    <a:pt x="211" y="207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213" y="203"/>
                  </a:lnTo>
                  <a:lnTo>
                    <a:pt x="213" y="201"/>
                  </a:lnTo>
                  <a:lnTo>
                    <a:pt x="215" y="199"/>
                  </a:lnTo>
                  <a:lnTo>
                    <a:pt x="215" y="198"/>
                  </a:lnTo>
                  <a:lnTo>
                    <a:pt x="215" y="196"/>
                  </a:lnTo>
                  <a:lnTo>
                    <a:pt x="216" y="194"/>
                  </a:lnTo>
                  <a:lnTo>
                    <a:pt x="216" y="192"/>
                  </a:lnTo>
                  <a:lnTo>
                    <a:pt x="216" y="190"/>
                  </a:lnTo>
                  <a:lnTo>
                    <a:pt x="218" y="188"/>
                  </a:lnTo>
                  <a:lnTo>
                    <a:pt x="218" y="184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4" y="184"/>
                  </a:lnTo>
                  <a:lnTo>
                    <a:pt x="228" y="186"/>
                  </a:lnTo>
                  <a:lnTo>
                    <a:pt x="230" y="186"/>
                  </a:lnTo>
                  <a:lnTo>
                    <a:pt x="232" y="188"/>
                  </a:lnTo>
                  <a:lnTo>
                    <a:pt x="234" y="190"/>
                  </a:lnTo>
                  <a:lnTo>
                    <a:pt x="236" y="190"/>
                  </a:lnTo>
                  <a:lnTo>
                    <a:pt x="239" y="190"/>
                  </a:lnTo>
                  <a:lnTo>
                    <a:pt x="241" y="190"/>
                  </a:lnTo>
                  <a:lnTo>
                    <a:pt x="241" y="188"/>
                  </a:lnTo>
                  <a:lnTo>
                    <a:pt x="241" y="186"/>
                  </a:lnTo>
                  <a:lnTo>
                    <a:pt x="241" y="184"/>
                  </a:lnTo>
                  <a:lnTo>
                    <a:pt x="241" y="182"/>
                  </a:lnTo>
                  <a:lnTo>
                    <a:pt x="241" y="180"/>
                  </a:lnTo>
                  <a:lnTo>
                    <a:pt x="243" y="178"/>
                  </a:lnTo>
                  <a:lnTo>
                    <a:pt x="243" y="176"/>
                  </a:lnTo>
                  <a:lnTo>
                    <a:pt x="243" y="175"/>
                  </a:lnTo>
                  <a:lnTo>
                    <a:pt x="245" y="175"/>
                  </a:lnTo>
                  <a:lnTo>
                    <a:pt x="245" y="173"/>
                  </a:lnTo>
                  <a:lnTo>
                    <a:pt x="247" y="171"/>
                  </a:lnTo>
                  <a:lnTo>
                    <a:pt x="247" y="169"/>
                  </a:lnTo>
                  <a:lnTo>
                    <a:pt x="249" y="169"/>
                  </a:lnTo>
                  <a:lnTo>
                    <a:pt x="249" y="167"/>
                  </a:lnTo>
                  <a:lnTo>
                    <a:pt x="247" y="165"/>
                  </a:lnTo>
                  <a:lnTo>
                    <a:pt x="245" y="163"/>
                  </a:lnTo>
                  <a:lnTo>
                    <a:pt x="243" y="163"/>
                  </a:lnTo>
                  <a:lnTo>
                    <a:pt x="241" y="161"/>
                  </a:lnTo>
                  <a:lnTo>
                    <a:pt x="241" y="159"/>
                  </a:lnTo>
                  <a:lnTo>
                    <a:pt x="239" y="157"/>
                  </a:lnTo>
                  <a:lnTo>
                    <a:pt x="238" y="157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9" y="155"/>
                  </a:lnTo>
                  <a:lnTo>
                    <a:pt x="243" y="152"/>
                  </a:lnTo>
                  <a:lnTo>
                    <a:pt x="245" y="152"/>
                  </a:lnTo>
                  <a:lnTo>
                    <a:pt x="247" y="153"/>
                  </a:lnTo>
                  <a:lnTo>
                    <a:pt x="251" y="155"/>
                  </a:lnTo>
                  <a:lnTo>
                    <a:pt x="255" y="155"/>
                  </a:lnTo>
                  <a:lnTo>
                    <a:pt x="255" y="155"/>
                  </a:lnTo>
                  <a:lnTo>
                    <a:pt x="257" y="155"/>
                  </a:lnTo>
                  <a:lnTo>
                    <a:pt x="259" y="155"/>
                  </a:lnTo>
                  <a:lnTo>
                    <a:pt x="261" y="155"/>
                  </a:lnTo>
                  <a:lnTo>
                    <a:pt x="261" y="152"/>
                  </a:lnTo>
                  <a:lnTo>
                    <a:pt x="261" y="150"/>
                  </a:lnTo>
                  <a:lnTo>
                    <a:pt x="259" y="150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7" y="140"/>
                  </a:lnTo>
                  <a:lnTo>
                    <a:pt x="255" y="138"/>
                  </a:lnTo>
                  <a:lnTo>
                    <a:pt x="253" y="134"/>
                  </a:lnTo>
                  <a:lnTo>
                    <a:pt x="251" y="134"/>
                  </a:lnTo>
                  <a:lnTo>
                    <a:pt x="251" y="134"/>
                  </a:lnTo>
                  <a:lnTo>
                    <a:pt x="249" y="132"/>
                  </a:lnTo>
                  <a:lnTo>
                    <a:pt x="249" y="128"/>
                  </a:lnTo>
                  <a:lnTo>
                    <a:pt x="249" y="125"/>
                  </a:lnTo>
                  <a:lnTo>
                    <a:pt x="249" y="123"/>
                  </a:lnTo>
                  <a:lnTo>
                    <a:pt x="249" y="119"/>
                  </a:lnTo>
                  <a:lnTo>
                    <a:pt x="249" y="117"/>
                  </a:lnTo>
                  <a:lnTo>
                    <a:pt x="251" y="115"/>
                  </a:lnTo>
                  <a:lnTo>
                    <a:pt x="251" y="113"/>
                  </a:lnTo>
                  <a:lnTo>
                    <a:pt x="251" y="111"/>
                  </a:lnTo>
                  <a:lnTo>
                    <a:pt x="251" y="107"/>
                  </a:lnTo>
                  <a:lnTo>
                    <a:pt x="251" y="105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1" y="98"/>
                  </a:lnTo>
                  <a:lnTo>
                    <a:pt x="253" y="96"/>
                  </a:lnTo>
                  <a:lnTo>
                    <a:pt x="253" y="94"/>
                  </a:lnTo>
                  <a:lnTo>
                    <a:pt x="251" y="92"/>
                  </a:lnTo>
                  <a:lnTo>
                    <a:pt x="251" y="90"/>
                  </a:lnTo>
                  <a:lnTo>
                    <a:pt x="247" y="90"/>
                  </a:lnTo>
                  <a:lnTo>
                    <a:pt x="245" y="88"/>
                  </a:lnTo>
                  <a:lnTo>
                    <a:pt x="243" y="84"/>
                  </a:lnTo>
                  <a:lnTo>
                    <a:pt x="241" y="82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77"/>
                  </a:lnTo>
                  <a:lnTo>
                    <a:pt x="241" y="75"/>
                  </a:lnTo>
                  <a:lnTo>
                    <a:pt x="239" y="73"/>
                  </a:lnTo>
                  <a:lnTo>
                    <a:pt x="238" y="73"/>
                  </a:lnTo>
                  <a:lnTo>
                    <a:pt x="236" y="73"/>
                  </a:lnTo>
                  <a:lnTo>
                    <a:pt x="236" y="71"/>
                  </a:lnTo>
                  <a:lnTo>
                    <a:pt x="236" y="69"/>
                  </a:lnTo>
                  <a:lnTo>
                    <a:pt x="236" y="67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1"/>
                  </a:lnTo>
                  <a:lnTo>
                    <a:pt x="230" y="61"/>
                  </a:lnTo>
                  <a:lnTo>
                    <a:pt x="228" y="63"/>
                  </a:lnTo>
                  <a:lnTo>
                    <a:pt x="228" y="63"/>
                  </a:lnTo>
                  <a:lnTo>
                    <a:pt x="226" y="63"/>
                  </a:lnTo>
                  <a:lnTo>
                    <a:pt x="226" y="61"/>
                  </a:lnTo>
                  <a:lnTo>
                    <a:pt x="228" y="61"/>
                  </a:lnTo>
                  <a:lnTo>
                    <a:pt x="228" y="57"/>
                  </a:lnTo>
                  <a:lnTo>
                    <a:pt x="228" y="56"/>
                  </a:lnTo>
                  <a:lnTo>
                    <a:pt x="228" y="54"/>
                  </a:lnTo>
                  <a:lnTo>
                    <a:pt x="230" y="52"/>
                  </a:lnTo>
                  <a:lnTo>
                    <a:pt x="232" y="50"/>
                  </a:lnTo>
                  <a:lnTo>
                    <a:pt x="232" y="46"/>
                  </a:lnTo>
                  <a:lnTo>
                    <a:pt x="234" y="46"/>
                  </a:lnTo>
                  <a:lnTo>
                    <a:pt x="234" y="44"/>
                  </a:lnTo>
                  <a:lnTo>
                    <a:pt x="234" y="42"/>
                  </a:lnTo>
                  <a:lnTo>
                    <a:pt x="234" y="40"/>
                  </a:lnTo>
                  <a:lnTo>
                    <a:pt x="234" y="38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2" y="34"/>
                  </a:lnTo>
                  <a:lnTo>
                    <a:pt x="232" y="33"/>
                  </a:lnTo>
                  <a:lnTo>
                    <a:pt x="230" y="31"/>
                  </a:lnTo>
                  <a:lnTo>
                    <a:pt x="230" y="29"/>
                  </a:lnTo>
                  <a:lnTo>
                    <a:pt x="228" y="29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4" y="25"/>
                  </a:lnTo>
                  <a:lnTo>
                    <a:pt x="222" y="23"/>
                  </a:lnTo>
                  <a:lnTo>
                    <a:pt x="222" y="21"/>
                  </a:lnTo>
                  <a:lnTo>
                    <a:pt x="220" y="19"/>
                  </a:lnTo>
                  <a:lnTo>
                    <a:pt x="218" y="19"/>
                  </a:lnTo>
                  <a:lnTo>
                    <a:pt x="218" y="17"/>
                  </a:lnTo>
                  <a:lnTo>
                    <a:pt x="216" y="15"/>
                  </a:lnTo>
                  <a:lnTo>
                    <a:pt x="216" y="15"/>
                  </a:lnTo>
                  <a:lnTo>
                    <a:pt x="215" y="13"/>
                  </a:lnTo>
                  <a:lnTo>
                    <a:pt x="213" y="11"/>
                  </a:lnTo>
                  <a:lnTo>
                    <a:pt x="213" y="10"/>
                  </a:lnTo>
                  <a:lnTo>
                    <a:pt x="211" y="8"/>
                  </a:lnTo>
                  <a:lnTo>
                    <a:pt x="211" y="6"/>
                  </a:lnTo>
                  <a:lnTo>
                    <a:pt x="207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3" y="2"/>
                  </a:lnTo>
                  <a:lnTo>
                    <a:pt x="201" y="0"/>
                  </a:lnTo>
                  <a:lnTo>
                    <a:pt x="199" y="0"/>
                  </a:lnTo>
                  <a:lnTo>
                    <a:pt x="197" y="0"/>
                  </a:lnTo>
                  <a:lnTo>
                    <a:pt x="197" y="4"/>
                  </a:lnTo>
                  <a:lnTo>
                    <a:pt x="197" y="8"/>
                  </a:lnTo>
                  <a:lnTo>
                    <a:pt x="199" y="10"/>
                  </a:lnTo>
                  <a:lnTo>
                    <a:pt x="199" y="11"/>
                  </a:lnTo>
                  <a:lnTo>
                    <a:pt x="197" y="11"/>
                  </a:lnTo>
                  <a:lnTo>
                    <a:pt x="195" y="11"/>
                  </a:lnTo>
                  <a:lnTo>
                    <a:pt x="193" y="11"/>
                  </a:lnTo>
                  <a:lnTo>
                    <a:pt x="191" y="13"/>
                  </a:lnTo>
                  <a:lnTo>
                    <a:pt x="190" y="13"/>
                  </a:lnTo>
                  <a:lnTo>
                    <a:pt x="184" y="13"/>
                  </a:lnTo>
                  <a:lnTo>
                    <a:pt x="180" y="13"/>
                  </a:lnTo>
                  <a:lnTo>
                    <a:pt x="178" y="13"/>
                  </a:lnTo>
                  <a:lnTo>
                    <a:pt x="176" y="13"/>
                  </a:lnTo>
                  <a:lnTo>
                    <a:pt x="174" y="13"/>
                  </a:lnTo>
                  <a:lnTo>
                    <a:pt x="172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68" y="15"/>
                  </a:lnTo>
                  <a:lnTo>
                    <a:pt x="167" y="15"/>
                  </a:lnTo>
                  <a:lnTo>
                    <a:pt x="167" y="17"/>
                  </a:lnTo>
                  <a:lnTo>
                    <a:pt x="165" y="17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59" y="23"/>
                  </a:lnTo>
                  <a:lnTo>
                    <a:pt x="157" y="27"/>
                  </a:lnTo>
                  <a:lnTo>
                    <a:pt x="155" y="29"/>
                  </a:lnTo>
                  <a:lnTo>
                    <a:pt x="153" y="31"/>
                  </a:lnTo>
                  <a:lnTo>
                    <a:pt x="151" y="29"/>
                  </a:lnTo>
                  <a:lnTo>
                    <a:pt x="149" y="29"/>
                  </a:lnTo>
                  <a:lnTo>
                    <a:pt x="147" y="27"/>
                  </a:lnTo>
                  <a:lnTo>
                    <a:pt x="147" y="25"/>
                  </a:lnTo>
                  <a:lnTo>
                    <a:pt x="145" y="25"/>
                  </a:lnTo>
                  <a:lnTo>
                    <a:pt x="145" y="23"/>
                  </a:lnTo>
                  <a:lnTo>
                    <a:pt x="145" y="21"/>
                  </a:lnTo>
                  <a:lnTo>
                    <a:pt x="144" y="19"/>
                  </a:lnTo>
                  <a:lnTo>
                    <a:pt x="144" y="17"/>
                  </a:lnTo>
                  <a:lnTo>
                    <a:pt x="140" y="15"/>
                  </a:lnTo>
                  <a:lnTo>
                    <a:pt x="138" y="15"/>
                  </a:lnTo>
                  <a:lnTo>
                    <a:pt x="136" y="15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2" y="15"/>
                  </a:lnTo>
                  <a:lnTo>
                    <a:pt x="130" y="15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28" y="11"/>
                  </a:lnTo>
                  <a:lnTo>
                    <a:pt x="128" y="10"/>
                  </a:lnTo>
                  <a:lnTo>
                    <a:pt x="126" y="10"/>
                  </a:lnTo>
                  <a:lnTo>
                    <a:pt x="128" y="11"/>
                  </a:lnTo>
                  <a:lnTo>
                    <a:pt x="124" y="11"/>
                  </a:lnTo>
                  <a:lnTo>
                    <a:pt x="122" y="11"/>
                  </a:lnTo>
                  <a:lnTo>
                    <a:pt x="120" y="11"/>
                  </a:lnTo>
                  <a:lnTo>
                    <a:pt x="119" y="11"/>
                  </a:lnTo>
                  <a:lnTo>
                    <a:pt x="117" y="11"/>
                  </a:lnTo>
                  <a:lnTo>
                    <a:pt x="115" y="11"/>
                  </a:lnTo>
                  <a:lnTo>
                    <a:pt x="113" y="11"/>
                  </a:lnTo>
                  <a:lnTo>
                    <a:pt x="111" y="11"/>
                  </a:lnTo>
                  <a:lnTo>
                    <a:pt x="109" y="11"/>
                  </a:lnTo>
                  <a:lnTo>
                    <a:pt x="107" y="11"/>
                  </a:lnTo>
                  <a:lnTo>
                    <a:pt x="105" y="11"/>
                  </a:lnTo>
                  <a:lnTo>
                    <a:pt x="101" y="10"/>
                  </a:lnTo>
                  <a:lnTo>
                    <a:pt x="99" y="10"/>
                  </a:lnTo>
                  <a:lnTo>
                    <a:pt x="97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0" y="11"/>
                  </a:lnTo>
                  <a:lnTo>
                    <a:pt x="86" y="11"/>
                  </a:lnTo>
                  <a:lnTo>
                    <a:pt x="84" y="11"/>
                  </a:lnTo>
                  <a:lnTo>
                    <a:pt x="82" y="11"/>
                  </a:lnTo>
                  <a:lnTo>
                    <a:pt x="80" y="11"/>
                  </a:lnTo>
                  <a:lnTo>
                    <a:pt x="78" y="10"/>
                  </a:lnTo>
                  <a:lnTo>
                    <a:pt x="74" y="10"/>
                  </a:lnTo>
                  <a:lnTo>
                    <a:pt x="73" y="10"/>
                  </a:lnTo>
                  <a:lnTo>
                    <a:pt x="71" y="8"/>
                  </a:lnTo>
                  <a:lnTo>
                    <a:pt x="69" y="8"/>
                  </a:lnTo>
                  <a:lnTo>
                    <a:pt x="67" y="8"/>
                  </a:lnTo>
                  <a:lnTo>
                    <a:pt x="63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5" y="6"/>
                  </a:lnTo>
                  <a:lnTo>
                    <a:pt x="55" y="10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48" y="13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4" y="21"/>
                  </a:lnTo>
                  <a:lnTo>
                    <a:pt x="44" y="23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50" y="33"/>
                  </a:lnTo>
                  <a:lnTo>
                    <a:pt x="48" y="34"/>
                  </a:lnTo>
                  <a:lnTo>
                    <a:pt x="46" y="36"/>
                  </a:lnTo>
                  <a:lnTo>
                    <a:pt x="44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3" y="38"/>
                  </a:lnTo>
                  <a:lnTo>
                    <a:pt x="21" y="38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7" y="46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3" y="52"/>
                  </a:lnTo>
                  <a:lnTo>
                    <a:pt x="3" y="56"/>
                  </a:lnTo>
                  <a:lnTo>
                    <a:pt x="3" y="57"/>
                  </a:lnTo>
                  <a:lnTo>
                    <a:pt x="2" y="57"/>
                  </a:lnTo>
                  <a:lnTo>
                    <a:pt x="0" y="6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1" name="Freeform 77"/>
            <p:cNvSpPr>
              <a:spLocks/>
            </p:cNvSpPr>
            <p:nvPr/>
          </p:nvSpPr>
          <p:spPr bwMode="auto">
            <a:xfrm>
              <a:off x="688" y="1956"/>
              <a:ext cx="90" cy="119"/>
            </a:xfrm>
            <a:custGeom>
              <a:avLst/>
              <a:gdLst/>
              <a:ahLst/>
              <a:cxnLst>
                <a:cxn ang="0">
                  <a:pos x="4" y="52"/>
                </a:cxn>
                <a:cxn ang="0">
                  <a:pos x="4" y="54"/>
                </a:cxn>
                <a:cxn ang="0">
                  <a:pos x="4" y="61"/>
                </a:cxn>
                <a:cxn ang="0">
                  <a:pos x="4" y="69"/>
                </a:cxn>
                <a:cxn ang="0">
                  <a:pos x="2" y="75"/>
                </a:cxn>
                <a:cxn ang="0">
                  <a:pos x="2" y="79"/>
                </a:cxn>
                <a:cxn ang="0">
                  <a:pos x="0" y="86"/>
                </a:cxn>
                <a:cxn ang="0">
                  <a:pos x="4" y="90"/>
                </a:cxn>
                <a:cxn ang="0">
                  <a:pos x="11" y="96"/>
                </a:cxn>
                <a:cxn ang="0">
                  <a:pos x="15" y="103"/>
                </a:cxn>
                <a:cxn ang="0">
                  <a:pos x="19" y="105"/>
                </a:cxn>
                <a:cxn ang="0">
                  <a:pos x="27" y="109"/>
                </a:cxn>
                <a:cxn ang="0">
                  <a:pos x="34" y="109"/>
                </a:cxn>
                <a:cxn ang="0">
                  <a:pos x="44" y="113"/>
                </a:cxn>
                <a:cxn ang="0">
                  <a:pos x="52" y="117"/>
                </a:cxn>
                <a:cxn ang="0">
                  <a:pos x="57" y="119"/>
                </a:cxn>
                <a:cxn ang="0">
                  <a:pos x="63" y="115"/>
                </a:cxn>
                <a:cxn ang="0">
                  <a:pos x="67" y="109"/>
                </a:cxn>
                <a:cxn ang="0">
                  <a:pos x="71" y="105"/>
                </a:cxn>
                <a:cxn ang="0">
                  <a:pos x="77" y="100"/>
                </a:cxn>
                <a:cxn ang="0">
                  <a:pos x="84" y="94"/>
                </a:cxn>
                <a:cxn ang="0">
                  <a:pos x="88" y="88"/>
                </a:cxn>
                <a:cxn ang="0">
                  <a:pos x="88" y="84"/>
                </a:cxn>
                <a:cxn ang="0">
                  <a:pos x="88" y="82"/>
                </a:cxn>
                <a:cxn ang="0">
                  <a:pos x="90" y="73"/>
                </a:cxn>
                <a:cxn ang="0">
                  <a:pos x="88" y="69"/>
                </a:cxn>
                <a:cxn ang="0">
                  <a:pos x="88" y="63"/>
                </a:cxn>
                <a:cxn ang="0">
                  <a:pos x="90" y="57"/>
                </a:cxn>
                <a:cxn ang="0">
                  <a:pos x="90" y="56"/>
                </a:cxn>
                <a:cxn ang="0">
                  <a:pos x="90" y="50"/>
                </a:cxn>
                <a:cxn ang="0">
                  <a:pos x="88" y="44"/>
                </a:cxn>
                <a:cxn ang="0">
                  <a:pos x="88" y="40"/>
                </a:cxn>
                <a:cxn ang="0">
                  <a:pos x="88" y="36"/>
                </a:cxn>
                <a:cxn ang="0">
                  <a:pos x="88" y="32"/>
                </a:cxn>
                <a:cxn ang="0">
                  <a:pos x="84" y="25"/>
                </a:cxn>
                <a:cxn ang="0">
                  <a:pos x="82" y="21"/>
                </a:cxn>
                <a:cxn ang="0">
                  <a:pos x="79" y="15"/>
                </a:cxn>
                <a:cxn ang="0">
                  <a:pos x="77" y="11"/>
                </a:cxn>
                <a:cxn ang="0">
                  <a:pos x="73" y="8"/>
                </a:cxn>
                <a:cxn ang="0">
                  <a:pos x="69" y="4"/>
                </a:cxn>
                <a:cxn ang="0">
                  <a:pos x="65" y="4"/>
                </a:cxn>
                <a:cxn ang="0">
                  <a:pos x="61" y="4"/>
                </a:cxn>
                <a:cxn ang="0">
                  <a:pos x="56" y="4"/>
                </a:cxn>
                <a:cxn ang="0">
                  <a:pos x="52" y="0"/>
                </a:cxn>
                <a:cxn ang="0">
                  <a:pos x="50" y="0"/>
                </a:cxn>
                <a:cxn ang="0">
                  <a:pos x="42" y="4"/>
                </a:cxn>
                <a:cxn ang="0">
                  <a:pos x="38" y="4"/>
                </a:cxn>
                <a:cxn ang="0">
                  <a:pos x="34" y="6"/>
                </a:cxn>
                <a:cxn ang="0">
                  <a:pos x="29" y="8"/>
                </a:cxn>
                <a:cxn ang="0">
                  <a:pos x="21" y="11"/>
                </a:cxn>
                <a:cxn ang="0">
                  <a:pos x="21" y="15"/>
                </a:cxn>
                <a:cxn ang="0">
                  <a:pos x="15" y="23"/>
                </a:cxn>
                <a:cxn ang="0">
                  <a:pos x="13" y="27"/>
                </a:cxn>
                <a:cxn ang="0">
                  <a:pos x="11" y="32"/>
                </a:cxn>
                <a:cxn ang="0">
                  <a:pos x="10" y="36"/>
                </a:cxn>
                <a:cxn ang="0">
                  <a:pos x="8" y="40"/>
                </a:cxn>
                <a:cxn ang="0">
                  <a:pos x="4" y="44"/>
                </a:cxn>
              </a:cxnLst>
              <a:rect l="0" t="0" r="r" b="b"/>
              <a:pathLst>
                <a:path w="90" h="119">
                  <a:moveTo>
                    <a:pt x="2" y="46"/>
                  </a:moveTo>
                  <a:lnTo>
                    <a:pt x="2" y="50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7"/>
                  </a:lnTo>
                  <a:lnTo>
                    <a:pt x="4" y="69"/>
                  </a:lnTo>
                  <a:lnTo>
                    <a:pt x="4" y="73"/>
                  </a:lnTo>
                  <a:lnTo>
                    <a:pt x="2" y="73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7"/>
                  </a:lnTo>
                  <a:lnTo>
                    <a:pt x="2" y="79"/>
                  </a:lnTo>
                  <a:lnTo>
                    <a:pt x="0" y="80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8" y="92"/>
                  </a:lnTo>
                  <a:lnTo>
                    <a:pt x="10" y="94"/>
                  </a:lnTo>
                  <a:lnTo>
                    <a:pt x="11" y="96"/>
                  </a:lnTo>
                  <a:lnTo>
                    <a:pt x="13" y="98"/>
                  </a:lnTo>
                  <a:lnTo>
                    <a:pt x="15" y="100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5" y="105"/>
                  </a:lnTo>
                  <a:lnTo>
                    <a:pt x="19" y="105"/>
                  </a:lnTo>
                  <a:lnTo>
                    <a:pt x="23" y="107"/>
                  </a:lnTo>
                  <a:lnTo>
                    <a:pt x="25" y="107"/>
                  </a:lnTo>
                  <a:lnTo>
                    <a:pt x="27" y="109"/>
                  </a:lnTo>
                  <a:lnTo>
                    <a:pt x="31" y="109"/>
                  </a:lnTo>
                  <a:lnTo>
                    <a:pt x="33" y="109"/>
                  </a:lnTo>
                  <a:lnTo>
                    <a:pt x="34" y="109"/>
                  </a:lnTo>
                  <a:lnTo>
                    <a:pt x="38" y="111"/>
                  </a:lnTo>
                  <a:lnTo>
                    <a:pt x="42" y="113"/>
                  </a:lnTo>
                  <a:lnTo>
                    <a:pt x="44" y="113"/>
                  </a:lnTo>
                  <a:lnTo>
                    <a:pt x="48" y="115"/>
                  </a:lnTo>
                  <a:lnTo>
                    <a:pt x="50" y="115"/>
                  </a:lnTo>
                  <a:lnTo>
                    <a:pt x="52" y="117"/>
                  </a:lnTo>
                  <a:lnTo>
                    <a:pt x="54" y="119"/>
                  </a:lnTo>
                  <a:lnTo>
                    <a:pt x="56" y="119"/>
                  </a:lnTo>
                  <a:lnTo>
                    <a:pt x="57" y="119"/>
                  </a:lnTo>
                  <a:lnTo>
                    <a:pt x="59" y="117"/>
                  </a:lnTo>
                  <a:lnTo>
                    <a:pt x="61" y="117"/>
                  </a:lnTo>
                  <a:lnTo>
                    <a:pt x="63" y="115"/>
                  </a:lnTo>
                  <a:lnTo>
                    <a:pt x="65" y="113"/>
                  </a:lnTo>
                  <a:lnTo>
                    <a:pt x="65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5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3" y="103"/>
                  </a:lnTo>
                  <a:lnTo>
                    <a:pt x="77" y="100"/>
                  </a:lnTo>
                  <a:lnTo>
                    <a:pt x="79" y="96"/>
                  </a:lnTo>
                  <a:lnTo>
                    <a:pt x="82" y="96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6" y="90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79"/>
                  </a:lnTo>
                  <a:lnTo>
                    <a:pt x="88" y="75"/>
                  </a:lnTo>
                  <a:lnTo>
                    <a:pt x="90" y="73"/>
                  </a:lnTo>
                  <a:lnTo>
                    <a:pt x="90" y="71"/>
                  </a:lnTo>
                  <a:lnTo>
                    <a:pt x="90" y="71"/>
                  </a:lnTo>
                  <a:lnTo>
                    <a:pt x="88" y="69"/>
                  </a:lnTo>
                  <a:lnTo>
                    <a:pt x="88" y="67"/>
                  </a:lnTo>
                  <a:lnTo>
                    <a:pt x="88" y="65"/>
                  </a:lnTo>
                  <a:lnTo>
                    <a:pt x="88" y="63"/>
                  </a:lnTo>
                  <a:lnTo>
                    <a:pt x="88" y="59"/>
                  </a:lnTo>
                  <a:lnTo>
                    <a:pt x="90" y="59"/>
                  </a:lnTo>
                  <a:lnTo>
                    <a:pt x="90" y="57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4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8" y="48"/>
                  </a:lnTo>
                  <a:lnTo>
                    <a:pt x="88" y="46"/>
                  </a:lnTo>
                  <a:lnTo>
                    <a:pt x="88" y="44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29"/>
                  </a:lnTo>
                  <a:lnTo>
                    <a:pt x="88" y="27"/>
                  </a:lnTo>
                  <a:lnTo>
                    <a:pt x="84" y="25"/>
                  </a:lnTo>
                  <a:lnTo>
                    <a:pt x="84" y="23"/>
                  </a:lnTo>
                  <a:lnTo>
                    <a:pt x="84" y="21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1" y="17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7" y="13"/>
                  </a:lnTo>
                  <a:lnTo>
                    <a:pt x="77" y="11"/>
                  </a:lnTo>
                  <a:lnTo>
                    <a:pt x="75" y="9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1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5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3" y="27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2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2" name="Freeform 78"/>
            <p:cNvSpPr>
              <a:spLocks/>
            </p:cNvSpPr>
            <p:nvPr/>
          </p:nvSpPr>
          <p:spPr bwMode="auto">
            <a:xfrm>
              <a:off x="688" y="1956"/>
              <a:ext cx="90" cy="119"/>
            </a:xfrm>
            <a:custGeom>
              <a:avLst/>
              <a:gdLst/>
              <a:ahLst/>
              <a:cxnLst>
                <a:cxn ang="0">
                  <a:pos x="4" y="52"/>
                </a:cxn>
                <a:cxn ang="0">
                  <a:pos x="4" y="54"/>
                </a:cxn>
                <a:cxn ang="0">
                  <a:pos x="4" y="61"/>
                </a:cxn>
                <a:cxn ang="0">
                  <a:pos x="4" y="69"/>
                </a:cxn>
                <a:cxn ang="0">
                  <a:pos x="2" y="75"/>
                </a:cxn>
                <a:cxn ang="0">
                  <a:pos x="2" y="79"/>
                </a:cxn>
                <a:cxn ang="0">
                  <a:pos x="0" y="86"/>
                </a:cxn>
                <a:cxn ang="0">
                  <a:pos x="4" y="90"/>
                </a:cxn>
                <a:cxn ang="0">
                  <a:pos x="11" y="96"/>
                </a:cxn>
                <a:cxn ang="0">
                  <a:pos x="15" y="103"/>
                </a:cxn>
                <a:cxn ang="0">
                  <a:pos x="19" y="105"/>
                </a:cxn>
                <a:cxn ang="0">
                  <a:pos x="27" y="109"/>
                </a:cxn>
                <a:cxn ang="0">
                  <a:pos x="34" y="109"/>
                </a:cxn>
                <a:cxn ang="0">
                  <a:pos x="44" y="113"/>
                </a:cxn>
                <a:cxn ang="0">
                  <a:pos x="52" y="117"/>
                </a:cxn>
                <a:cxn ang="0">
                  <a:pos x="57" y="119"/>
                </a:cxn>
                <a:cxn ang="0">
                  <a:pos x="63" y="115"/>
                </a:cxn>
                <a:cxn ang="0">
                  <a:pos x="67" y="109"/>
                </a:cxn>
                <a:cxn ang="0">
                  <a:pos x="71" y="105"/>
                </a:cxn>
                <a:cxn ang="0">
                  <a:pos x="77" y="100"/>
                </a:cxn>
                <a:cxn ang="0">
                  <a:pos x="84" y="94"/>
                </a:cxn>
                <a:cxn ang="0">
                  <a:pos x="88" y="88"/>
                </a:cxn>
                <a:cxn ang="0">
                  <a:pos x="88" y="84"/>
                </a:cxn>
                <a:cxn ang="0">
                  <a:pos x="88" y="82"/>
                </a:cxn>
                <a:cxn ang="0">
                  <a:pos x="90" y="73"/>
                </a:cxn>
                <a:cxn ang="0">
                  <a:pos x="88" y="69"/>
                </a:cxn>
                <a:cxn ang="0">
                  <a:pos x="88" y="63"/>
                </a:cxn>
                <a:cxn ang="0">
                  <a:pos x="90" y="57"/>
                </a:cxn>
                <a:cxn ang="0">
                  <a:pos x="90" y="56"/>
                </a:cxn>
                <a:cxn ang="0">
                  <a:pos x="90" y="50"/>
                </a:cxn>
                <a:cxn ang="0">
                  <a:pos x="88" y="44"/>
                </a:cxn>
                <a:cxn ang="0">
                  <a:pos x="88" y="40"/>
                </a:cxn>
                <a:cxn ang="0">
                  <a:pos x="88" y="36"/>
                </a:cxn>
                <a:cxn ang="0">
                  <a:pos x="88" y="32"/>
                </a:cxn>
                <a:cxn ang="0">
                  <a:pos x="84" y="25"/>
                </a:cxn>
                <a:cxn ang="0">
                  <a:pos x="82" y="21"/>
                </a:cxn>
                <a:cxn ang="0">
                  <a:pos x="79" y="15"/>
                </a:cxn>
                <a:cxn ang="0">
                  <a:pos x="77" y="11"/>
                </a:cxn>
                <a:cxn ang="0">
                  <a:pos x="73" y="8"/>
                </a:cxn>
                <a:cxn ang="0">
                  <a:pos x="69" y="4"/>
                </a:cxn>
                <a:cxn ang="0">
                  <a:pos x="65" y="4"/>
                </a:cxn>
                <a:cxn ang="0">
                  <a:pos x="61" y="4"/>
                </a:cxn>
                <a:cxn ang="0">
                  <a:pos x="56" y="4"/>
                </a:cxn>
                <a:cxn ang="0">
                  <a:pos x="52" y="0"/>
                </a:cxn>
                <a:cxn ang="0">
                  <a:pos x="50" y="0"/>
                </a:cxn>
                <a:cxn ang="0">
                  <a:pos x="42" y="4"/>
                </a:cxn>
                <a:cxn ang="0">
                  <a:pos x="38" y="4"/>
                </a:cxn>
                <a:cxn ang="0">
                  <a:pos x="34" y="6"/>
                </a:cxn>
                <a:cxn ang="0">
                  <a:pos x="29" y="8"/>
                </a:cxn>
                <a:cxn ang="0">
                  <a:pos x="21" y="11"/>
                </a:cxn>
                <a:cxn ang="0">
                  <a:pos x="21" y="15"/>
                </a:cxn>
                <a:cxn ang="0">
                  <a:pos x="15" y="23"/>
                </a:cxn>
                <a:cxn ang="0">
                  <a:pos x="13" y="27"/>
                </a:cxn>
                <a:cxn ang="0">
                  <a:pos x="11" y="32"/>
                </a:cxn>
                <a:cxn ang="0">
                  <a:pos x="10" y="36"/>
                </a:cxn>
                <a:cxn ang="0">
                  <a:pos x="8" y="40"/>
                </a:cxn>
                <a:cxn ang="0">
                  <a:pos x="4" y="44"/>
                </a:cxn>
              </a:cxnLst>
              <a:rect l="0" t="0" r="r" b="b"/>
              <a:pathLst>
                <a:path w="90" h="119">
                  <a:moveTo>
                    <a:pt x="2" y="46"/>
                  </a:moveTo>
                  <a:lnTo>
                    <a:pt x="2" y="50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7"/>
                  </a:lnTo>
                  <a:lnTo>
                    <a:pt x="4" y="69"/>
                  </a:lnTo>
                  <a:lnTo>
                    <a:pt x="4" y="73"/>
                  </a:lnTo>
                  <a:lnTo>
                    <a:pt x="2" y="73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7"/>
                  </a:lnTo>
                  <a:lnTo>
                    <a:pt x="2" y="79"/>
                  </a:lnTo>
                  <a:lnTo>
                    <a:pt x="0" y="80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8" y="92"/>
                  </a:lnTo>
                  <a:lnTo>
                    <a:pt x="10" y="94"/>
                  </a:lnTo>
                  <a:lnTo>
                    <a:pt x="11" y="96"/>
                  </a:lnTo>
                  <a:lnTo>
                    <a:pt x="13" y="98"/>
                  </a:lnTo>
                  <a:lnTo>
                    <a:pt x="15" y="100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5" y="105"/>
                  </a:lnTo>
                  <a:lnTo>
                    <a:pt x="19" y="105"/>
                  </a:lnTo>
                  <a:lnTo>
                    <a:pt x="23" y="107"/>
                  </a:lnTo>
                  <a:lnTo>
                    <a:pt x="25" y="107"/>
                  </a:lnTo>
                  <a:lnTo>
                    <a:pt x="27" y="109"/>
                  </a:lnTo>
                  <a:lnTo>
                    <a:pt x="31" y="109"/>
                  </a:lnTo>
                  <a:lnTo>
                    <a:pt x="33" y="109"/>
                  </a:lnTo>
                  <a:lnTo>
                    <a:pt x="34" y="109"/>
                  </a:lnTo>
                  <a:lnTo>
                    <a:pt x="38" y="111"/>
                  </a:lnTo>
                  <a:lnTo>
                    <a:pt x="42" y="113"/>
                  </a:lnTo>
                  <a:lnTo>
                    <a:pt x="44" y="113"/>
                  </a:lnTo>
                  <a:lnTo>
                    <a:pt x="48" y="115"/>
                  </a:lnTo>
                  <a:lnTo>
                    <a:pt x="50" y="115"/>
                  </a:lnTo>
                  <a:lnTo>
                    <a:pt x="52" y="117"/>
                  </a:lnTo>
                  <a:lnTo>
                    <a:pt x="54" y="119"/>
                  </a:lnTo>
                  <a:lnTo>
                    <a:pt x="56" y="119"/>
                  </a:lnTo>
                  <a:lnTo>
                    <a:pt x="57" y="119"/>
                  </a:lnTo>
                  <a:lnTo>
                    <a:pt x="59" y="117"/>
                  </a:lnTo>
                  <a:lnTo>
                    <a:pt x="61" y="117"/>
                  </a:lnTo>
                  <a:lnTo>
                    <a:pt x="63" y="115"/>
                  </a:lnTo>
                  <a:lnTo>
                    <a:pt x="65" y="113"/>
                  </a:lnTo>
                  <a:lnTo>
                    <a:pt x="65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5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3" y="103"/>
                  </a:lnTo>
                  <a:lnTo>
                    <a:pt x="77" y="100"/>
                  </a:lnTo>
                  <a:lnTo>
                    <a:pt x="79" y="96"/>
                  </a:lnTo>
                  <a:lnTo>
                    <a:pt x="82" y="96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6" y="90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79"/>
                  </a:lnTo>
                  <a:lnTo>
                    <a:pt x="88" y="75"/>
                  </a:lnTo>
                  <a:lnTo>
                    <a:pt x="90" y="73"/>
                  </a:lnTo>
                  <a:lnTo>
                    <a:pt x="90" y="71"/>
                  </a:lnTo>
                  <a:lnTo>
                    <a:pt x="90" y="71"/>
                  </a:lnTo>
                  <a:lnTo>
                    <a:pt x="88" y="69"/>
                  </a:lnTo>
                  <a:lnTo>
                    <a:pt x="88" y="67"/>
                  </a:lnTo>
                  <a:lnTo>
                    <a:pt x="88" y="65"/>
                  </a:lnTo>
                  <a:lnTo>
                    <a:pt x="88" y="63"/>
                  </a:lnTo>
                  <a:lnTo>
                    <a:pt x="88" y="59"/>
                  </a:lnTo>
                  <a:lnTo>
                    <a:pt x="90" y="59"/>
                  </a:lnTo>
                  <a:lnTo>
                    <a:pt x="90" y="57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4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8" y="48"/>
                  </a:lnTo>
                  <a:lnTo>
                    <a:pt x="88" y="46"/>
                  </a:lnTo>
                  <a:lnTo>
                    <a:pt x="88" y="44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29"/>
                  </a:lnTo>
                  <a:lnTo>
                    <a:pt x="88" y="27"/>
                  </a:lnTo>
                  <a:lnTo>
                    <a:pt x="84" y="25"/>
                  </a:lnTo>
                  <a:lnTo>
                    <a:pt x="84" y="23"/>
                  </a:lnTo>
                  <a:lnTo>
                    <a:pt x="84" y="21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1" y="17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7" y="13"/>
                  </a:lnTo>
                  <a:lnTo>
                    <a:pt x="77" y="11"/>
                  </a:lnTo>
                  <a:lnTo>
                    <a:pt x="75" y="9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1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5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3" y="27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2" y="46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3" name="Freeform 79"/>
            <p:cNvSpPr>
              <a:spLocks/>
            </p:cNvSpPr>
            <p:nvPr/>
          </p:nvSpPr>
          <p:spPr bwMode="auto">
            <a:xfrm>
              <a:off x="744" y="2015"/>
              <a:ext cx="149" cy="152"/>
            </a:xfrm>
            <a:custGeom>
              <a:avLst/>
              <a:gdLst/>
              <a:ahLst/>
              <a:cxnLst>
                <a:cxn ang="0">
                  <a:pos x="147" y="135"/>
                </a:cxn>
                <a:cxn ang="0">
                  <a:pos x="147" y="129"/>
                </a:cxn>
                <a:cxn ang="0">
                  <a:pos x="149" y="117"/>
                </a:cxn>
                <a:cxn ang="0">
                  <a:pos x="149" y="106"/>
                </a:cxn>
                <a:cxn ang="0">
                  <a:pos x="149" y="96"/>
                </a:cxn>
                <a:cxn ang="0">
                  <a:pos x="147" y="89"/>
                </a:cxn>
                <a:cxn ang="0">
                  <a:pos x="138" y="89"/>
                </a:cxn>
                <a:cxn ang="0">
                  <a:pos x="132" y="87"/>
                </a:cxn>
                <a:cxn ang="0">
                  <a:pos x="126" y="79"/>
                </a:cxn>
                <a:cxn ang="0">
                  <a:pos x="122" y="73"/>
                </a:cxn>
                <a:cxn ang="0">
                  <a:pos x="117" y="73"/>
                </a:cxn>
                <a:cxn ang="0">
                  <a:pos x="115" y="64"/>
                </a:cxn>
                <a:cxn ang="0">
                  <a:pos x="117" y="56"/>
                </a:cxn>
                <a:cxn ang="0">
                  <a:pos x="120" y="50"/>
                </a:cxn>
                <a:cxn ang="0">
                  <a:pos x="122" y="44"/>
                </a:cxn>
                <a:cxn ang="0">
                  <a:pos x="120" y="35"/>
                </a:cxn>
                <a:cxn ang="0">
                  <a:pos x="113" y="33"/>
                </a:cxn>
                <a:cxn ang="0">
                  <a:pos x="105" y="29"/>
                </a:cxn>
                <a:cxn ang="0">
                  <a:pos x="99" y="33"/>
                </a:cxn>
                <a:cxn ang="0">
                  <a:pos x="96" y="44"/>
                </a:cxn>
                <a:cxn ang="0">
                  <a:pos x="90" y="54"/>
                </a:cxn>
                <a:cxn ang="0">
                  <a:pos x="84" y="52"/>
                </a:cxn>
                <a:cxn ang="0">
                  <a:pos x="78" y="46"/>
                </a:cxn>
                <a:cxn ang="0">
                  <a:pos x="71" y="43"/>
                </a:cxn>
                <a:cxn ang="0">
                  <a:pos x="71" y="31"/>
                </a:cxn>
                <a:cxn ang="0">
                  <a:pos x="69" y="21"/>
                </a:cxn>
                <a:cxn ang="0">
                  <a:pos x="67" y="14"/>
                </a:cxn>
                <a:cxn ang="0">
                  <a:pos x="67" y="8"/>
                </a:cxn>
                <a:cxn ang="0">
                  <a:pos x="63" y="0"/>
                </a:cxn>
                <a:cxn ang="0">
                  <a:pos x="55" y="0"/>
                </a:cxn>
                <a:cxn ang="0">
                  <a:pos x="48" y="0"/>
                </a:cxn>
                <a:cxn ang="0">
                  <a:pos x="40" y="6"/>
                </a:cxn>
                <a:cxn ang="0">
                  <a:pos x="34" y="14"/>
                </a:cxn>
                <a:cxn ang="0">
                  <a:pos x="34" y="18"/>
                </a:cxn>
                <a:cxn ang="0">
                  <a:pos x="30" y="29"/>
                </a:cxn>
                <a:cxn ang="0">
                  <a:pos x="25" y="37"/>
                </a:cxn>
                <a:cxn ang="0">
                  <a:pos x="19" y="43"/>
                </a:cxn>
                <a:cxn ang="0">
                  <a:pos x="11" y="48"/>
                </a:cxn>
                <a:cxn ang="0">
                  <a:pos x="5" y="56"/>
                </a:cxn>
                <a:cxn ang="0">
                  <a:pos x="0" y="62"/>
                </a:cxn>
                <a:cxn ang="0">
                  <a:pos x="5" y="66"/>
                </a:cxn>
                <a:cxn ang="0">
                  <a:pos x="13" y="73"/>
                </a:cxn>
                <a:cxn ang="0">
                  <a:pos x="23" y="79"/>
                </a:cxn>
                <a:cxn ang="0">
                  <a:pos x="32" y="83"/>
                </a:cxn>
                <a:cxn ang="0">
                  <a:pos x="42" y="91"/>
                </a:cxn>
                <a:cxn ang="0">
                  <a:pos x="49" y="91"/>
                </a:cxn>
                <a:cxn ang="0">
                  <a:pos x="57" y="92"/>
                </a:cxn>
                <a:cxn ang="0">
                  <a:pos x="63" y="98"/>
                </a:cxn>
                <a:cxn ang="0">
                  <a:pos x="65" y="106"/>
                </a:cxn>
                <a:cxn ang="0">
                  <a:pos x="67" y="114"/>
                </a:cxn>
                <a:cxn ang="0">
                  <a:pos x="76" y="119"/>
                </a:cxn>
                <a:cxn ang="0">
                  <a:pos x="84" y="129"/>
                </a:cxn>
                <a:cxn ang="0">
                  <a:pos x="92" y="135"/>
                </a:cxn>
                <a:cxn ang="0">
                  <a:pos x="103" y="137"/>
                </a:cxn>
                <a:cxn ang="0">
                  <a:pos x="115" y="142"/>
                </a:cxn>
                <a:cxn ang="0">
                  <a:pos x="122" y="142"/>
                </a:cxn>
                <a:cxn ang="0">
                  <a:pos x="130" y="144"/>
                </a:cxn>
                <a:cxn ang="0">
                  <a:pos x="138" y="148"/>
                </a:cxn>
              </a:cxnLst>
              <a:rect l="0" t="0" r="r" b="b"/>
              <a:pathLst>
                <a:path w="149" h="152">
                  <a:moveTo>
                    <a:pt x="147" y="152"/>
                  </a:moveTo>
                  <a:lnTo>
                    <a:pt x="147" y="146"/>
                  </a:lnTo>
                  <a:lnTo>
                    <a:pt x="147" y="142"/>
                  </a:lnTo>
                  <a:lnTo>
                    <a:pt x="147" y="140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3"/>
                  </a:lnTo>
                  <a:lnTo>
                    <a:pt x="147" y="131"/>
                  </a:lnTo>
                  <a:lnTo>
                    <a:pt x="147" y="129"/>
                  </a:lnTo>
                  <a:lnTo>
                    <a:pt x="147" y="127"/>
                  </a:lnTo>
                  <a:lnTo>
                    <a:pt x="147" y="125"/>
                  </a:lnTo>
                  <a:lnTo>
                    <a:pt x="147" y="121"/>
                  </a:lnTo>
                  <a:lnTo>
                    <a:pt x="147" y="119"/>
                  </a:lnTo>
                  <a:lnTo>
                    <a:pt x="149" y="117"/>
                  </a:lnTo>
                  <a:lnTo>
                    <a:pt x="149" y="114"/>
                  </a:lnTo>
                  <a:lnTo>
                    <a:pt x="149" y="112"/>
                  </a:lnTo>
                  <a:lnTo>
                    <a:pt x="149" y="11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4"/>
                  </a:lnTo>
                  <a:lnTo>
                    <a:pt x="149" y="100"/>
                  </a:lnTo>
                  <a:lnTo>
                    <a:pt x="149" y="98"/>
                  </a:lnTo>
                  <a:lnTo>
                    <a:pt x="149" y="98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9" y="91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45" y="89"/>
                  </a:lnTo>
                  <a:lnTo>
                    <a:pt x="142" y="89"/>
                  </a:lnTo>
                  <a:lnTo>
                    <a:pt x="140" y="91"/>
                  </a:lnTo>
                  <a:lnTo>
                    <a:pt x="138" y="89"/>
                  </a:lnTo>
                  <a:lnTo>
                    <a:pt x="136" y="89"/>
                  </a:lnTo>
                  <a:lnTo>
                    <a:pt x="134" y="89"/>
                  </a:lnTo>
                  <a:lnTo>
                    <a:pt x="134" y="87"/>
                  </a:lnTo>
                  <a:lnTo>
                    <a:pt x="132" y="87"/>
                  </a:lnTo>
                  <a:lnTo>
                    <a:pt x="132" y="87"/>
                  </a:lnTo>
                  <a:lnTo>
                    <a:pt x="130" y="87"/>
                  </a:lnTo>
                  <a:lnTo>
                    <a:pt x="128" y="85"/>
                  </a:lnTo>
                  <a:lnTo>
                    <a:pt x="126" y="83"/>
                  </a:lnTo>
                  <a:lnTo>
                    <a:pt x="126" y="81"/>
                  </a:lnTo>
                  <a:lnTo>
                    <a:pt x="126" y="79"/>
                  </a:lnTo>
                  <a:lnTo>
                    <a:pt x="126" y="77"/>
                  </a:lnTo>
                  <a:lnTo>
                    <a:pt x="124" y="77"/>
                  </a:lnTo>
                  <a:lnTo>
                    <a:pt x="124" y="75"/>
                  </a:lnTo>
                  <a:lnTo>
                    <a:pt x="122" y="73"/>
                  </a:lnTo>
                  <a:lnTo>
                    <a:pt x="122" y="73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68"/>
                  </a:lnTo>
                  <a:lnTo>
                    <a:pt x="113" y="66"/>
                  </a:lnTo>
                  <a:lnTo>
                    <a:pt x="115" y="64"/>
                  </a:lnTo>
                  <a:lnTo>
                    <a:pt x="115" y="62"/>
                  </a:lnTo>
                  <a:lnTo>
                    <a:pt x="115" y="60"/>
                  </a:lnTo>
                  <a:lnTo>
                    <a:pt x="115" y="58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9" y="54"/>
                  </a:lnTo>
                  <a:lnTo>
                    <a:pt x="120" y="54"/>
                  </a:lnTo>
                  <a:lnTo>
                    <a:pt x="120" y="52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22" y="44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1"/>
                  </a:lnTo>
                  <a:lnTo>
                    <a:pt x="120" y="37"/>
                  </a:lnTo>
                  <a:lnTo>
                    <a:pt x="120" y="35"/>
                  </a:lnTo>
                  <a:lnTo>
                    <a:pt x="120" y="33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15" y="33"/>
                  </a:lnTo>
                  <a:lnTo>
                    <a:pt x="113" y="33"/>
                  </a:lnTo>
                  <a:lnTo>
                    <a:pt x="111" y="31"/>
                  </a:lnTo>
                  <a:lnTo>
                    <a:pt x="111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5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1" y="29"/>
                  </a:lnTo>
                  <a:lnTo>
                    <a:pt x="99" y="31"/>
                  </a:lnTo>
                  <a:lnTo>
                    <a:pt x="99" y="33"/>
                  </a:lnTo>
                  <a:lnTo>
                    <a:pt x="99" y="35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6" y="43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92" y="48"/>
                  </a:lnTo>
                  <a:lnTo>
                    <a:pt x="92" y="50"/>
                  </a:lnTo>
                  <a:lnTo>
                    <a:pt x="92" y="52"/>
                  </a:lnTo>
                  <a:lnTo>
                    <a:pt x="90" y="54"/>
                  </a:lnTo>
                  <a:lnTo>
                    <a:pt x="88" y="56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6" y="52"/>
                  </a:lnTo>
                  <a:lnTo>
                    <a:pt x="84" y="52"/>
                  </a:lnTo>
                  <a:lnTo>
                    <a:pt x="82" y="50"/>
                  </a:lnTo>
                  <a:lnTo>
                    <a:pt x="80" y="48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46"/>
                  </a:lnTo>
                  <a:lnTo>
                    <a:pt x="74" y="44"/>
                  </a:lnTo>
                  <a:lnTo>
                    <a:pt x="74" y="43"/>
                  </a:lnTo>
                  <a:lnTo>
                    <a:pt x="72" y="43"/>
                  </a:lnTo>
                  <a:lnTo>
                    <a:pt x="71" y="43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1" y="35"/>
                  </a:lnTo>
                  <a:lnTo>
                    <a:pt x="71" y="33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67" y="20"/>
                  </a:lnTo>
                  <a:lnTo>
                    <a:pt x="67" y="18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8"/>
                  </a:lnTo>
                  <a:lnTo>
                    <a:pt x="34" y="21"/>
                  </a:lnTo>
                  <a:lnTo>
                    <a:pt x="32" y="23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30" y="29"/>
                  </a:lnTo>
                  <a:lnTo>
                    <a:pt x="28" y="31"/>
                  </a:lnTo>
                  <a:lnTo>
                    <a:pt x="28" y="35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3" y="39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19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5" y="46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9" y="52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5" y="56"/>
                  </a:lnTo>
                  <a:lnTo>
                    <a:pt x="5" y="58"/>
                  </a:lnTo>
                  <a:lnTo>
                    <a:pt x="3" y="58"/>
                  </a:lnTo>
                  <a:lnTo>
                    <a:pt x="1" y="60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" y="62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6"/>
                  </a:lnTo>
                  <a:lnTo>
                    <a:pt x="9" y="68"/>
                  </a:lnTo>
                  <a:lnTo>
                    <a:pt x="9" y="69"/>
                  </a:lnTo>
                  <a:lnTo>
                    <a:pt x="11" y="69"/>
                  </a:lnTo>
                  <a:lnTo>
                    <a:pt x="11" y="73"/>
                  </a:lnTo>
                  <a:lnTo>
                    <a:pt x="13" y="73"/>
                  </a:lnTo>
                  <a:lnTo>
                    <a:pt x="15" y="75"/>
                  </a:lnTo>
                  <a:lnTo>
                    <a:pt x="17" y="79"/>
                  </a:lnTo>
                  <a:lnTo>
                    <a:pt x="19" y="79"/>
                  </a:lnTo>
                  <a:lnTo>
                    <a:pt x="21" y="79"/>
                  </a:lnTo>
                  <a:lnTo>
                    <a:pt x="23" y="79"/>
                  </a:lnTo>
                  <a:lnTo>
                    <a:pt x="25" y="81"/>
                  </a:lnTo>
                  <a:lnTo>
                    <a:pt x="26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2" y="91"/>
                  </a:lnTo>
                  <a:lnTo>
                    <a:pt x="44" y="91"/>
                  </a:lnTo>
                  <a:lnTo>
                    <a:pt x="46" y="91"/>
                  </a:lnTo>
                  <a:lnTo>
                    <a:pt x="48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1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7" y="92"/>
                  </a:lnTo>
                  <a:lnTo>
                    <a:pt x="59" y="92"/>
                  </a:lnTo>
                  <a:lnTo>
                    <a:pt x="61" y="94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102"/>
                  </a:lnTo>
                  <a:lnTo>
                    <a:pt x="63" y="104"/>
                  </a:lnTo>
                  <a:lnTo>
                    <a:pt x="63" y="106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5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4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71" y="119"/>
                  </a:lnTo>
                  <a:lnTo>
                    <a:pt x="74" y="119"/>
                  </a:lnTo>
                  <a:lnTo>
                    <a:pt x="76" y="119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6" y="129"/>
                  </a:lnTo>
                  <a:lnTo>
                    <a:pt x="88" y="131"/>
                  </a:lnTo>
                  <a:lnTo>
                    <a:pt x="90" y="131"/>
                  </a:lnTo>
                  <a:lnTo>
                    <a:pt x="92" y="133"/>
                  </a:lnTo>
                  <a:lnTo>
                    <a:pt x="92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9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5" y="139"/>
                  </a:lnTo>
                  <a:lnTo>
                    <a:pt x="107" y="140"/>
                  </a:lnTo>
                  <a:lnTo>
                    <a:pt x="111" y="142"/>
                  </a:lnTo>
                  <a:lnTo>
                    <a:pt x="113" y="142"/>
                  </a:lnTo>
                  <a:lnTo>
                    <a:pt x="115" y="142"/>
                  </a:lnTo>
                  <a:lnTo>
                    <a:pt x="117" y="142"/>
                  </a:lnTo>
                  <a:lnTo>
                    <a:pt x="119" y="142"/>
                  </a:lnTo>
                  <a:lnTo>
                    <a:pt x="120" y="142"/>
                  </a:lnTo>
                  <a:lnTo>
                    <a:pt x="120" y="142"/>
                  </a:lnTo>
                  <a:lnTo>
                    <a:pt x="122" y="142"/>
                  </a:lnTo>
                  <a:lnTo>
                    <a:pt x="122" y="142"/>
                  </a:lnTo>
                  <a:lnTo>
                    <a:pt x="126" y="14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8" y="146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0" y="148"/>
                  </a:lnTo>
                  <a:lnTo>
                    <a:pt x="143" y="150"/>
                  </a:lnTo>
                  <a:lnTo>
                    <a:pt x="147" y="150"/>
                  </a:lnTo>
                  <a:lnTo>
                    <a:pt x="147" y="1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4" name="Freeform 80"/>
            <p:cNvSpPr>
              <a:spLocks/>
            </p:cNvSpPr>
            <p:nvPr/>
          </p:nvSpPr>
          <p:spPr bwMode="auto">
            <a:xfrm>
              <a:off x="744" y="2015"/>
              <a:ext cx="149" cy="152"/>
            </a:xfrm>
            <a:custGeom>
              <a:avLst/>
              <a:gdLst/>
              <a:ahLst/>
              <a:cxnLst>
                <a:cxn ang="0">
                  <a:pos x="147" y="135"/>
                </a:cxn>
                <a:cxn ang="0">
                  <a:pos x="147" y="129"/>
                </a:cxn>
                <a:cxn ang="0">
                  <a:pos x="149" y="117"/>
                </a:cxn>
                <a:cxn ang="0">
                  <a:pos x="149" y="106"/>
                </a:cxn>
                <a:cxn ang="0">
                  <a:pos x="149" y="96"/>
                </a:cxn>
                <a:cxn ang="0">
                  <a:pos x="147" y="89"/>
                </a:cxn>
                <a:cxn ang="0">
                  <a:pos x="138" y="89"/>
                </a:cxn>
                <a:cxn ang="0">
                  <a:pos x="132" y="87"/>
                </a:cxn>
                <a:cxn ang="0">
                  <a:pos x="126" y="79"/>
                </a:cxn>
                <a:cxn ang="0">
                  <a:pos x="122" y="73"/>
                </a:cxn>
                <a:cxn ang="0">
                  <a:pos x="117" y="73"/>
                </a:cxn>
                <a:cxn ang="0">
                  <a:pos x="115" y="64"/>
                </a:cxn>
                <a:cxn ang="0">
                  <a:pos x="117" y="56"/>
                </a:cxn>
                <a:cxn ang="0">
                  <a:pos x="120" y="50"/>
                </a:cxn>
                <a:cxn ang="0">
                  <a:pos x="122" y="44"/>
                </a:cxn>
                <a:cxn ang="0">
                  <a:pos x="120" y="35"/>
                </a:cxn>
                <a:cxn ang="0">
                  <a:pos x="113" y="33"/>
                </a:cxn>
                <a:cxn ang="0">
                  <a:pos x="105" y="29"/>
                </a:cxn>
                <a:cxn ang="0">
                  <a:pos x="99" y="33"/>
                </a:cxn>
                <a:cxn ang="0">
                  <a:pos x="96" y="44"/>
                </a:cxn>
                <a:cxn ang="0">
                  <a:pos x="90" y="54"/>
                </a:cxn>
                <a:cxn ang="0">
                  <a:pos x="84" y="52"/>
                </a:cxn>
                <a:cxn ang="0">
                  <a:pos x="78" y="46"/>
                </a:cxn>
                <a:cxn ang="0">
                  <a:pos x="71" y="43"/>
                </a:cxn>
                <a:cxn ang="0">
                  <a:pos x="71" y="31"/>
                </a:cxn>
                <a:cxn ang="0">
                  <a:pos x="69" y="21"/>
                </a:cxn>
                <a:cxn ang="0">
                  <a:pos x="67" y="14"/>
                </a:cxn>
                <a:cxn ang="0">
                  <a:pos x="67" y="8"/>
                </a:cxn>
                <a:cxn ang="0">
                  <a:pos x="63" y="0"/>
                </a:cxn>
                <a:cxn ang="0">
                  <a:pos x="55" y="0"/>
                </a:cxn>
                <a:cxn ang="0">
                  <a:pos x="48" y="0"/>
                </a:cxn>
                <a:cxn ang="0">
                  <a:pos x="40" y="6"/>
                </a:cxn>
                <a:cxn ang="0">
                  <a:pos x="34" y="14"/>
                </a:cxn>
                <a:cxn ang="0">
                  <a:pos x="34" y="18"/>
                </a:cxn>
                <a:cxn ang="0">
                  <a:pos x="30" y="29"/>
                </a:cxn>
                <a:cxn ang="0">
                  <a:pos x="25" y="37"/>
                </a:cxn>
                <a:cxn ang="0">
                  <a:pos x="19" y="43"/>
                </a:cxn>
                <a:cxn ang="0">
                  <a:pos x="11" y="48"/>
                </a:cxn>
                <a:cxn ang="0">
                  <a:pos x="5" y="56"/>
                </a:cxn>
                <a:cxn ang="0">
                  <a:pos x="0" y="62"/>
                </a:cxn>
                <a:cxn ang="0">
                  <a:pos x="5" y="66"/>
                </a:cxn>
                <a:cxn ang="0">
                  <a:pos x="13" y="73"/>
                </a:cxn>
                <a:cxn ang="0">
                  <a:pos x="23" y="79"/>
                </a:cxn>
                <a:cxn ang="0">
                  <a:pos x="32" y="83"/>
                </a:cxn>
                <a:cxn ang="0">
                  <a:pos x="42" y="91"/>
                </a:cxn>
                <a:cxn ang="0">
                  <a:pos x="49" y="91"/>
                </a:cxn>
                <a:cxn ang="0">
                  <a:pos x="57" y="92"/>
                </a:cxn>
                <a:cxn ang="0">
                  <a:pos x="63" y="98"/>
                </a:cxn>
                <a:cxn ang="0">
                  <a:pos x="65" y="106"/>
                </a:cxn>
                <a:cxn ang="0">
                  <a:pos x="67" y="114"/>
                </a:cxn>
                <a:cxn ang="0">
                  <a:pos x="76" y="119"/>
                </a:cxn>
                <a:cxn ang="0">
                  <a:pos x="84" y="129"/>
                </a:cxn>
                <a:cxn ang="0">
                  <a:pos x="92" y="135"/>
                </a:cxn>
                <a:cxn ang="0">
                  <a:pos x="103" y="137"/>
                </a:cxn>
                <a:cxn ang="0">
                  <a:pos x="115" y="142"/>
                </a:cxn>
                <a:cxn ang="0">
                  <a:pos x="122" y="142"/>
                </a:cxn>
                <a:cxn ang="0">
                  <a:pos x="130" y="144"/>
                </a:cxn>
                <a:cxn ang="0">
                  <a:pos x="138" y="148"/>
                </a:cxn>
              </a:cxnLst>
              <a:rect l="0" t="0" r="r" b="b"/>
              <a:pathLst>
                <a:path w="149" h="152">
                  <a:moveTo>
                    <a:pt x="147" y="152"/>
                  </a:moveTo>
                  <a:lnTo>
                    <a:pt x="147" y="146"/>
                  </a:lnTo>
                  <a:lnTo>
                    <a:pt x="147" y="142"/>
                  </a:lnTo>
                  <a:lnTo>
                    <a:pt x="147" y="140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3"/>
                  </a:lnTo>
                  <a:lnTo>
                    <a:pt x="147" y="131"/>
                  </a:lnTo>
                  <a:lnTo>
                    <a:pt x="147" y="129"/>
                  </a:lnTo>
                  <a:lnTo>
                    <a:pt x="147" y="127"/>
                  </a:lnTo>
                  <a:lnTo>
                    <a:pt x="147" y="125"/>
                  </a:lnTo>
                  <a:lnTo>
                    <a:pt x="147" y="121"/>
                  </a:lnTo>
                  <a:lnTo>
                    <a:pt x="147" y="119"/>
                  </a:lnTo>
                  <a:lnTo>
                    <a:pt x="149" y="117"/>
                  </a:lnTo>
                  <a:lnTo>
                    <a:pt x="149" y="114"/>
                  </a:lnTo>
                  <a:lnTo>
                    <a:pt x="149" y="112"/>
                  </a:lnTo>
                  <a:lnTo>
                    <a:pt x="149" y="11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4"/>
                  </a:lnTo>
                  <a:lnTo>
                    <a:pt x="149" y="100"/>
                  </a:lnTo>
                  <a:lnTo>
                    <a:pt x="149" y="98"/>
                  </a:lnTo>
                  <a:lnTo>
                    <a:pt x="149" y="98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9" y="91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45" y="89"/>
                  </a:lnTo>
                  <a:lnTo>
                    <a:pt x="142" y="89"/>
                  </a:lnTo>
                  <a:lnTo>
                    <a:pt x="140" y="91"/>
                  </a:lnTo>
                  <a:lnTo>
                    <a:pt x="138" y="89"/>
                  </a:lnTo>
                  <a:lnTo>
                    <a:pt x="136" y="89"/>
                  </a:lnTo>
                  <a:lnTo>
                    <a:pt x="134" y="89"/>
                  </a:lnTo>
                  <a:lnTo>
                    <a:pt x="134" y="87"/>
                  </a:lnTo>
                  <a:lnTo>
                    <a:pt x="132" y="87"/>
                  </a:lnTo>
                  <a:lnTo>
                    <a:pt x="132" y="87"/>
                  </a:lnTo>
                  <a:lnTo>
                    <a:pt x="130" y="87"/>
                  </a:lnTo>
                  <a:lnTo>
                    <a:pt x="128" y="85"/>
                  </a:lnTo>
                  <a:lnTo>
                    <a:pt x="126" y="83"/>
                  </a:lnTo>
                  <a:lnTo>
                    <a:pt x="126" y="81"/>
                  </a:lnTo>
                  <a:lnTo>
                    <a:pt x="126" y="79"/>
                  </a:lnTo>
                  <a:lnTo>
                    <a:pt x="126" y="77"/>
                  </a:lnTo>
                  <a:lnTo>
                    <a:pt x="124" y="77"/>
                  </a:lnTo>
                  <a:lnTo>
                    <a:pt x="124" y="75"/>
                  </a:lnTo>
                  <a:lnTo>
                    <a:pt x="122" y="73"/>
                  </a:lnTo>
                  <a:lnTo>
                    <a:pt x="122" y="73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68"/>
                  </a:lnTo>
                  <a:lnTo>
                    <a:pt x="113" y="66"/>
                  </a:lnTo>
                  <a:lnTo>
                    <a:pt x="115" y="64"/>
                  </a:lnTo>
                  <a:lnTo>
                    <a:pt x="115" y="62"/>
                  </a:lnTo>
                  <a:lnTo>
                    <a:pt x="115" y="60"/>
                  </a:lnTo>
                  <a:lnTo>
                    <a:pt x="115" y="58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9" y="54"/>
                  </a:lnTo>
                  <a:lnTo>
                    <a:pt x="120" y="54"/>
                  </a:lnTo>
                  <a:lnTo>
                    <a:pt x="120" y="52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22" y="44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1"/>
                  </a:lnTo>
                  <a:lnTo>
                    <a:pt x="120" y="37"/>
                  </a:lnTo>
                  <a:lnTo>
                    <a:pt x="120" y="35"/>
                  </a:lnTo>
                  <a:lnTo>
                    <a:pt x="120" y="33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15" y="33"/>
                  </a:lnTo>
                  <a:lnTo>
                    <a:pt x="113" y="33"/>
                  </a:lnTo>
                  <a:lnTo>
                    <a:pt x="111" y="31"/>
                  </a:lnTo>
                  <a:lnTo>
                    <a:pt x="111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5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1" y="29"/>
                  </a:lnTo>
                  <a:lnTo>
                    <a:pt x="99" y="31"/>
                  </a:lnTo>
                  <a:lnTo>
                    <a:pt x="99" y="33"/>
                  </a:lnTo>
                  <a:lnTo>
                    <a:pt x="99" y="35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6" y="43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92" y="48"/>
                  </a:lnTo>
                  <a:lnTo>
                    <a:pt x="92" y="50"/>
                  </a:lnTo>
                  <a:lnTo>
                    <a:pt x="92" y="52"/>
                  </a:lnTo>
                  <a:lnTo>
                    <a:pt x="90" y="54"/>
                  </a:lnTo>
                  <a:lnTo>
                    <a:pt x="88" y="56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6" y="52"/>
                  </a:lnTo>
                  <a:lnTo>
                    <a:pt x="84" y="52"/>
                  </a:lnTo>
                  <a:lnTo>
                    <a:pt x="82" y="50"/>
                  </a:lnTo>
                  <a:lnTo>
                    <a:pt x="80" y="48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46"/>
                  </a:lnTo>
                  <a:lnTo>
                    <a:pt x="74" y="44"/>
                  </a:lnTo>
                  <a:lnTo>
                    <a:pt x="74" y="43"/>
                  </a:lnTo>
                  <a:lnTo>
                    <a:pt x="72" y="43"/>
                  </a:lnTo>
                  <a:lnTo>
                    <a:pt x="71" y="43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1" y="35"/>
                  </a:lnTo>
                  <a:lnTo>
                    <a:pt x="71" y="33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67" y="20"/>
                  </a:lnTo>
                  <a:lnTo>
                    <a:pt x="67" y="18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8"/>
                  </a:lnTo>
                  <a:lnTo>
                    <a:pt x="34" y="21"/>
                  </a:lnTo>
                  <a:lnTo>
                    <a:pt x="32" y="23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30" y="29"/>
                  </a:lnTo>
                  <a:lnTo>
                    <a:pt x="28" y="31"/>
                  </a:lnTo>
                  <a:lnTo>
                    <a:pt x="28" y="35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3" y="39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19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5" y="46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9" y="52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5" y="56"/>
                  </a:lnTo>
                  <a:lnTo>
                    <a:pt x="5" y="58"/>
                  </a:lnTo>
                  <a:lnTo>
                    <a:pt x="3" y="58"/>
                  </a:lnTo>
                  <a:lnTo>
                    <a:pt x="1" y="60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" y="62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6"/>
                  </a:lnTo>
                  <a:lnTo>
                    <a:pt x="9" y="68"/>
                  </a:lnTo>
                  <a:lnTo>
                    <a:pt x="9" y="69"/>
                  </a:lnTo>
                  <a:lnTo>
                    <a:pt x="11" y="69"/>
                  </a:lnTo>
                  <a:lnTo>
                    <a:pt x="11" y="73"/>
                  </a:lnTo>
                  <a:lnTo>
                    <a:pt x="13" y="73"/>
                  </a:lnTo>
                  <a:lnTo>
                    <a:pt x="15" y="75"/>
                  </a:lnTo>
                  <a:lnTo>
                    <a:pt x="17" y="79"/>
                  </a:lnTo>
                  <a:lnTo>
                    <a:pt x="19" y="79"/>
                  </a:lnTo>
                  <a:lnTo>
                    <a:pt x="21" y="79"/>
                  </a:lnTo>
                  <a:lnTo>
                    <a:pt x="23" y="79"/>
                  </a:lnTo>
                  <a:lnTo>
                    <a:pt x="25" y="81"/>
                  </a:lnTo>
                  <a:lnTo>
                    <a:pt x="26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2" y="91"/>
                  </a:lnTo>
                  <a:lnTo>
                    <a:pt x="44" y="91"/>
                  </a:lnTo>
                  <a:lnTo>
                    <a:pt x="46" y="91"/>
                  </a:lnTo>
                  <a:lnTo>
                    <a:pt x="48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1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7" y="92"/>
                  </a:lnTo>
                  <a:lnTo>
                    <a:pt x="59" y="92"/>
                  </a:lnTo>
                  <a:lnTo>
                    <a:pt x="61" y="94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102"/>
                  </a:lnTo>
                  <a:lnTo>
                    <a:pt x="63" y="104"/>
                  </a:lnTo>
                  <a:lnTo>
                    <a:pt x="63" y="106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5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4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71" y="119"/>
                  </a:lnTo>
                  <a:lnTo>
                    <a:pt x="74" y="119"/>
                  </a:lnTo>
                  <a:lnTo>
                    <a:pt x="76" y="119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6" y="129"/>
                  </a:lnTo>
                  <a:lnTo>
                    <a:pt x="88" y="131"/>
                  </a:lnTo>
                  <a:lnTo>
                    <a:pt x="90" y="131"/>
                  </a:lnTo>
                  <a:lnTo>
                    <a:pt x="92" y="133"/>
                  </a:lnTo>
                  <a:lnTo>
                    <a:pt x="92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9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5" y="139"/>
                  </a:lnTo>
                  <a:lnTo>
                    <a:pt x="107" y="140"/>
                  </a:lnTo>
                  <a:lnTo>
                    <a:pt x="111" y="142"/>
                  </a:lnTo>
                  <a:lnTo>
                    <a:pt x="113" y="142"/>
                  </a:lnTo>
                  <a:lnTo>
                    <a:pt x="115" y="142"/>
                  </a:lnTo>
                  <a:lnTo>
                    <a:pt x="117" y="142"/>
                  </a:lnTo>
                  <a:lnTo>
                    <a:pt x="119" y="142"/>
                  </a:lnTo>
                  <a:lnTo>
                    <a:pt x="120" y="142"/>
                  </a:lnTo>
                  <a:lnTo>
                    <a:pt x="120" y="142"/>
                  </a:lnTo>
                  <a:lnTo>
                    <a:pt x="122" y="142"/>
                  </a:lnTo>
                  <a:lnTo>
                    <a:pt x="122" y="142"/>
                  </a:lnTo>
                  <a:lnTo>
                    <a:pt x="126" y="14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8" y="146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0" y="148"/>
                  </a:lnTo>
                  <a:lnTo>
                    <a:pt x="143" y="150"/>
                  </a:lnTo>
                  <a:lnTo>
                    <a:pt x="147" y="150"/>
                  </a:lnTo>
                  <a:lnTo>
                    <a:pt x="147" y="15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5" name="Freeform 81"/>
            <p:cNvSpPr>
              <a:spLocks/>
            </p:cNvSpPr>
            <p:nvPr/>
          </p:nvSpPr>
          <p:spPr bwMode="auto">
            <a:xfrm>
              <a:off x="859" y="1929"/>
              <a:ext cx="217" cy="238"/>
            </a:xfrm>
            <a:custGeom>
              <a:avLst/>
              <a:gdLst/>
              <a:ahLst/>
              <a:cxnLst>
                <a:cxn ang="0">
                  <a:pos x="182" y="205"/>
                </a:cxn>
                <a:cxn ang="0">
                  <a:pos x="165" y="203"/>
                </a:cxn>
                <a:cxn ang="0">
                  <a:pos x="147" y="201"/>
                </a:cxn>
                <a:cxn ang="0">
                  <a:pos x="130" y="203"/>
                </a:cxn>
                <a:cxn ang="0">
                  <a:pos x="111" y="207"/>
                </a:cxn>
                <a:cxn ang="0">
                  <a:pos x="98" y="211"/>
                </a:cxn>
                <a:cxn ang="0">
                  <a:pos x="84" y="221"/>
                </a:cxn>
                <a:cxn ang="0">
                  <a:pos x="67" y="221"/>
                </a:cxn>
                <a:cxn ang="0">
                  <a:pos x="52" y="226"/>
                </a:cxn>
                <a:cxn ang="0">
                  <a:pos x="42" y="234"/>
                </a:cxn>
                <a:cxn ang="0">
                  <a:pos x="32" y="228"/>
                </a:cxn>
                <a:cxn ang="0">
                  <a:pos x="30" y="215"/>
                </a:cxn>
                <a:cxn ang="0">
                  <a:pos x="34" y="200"/>
                </a:cxn>
                <a:cxn ang="0">
                  <a:pos x="34" y="184"/>
                </a:cxn>
                <a:cxn ang="0">
                  <a:pos x="28" y="173"/>
                </a:cxn>
                <a:cxn ang="0">
                  <a:pos x="15" y="175"/>
                </a:cxn>
                <a:cxn ang="0">
                  <a:pos x="11" y="163"/>
                </a:cxn>
                <a:cxn ang="0">
                  <a:pos x="0" y="157"/>
                </a:cxn>
                <a:cxn ang="0">
                  <a:pos x="2" y="144"/>
                </a:cxn>
                <a:cxn ang="0">
                  <a:pos x="5" y="132"/>
                </a:cxn>
                <a:cxn ang="0">
                  <a:pos x="7" y="115"/>
                </a:cxn>
                <a:cxn ang="0">
                  <a:pos x="11" y="102"/>
                </a:cxn>
                <a:cxn ang="0">
                  <a:pos x="11" y="94"/>
                </a:cxn>
                <a:cxn ang="0">
                  <a:pos x="5" y="86"/>
                </a:cxn>
                <a:cxn ang="0">
                  <a:pos x="19" y="84"/>
                </a:cxn>
                <a:cxn ang="0">
                  <a:pos x="25" y="75"/>
                </a:cxn>
                <a:cxn ang="0">
                  <a:pos x="19" y="67"/>
                </a:cxn>
                <a:cxn ang="0">
                  <a:pos x="15" y="56"/>
                </a:cxn>
                <a:cxn ang="0">
                  <a:pos x="17" y="40"/>
                </a:cxn>
                <a:cxn ang="0">
                  <a:pos x="17" y="31"/>
                </a:cxn>
                <a:cxn ang="0">
                  <a:pos x="25" y="21"/>
                </a:cxn>
                <a:cxn ang="0">
                  <a:pos x="38" y="19"/>
                </a:cxn>
                <a:cxn ang="0">
                  <a:pos x="52" y="21"/>
                </a:cxn>
                <a:cxn ang="0">
                  <a:pos x="65" y="19"/>
                </a:cxn>
                <a:cxn ang="0">
                  <a:pos x="65" y="6"/>
                </a:cxn>
                <a:cxn ang="0">
                  <a:pos x="78" y="2"/>
                </a:cxn>
                <a:cxn ang="0">
                  <a:pos x="84" y="10"/>
                </a:cxn>
                <a:cxn ang="0">
                  <a:pos x="88" y="19"/>
                </a:cxn>
                <a:cxn ang="0">
                  <a:pos x="99" y="13"/>
                </a:cxn>
                <a:cxn ang="0">
                  <a:pos x="113" y="12"/>
                </a:cxn>
                <a:cxn ang="0">
                  <a:pos x="123" y="21"/>
                </a:cxn>
                <a:cxn ang="0">
                  <a:pos x="128" y="31"/>
                </a:cxn>
                <a:cxn ang="0">
                  <a:pos x="134" y="36"/>
                </a:cxn>
                <a:cxn ang="0">
                  <a:pos x="142" y="42"/>
                </a:cxn>
                <a:cxn ang="0">
                  <a:pos x="151" y="48"/>
                </a:cxn>
                <a:cxn ang="0">
                  <a:pos x="163" y="36"/>
                </a:cxn>
                <a:cxn ang="0">
                  <a:pos x="174" y="35"/>
                </a:cxn>
                <a:cxn ang="0">
                  <a:pos x="188" y="33"/>
                </a:cxn>
                <a:cxn ang="0">
                  <a:pos x="199" y="38"/>
                </a:cxn>
                <a:cxn ang="0">
                  <a:pos x="209" y="52"/>
                </a:cxn>
                <a:cxn ang="0">
                  <a:pos x="211" y="63"/>
                </a:cxn>
                <a:cxn ang="0">
                  <a:pos x="213" y="75"/>
                </a:cxn>
                <a:cxn ang="0">
                  <a:pos x="215" y="88"/>
                </a:cxn>
                <a:cxn ang="0">
                  <a:pos x="217" y="102"/>
                </a:cxn>
                <a:cxn ang="0">
                  <a:pos x="211" y="117"/>
                </a:cxn>
                <a:cxn ang="0">
                  <a:pos x="197" y="130"/>
                </a:cxn>
                <a:cxn ang="0">
                  <a:pos x="195" y="146"/>
                </a:cxn>
                <a:cxn ang="0">
                  <a:pos x="188" y="155"/>
                </a:cxn>
                <a:cxn ang="0">
                  <a:pos x="186" y="171"/>
                </a:cxn>
                <a:cxn ang="0">
                  <a:pos x="190" y="182"/>
                </a:cxn>
                <a:cxn ang="0">
                  <a:pos x="197" y="190"/>
                </a:cxn>
                <a:cxn ang="0">
                  <a:pos x="195" y="203"/>
                </a:cxn>
                <a:cxn ang="0">
                  <a:pos x="195" y="209"/>
                </a:cxn>
              </a:cxnLst>
              <a:rect l="0" t="0" r="r" b="b"/>
              <a:pathLst>
                <a:path w="217" h="238">
                  <a:moveTo>
                    <a:pt x="199" y="209"/>
                  </a:moveTo>
                  <a:lnTo>
                    <a:pt x="197" y="207"/>
                  </a:lnTo>
                  <a:lnTo>
                    <a:pt x="193" y="207"/>
                  </a:lnTo>
                  <a:lnTo>
                    <a:pt x="192" y="207"/>
                  </a:lnTo>
                  <a:lnTo>
                    <a:pt x="190" y="209"/>
                  </a:lnTo>
                  <a:lnTo>
                    <a:pt x="186" y="207"/>
                  </a:lnTo>
                  <a:lnTo>
                    <a:pt x="182" y="205"/>
                  </a:lnTo>
                  <a:lnTo>
                    <a:pt x="176" y="205"/>
                  </a:lnTo>
                  <a:lnTo>
                    <a:pt x="174" y="205"/>
                  </a:lnTo>
                  <a:lnTo>
                    <a:pt x="172" y="205"/>
                  </a:lnTo>
                  <a:lnTo>
                    <a:pt x="169" y="203"/>
                  </a:lnTo>
                  <a:lnTo>
                    <a:pt x="167" y="203"/>
                  </a:lnTo>
                  <a:lnTo>
                    <a:pt x="167" y="203"/>
                  </a:lnTo>
                  <a:lnTo>
                    <a:pt x="165" y="203"/>
                  </a:lnTo>
                  <a:lnTo>
                    <a:pt x="163" y="203"/>
                  </a:lnTo>
                  <a:lnTo>
                    <a:pt x="161" y="203"/>
                  </a:lnTo>
                  <a:lnTo>
                    <a:pt x="157" y="203"/>
                  </a:lnTo>
                  <a:lnTo>
                    <a:pt x="155" y="203"/>
                  </a:lnTo>
                  <a:lnTo>
                    <a:pt x="153" y="201"/>
                  </a:lnTo>
                  <a:lnTo>
                    <a:pt x="149" y="201"/>
                  </a:lnTo>
                  <a:lnTo>
                    <a:pt x="147" y="201"/>
                  </a:lnTo>
                  <a:lnTo>
                    <a:pt x="146" y="201"/>
                  </a:lnTo>
                  <a:lnTo>
                    <a:pt x="142" y="201"/>
                  </a:lnTo>
                  <a:lnTo>
                    <a:pt x="140" y="201"/>
                  </a:lnTo>
                  <a:lnTo>
                    <a:pt x="136" y="201"/>
                  </a:lnTo>
                  <a:lnTo>
                    <a:pt x="134" y="201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28" y="203"/>
                  </a:lnTo>
                  <a:lnTo>
                    <a:pt x="124" y="203"/>
                  </a:lnTo>
                  <a:lnTo>
                    <a:pt x="123" y="205"/>
                  </a:lnTo>
                  <a:lnTo>
                    <a:pt x="119" y="205"/>
                  </a:lnTo>
                  <a:lnTo>
                    <a:pt x="117" y="205"/>
                  </a:lnTo>
                  <a:lnTo>
                    <a:pt x="113" y="205"/>
                  </a:lnTo>
                  <a:lnTo>
                    <a:pt x="111" y="207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5" y="207"/>
                  </a:lnTo>
                  <a:lnTo>
                    <a:pt x="103" y="209"/>
                  </a:lnTo>
                  <a:lnTo>
                    <a:pt x="101" y="209"/>
                  </a:lnTo>
                  <a:lnTo>
                    <a:pt x="99" y="209"/>
                  </a:lnTo>
                  <a:lnTo>
                    <a:pt x="98" y="211"/>
                  </a:lnTo>
                  <a:lnTo>
                    <a:pt x="96" y="211"/>
                  </a:lnTo>
                  <a:lnTo>
                    <a:pt x="94" y="213"/>
                  </a:lnTo>
                  <a:lnTo>
                    <a:pt x="94" y="215"/>
                  </a:lnTo>
                  <a:lnTo>
                    <a:pt x="92" y="215"/>
                  </a:lnTo>
                  <a:lnTo>
                    <a:pt x="90" y="217"/>
                  </a:lnTo>
                  <a:lnTo>
                    <a:pt x="86" y="219"/>
                  </a:lnTo>
                  <a:lnTo>
                    <a:pt x="84" y="221"/>
                  </a:lnTo>
                  <a:lnTo>
                    <a:pt x="82" y="221"/>
                  </a:lnTo>
                  <a:lnTo>
                    <a:pt x="80" y="221"/>
                  </a:lnTo>
                  <a:lnTo>
                    <a:pt x="78" y="221"/>
                  </a:lnTo>
                  <a:lnTo>
                    <a:pt x="75" y="221"/>
                  </a:lnTo>
                  <a:lnTo>
                    <a:pt x="73" y="221"/>
                  </a:lnTo>
                  <a:lnTo>
                    <a:pt x="69" y="221"/>
                  </a:lnTo>
                  <a:lnTo>
                    <a:pt x="67" y="221"/>
                  </a:lnTo>
                  <a:lnTo>
                    <a:pt x="65" y="221"/>
                  </a:lnTo>
                  <a:lnTo>
                    <a:pt x="63" y="221"/>
                  </a:lnTo>
                  <a:lnTo>
                    <a:pt x="61" y="221"/>
                  </a:lnTo>
                  <a:lnTo>
                    <a:pt x="57" y="221"/>
                  </a:lnTo>
                  <a:lnTo>
                    <a:pt x="55" y="223"/>
                  </a:lnTo>
                  <a:lnTo>
                    <a:pt x="53" y="225"/>
                  </a:lnTo>
                  <a:lnTo>
                    <a:pt x="52" y="226"/>
                  </a:lnTo>
                  <a:lnTo>
                    <a:pt x="52" y="226"/>
                  </a:lnTo>
                  <a:lnTo>
                    <a:pt x="50" y="228"/>
                  </a:lnTo>
                  <a:lnTo>
                    <a:pt x="50" y="230"/>
                  </a:lnTo>
                  <a:lnTo>
                    <a:pt x="48" y="230"/>
                  </a:lnTo>
                  <a:lnTo>
                    <a:pt x="46" y="230"/>
                  </a:lnTo>
                  <a:lnTo>
                    <a:pt x="44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36" y="234"/>
                  </a:lnTo>
                  <a:lnTo>
                    <a:pt x="32" y="236"/>
                  </a:lnTo>
                  <a:lnTo>
                    <a:pt x="32" y="238"/>
                  </a:lnTo>
                  <a:lnTo>
                    <a:pt x="32" y="234"/>
                  </a:lnTo>
                  <a:lnTo>
                    <a:pt x="32" y="232"/>
                  </a:lnTo>
                  <a:lnTo>
                    <a:pt x="32" y="228"/>
                  </a:lnTo>
                  <a:lnTo>
                    <a:pt x="30" y="228"/>
                  </a:lnTo>
                  <a:lnTo>
                    <a:pt x="30" y="226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0" y="219"/>
                  </a:lnTo>
                  <a:lnTo>
                    <a:pt x="30" y="217"/>
                  </a:lnTo>
                  <a:lnTo>
                    <a:pt x="30" y="215"/>
                  </a:lnTo>
                  <a:lnTo>
                    <a:pt x="30" y="211"/>
                  </a:lnTo>
                  <a:lnTo>
                    <a:pt x="30" y="209"/>
                  </a:lnTo>
                  <a:lnTo>
                    <a:pt x="30" y="207"/>
                  </a:lnTo>
                  <a:lnTo>
                    <a:pt x="32" y="205"/>
                  </a:lnTo>
                  <a:lnTo>
                    <a:pt x="32" y="203"/>
                  </a:lnTo>
                  <a:lnTo>
                    <a:pt x="32" y="201"/>
                  </a:lnTo>
                  <a:lnTo>
                    <a:pt x="34" y="200"/>
                  </a:lnTo>
                  <a:lnTo>
                    <a:pt x="34" y="198"/>
                  </a:lnTo>
                  <a:lnTo>
                    <a:pt x="34" y="196"/>
                  </a:lnTo>
                  <a:lnTo>
                    <a:pt x="34" y="194"/>
                  </a:lnTo>
                  <a:lnTo>
                    <a:pt x="34" y="192"/>
                  </a:lnTo>
                  <a:lnTo>
                    <a:pt x="34" y="188"/>
                  </a:lnTo>
                  <a:lnTo>
                    <a:pt x="34" y="186"/>
                  </a:lnTo>
                  <a:lnTo>
                    <a:pt x="34" y="184"/>
                  </a:lnTo>
                  <a:lnTo>
                    <a:pt x="34" y="182"/>
                  </a:lnTo>
                  <a:lnTo>
                    <a:pt x="34" y="178"/>
                  </a:lnTo>
                  <a:lnTo>
                    <a:pt x="34" y="177"/>
                  </a:lnTo>
                  <a:lnTo>
                    <a:pt x="34" y="175"/>
                  </a:lnTo>
                  <a:lnTo>
                    <a:pt x="34" y="173"/>
                  </a:lnTo>
                  <a:lnTo>
                    <a:pt x="32" y="173"/>
                  </a:lnTo>
                  <a:lnTo>
                    <a:pt x="28" y="173"/>
                  </a:lnTo>
                  <a:lnTo>
                    <a:pt x="27" y="173"/>
                  </a:lnTo>
                  <a:lnTo>
                    <a:pt x="25" y="173"/>
                  </a:lnTo>
                  <a:lnTo>
                    <a:pt x="23" y="173"/>
                  </a:lnTo>
                  <a:lnTo>
                    <a:pt x="21" y="175"/>
                  </a:lnTo>
                  <a:lnTo>
                    <a:pt x="19" y="175"/>
                  </a:lnTo>
                  <a:lnTo>
                    <a:pt x="17" y="175"/>
                  </a:lnTo>
                  <a:lnTo>
                    <a:pt x="15" y="175"/>
                  </a:lnTo>
                  <a:lnTo>
                    <a:pt x="13" y="173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5"/>
                  </a:lnTo>
                  <a:lnTo>
                    <a:pt x="11" y="163"/>
                  </a:lnTo>
                  <a:lnTo>
                    <a:pt x="11" y="161"/>
                  </a:lnTo>
                  <a:lnTo>
                    <a:pt x="9" y="159"/>
                  </a:lnTo>
                  <a:lnTo>
                    <a:pt x="7" y="159"/>
                  </a:lnTo>
                  <a:lnTo>
                    <a:pt x="5" y="157"/>
                  </a:lnTo>
                  <a:lnTo>
                    <a:pt x="4" y="157"/>
                  </a:lnTo>
                  <a:lnTo>
                    <a:pt x="2" y="157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5" y="138"/>
                  </a:lnTo>
                  <a:lnTo>
                    <a:pt x="5" y="136"/>
                  </a:lnTo>
                  <a:lnTo>
                    <a:pt x="5" y="134"/>
                  </a:lnTo>
                  <a:lnTo>
                    <a:pt x="5" y="132"/>
                  </a:lnTo>
                  <a:lnTo>
                    <a:pt x="5" y="130"/>
                  </a:lnTo>
                  <a:lnTo>
                    <a:pt x="5" y="127"/>
                  </a:lnTo>
                  <a:lnTo>
                    <a:pt x="5" y="125"/>
                  </a:lnTo>
                  <a:lnTo>
                    <a:pt x="5" y="123"/>
                  </a:lnTo>
                  <a:lnTo>
                    <a:pt x="5" y="121"/>
                  </a:lnTo>
                  <a:lnTo>
                    <a:pt x="5" y="117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7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5" y="96"/>
                  </a:lnTo>
                  <a:lnTo>
                    <a:pt x="13" y="96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9" y="92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4" y="84"/>
                  </a:lnTo>
                  <a:lnTo>
                    <a:pt x="5" y="84"/>
                  </a:lnTo>
                  <a:lnTo>
                    <a:pt x="7" y="83"/>
                  </a:lnTo>
                  <a:lnTo>
                    <a:pt x="11" y="83"/>
                  </a:lnTo>
                  <a:lnTo>
                    <a:pt x="13" y="84"/>
                  </a:lnTo>
                  <a:lnTo>
                    <a:pt x="17" y="84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5" y="86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9" y="63"/>
                  </a:lnTo>
                  <a:lnTo>
                    <a:pt x="17" y="6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3" y="54"/>
                  </a:lnTo>
                  <a:lnTo>
                    <a:pt x="13" y="50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2"/>
                  </a:lnTo>
                  <a:lnTo>
                    <a:pt x="17" y="42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19" y="23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2" y="21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40" y="17"/>
                  </a:lnTo>
                  <a:lnTo>
                    <a:pt x="42" y="17"/>
                  </a:lnTo>
                  <a:lnTo>
                    <a:pt x="46" y="17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21"/>
                  </a:lnTo>
                  <a:lnTo>
                    <a:pt x="55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7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7" y="12"/>
                  </a:lnTo>
                  <a:lnTo>
                    <a:pt x="65" y="10"/>
                  </a:lnTo>
                  <a:lnTo>
                    <a:pt x="65" y="8"/>
                  </a:lnTo>
                  <a:lnTo>
                    <a:pt x="65" y="6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2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10"/>
                  </a:lnTo>
                  <a:lnTo>
                    <a:pt x="84" y="12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4" y="19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5" y="10"/>
                  </a:lnTo>
                  <a:lnTo>
                    <a:pt x="107" y="10"/>
                  </a:lnTo>
                  <a:lnTo>
                    <a:pt x="111" y="10"/>
                  </a:lnTo>
                  <a:lnTo>
                    <a:pt x="113" y="12"/>
                  </a:lnTo>
                  <a:lnTo>
                    <a:pt x="113" y="13"/>
                  </a:lnTo>
                  <a:lnTo>
                    <a:pt x="117" y="15"/>
                  </a:lnTo>
                  <a:lnTo>
                    <a:pt x="119" y="15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6" y="31"/>
                  </a:lnTo>
                  <a:lnTo>
                    <a:pt x="128" y="31"/>
                  </a:lnTo>
                  <a:lnTo>
                    <a:pt x="128" y="29"/>
                  </a:lnTo>
                  <a:lnTo>
                    <a:pt x="128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2" y="35"/>
                  </a:lnTo>
                  <a:lnTo>
                    <a:pt x="134" y="36"/>
                  </a:lnTo>
                  <a:lnTo>
                    <a:pt x="134" y="38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7" y="44"/>
                  </a:lnTo>
                  <a:lnTo>
                    <a:pt x="147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51" y="48"/>
                  </a:lnTo>
                  <a:lnTo>
                    <a:pt x="153" y="46"/>
                  </a:lnTo>
                  <a:lnTo>
                    <a:pt x="155" y="44"/>
                  </a:lnTo>
                  <a:lnTo>
                    <a:pt x="155" y="42"/>
                  </a:lnTo>
                  <a:lnTo>
                    <a:pt x="155" y="38"/>
                  </a:lnTo>
                  <a:lnTo>
                    <a:pt x="157" y="38"/>
                  </a:lnTo>
                  <a:lnTo>
                    <a:pt x="161" y="36"/>
                  </a:lnTo>
                  <a:lnTo>
                    <a:pt x="163" y="36"/>
                  </a:lnTo>
                  <a:lnTo>
                    <a:pt x="163" y="36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5"/>
                  </a:lnTo>
                  <a:lnTo>
                    <a:pt x="170" y="35"/>
                  </a:lnTo>
                  <a:lnTo>
                    <a:pt x="172" y="35"/>
                  </a:lnTo>
                  <a:lnTo>
                    <a:pt x="174" y="35"/>
                  </a:lnTo>
                  <a:lnTo>
                    <a:pt x="176" y="35"/>
                  </a:lnTo>
                  <a:lnTo>
                    <a:pt x="178" y="33"/>
                  </a:lnTo>
                  <a:lnTo>
                    <a:pt x="180" y="33"/>
                  </a:lnTo>
                  <a:lnTo>
                    <a:pt x="180" y="33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3"/>
                  </a:lnTo>
                  <a:lnTo>
                    <a:pt x="190" y="33"/>
                  </a:lnTo>
                  <a:lnTo>
                    <a:pt x="192" y="33"/>
                  </a:lnTo>
                  <a:lnTo>
                    <a:pt x="192" y="33"/>
                  </a:lnTo>
                  <a:lnTo>
                    <a:pt x="193" y="33"/>
                  </a:lnTo>
                  <a:lnTo>
                    <a:pt x="195" y="35"/>
                  </a:lnTo>
                  <a:lnTo>
                    <a:pt x="197" y="36"/>
                  </a:lnTo>
                  <a:lnTo>
                    <a:pt x="199" y="38"/>
                  </a:lnTo>
                  <a:lnTo>
                    <a:pt x="201" y="40"/>
                  </a:lnTo>
                  <a:lnTo>
                    <a:pt x="201" y="42"/>
                  </a:lnTo>
                  <a:lnTo>
                    <a:pt x="203" y="44"/>
                  </a:lnTo>
                  <a:lnTo>
                    <a:pt x="205" y="46"/>
                  </a:lnTo>
                  <a:lnTo>
                    <a:pt x="207" y="48"/>
                  </a:lnTo>
                  <a:lnTo>
                    <a:pt x="209" y="50"/>
                  </a:lnTo>
                  <a:lnTo>
                    <a:pt x="209" y="52"/>
                  </a:lnTo>
                  <a:lnTo>
                    <a:pt x="211" y="52"/>
                  </a:lnTo>
                  <a:lnTo>
                    <a:pt x="211" y="54"/>
                  </a:lnTo>
                  <a:lnTo>
                    <a:pt x="213" y="56"/>
                  </a:lnTo>
                  <a:lnTo>
                    <a:pt x="213" y="58"/>
                  </a:lnTo>
                  <a:lnTo>
                    <a:pt x="213" y="59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09" y="63"/>
                  </a:lnTo>
                  <a:lnTo>
                    <a:pt x="207" y="65"/>
                  </a:lnTo>
                  <a:lnTo>
                    <a:pt x="207" y="69"/>
                  </a:lnTo>
                  <a:lnTo>
                    <a:pt x="209" y="69"/>
                  </a:lnTo>
                  <a:lnTo>
                    <a:pt x="209" y="71"/>
                  </a:lnTo>
                  <a:lnTo>
                    <a:pt x="211" y="73"/>
                  </a:lnTo>
                  <a:lnTo>
                    <a:pt x="213" y="75"/>
                  </a:lnTo>
                  <a:lnTo>
                    <a:pt x="213" y="75"/>
                  </a:lnTo>
                  <a:lnTo>
                    <a:pt x="213" y="77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83"/>
                  </a:lnTo>
                  <a:lnTo>
                    <a:pt x="215" y="86"/>
                  </a:lnTo>
                  <a:lnTo>
                    <a:pt x="215" y="88"/>
                  </a:lnTo>
                  <a:lnTo>
                    <a:pt x="215" y="90"/>
                  </a:lnTo>
                  <a:lnTo>
                    <a:pt x="215" y="92"/>
                  </a:lnTo>
                  <a:lnTo>
                    <a:pt x="215" y="94"/>
                  </a:lnTo>
                  <a:lnTo>
                    <a:pt x="215" y="98"/>
                  </a:lnTo>
                  <a:lnTo>
                    <a:pt x="215" y="100"/>
                  </a:lnTo>
                  <a:lnTo>
                    <a:pt x="215" y="100"/>
                  </a:lnTo>
                  <a:lnTo>
                    <a:pt x="217" y="102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9"/>
                  </a:lnTo>
                  <a:lnTo>
                    <a:pt x="213" y="109"/>
                  </a:lnTo>
                  <a:lnTo>
                    <a:pt x="213" y="111"/>
                  </a:lnTo>
                  <a:lnTo>
                    <a:pt x="211" y="113"/>
                  </a:lnTo>
                  <a:lnTo>
                    <a:pt x="211" y="117"/>
                  </a:lnTo>
                  <a:lnTo>
                    <a:pt x="207" y="119"/>
                  </a:lnTo>
                  <a:lnTo>
                    <a:pt x="205" y="121"/>
                  </a:lnTo>
                  <a:lnTo>
                    <a:pt x="203" y="123"/>
                  </a:lnTo>
                  <a:lnTo>
                    <a:pt x="201" y="127"/>
                  </a:lnTo>
                  <a:lnTo>
                    <a:pt x="199" y="129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5" y="132"/>
                  </a:lnTo>
                  <a:lnTo>
                    <a:pt x="195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5" y="142"/>
                  </a:lnTo>
                  <a:lnTo>
                    <a:pt x="195" y="144"/>
                  </a:lnTo>
                  <a:lnTo>
                    <a:pt x="195" y="146"/>
                  </a:lnTo>
                  <a:lnTo>
                    <a:pt x="193" y="148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0" y="152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8" y="155"/>
                  </a:lnTo>
                  <a:lnTo>
                    <a:pt x="188" y="159"/>
                  </a:lnTo>
                  <a:lnTo>
                    <a:pt x="186" y="159"/>
                  </a:lnTo>
                  <a:lnTo>
                    <a:pt x="186" y="161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7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8" y="175"/>
                  </a:lnTo>
                  <a:lnTo>
                    <a:pt x="188" y="177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90" y="182"/>
                  </a:lnTo>
                  <a:lnTo>
                    <a:pt x="192" y="182"/>
                  </a:lnTo>
                  <a:lnTo>
                    <a:pt x="193" y="184"/>
                  </a:lnTo>
                  <a:lnTo>
                    <a:pt x="195" y="184"/>
                  </a:lnTo>
                  <a:lnTo>
                    <a:pt x="195" y="186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7" y="190"/>
                  </a:lnTo>
                  <a:lnTo>
                    <a:pt x="197" y="192"/>
                  </a:lnTo>
                  <a:lnTo>
                    <a:pt x="197" y="194"/>
                  </a:lnTo>
                  <a:lnTo>
                    <a:pt x="197" y="198"/>
                  </a:lnTo>
                  <a:lnTo>
                    <a:pt x="195" y="198"/>
                  </a:lnTo>
                  <a:lnTo>
                    <a:pt x="195" y="200"/>
                  </a:lnTo>
                  <a:lnTo>
                    <a:pt x="195" y="201"/>
                  </a:lnTo>
                  <a:lnTo>
                    <a:pt x="195" y="203"/>
                  </a:lnTo>
                  <a:lnTo>
                    <a:pt x="195" y="205"/>
                  </a:lnTo>
                  <a:lnTo>
                    <a:pt x="193" y="205"/>
                  </a:lnTo>
                  <a:lnTo>
                    <a:pt x="193" y="207"/>
                  </a:lnTo>
                  <a:lnTo>
                    <a:pt x="192" y="207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5" y="209"/>
                  </a:lnTo>
                  <a:lnTo>
                    <a:pt x="197" y="209"/>
                  </a:lnTo>
                  <a:lnTo>
                    <a:pt x="199" y="2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6" name="Freeform 82"/>
            <p:cNvSpPr>
              <a:spLocks/>
            </p:cNvSpPr>
            <p:nvPr/>
          </p:nvSpPr>
          <p:spPr bwMode="auto">
            <a:xfrm>
              <a:off x="859" y="1929"/>
              <a:ext cx="217" cy="238"/>
            </a:xfrm>
            <a:custGeom>
              <a:avLst/>
              <a:gdLst/>
              <a:ahLst/>
              <a:cxnLst>
                <a:cxn ang="0">
                  <a:pos x="182" y="205"/>
                </a:cxn>
                <a:cxn ang="0">
                  <a:pos x="165" y="203"/>
                </a:cxn>
                <a:cxn ang="0">
                  <a:pos x="147" y="201"/>
                </a:cxn>
                <a:cxn ang="0">
                  <a:pos x="130" y="203"/>
                </a:cxn>
                <a:cxn ang="0">
                  <a:pos x="111" y="207"/>
                </a:cxn>
                <a:cxn ang="0">
                  <a:pos x="98" y="211"/>
                </a:cxn>
                <a:cxn ang="0">
                  <a:pos x="84" y="221"/>
                </a:cxn>
                <a:cxn ang="0">
                  <a:pos x="67" y="221"/>
                </a:cxn>
                <a:cxn ang="0">
                  <a:pos x="52" y="226"/>
                </a:cxn>
                <a:cxn ang="0">
                  <a:pos x="42" y="234"/>
                </a:cxn>
                <a:cxn ang="0">
                  <a:pos x="32" y="228"/>
                </a:cxn>
                <a:cxn ang="0">
                  <a:pos x="30" y="215"/>
                </a:cxn>
                <a:cxn ang="0">
                  <a:pos x="34" y="200"/>
                </a:cxn>
                <a:cxn ang="0">
                  <a:pos x="34" y="184"/>
                </a:cxn>
                <a:cxn ang="0">
                  <a:pos x="28" y="173"/>
                </a:cxn>
                <a:cxn ang="0">
                  <a:pos x="15" y="175"/>
                </a:cxn>
                <a:cxn ang="0">
                  <a:pos x="11" y="163"/>
                </a:cxn>
                <a:cxn ang="0">
                  <a:pos x="0" y="157"/>
                </a:cxn>
                <a:cxn ang="0">
                  <a:pos x="2" y="144"/>
                </a:cxn>
                <a:cxn ang="0">
                  <a:pos x="5" y="132"/>
                </a:cxn>
                <a:cxn ang="0">
                  <a:pos x="7" y="115"/>
                </a:cxn>
                <a:cxn ang="0">
                  <a:pos x="11" y="102"/>
                </a:cxn>
                <a:cxn ang="0">
                  <a:pos x="11" y="94"/>
                </a:cxn>
                <a:cxn ang="0">
                  <a:pos x="5" y="86"/>
                </a:cxn>
                <a:cxn ang="0">
                  <a:pos x="19" y="84"/>
                </a:cxn>
                <a:cxn ang="0">
                  <a:pos x="25" y="75"/>
                </a:cxn>
                <a:cxn ang="0">
                  <a:pos x="19" y="67"/>
                </a:cxn>
                <a:cxn ang="0">
                  <a:pos x="15" y="56"/>
                </a:cxn>
                <a:cxn ang="0">
                  <a:pos x="17" y="40"/>
                </a:cxn>
                <a:cxn ang="0">
                  <a:pos x="17" y="31"/>
                </a:cxn>
                <a:cxn ang="0">
                  <a:pos x="25" y="21"/>
                </a:cxn>
                <a:cxn ang="0">
                  <a:pos x="38" y="19"/>
                </a:cxn>
                <a:cxn ang="0">
                  <a:pos x="52" y="21"/>
                </a:cxn>
                <a:cxn ang="0">
                  <a:pos x="65" y="19"/>
                </a:cxn>
                <a:cxn ang="0">
                  <a:pos x="65" y="6"/>
                </a:cxn>
                <a:cxn ang="0">
                  <a:pos x="78" y="2"/>
                </a:cxn>
                <a:cxn ang="0">
                  <a:pos x="84" y="10"/>
                </a:cxn>
                <a:cxn ang="0">
                  <a:pos x="88" y="19"/>
                </a:cxn>
                <a:cxn ang="0">
                  <a:pos x="99" y="13"/>
                </a:cxn>
                <a:cxn ang="0">
                  <a:pos x="113" y="12"/>
                </a:cxn>
                <a:cxn ang="0">
                  <a:pos x="123" y="21"/>
                </a:cxn>
                <a:cxn ang="0">
                  <a:pos x="128" y="31"/>
                </a:cxn>
                <a:cxn ang="0">
                  <a:pos x="134" y="36"/>
                </a:cxn>
                <a:cxn ang="0">
                  <a:pos x="142" y="42"/>
                </a:cxn>
                <a:cxn ang="0">
                  <a:pos x="151" y="48"/>
                </a:cxn>
                <a:cxn ang="0">
                  <a:pos x="163" y="36"/>
                </a:cxn>
                <a:cxn ang="0">
                  <a:pos x="174" y="35"/>
                </a:cxn>
                <a:cxn ang="0">
                  <a:pos x="188" y="33"/>
                </a:cxn>
                <a:cxn ang="0">
                  <a:pos x="199" y="38"/>
                </a:cxn>
                <a:cxn ang="0">
                  <a:pos x="209" y="52"/>
                </a:cxn>
                <a:cxn ang="0">
                  <a:pos x="211" y="63"/>
                </a:cxn>
                <a:cxn ang="0">
                  <a:pos x="213" y="75"/>
                </a:cxn>
                <a:cxn ang="0">
                  <a:pos x="215" y="88"/>
                </a:cxn>
                <a:cxn ang="0">
                  <a:pos x="217" y="102"/>
                </a:cxn>
                <a:cxn ang="0">
                  <a:pos x="211" y="117"/>
                </a:cxn>
                <a:cxn ang="0">
                  <a:pos x="197" y="130"/>
                </a:cxn>
                <a:cxn ang="0">
                  <a:pos x="195" y="146"/>
                </a:cxn>
                <a:cxn ang="0">
                  <a:pos x="188" y="155"/>
                </a:cxn>
                <a:cxn ang="0">
                  <a:pos x="186" y="171"/>
                </a:cxn>
                <a:cxn ang="0">
                  <a:pos x="190" y="182"/>
                </a:cxn>
                <a:cxn ang="0">
                  <a:pos x="197" y="190"/>
                </a:cxn>
                <a:cxn ang="0">
                  <a:pos x="195" y="203"/>
                </a:cxn>
                <a:cxn ang="0">
                  <a:pos x="195" y="209"/>
                </a:cxn>
              </a:cxnLst>
              <a:rect l="0" t="0" r="r" b="b"/>
              <a:pathLst>
                <a:path w="217" h="238">
                  <a:moveTo>
                    <a:pt x="199" y="209"/>
                  </a:moveTo>
                  <a:lnTo>
                    <a:pt x="197" y="207"/>
                  </a:lnTo>
                  <a:lnTo>
                    <a:pt x="193" y="207"/>
                  </a:lnTo>
                  <a:lnTo>
                    <a:pt x="192" y="207"/>
                  </a:lnTo>
                  <a:lnTo>
                    <a:pt x="190" y="209"/>
                  </a:lnTo>
                  <a:lnTo>
                    <a:pt x="186" y="207"/>
                  </a:lnTo>
                  <a:lnTo>
                    <a:pt x="182" y="205"/>
                  </a:lnTo>
                  <a:lnTo>
                    <a:pt x="176" y="205"/>
                  </a:lnTo>
                  <a:lnTo>
                    <a:pt x="174" y="205"/>
                  </a:lnTo>
                  <a:lnTo>
                    <a:pt x="172" y="205"/>
                  </a:lnTo>
                  <a:lnTo>
                    <a:pt x="169" y="203"/>
                  </a:lnTo>
                  <a:lnTo>
                    <a:pt x="167" y="203"/>
                  </a:lnTo>
                  <a:lnTo>
                    <a:pt x="167" y="203"/>
                  </a:lnTo>
                  <a:lnTo>
                    <a:pt x="165" y="203"/>
                  </a:lnTo>
                  <a:lnTo>
                    <a:pt x="163" y="203"/>
                  </a:lnTo>
                  <a:lnTo>
                    <a:pt x="161" y="203"/>
                  </a:lnTo>
                  <a:lnTo>
                    <a:pt x="157" y="203"/>
                  </a:lnTo>
                  <a:lnTo>
                    <a:pt x="155" y="203"/>
                  </a:lnTo>
                  <a:lnTo>
                    <a:pt x="153" y="201"/>
                  </a:lnTo>
                  <a:lnTo>
                    <a:pt x="149" y="201"/>
                  </a:lnTo>
                  <a:lnTo>
                    <a:pt x="147" y="201"/>
                  </a:lnTo>
                  <a:lnTo>
                    <a:pt x="146" y="201"/>
                  </a:lnTo>
                  <a:lnTo>
                    <a:pt x="142" y="201"/>
                  </a:lnTo>
                  <a:lnTo>
                    <a:pt x="140" y="201"/>
                  </a:lnTo>
                  <a:lnTo>
                    <a:pt x="136" y="201"/>
                  </a:lnTo>
                  <a:lnTo>
                    <a:pt x="134" y="201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28" y="203"/>
                  </a:lnTo>
                  <a:lnTo>
                    <a:pt x="124" y="203"/>
                  </a:lnTo>
                  <a:lnTo>
                    <a:pt x="123" y="205"/>
                  </a:lnTo>
                  <a:lnTo>
                    <a:pt x="119" y="205"/>
                  </a:lnTo>
                  <a:lnTo>
                    <a:pt x="117" y="205"/>
                  </a:lnTo>
                  <a:lnTo>
                    <a:pt x="113" y="205"/>
                  </a:lnTo>
                  <a:lnTo>
                    <a:pt x="111" y="207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5" y="207"/>
                  </a:lnTo>
                  <a:lnTo>
                    <a:pt x="103" y="209"/>
                  </a:lnTo>
                  <a:lnTo>
                    <a:pt x="101" y="209"/>
                  </a:lnTo>
                  <a:lnTo>
                    <a:pt x="99" y="209"/>
                  </a:lnTo>
                  <a:lnTo>
                    <a:pt x="98" y="211"/>
                  </a:lnTo>
                  <a:lnTo>
                    <a:pt x="96" y="211"/>
                  </a:lnTo>
                  <a:lnTo>
                    <a:pt x="94" y="213"/>
                  </a:lnTo>
                  <a:lnTo>
                    <a:pt x="94" y="215"/>
                  </a:lnTo>
                  <a:lnTo>
                    <a:pt x="92" y="215"/>
                  </a:lnTo>
                  <a:lnTo>
                    <a:pt x="90" y="217"/>
                  </a:lnTo>
                  <a:lnTo>
                    <a:pt x="86" y="219"/>
                  </a:lnTo>
                  <a:lnTo>
                    <a:pt x="84" y="221"/>
                  </a:lnTo>
                  <a:lnTo>
                    <a:pt x="82" y="221"/>
                  </a:lnTo>
                  <a:lnTo>
                    <a:pt x="80" y="221"/>
                  </a:lnTo>
                  <a:lnTo>
                    <a:pt x="78" y="221"/>
                  </a:lnTo>
                  <a:lnTo>
                    <a:pt x="75" y="221"/>
                  </a:lnTo>
                  <a:lnTo>
                    <a:pt x="73" y="221"/>
                  </a:lnTo>
                  <a:lnTo>
                    <a:pt x="69" y="221"/>
                  </a:lnTo>
                  <a:lnTo>
                    <a:pt x="67" y="221"/>
                  </a:lnTo>
                  <a:lnTo>
                    <a:pt x="65" y="221"/>
                  </a:lnTo>
                  <a:lnTo>
                    <a:pt x="63" y="221"/>
                  </a:lnTo>
                  <a:lnTo>
                    <a:pt x="61" y="221"/>
                  </a:lnTo>
                  <a:lnTo>
                    <a:pt x="57" y="221"/>
                  </a:lnTo>
                  <a:lnTo>
                    <a:pt x="55" y="223"/>
                  </a:lnTo>
                  <a:lnTo>
                    <a:pt x="53" y="225"/>
                  </a:lnTo>
                  <a:lnTo>
                    <a:pt x="52" y="226"/>
                  </a:lnTo>
                  <a:lnTo>
                    <a:pt x="52" y="226"/>
                  </a:lnTo>
                  <a:lnTo>
                    <a:pt x="50" y="228"/>
                  </a:lnTo>
                  <a:lnTo>
                    <a:pt x="50" y="230"/>
                  </a:lnTo>
                  <a:lnTo>
                    <a:pt x="48" y="230"/>
                  </a:lnTo>
                  <a:lnTo>
                    <a:pt x="46" y="230"/>
                  </a:lnTo>
                  <a:lnTo>
                    <a:pt x="44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36" y="234"/>
                  </a:lnTo>
                  <a:lnTo>
                    <a:pt x="32" y="236"/>
                  </a:lnTo>
                  <a:lnTo>
                    <a:pt x="32" y="238"/>
                  </a:lnTo>
                  <a:lnTo>
                    <a:pt x="32" y="234"/>
                  </a:lnTo>
                  <a:lnTo>
                    <a:pt x="32" y="232"/>
                  </a:lnTo>
                  <a:lnTo>
                    <a:pt x="32" y="228"/>
                  </a:lnTo>
                  <a:lnTo>
                    <a:pt x="30" y="228"/>
                  </a:lnTo>
                  <a:lnTo>
                    <a:pt x="30" y="226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0" y="219"/>
                  </a:lnTo>
                  <a:lnTo>
                    <a:pt x="30" y="217"/>
                  </a:lnTo>
                  <a:lnTo>
                    <a:pt x="30" y="215"/>
                  </a:lnTo>
                  <a:lnTo>
                    <a:pt x="30" y="211"/>
                  </a:lnTo>
                  <a:lnTo>
                    <a:pt x="30" y="209"/>
                  </a:lnTo>
                  <a:lnTo>
                    <a:pt x="30" y="207"/>
                  </a:lnTo>
                  <a:lnTo>
                    <a:pt x="32" y="205"/>
                  </a:lnTo>
                  <a:lnTo>
                    <a:pt x="32" y="203"/>
                  </a:lnTo>
                  <a:lnTo>
                    <a:pt x="32" y="201"/>
                  </a:lnTo>
                  <a:lnTo>
                    <a:pt x="34" y="200"/>
                  </a:lnTo>
                  <a:lnTo>
                    <a:pt x="34" y="198"/>
                  </a:lnTo>
                  <a:lnTo>
                    <a:pt x="34" y="196"/>
                  </a:lnTo>
                  <a:lnTo>
                    <a:pt x="34" y="194"/>
                  </a:lnTo>
                  <a:lnTo>
                    <a:pt x="34" y="192"/>
                  </a:lnTo>
                  <a:lnTo>
                    <a:pt x="34" y="188"/>
                  </a:lnTo>
                  <a:lnTo>
                    <a:pt x="34" y="186"/>
                  </a:lnTo>
                  <a:lnTo>
                    <a:pt x="34" y="184"/>
                  </a:lnTo>
                  <a:lnTo>
                    <a:pt x="34" y="182"/>
                  </a:lnTo>
                  <a:lnTo>
                    <a:pt x="34" y="178"/>
                  </a:lnTo>
                  <a:lnTo>
                    <a:pt x="34" y="177"/>
                  </a:lnTo>
                  <a:lnTo>
                    <a:pt x="34" y="175"/>
                  </a:lnTo>
                  <a:lnTo>
                    <a:pt x="34" y="173"/>
                  </a:lnTo>
                  <a:lnTo>
                    <a:pt x="32" y="173"/>
                  </a:lnTo>
                  <a:lnTo>
                    <a:pt x="28" y="173"/>
                  </a:lnTo>
                  <a:lnTo>
                    <a:pt x="27" y="173"/>
                  </a:lnTo>
                  <a:lnTo>
                    <a:pt x="25" y="173"/>
                  </a:lnTo>
                  <a:lnTo>
                    <a:pt x="23" y="173"/>
                  </a:lnTo>
                  <a:lnTo>
                    <a:pt x="21" y="175"/>
                  </a:lnTo>
                  <a:lnTo>
                    <a:pt x="19" y="175"/>
                  </a:lnTo>
                  <a:lnTo>
                    <a:pt x="17" y="175"/>
                  </a:lnTo>
                  <a:lnTo>
                    <a:pt x="15" y="175"/>
                  </a:lnTo>
                  <a:lnTo>
                    <a:pt x="13" y="173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5"/>
                  </a:lnTo>
                  <a:lnTo>
                    <a:pt x="11" y="163"/>
                  </a:lnTo>
                  <a:lnTo>
                    <a:pt x="11" y="161"/>
                  </a:lnTo>
                  <a:lnTo>
                    <a:pt x="9" y="159"/>
                  </a:lnTo>
                  <a:lnTo>
                    <a:pt x="7" y="159"/>
                  </a:lnTo>
                  <a:lnTo>
                    <a:pt x="5" y="157"/>
                  </a:lnTo>
                  <a:lnTo>
                    <a:pt x="4" y="157"/>
                  </a:lnTo>
                  <a:lnTo>
                    <a:pt x="2" y="157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5" y="138"/>
                  </a:lnTo>
                  <a:lnTo>
                    <a:pt x="5" y="136"/>
                  </a:lnTo>
                  <a:lnTo>
                    <a:pt x="5" y="134"/>
                  </a:lnTo>
                  <a:lnTo>
                    <a:pt x="5" y="132"/>
                  </a:lnTo>
                  <a:lnTo>
                    <a:pt x="5" y="130"/>
                  </a:lnTo>
                  <a:lnTo>
                    <a:pt x="5" y="127"/>
                  </a:lnTo>
                  <a:lnTo>
                    <a:pt x="5" y="125"/>
                  </a:lnTo>
                  <a:lnTo>
                    <a:pt x="5" y="123"/>
                  </a:lnTo>
                  <a:lnTo>
                    <a:pt x="5" y="121"/>
                  </a:lnTo>
                  <a:lnTo>
                    <a:pt x="5" y="117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7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5" y="96"/>
                  </a:lnTo>
                  <a:lnTo>
                    <a:pt x="13" y="96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9" y="92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4" y="84"/>
                  </a:lnTo>
                  <a:lnTo>
                    <a:pt x="5" y="84"/>
                  </a:lnTo>
                  <a:lnTo>
                    <a:pt x="7" y="83"/>
                  </a:lnTo>
                  <a:lnTo>
                    <a:pt x="11" y="83"/>
                  </a:lnTo>
                  <a:lnTo>
                    <a:pt x="13" y="84"/>
                  </a:lnTo>
                  <a:lnTo>
                    <a:pt x="17" y="84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5" y="86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9" y="63"/>
                  </a:lnTo>
                  <a:lnTo>
                    <a:pt x="17" y="6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3" y="54"/>
                  </a:lnTo>
                  <a:lnTo>
                    <a:pt x="13" y="50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2"/>
                  </a:lnTo>
                  <a:lnTo>
                    <a:pt x="17" y="42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19" y="23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2" y="21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40" y="17"/>
                  </a:lnTo>
                  <a:lnTo>
                    <a:pt x="42" y="17"/>
                  </a:lnTo>
                  <a:lnTo>
                    <a:pt x="46" y="17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21"/>
                  </a:lnTo>
                  <a:lnTo>
                    <a:pt x="55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7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7" y="12"/>
                  </a:lnTo>
                  <a:lnTo>
                    <a:pt x="65" y="10"/>
                  </a:lnTo>
                  <a:lnTo>
                    <a:pt x="65" y="8"/>
                  </a:lnTo>
                  <a:lnTo>
                    <a:pt x="65" y="6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2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10"/>
                  </a:lnTo>
                  <a:lnTo>
                    <a:pt x="84" y="12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4" y="19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5" y="10"/>
                  </a:lnTo>
                  <a:lnTo>
                    <a:pt x="107" y="10"/>
                  </a:lnTo>
                  <a:lnTo>
                    <a:pt x="111" y="10"/>
                  </a:lnTo>
                  <a:lnTo>
                    <a:pt x="113" y="12"/>
                  </a:lnTo>
                  <a:lnTo>
                    <a:pt x="113" y="13"/>
                  </a:lnTo>
                  <a:lnTo>
                    <a:pt x="117" y="15"/>
                  </a:lnTo>
                  <a:lnTo>
                    <a:pt x="119" y="15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6" y="31"/>
                  </a:lnTo>
                  <a:lnTo>
                    <a:pt x="128" y="31"/>
                  </a:lnTo>
                  <a:lnTo>
                    <a:pt x="128" y="29"/>
                  </a:lnTo>
                  <a:lnTo>
                    <a:pt x="128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2" y="35"/>
                  </a:lnTo>
                  <a:lnTo>
                    <a:pt x="134" y="36"/>
                  </a:lnTo>
                  <a:lnTo>
                    <a:pt x="134" y="38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7" y="44"/>
                  </a:lnTo>
                  <a:lnTo>
                    <a:pt x="147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51" y="48"/>
                  </a:lnTo>
                  <a:lnTo>
                    <a:pt x="153" y="46"/>
                  </a:lnTo>
                  <a:lnTo>
                    <a:pt x="155" y="44"/>
                  </a:lnTo>
                  <a:lnTo>
                    <a:pt x="155" y="42"/>
                  </a:lnTo>
                  <a:lnTo>
                    <a:pt x="155" y="38"/>
                  </a:lnTo>
                  <a:lnTo>
                    <a:pt x="157" y="38"/>
                  </a:lnTo>
                  <a:lnTo>
                    <a:pt x="161" y="36"/>
                  </a:lnTo>
                  <a:lnTo>
                    <a:pt x="163" y="36"/>
                  </a:lnTo>
                  <a:lnTo>
                    <a:pt x="163" y="36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5"/>
                  </a:lnTo>
                  <a:lnTo>
                    <a:pt x="170" y="35"/>
                  </a:lnTo>
                  <a:lnTo>
                    <a:pt x="172" y="35"/>
                  </a:lnTo>
                  <a:lnTo>
                    <a:pt x="174" y="35"/>
                  </a:lnTo>
                  <a:lnTo>
                    <a:pt x="176" y="35"/>
                  </a:lnTo>
                  <a:lnTo>
                    <a:pt x="178" y="33"/>
                  </a:lnTo>
                  <a:lnTo>
                    <a:pt x="180" y="33"/>
                  </a:lnTo>
                  <a:lnTo>
                    <a:pt x="180" y="33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3"/>
                  </a:lnTo>
                  <a:lnTo>
                    <a:pt x="190" y="33"/>
                  </a:lnTo>
                  <a:lnTo>
                    <a:pt x="192" y="33"/>
                  </a:lnTo>
                  <a:lnTo>
                    <a:pt x="192" y="33"/>
                  </a:lnTo>
                  <a:lnTo>
                    <a:pt x="193" y="33"/>
                  </a:lnTo>
                  <a:lnTo>
                    <a:pt x="195" y="35"/>
                  </a:lnTo>
                  <a:lnTo>
                    <a:pt x="197" y="36"/>
                  </a:lnTo>
                  <a:lnTo>
                    <a:pt x="199" y="38"/>
                  </a:lnTo>
                  <a:lnTo>
                    <a:pt x="201" y="40"/>
                  </a:lnTo>
                  <a:lnTo>
                    <a:pt x="201" y="42"/>
                  </a:lnTo>
                  <a:lnTo>
                    <a:pt x="203" y="44"/>
                  </a:lnTo>
                  <a:lnTo>
                    <a:pt x="205" y="46"/>
                  </a:lnTo>
                  <a:lnTo>
                    <a:pt x="207" y="48"/>
                  </a:lnTo>
                  <a:lnTo>
                    <a:pt x="209" y="50"/>
                  </a:lnTo>
                  <a:lnTo>
                    <a:pt x="209" y="52"/>
                  </a:lnTo>
                  <a:lnTo>
                    <a:pt x="211" y="52"/>
                  </a:lnTo>
                  <a:lnTo>
                    <a:pt x="211" y="54"/>
                  </a:lnTo>
                  <a:lnTo>
                    <a:pt x="213" y="56"/>
                  </a:lnTo>
                  <a:lnTo>
                    <a:pt x="213" y="58"/>
                  </a:lnTo>
                  <a:lnTo>
                    <a:pt x="213" y="59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09" y="63"/>
                  </a:lnTo>
                  <a:lnTo>
                    <a:pt x="207" y="65"/>
                  </a:lnTo>
                  <a:lnTo>
                    <a:pt x="207" y="69"/>
                  </a:lnTo>
                  <a:lnTo>
                    <a:pt x="209" y="69"/>
                  </a:lnTo>
                  <a:lnTo>
                    <a:pt x="209" y="71"/>
                  </a:lnTo>
                  <a:lnTo>
                    <a:pt x="211" y="73"/>
                  </a:lnTo>
                  <a:lnTo>
                    <a:pt x="213" y="75"/>
                  </a:lnTo>
                  <a:lnTo>
                    <a:pt x="213" y="75"/>
                  </a:lnTo>
                  <a:lnTo>
                    <a:pt x="213" y="77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83"/>
                  </a:lnTo>
                  <a:lnTo>
                    <a:pt x="215" y="86"/>
                  </a:lnTo>
                  <a:lnTo>
                    <a:pt x="215" y="88"/>
                  </a:lnTo>
                  <a:lnTo>
                    <a:pt x="215" y="90"/>
                  </a:lnTo>
                  <a:lnTo>
                    <a:pt x="215" y="92"/>
                  </a:lnTo>
                  <a:lnTo>
                    <a:pt x="215" y="94"/>
                  </a:lnTo>
                  <a:lnTo>
                    <a:pt x="215" y="98"/>
                  </a:lnTo>
                  <a:lnTo>
                    <a:pt x="215" y="100"/>
                  </a:lnTo>
                  <a:lnTo>
                    <a:pt x="215" y="100"/>
                  </a:lnTo>
                  <a:lnTo>
                    <a:pt x="217" y="102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9"/>
                  </a:lnTo>
                  <a:lnTo>
                    <a:pt x="213" y="109"/>
                  </a:lnTo>
                  <a:lnTo>
                    <a:pt x="213" y="111"/>
                  </a:lnTo>
                  <a:lnTo>
                    <a:pt x="211" y="113"/>
                  </a:lnTo>
                  <a:lnTo>
                    <a:pt x="211" y="117"/>
                  </a:lnTo>
                  <a:lnTo>
                    <a:pt x="207" y="119"/>
                  </a:lnTo>
                  <a:lnTo>
                    <a:pt x="205" y="121"/>
                  </a:lnTo>
                  <a:lnTo>
                    <a:pt x="203" y="123"/>
                  </a:lnTo>
                  <a:lnTo>
                    <a:pt x="201" y="127"/>
                  </a:lnTo>
                  <a:lnTo>
                    <a:pt x="199" y="129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5" y="132"/>
                  </a:lnTo>
                  <a:lnTo>
                    <a:pt x="195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5" y="142"/>
                  </a:lnTo>
                  <a:lnTo>
                    <a:pt x="195" y="144"/>
                  </a:lnTo>
                  <a:lnTo>
                    <a:pt x="195" y="146"/>
                  </a:lnTo>
                  <a:lnTo>
                    <a:pt x="193" y="148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0" y="152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8" y="155"/>
                  </a:lnTo>
                  <a:lnTo>
                    <a:pt x="188" y="159"/>
                  </a:lnTo>
                  <a:lnTo>
                    <a:pt x="186" y="159"/>
                  </a:lnTo>
                  <a:lnTo>
                    <a:pt x="186" y="161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7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8" y="175"/>
                  </a:lnTo>
                  <a:lnTo>
                    <a:pt x="188" y="177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90" y="182"/>
                  </a:lnTo>
                  <a:lnTo>
                    <a:pt x="192" y="182"/>
                  </a:lnTo>
                  <a:lnTo>
                    <a:pt x="193" y="184"/>
                  </a:lnTo>
                  <a:lnTo>
                    <a:pt x="195" y="184"/>
                  </a:lnTo>
                  <a:lnTo>
                    <a:pt x="195" y="186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7" y="190"/>
                  </a:lnTo>
                  <a:lnTo>
                    <a:pt x="197" y="192"/>
                  </a:lnTo>
                  <a:lnTo>
                    <a:pt x="197" y="194"/>
                  </a:lnTo>
                  <a:lnTo>
                    <a:pt x="197" y="198"/>
                  </a:lnTo>
                  <a:lnTo>
                    <a:pt x="195" y="198"/>
                  </a:lnTo>
                  <a:lnTo>
                    <a:pt x="195" y="200"/>
                  </a:lnTo>
                  <a:lnTo>
                    <a:pt x="195" y="201"/>
                  </a:lnTo>
                  <a:lnTo>
                    <a:pt x="195" y="203"/>
                  </a:lnTo>
                  <a:lnTo>
                    <a:pt x="195" y="205"/>
                  </a:lnTo>
                  <a:lnTo>
                    <a:pt x="193" y="205"/>
                  </a:lnTo>
                  <a:lnTo>
                    <a:pt x="193" y="207"/>
                  </a:lnTo>
                  <a:lnTo>
                    <a:pt x="192" y="207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5" y="209"/>
                  </a:lnTo>
                  <a:lnTo>
                    <a:pt x="197" y="209"/>
                  </a:lnTo>
                  <a:lnTo>
                    <a:pt x="199" y="209"/>
                  </a:lnTo>
                  <a:lnTo>
                    <a:pt x="199" y="20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7" name="Freeform 83"/>
            <p:cNvSpPr>
              <a:spLocks/>
            </p:cNvSpPr>
            <p:nvPr/>
          </p:nvSpPr>
          <p:spPr bwMode="auto">
            <a:xfrm>
              <a:off x="1045" y="1916"/>
              <a:ext cx="163" cy="239"/>
            </a:xfrm>
            <a:custGeom>
              <a:avLst/>
              <a:gdLst/>
              <a:ahLst/>
              <a:cxnLst>
                <a:cxn ang="0">
                  <a:pos x="21" y="38"/>
                </a:cxn>
                <a:cxn ang="0">
                  <a:pos x="19" y="26"/>
                </a:cxn>
                <a:cxn ang="0">
                  <a:pos x="21" y="13"/>
                </a:cxn>
                <a:cxn ang="0">
                  <a:pos x="23" y="1"/>
                </a:cxn>
                <a:cxn ang="0">
                  <a:pos x="38" y="1"/>
                </a:cxn>
                <a:cxn ang="0">
                  <a:pos x="57" y="5"/>
                </a:cxn>
                <a:cxn ang="0">
                  <a:pos x="80" y="5"/>
                </a:cxn>
                <a:cxn ang="0">
                  <a:pos x="98" y="5"/>
                </a:cxn>
                <a:cxn ang="0">
                  <a:pos x="113" y="3"/>
                </a:cxn>
                <a:cxn ang="0">
                  <a:pos x="117" y="3"/>
                </a:cxn>
                <a:cxn ang="0">
                  <a:pos x="119" y="17"/>
                </a:cxn>
                <a:cxn ang="0">
                  <a:pos x="126" y="26"/>
                </a:cxn>
                <a:cxn ang="0">
                  <a:pos x="132" y="34"/>
                </a:cxn>
                <a:cxn ang="0">
                  <a:pos x="132" y="46"/>
                </a:cxn>
                <a:cxn ang="0">
                  <a:pos x="128" y="55"/>
                </a:cxn>
                <a:cxn ang="0">
                  <a:pos x="134" y="65"/>
                </a:cxn>
                <a:cxn ang="0">
                  <a:pos x="138" y="78"/>
                </a:cxn>
                <a:cxn ang="0">
                  <a:pos x="138" y="88"/>
                </a:cxn>
                <a:cxn ang="0">
                  <a:pos x="142" y="94"/>
                </a:cxn>
                <a:cxn ang="0">
                  <a:pos x="149" y="109"/>
                </a:cxn>
                <a:cxn ang="0">
                  <a:pos x="146" y="120"/>
                </a:cxn>
                <a:cxn ang="0">
                  <a:pos x="142" y="128"/>
                </a:cxn>
                <a:cxn ang="0">
                  <a:pos x="142" y="140"/>
                </a:cxn>
                <a:cxn ang="0">
                  <a:pos x="138" y="151"/>
                </a:cxn>
                <a:cxn ang="0">
                  <a:pos x="142" y="165"/>
                </a:cxn>
                <a:cxn ang="0">
                  <a:pos x="149" y="174"/>
                </a:cxn>
                <a:cxn ang="0">
                  <a:pos x="159" y="182"/>
                </a:cxn>
                <a:cxn ang="0">
                  <a:pos x="155" y="186"/>
                </a:cxn>
                <a:cxn ang="0">
                  <a:pos x="148" y="199"/>
                </a:cxn>
                <a:cxn ang="0">
                  <a:pos x="136" y="201"/>
                </a:cxn>
                <a:cxn ang="0">
                  <a:pos x="123" y="201"/>
                </a:cxn>
                <a:cxn ang="0">
                  <a:pos x="107" y="211"/>
                </a:cxn>
                <a:cxn ang="0">
                  <a:pos x="92" y="214"/>
                </a:cxn>
                <a:cxn ang="0">
                  <a:pos x="82" y="220"/>
                </a:cxn>
                <a:cxn ang="0">
                  <a:pos x="65" y="228"/>
                </a:cxn>
                <a:cxn ang="0">
                  <a:pos x="54" y="232"/>
                </a:cxn>
                <a:cxn ang="0">
                  <a:pos x="42" y="236"/>
                </a:cxn>
                <a:cxn ang="0">
                  <a:pos x="31" y="232"/>
                </a:cxn>
                <a:cxn ang="0">
                  <a:pos x="21" y="228"/>
                </a:cxn>
                <a:cxn ang="0">
                  <a:pos x="13" y="222"/>
                </a:cxn>
                <a:cxn ang="0">
                  <a:pos x="9" y="216"/>
                </a:cxn>
                <a:cxn ang="0">
                  <a:pos x="11" y="203"/>
                </a:cxn>
                <a:cxn ang="0">
                  <a:pos x="6" y="195"/>
                </a:cxn>
                <a:cxn ang="0">
                  <a:pos x="0" y="188"/>
                </a:cxn>
                <a:cxn ang="0">
                  <a:pos x="0" y="174"/>
                </a:cxn>
                <a:cxn ang="0">
                  <a:pos x="4" y="165"/>
                </a:cxn>
                <a:cxn ang="0">
                  <a:pos x="9" y="157"/>
                </a:cxn>
                <a:cxn ang="0">
                  <a:pos x="9" y="143"/>
                </a:cxn>
                <a:cxn ang="0">
                  <a:pos x="19" y="134"/>
                </a:cxn>
                <a:cxn ang="0">
                  <a:pos x="25" y="126"/>
                </a:cxn>
                <a:cxn ang="0">
                  <a:pos x="29" y="117"/>
                </a:cxn>
                <a:cxn ang="0">
                  <a:pos x="29" y="101"/>
                </a:cxn>
                <a:cxn ang="0">
                  <a:pos x="29" y="90"/>
                </a:cxn>
                <a:cxn ang="0">
                  <a:pos x="23" y="82"/>
                </a:cxn>
                <a:cxn ang="0">
                  <a:pos x="21" y="72"/>
                </a:cxn>
                <a:cxn ang="0">
                  <a:pos x="27" y="67"/>
                </a:cxn>
                <a:cxn ang="0">
                  <a:pos x="19" y="59"/>
                </a:cxn>
              </a:cxnLst>
              <a:rect l="0" t="0" r="r" b="b"/>
              <a:pathLst>
                <a:path w="163" h="239">
                  <a:moveTo>
                    <a:pt x="15" y="55"/>
                  </a:moveTo>
                  <a:lnTo>
                    <a:pt x="17" y="51"/>
                  </a:lnTo>
                  <a:lnTo>
                    <a:pt x="21" y="46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9" y="23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1" y="17"/>
                  </a:lnTo>
                  <a:lnTo>
                    <a:pt x="21" y="15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5"/>
                  </a:lnTo>
                  <a:lnTo>
                    <a:pt x="21" y="1"/>
                  </a:lnTo>
                  <a:lnTo>
                    <a:pt x="23" y="1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42" y="1"/>
                  </a:lnTo>
                  <a:lnTo>
                    <a:pt x="44" y="3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4" y="5"/>
                  </a:lnTo>
                  <a:lnTo>
                    <a:pt x="57" y="5"/>
                  </a:lnTo>
                  <a:lnTo>
                    <a:pt x="61" y="5"/>
                  </a:lnTo>
                  <a:lnTo>
                    <a:pt x="65" y="5"/>
                  </a:lnTo>
                  <a:lnTo>
                    <a:pt x="69" y="5"/>
                  </a:lnTo>
                  <a:lnTo>
                    <a:pt x="73" y="5"/>
                  </a:lnTo>
                  <a:lnTo>
                    <a:pt x="77" y="5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6" y="5"/>
                  </a:lnTo>
                  <a:lnTo>
                    <a:pt x="90" y="5"/>
                  </a:lnTo>
                  <a:lnTo>
                    <a:pt x="92" y="5"/>
                  </a:lnTo>
                  <a:lnTo>
                    <a:pt x="94" y="5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7" y="3"/>
                  </a:lnTo>
                  <a:lnTo>
                    <a:pt x="109" y="3"/>
                  </a:lnTo>
                  <a:lnTo>
                    <a:pt x="113" y="3"/>
                  </a:lnTo>
                  <a:lnTo>
                    <a:pt x="115" y="5"/>
                  </a:lnTo>
                  <a:lnTo>
                    <a:pt x="113" y="3"/>
                  </a:lnTo>
                  <a:lnTo>
                    <a:pt x="113" y="5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9" y="5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5" y="21"/>
                  </a:lnTo>
                  <a:lnTo>
                    <a:pt x="126" y="23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8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30" y="32"/>
                  </a:lnTo>
                  <a:lnTo>
                    <a:pt x="132" y="34"/>
                  </a:lnTo>
                  <a:lnTo>
                    <a:pt x="134" y="36"/>
                  </a:lnTo>
                  <a:lnTo>
                    <a:pt x="134" y="38"/>
                  </a:lnTo>
                  <a:lnTo>
                    <a:pt x="134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2" y="48"/>
                  </a:lnTo>
                  <a:lnTo>
                    <a:pt x="132" y="49"/>
                  </a:lnTo>
                  <a:lnTo>
                    <a:pt x="130" y="51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8" y="55"/>
                  </a:lnTo>
                  <a:lnTo>
                    <a:pt x="126" y="57"/>
                  </a:lnTo>
                  <a:lnTo>
                    <a:pt x="126" y="61"/>
                  </a:lnTo>
                  <a:lnTo>
                    <a:pt x="128" y="61"/>
                  </a:lnTo>
                  <a:lnTo>
                    <a:pt x="130" y="63"/>
                  </a:lnTo>
                  <a:lnTo>
                    <a:pt x="132" y="65"/>
                  </a:lnTo>
                  <a:lnTo>
                    <a:pt x="134" y="65"/>
                  </a:lnTo>
                  <a:lnTo>
                    <a:pt x="136" y="67"/>
                  </a:lnTo>
                  <a:lnTo>
                    <a:pt x="138" y="67"/>
                  </a:lnTo>
                  <a:lnTo>
                    <a:pt x="138" y="69"/>
                  </a:lnTo>
                  <a:lnTo>
                    <a:pt x="138" y="72"/>
                  </a:lnTo>
                  <a:lnTo>
                    <a:pt x="138" y="74"/>
                  </a:lnTo>
                  <a:lnTo>
                    <a:pt x="138" y="78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4"/>
                  </a:lnTo>
                  <a:lnTo>
                    <a:pt x="138" y="86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6" y="88"/>
                  </a:lnTo>
                  <a:lnTo>
                    <a:pt x="136" y="90"/>
                  </a:lnTo>
                  <a:lnTo>
                    <a:pt x="134" y="92"/>
                  </a:lnTo>
                  <a:lnTo>
                    <a:pt x="138" y="94"/>
                  </a:lnTo>
                  <a:lnTo>
                    <a:pt x="140" y="94"/>
                  </a:lnTo>
                  <a:lnTo>
                    <a:pt x="142" y="94"/>
                  </a:lnTo>
                  <a:lnTo>
                    <a:pt x="144" y="96"/>
                  </a:lnTo>
                  <a:lnTo>
                    <a:pt x="144" y="99"/>
                  </a:lnTo>
                  <a:lnTo>
                    <a:pt x="146" y="101"/>
                  </a:lnTo>
                  <a:lnTo>
                    <a:pt x="146" y="103"/>
                  </a:lnTo>
                  <a:lnTo>
                    <a:pt x="148" y="107"/>
                  </a:lnTo>
                  <a:lnTo>
                    <a:pt x="149" y="109"/>
                  </a:lnTo>
                  <a:lnTo>
                    <a:pt x="148" y="111"/>
                  </a:lnTo>
                  <a:lnTo>
                    <a:pt x="148" y="111"/>
                  </a:lnTo>
                  <a:lnTo>
                    <a:pt x="148" y="113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4"/>
                  </a:lnTo>
                  <a:lnTo>
                    <a:pt x="140" y="126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0" y="134"/>
                  </a:lnTo>
                  <a:lnTo>
                    <a:pt x="142" y="136"/>
                  </a:lnTo>
                  <a:lnTo>
                    <a:pt x="142" y="138"/>
                  </a:lnTo>
                  <a:lnTo>
                    <a:pt x="142" y="140"/>
                  </a:lnTo>
                  <a:lnTo>
                    <a:pt x="140" y="142"/>
                  </a:lnTo>
                  <a:lnTo>
                    <a:pt x="140" y="145"/>
                  </a:lnTo>
                  <a:lnTo>
                    <a:pt x="138" y="145"/>
                  </a:lnTo>
                  <a:lnTo>
                    <a:pt x="138" y="149"/>
                  </a:lnTo>
                  <a:lnTo>
                    <a:pt x="138" y="149"/>
                  </a:lnTo>
                  <a:lnTo>
                    <a:pt x="138" y="151"/>
                  </a:lnTo>
                  <a:lnTo>
                    <a:pt x="140" y="153"/>
                  </a:lnTo>
                  <a:lnTo>
                    <a:pt x="140" y="155"/>
                  </a:lnTo>
                  <a:lnTo>
                    <a:pt x="142" y="155"/>
                  </a:lnTo>
                  <a:lnTo>
                    <a:pt x="142" y="161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4" y="168"/>
                  </a:lnTo>
                  <a:lnTo>
                    <a:pt x="146" y="168"/>
                  </a:lnTo>
                  <a:lnTo>
                    <a:pt x="148" y="172"/>
                  </a:lnTo>
                  <a:lnTo>
                    <a:pt x="148" y="172"/>
                  </a:lnTo>
                  <a:lnTo>
                    <a:pt x="149" y="174"/>
                  </a:lnTo>
                  <a:lnTo>
                    <a:pt x="151" y="174"/>
                  </a:lnTo>
                  <a:lnTo>
                    <a:pt x="151" y="178"/>
                  </a:lnTo>
                  <a:lnTo>
                    <a:pt x="153" y="178"/>
                  </a:lnTo>
                  <a:lnTo>
                    <a:pt x="155" y="180"/>
                  </a:lnTo>
                  <a:lnTo>
                    <a:pt x="157" y="180"/>
                  </a:lnTo>
                  <a:lnTo>
                    <a:pt x="159" y="182"/>
                  </a:lnTo>
                  <a:lnTo>
                    <a:pt x="159" y="184"/>
                  </a:lnTo>
                  <a:lnTo>
                    <a:pt x="161" y="186"/>
                  </a:lnTo>
                  <a:lnTo>
                    <a:pt x="163" y="186"/>
                  </a:lnTo>
                  <a:lnTo>
                    <a:pt x="161" y="186"/>
                  </a:lnTo>
                  <a:lnTo>
                    <a:pt x="159" y="186"/>
                  </a:lnTo>
                  <a:lnTo>
                    <a:pt x="155" y="186"/>
                  </a:lnTo>
                  <a:lnTo>
                    <a:pt x="155" y="188"/>
                  </a:lnTo>
                  <a:lnTo>
                    <a:pt x="153" y="188"/>
                  </a:lnTo>
                  <a:lnTo>
                    <a:pt x="151" y="191"/>
                  </a:lnTo>
                  <a:lnTo>
                    <a:pt x="149" y="195"/>
                  </a:lnTo>
                  <a:lnTo>
                    <a:pt x="148" y="195"/>
                  </a:lnTo>
                  <a:lnTo>
                    <a:pt x="148" y="199"/>
                  </a:lnTo>
                  <a:lnTo>
                    <a:pt x="146" y="201"/>
                  </a:lnTo>
                  <a:lnTo>
                    <a:pt x="144" y="203"/>
                  </a:lnTo>
                  <a:lnTo>
                    <a:pt x="144" y="201"/>
                  </a:lnTo>
                  <a:lnTo>
                    <a:pt x="142" y="201"/>
                  </a:lnTo>
                  <a:lnTo>
                    <a:pt x="138" y="201"/>
                  </a:lnTo>
                  <a:lnTo>
                    <a:pt x="136" y="201"/>
                  </a:lnTo>
                  <a:lnTo>
                    <a:pt x="134" y="201"/>
                  </a:lnTo>
                  <a:lnTo>
                    <a:pt x="132" y="201"/>
                  </a:lnTo>
                  <a:lnTo>
                    <a:pt x="130" y="201"/>
                  </a:lnTo>
                  <a:lnTo>
                    <a:pt x="128" y="201"/>
                  </a:lnTo>
                  <a:lnTo>
                    <a:pt x="126" y="201"/>
                  </a:lnTo>
                  <a:lnTo>
                    <a:pt x="123" y="201"/>
                  </a:lnTo>
                  <a:lnTo>
                    <a:pt x="121" y="205"/>
                  </a:lnTo>
                  <a:lnTo>
                    <a:pt x="117" y="207"/>
                  </a:lnTo>
                  <a:lnTo>
                    <a:pt x="115" y="209"/>
                  </a:lnTo>
                  <a:lnTo>
                    <a:pt x="111" y="209"/>
                  </a:lnTo>
                  <a:lnTo>
                    <a:pt x="109" y="209"/>
                  </a:lnTo>
                  <a:lnTo>
                    <a:pt x="107" y="211"/>
                  </a:lnTo>
                  <a:lnTo>
                    <a:pt x="105" y="211"/>
                  </a:lnTo>
                  <a:lnTo>
                    <a:pt x="103" y="211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0" y="214"/>
                  </a:lnTo>
                  <a:lnTo>
                    <a:pt x="88" y="216"/>
                  </a:lnTo>
                  <a:lnTo>
                    <a:pt x="88" y="216"/>
                  </a:lnTo>
                  <a:lnTo>
                    <a:pt x="86" y="218"/>
                  </a:lnTo>
                  <a:lnTo>
                    <a:pt x="84" y="218"/>
                  </a:lnTo>
                  <a:lnTo>
                    <a:pt x="82" y="220"/>
                  </a:lnTo>
                  <a:lnTo>
                    <a:pt x="80" y="220"/>
                  </a:lnTo>
                  <a:lnTo>
                    <a:pt x="78" y="222"/>
                  </a:lnTo>
                  <a:lnTo>
                    <a:pt x="77" y="224"/>
                  </a:lnTo>
                  <a:lnTo>
                    <a:pt x="73" y="224"/>
                  </a:lnTo>
                  <a:lnTo>
                    <a:pt x="71" y="226"/>
                  </a:lnTo>
                  <a:lnTo>
                    <a:pt x="65" y="228"/>
                  </a:lnTo>
                  <a:lnTo>
                    <a:pt x="61" y="228"/>
                  </a:lnTo>
                  <a:lnTo>
                    <a:pt x="59" y="230"/>
                  </a:lnTo>
                  <a:lnTo>
                    <a:pt x="59" y="230"/>
                  </a:lnTo>
                  <a:lnTo>
                    <a:pt x="55" y="230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0" y="239"/>
                  </a:lnTo>
                  <a:lnTo>
                    <a:pt x="38" y="238"/>
                  </a:lnTo>
                  <a:lnTo>
                    <a:pt x="36" y="236"/>
                  </a:lnTo>
                  <a:lnTo>
                    <a:pt x="34" y="234"/>
                  </a:lnTo>
                  <a:lnTo>
                    <a:pt x="32" y="234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5" y="230"/>
                  </a:lnTo>
                  <a:lnTo>
                    <a:pt x="23" y="228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19" y="228"/>
                  </a:lnTo>
                  <a:lnTo>
                    <a:pt x="17" y="226"/>
                  </a:lnTo>
                  <a:lnTo>
                    <a:pt x="15" y="224"/>
                  </a:lnTo>
                  <a:lnTo>
                    <a:pt x="15" y="224"/>
                  </a:lnTo>
                  <a:lnTo>
                    <a:pt x="13" y="222"/>
                  </a:lnTo>
                  <a:lnTo>
                    <a:pt x="11" y="222"/>
                  </a:lnTo>
                  <a:lnTo>
                    <a:pt x="9" y="220"/>
                  </a:lnTo>
                  <a:lnTo>
                    <a:pt x="7" y="220"/>
                  </a:lnTo>
                  <a:lnTo>
                    <a:pt x="9" y="220"/>
                  </a:lnTo>
                  <a:lnTo>
                    <a:pt x="9" y="218"/>
                  </a:lnTo>
                  <a:lnTo>
                    <a:pt x="9" y="216"/>
                  </a:lnTo>
                  <a:lnTo>
                    <a:pt x="9" y="214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11" y="207"/>
                  </a:lnTo>
                  <a:lnTo>
                    <a:pt x="11" y="205"/>
                  </a:lnTo>
                  <a:lnTo>
                    <a:pt x="11" y="203"/>
                  </a:lnTo>
                  <a:lnTo>
                    <a:pt x="11" y="201"/>
                  </a:lnTo>
                  <a:lnTo>
                    <a:pt x="11" y="197"/>
                  </a:lnTo>
                  <a:lnTo>
                    <a:pt x="11" y="197"/>
                  </a:lnTo>
                  <a:lnTo>
                    <a:pt x="9" y="195"/>
                  </a:lnTo>
                  <a:lnTo>
                    <a:pt x="7" y="195"/>
                  </a:lnTo>
                  <a:lnTo>
                    <a:pt x="6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2" y="191"/>
                  </a:lnTo>
                  <a:lnTo>
                    <a:pt x="2" y="191"/>
                  </a:lnTo>
                  <a:lnTo>
                    <a:pt x="2" y="190"/>
                  </a:lnTo>
                  <a:lnTo>
                    <a:pt x="0" y="188"/>
                  </a:lnTo>
                  <a:lnTo>
                    <a:pt x="0" y="186"/>
                  </a:lnTo>
                  <a:lnTo>
                    <a:pt x="0" y="184"/>
                  </a:lnTo>
                  <a:lnTo>
                    <a:pt x="0" y="182"/>
                  </a:lnTo>
                  <a:lnTo>
                    <a:pt x="0" y="180"/>
                  </a:lnTo>
                  <a:lnTo>
                    <a:pt x="0" y="178"/>
                  </a:lnTo>
                  <a:lnTo>
                    <a:pt x="0" y="174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7"/>
                  </a:lnTo>
                  <a:lnTo>
                    <a:pt x="4" y="167"/>
                  </a:lnTo>
                  <a:lnTo>
                    <a:pt x="4" y="165"/>
                  </a:lnTo>
                  <a:lnTo>
                    <a:pt x="4" y="163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7" y="161"/>
                  </a:lnTo>
                  <a:lnTo>
                    <a:pt x="7" y="157"/>
                  </a:lnTo>
                  <a:lnTo>
                    <a:pt x="9" y="157"/>
                  </a:lnTo>
                  <a:lnTo>
                    <a:pt x="9" y="155"/>
                  </a:lnTo>
                  <a:lnTo>
                    <a:pt x="9" y="151"/>
                  </a:lnTo>
                  <a:lnTo>
                    <a:pt x="9" y="149"/>
                  </a:lnTo>
                  <a:lnTo>
                    <a:pt x="9" y="147"/>
                  </a:lnTo>
                  <a:lnTo>
                    <a:pt x="9" y="145"/>
                  </a:lnTo>
                  <a:lnTo>
                    <a:pt x="9" y="143"/>
                  </a:lnTo>
                  <a:lnTo>
                    <a:pt x="11" y="142"/>
                  </a:lnTo>
                  <a:lnTo>
                    <a:pt x="13" y="140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9" y="134"/>
                  </a:lnTo>
                  <a:lnTo>
                    <a:pt x="19" y="132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5" y="12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7" y="124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9" y="122"/>
                  </a:lnTo>
                  <a:lnTo>
                    <a:pt x="29" y="119"/>
                  </a:lnTo>
                  <a:lnTo>
                    <a:pt x="29" y="117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09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1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7" y="88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4"/>
                  </a:lnTo>
                  <a:lnTo>
                    <a:pt x="23" y="82"/>
                  </a:lnTo>
                  <a:lnTo>
                    <a:pt x="23" y="80"/>
                  </a:lnTo>
                  <a:lnTo>
                    <a:pt x="21" y="78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7" y="71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3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59"/>
                  </a:lnTo>
                  <a:lnTo>
                    <a:pt x="19" y="57"/>
                  </a:lnTo>
                  <a:lnTo>
                    <a:pt x="17" y="57"/>
                  </a:lnTo>
                  <a:lnTo>
                    <a:pt x="17" y="55"/>
                  </a:lnTo>
                  <a:lnTo>
                    <a:pt x="17" y="53"/>
                  </a:lnTo>
                  <a:lnTo>
                    <a:pt x="15" y="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8" name="Freeform 84"/>
            <p:cNvSpPr>
              <a:spLocks/>
            </p:cNvSpPr>
            <p:nvPr/>
          </p:nvSpPr>
          <p:spPr bwMode="auto">
            <a:xfrm>
              <a:off x="1045" y="1916"/>
              <a:ext cx="163" cy="239"/>
            </a:xfrm>
            <a:custGeom>
              <a:avLst/>
              <a:gdLst/>
              <a:ahLst/>
              <a:cxnLst>
                <a:cxn ang="0">
                  <a:pos x="21" y="38"/>
                </a:cxn>
                <a:cxn ang="0">
                  <a:pos x="19" y="26"/>
                </a:cxn>
                <a:cxn ang="0">
                  <a:pos x="21" y="13"/>
                </a:cxn>
                <a:cxn ang="0">
                  <a:pos x="23" y="1"/>
                </a:cxn>
                <a:cxn ang="0">
                  <a:pos x="38" y="1"/>
                </a:cxn>
                <a:cxn ang="0">
                  <a:pos x="57" y="5"/>
                </a:cxn>
                <a:cxn ang="0">
                  <a:pos x="80" y="5"/>
                </a:cxn>
                <a:cxn ang="0">
                  <a:pos x="98" y="5"/>
                </a:cxn>
                <a:cxn ang="0">
                  <a:pos x="113" y="3"/>
                </a:cxn>
                <a:cxn ang="0">
                  <a:pos x="117" y="3"/>
                </a:cxn>
                <a:cxn ang="0">
                  <a:pos x="119" y="17"/>
                </a:cxn>
                <a:cxn ang="0">
                  <a:pos x="126" y="26"/>
                </a:cxn>
                <a:cxn ang="0">
                  <a:pos x="132" y="34"/>
                </a:cxn>
                <a:cxn ang="0">
                  <a:pos x="132" y="46"/>
                </a:cxn>
                <a:cxn ang="0">
                  <a:pos x="128" y="55"/>
                </a:cxn>
                <a:cxn ang="0">
                  <a:pos x="134" y="65"/>
                </a:cxn>
                <a:cxn ang="0">
                  <a:pos x="138" y="78"/>
                </a:cxn>
                <a:cxn ang="0">
                  <a:pos x="138" y="88"/>
                </a:cxn>
                <a:cxn ang="0">
                  <a:pos x="142" y="94"/>
                </a:cxn>
                <a:cxn ang="0">
                  <a:pos x="149" y="109"/>
                </a:cxn>
                <a:cxn ang="0">
                  <a:pos x="146" y="120"/>
                </a:cxn>
                <a:cxn ang="0">
                  <a:pos x="142" y="128"/>
                </a:cxn>
                <a:cxn ang="0">
                  <a:pos x="142" y="140"/>
                </a:cxn>
                <a:cxn ang="0">
                  <a:pos x="138" y="151"/>
                </a:cxn>
                <a:cxn ang="0">
                  <a:pos x="142" y="165"/>
                </a:cxn>
                <a:cxn ang="0">
                  <a:pos x="149" y="174"/>
                </a:cxn>
                <a:cxn ang="0">
                  <a:pos x="159" y="182"/>
                </a:cxn>
                <a:cxn ang="0">
                  <a:pos x="155" y="186"/>
                </a:cxn>
                <a:cxn ang="0">
                  <a:pos x="148" y="199"/>
                </a:cxn>
                <a:cxn ang="0">
                  <a:pos x="136" y="201"/>
                </a:cxn>
                <a:cxn ang="0">
                  <a:pos x="123" y="201"/>
                </a:cxn>
                <a:cxn ang="0">
                  <a:pos x="107" y="211"/>
                </a:cxn>
                <a:cxn ang="0">
                  <a:pos x="92" y="214"/>
                </a:cxn>
                <a:cxn ang="0">
                  <a:pos x="82" y="220"/>
                </a:cxn>
                <a:cxn ang="0">
                  <a:pos x="65" y="228"/>
                </a:cxn>
                <a:cxn ang="0">
                  <a:pos x="54" y="232"/>
                </a:cxn>
                <a:cxn ang="0">
                  <a:pos x="42" y="236"/>
                </a:cxn>
                <a:cxn ang="0">
                  <a:pos x="31" y="232"/>
                </a:cxn>
                <a:cxn ang="0">
                  <a:pos x="21" y="228"/>
                </a:cxn>
                <a:cxn ang="0">
                  <a:pos x="13" y="222"/>
                </a:cxn>
                <a:cxn ang="0">
                  <a:pos x="9" y="216"/>
                </a:cxn>
                <a:cxn ang="0">
                  <a:pos x="11" y="203"/>
                </a:cxn>
                <a:cxn ang="0">
                  <a:pos x="6" y="195"/>
                </a:cxn>
                <a:cxn ang="0">
                  <a:pos x="0" y="188"/>
                </a:cxn>
                <a:cxn ang="0">
                  <a:pos x="0" y="174"/>
                </a:cxn>
                <a:cxn ang="0">
                  <a:pos x="4" y="165"/>
                </a:cxn>
                <a:cxn ang="0">
                  <a:pos x="9" y="157"/>
                </a:cxn>
                <a:cxn ang="0">
                  <a:pos x="9" y="143"/>
                </a:cxn>
                <a:cxn ang="0">
                  <a:pos x="19" y="134"/>
                </a:cxn>
                <a:cxn ang="0">
                  <a:pos x="25" y="126"/>
                </a:cxn>
                <a:cxn ang="0">
                  <a:pos x="29" y="117"/>
                </a:cxn>
                <a:cxn ang="0">
                  <a:pos x="29" y="101"/>
                </a:cxn>
                <a:cxn ang="0">
                  <a:pos x="29" y="90"/>
                </a:cxn>
                <a:cxn ang="0">
                  <a:pos x="23" y="82"/>
                </a:cxn>
                <a:cxn ang="0">
                  <a:pos x="21" y="72"/>
                </a:cxn>
                <a:cxn ang="0">
                  <a:pos x="27" y="67"/>
                </a:cxn>
                <a:cxn ang="0">
                  <a:pos x="19" y="59"/>
                </a:cxn>
              </a:cxnLst>
              <a:rect l="0" t="0" r="r" b="b"/>
              <a:pathLst>
                <a:path w="163" h="239">
                  <a:moveTo>
                    <a:pt x="15" y="55"/>
                  </a:moveTo>
                  <a:lnTo>
                    <a:pt x="17" y="51"/>
                  </a:lnTo>
                  <a:lnTo>
                    <a:pt x="21" y="46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9" y="23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1" y="17"/>
                  </a:lnTo>
                  <a:lnTo>
                    <a:pt x="21" y="15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5"/>
                  </a:lnTo>
                  <a:lnTo>
                    <a:pt x="21" y="1"/>
                  </a:lnTo>
                  <a:lnTo>
                    <a:pt x="23" y="1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42" y="1"/>
                  </a:lnTo>
                  <a:lnTo>
                    <a:pt x="44" y="3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4" y="5"/>
                  </a:lnTo>
                  <a:lnTo>
                    <a:pt x="57" y="5"/>
                  </a:lnTo>
                  <a:lnTo>
                    <a:pt x="61" y="5"/>
                  </a:lnTo>
                  <a:lnTo>
                    <a:pt x="65" y="5"/>
                  </a:lnTo>
                  <a:lnTo>
                    <a:pt x="69" y="5"/>
                  </a:lnTo>
                  <a:lnTo>
                    <a:pt x="73" y="5"/>
                  </a:lnTo>
                  <a:lnTo>
                    <a:pt x="77" y="5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6" y="5"/>
                  </a:lnTo>
                  <a:lnTo>
                    <a:pt x="90" y="5"/>
                  </a:lnTo>
                  <a:lnTo>
                    <a:pt x="92" y="5"/>
                  </a:lnTo>
                  <a:lnTo>
                    <a:pt x="94" y="5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7" y="3"/>
                  </a:lnTo>
                  <a:lnTo>
                    <a:pt x="109" y="3"/>
                  </a:lnTo>
                  <a:lnTo>
                    <a:pt x="113" y="3"/>
                  </a:lnTo>
                  <a:lnTo>
                    <a:pt x="115" y="5"/>
                  </a:lnTo>
                  <a:lnTo>
                    <a:pt x="113" y="3"/>
                  </a:lnTo>
                  <a:lnTo>
                    <a:pt x="113" y="5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9" y="5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5" y="21"/>
                  </a:lnTo>
                  <a:lnTo>
                    <a:pt x="126" y="23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8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30" y="32"/>
                  </a:lnTo>
                  <a:lnTo>
                    <a:pt x="132" y="34"/>
                  </a:lnTo>
                  <a:lnTo>
                    <a:pt x="134" y="36"/>
                  </a:lnTo>
                  <a:lnTo>
                    <a:pt x="134" y="38"/>
                  </a:lnTo>
                  <a:lnTo>
                    <a:pt x="134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2" y="48"/>
                  </a:lnTo>
                  <a:lnTo>
                    <a:pt x="132" y="49"/>
                  </a:lnTo>
                  <a:lnTo>
                    <a:pt x="130" y="51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8" y="55"/>
                  </a:lnTo>
                  <a:lnTo>
                    <a:pt x="126" y="57"/>
                  </a:lnTo>
                  <a:lnTo>
                    <a:pt x="126" y="61"/>
                  </a:lnTo>
                  <a:lnTo>
                    <a:pt x="128" y="61"/>
                  </a:lnTo>
                  <a:lnTo>
                    <a:pt x="130" y="63"/>
                  </a:lnTo>
                  <a:lnTo>
                    <a:pt x="132" y="65"/>
                  </a:lnTo>
                  <a:lnTo>
                    <a:pt x="134" y="65"/>
                  </a:lnTo>
                  <a:lnTo>
                    <a:pt x="136" y="67"/>
                  </a:lnTo>
                  <a:lnTo>
                    <a:pt x="138" y="67"/>
                  </a:lnTo>
                  <a:lnTo>
                    <a:pt x="138" y="69"/>
                  </a:lnTo>
                  <a:lnTo>
                    <a:pt x="138" y="72"/>
                  </a:lnTo>
                  <a:lnTo>
                    <a:pt x="138" y="74"/>
                  </a:lnTo>
                  <a:lnTo>
                    <a:pt x="138" y="78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4"/>
                  </a:lnTo>
                  <a:lnTo>
                    <a:pt x="138" y="86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6" y="88"/>
                  </a:lnTo>
                  <a:lnTo>
                    <a:pt x="136" y="90"/>
                  </a:lnTo>
                  <a:lnTo>
                    <a:pt x="134" y="92"/>
                  </a:lnTo>
                  <a:lnTo>
                    <a:pt x="138" y="94"/>
                  </a:lnTo>
                  <a:lnTo>
                    <a:pt x="140" y="94"/>
                  </a:lnTo>
                  <a:lnTo>
                    <a:pt x="142" y="94"/>
                  </a:lnTo>
                  <a:lnTo>
                    <a:pt x="144" y="96"/>
                  </a:lnTo>
                  <a:lnTo>
                    <a:pt x="144" y="99"/>
                  </a:lnTo>
                  <a:lnTo>
                    <a:pt x="146" y="101"/>
                  </a:lnTo>
                  <a:lnTo>
                    <a:pt x="146" y="103"/>
                  </a:lnTo>
                  <a:lnTo>
                    <a:pt x="148" y="107"/>
                  </a:lnTo>
                  <a:lnTo>
                    <a:pt x="149" y="109"/>
                  </a:lnTo>
                  <a:lnTo>
                    <a:pt x="148" y="111"/>
                  </a:lnTo>
                  <a:lnTo>
                    <a:pt x="148" y="111"/>
                  </a:lnTo>
                  <a:lnTo>
                    <a:pt x="148" y="113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4"/>
                  </a:lnTo>
                  <a:lnTo>
                    <a:pt x="140" y="126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0" y="134"/>
                  </a:lnTo>
                  <a:lnTo>
                    <a:pt x="142" y="136"/>
                  </a:lnTo>
                  <a:lnTo>
                    <a:pt x="142" y="138"/>
                  </a:lnTo>
                  <a:lnTo>
                    <a:pt x="142" y="140"/>
                  </a:lnTo>
                  <a:lnTo>
                    <a:pt x="140" y="142"/>
                  </a:lnTo>
                  <a:lnTo>
                    <a:pt x="140" y="145"/>
                  </a:lnTo>
                  <a:lnTo>
                    <a:pt x="138" y="145"/>
                  </a:lnTo>
                  <a:lnTo>
                    <a:pt x="138" y="149"/>
                  </a:lnTo>
                  <a:lnTo>
                    <a:pt x="138" y="149"/>
                  </a:lnTo>
                  <a:lnTo>
                    <a:pt x="138" y="151"/>
                  </a:lnTo>
                  <a:lnTo>
                    <a:pt x="140" y="153"/>
                  </a:lnTo>
                  <a:lnTo>
                    <a:pt x="140" y="155"/>
                  </a:lnTo>
                  <a:lnTo>
                    <a:pt x="142" y="155"/>
                  </a:lnTo>
                  <a:lnTo>
                    <a:pt x="142" y="161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4" y="168"/>
                  </a:lnTo>
                  <a:lnTo>
                    <a:pt x="146" y="168"/>
                  </a:lnTo>
                  <a:lnTo>
                    <a:pt x="148" y="172"/>
                  </a:lnTo>
                  <a:lnTo>
                    <a:pt x="148" y="172"/>
                  </a:lnTo>
                  <a:lnTo>
                    <a:pt x="149" y="174"/>
                  </a:lnTo>
                  <a:lnTo>
                    <a:pt x="151" y="174"/>
                  </a:lnTo>
                  <a:lnTo>
                    <a:pt x="151" y="178"/>
                  </a:lnTo>
                  <a:lnTo>
                    <a:pt x="153" y="178"/>
                  </a:lnTo>
                  <a:lnTo>
                    <a:pt x="155" y="180"/>
                  </a:lnTo>
                  <a:lnTo>
                    <a:pt x="157" y="180"/>
                  </a:lnTo>
                  <a:lnTo>
                    <a:pt x="159" y="182"/>
                  </a:lnTo>
                  <a:lnTo>
                    <a:pt x="159" y="184"/>
                  </a:lnTo>
                  <a:lnTo>
                    <a:pt x="161" y="186"/>
                  </a:lnTo>
                  <a:lnTo>
                    <a:pt x="163" y="186"/>
                  </a:lnTo>
                  <a:lnTo>
                    <a:pt x="161" y="186"/>
                  </a:lnTo>
                  <a:lnTo>
                    <a:pt x="159" y="186"/>
                  </a:lnTo>
                  <a:lnTo>
                    <a:pt x="155" y="186"/>
                  </a:lnTo>
                  <a:lnTo>
                    <a:pt x="155" y="188"/>
                  </a:lnTo>
                  <a:lnTo>
                    <a:pt x="153" y="188"/>
                  </a:lnTo>
                  <a:lnTo>
                    <a:pt x="151" y="191"/>
                  </a:lnTo>
                  <a:lnTo>
                    <a:pt x="149" y="195"/>
                  </a:lnTo>
                  <a:lnTo>
                    <a:pt x="148" y="195"/>
                  </a:lnTo>
                  <a:lnTo>
                    <a:pt x="148" y="199"/>
                  </a:lnTo>
                  <a:lnTo>
                    <a:pt x="146" y="201"/>
                  </a:lnTo>
                  <a:lnTo>
                    <a:pt x="144" y="203"/>
                  </a:lnTo>
                  <a:lnTo>
                    <a:pt x="144" y="201"/>
                  </a:lnTo>
                  <a:lnTo>
                    <a:pt x="142" y="201"/>
                  </a:lnTo>
                  <a:lnTo>
                    <a:pt x="138" y="201"/>
                  </a:lnTo>
                  <a:lnTo>
                    <a:pt x="136" y="201"/>
                  </a:lnTo>
                  <a:lnTo>
                    <a:pt x="134" y="201"/>
                  </a:lnTo>
                  <a:lnTo>
                    <a:pt x="132" y="201"/>
                  </a:lnTo>
                  <a:lnTo>
                    <a:pt x="130" y="201"/>
                  </a:lnTo>
                  <a:lnTo>
                    <a:pt x="128" y="201"/>
                  </a:lnTo>
                  <a:lnTo>
                    <a:pt x="126" y="201"/>
                  </a:lnTo>
                  <a:lnTo>
                    <a:pt x="123" y="201"/>
                  </a:lnTo>
                  <a:lnTo>
                    <a:pt x="121" y="205"/>
                  </a:lnTo>
                  <a:lnTo>
                    <a:pt x="117" y="207"/>
                  </a:lnTo>
                  <a:lnTo>
                    <a:pt x="115" y="209"/>
                  </a:lnTo>
                  <a:lnTo>
                    <a:pt x="111" y="209"/>
                  </a:lnTo>
                  <a:lnTo>
                    <a:pt x="109" y="209"/>
                  </a:lnTo>
                  <a:lnTo>
                    <a:pt x="107" y="211"/>
                  </a:lnTo>
                  <a:lnTo>
                    <a:pt x="105" y="211"/>
                  </a:lnTo>
                  <a:lnTo>
                    <a:pt x="103" y="211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0" y="214"/>
                  </a:lnTo>
                  <a:lnTo>
                    <a:pt x="88" y="216"/>
                  </a:lnTo>
                  <a:lnTo>
                    <a:pt x="88" y="216"/>
                  </a:lnTo>
                  <a:lnTo>
                    <a:pt x="86" y="218"/>
                  </a:lnTo>
                  <a:lnTo>
                    <a:pt x="84" y="218"/>
                  </a:lnTo>
                  <a:lnTo>
                    <a:pt x="82" y="220"/>
                  </a:lnTo>
                  <a:lnTo>
                    <a:pt x="80" y="220"/>
                  </a:lnTo>
                  <a:lnTo>
                    <a:pt x="78" y="222"/>
                  </a:lnTo>
                  <a:lnTo>
                    <a:pt x="77" y="224"/>
                  </a:lnTo>
                  <a:lnTo>
                    <a:pt x="73" y="224"/>
                  </a:lnTo>
                  <a:lnTo>
                    <a:pt x="71" y="226"/>
                  </a:lnTo>
                  <a:lnTo>
                    <a:pt x="65" y="228"/>
                  </a:lnTo>
                  <a:lnTo>
                    <a:pt x="61" y="228"/>
                  </a:lnTo>
                  <a:lnTo>
                    <a:pt x="59" y="230"/>
                  </a:lnTo>
                  <a:lnTo>
                    <a:pt x="59" y="230"/>
                  </a:lnTo>
                  <a:lnTo>
                    <a:pt x="55" y="230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0" y="239"/>
                  </a:lnTo>
                  <a:lnTo>
                    <a:pt x="38" y="238"/>
                  </a:lnTo>
                  <a:lnTo>
                    <a:pt x="36" y="236"/>
                  </a:lnTo>
                  <a:lnTo>
                    <a:pt x="34" y="234"/>
                  </a:lnTo>
                  <a:lnTo>
                    <a:pt x="32" y="234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5" y="230"/>
                  </a:lnTo>
                  <a:lnTo>
                    <a:pt x="23" y="228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19" y="228"/>
                  </a:lnTo>
                  <a:lnTo>
                    <a:pt x="17" y="226"/>
                  </a:lnTo>
                  <a:lnTo>
                    <a:pt x="15" y="224"/>
                  </a:lnTo>
                  <a:lnTo>
                    <a:pt x="15" y="224"/>
                  </a:lnTo>
                  <a:lnTo>
                    <a:pt x="13" y="222"/>
                  </a:lnTo>
                  <a:lnTo>
                    <a:pt x="11" y="222"/>
                  </a:lnTo>
                  <a:lnTo>
                    <a:pt x="9" y="220"/>
                  </a:lnTo>
                  <a:lnTo>
                    <a:pt x="7" y="220"/>
                  </a:lnTo>
                  <a:lnTo>
                    <a:pt x="9" y="220"/>
                  </a:lnTo>
                  <a:lnTo>
                    <a:pt x="9" y="218"/>
                  </a:lnTo>
                  <a:lnTo>
                    <a:pt x="9" y="216"/>
                  </a:lnTo>
                  <a:lnTo>
                    <a:pt x="9" y="214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11" y="207"/>
                  </a:lnTo>
                  <a:lnTo>
                    <a:pt x="11" y="205"/>
                  </a:lnTo>
                  <a:lnTo>
                    <a:pt x="11" y="203"/>
                  </a:lnTo>
                  <a:lnTo>
                    <a:pt x="11" y="201"/>
                  </a:lnTo>
                  <a:lnTo>
                    <a:pt x="11" y="197"/>
                  </a:lnTo>
                  <a:lnTo>
                    <a:pt x="11" y="197"/>
                  </a:lnTo>
                  <a:lnTo>
                    <a:pt x="9" y="195"/>
                  </a:lnTo>
                  <a:lnTo>
                    <a:pt x="7" y="195"/>
                  </a:lnTo>
                  <a:lnTo>
                    <a:pt x="6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2" y="191"/>
                  </a:lnTo>
                  <a:lnTo>
                    <a:pt x="2" y="191"/>
                  </a:lnTo>
                  <a:lnTo>
                    <a:pt x="2" y="190"/>
                  </a:lnTo>
                  <a:lnTo>
                    <a:pt x="0" y="188"/>
                  </a:lnTo>
                  <a:lnTo>
                    <a:pt x="0" y="186"/>
                  </a:lnTo>
                  <a:lnTo>
                    <a:pt x="0" y="184"/>
                  </a:lnTo>
                  <a:lnTo>
                    <a:pt x="0" y="182"/>
                  </a:lnTo>
                  <a:lnTo>
                    <a:pt x="0" y="180"/>
                  </a:lnTo>
                  <a:lnTo>
                    <a:pt x="0" y="178"/>
                  </a:lnTo>
                  <a:lnTo>
                    <a:pt x="0" y="174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7"/>
                  </a:lnTo>
                  <a:lnTo>
                    <a:pt x="4" y="167"/>
                  </a:lnTo>
                  <a:lnTo>
                    <a:pt x="4" y="165"/>
                  </a:lnTo>
                  <a:lnTo>
                    <a:pt x="4" y="163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7" y="161"/>
                  </a:lnTo>
                  <a:lnTo>
                    <a:pt x="7" y="157"/>
                  </a:lnTo>
                  <a:lnTo>
                    <a:pt x="9" y="157"/>
                  </a:lnTo>
                  <a:lnTo>
                    <a:pt x="9" y="155"/>
                  </a:lnTo>
                  <a:lnTo>
                    <a:pt x="9" y="151"/>
                  </a:lnTo>
                  <a:lnTo>
                    <a:pt x="9" y="149"/>
                  </a:lnTo>
                  <a:lnTo>
                    <a:pt x="9" y="147"/>
                  </a:lnTo>
                  <a:lnTo>
                    <a:pt x="9" y="145"/>
                  </a:lnTo>
                  <a:lnTo>
                    <a:pt x="9" y="143"/>
                  </a:lnTo>
                  <a:lnTo>
                    <a:pt x="11" y="142"/>
                  </a:lnTo>
                  <a:lnTo>
                    <a:pt x="13" y="140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9" y="134"/>
                  </a:lnTo>
                  <a:lnTo>
                    <a:pt x="19" y="132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5" y="12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7" y="124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9" y="122"/>
                  </a:lnTo>
                  <a:lnTo>
                    <a:pt x="29" y="119"/>
                  </a:lnTo>
                  <a:lnTo>
                    <a:pt x="29" y="117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09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1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7" y="88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4"/>
                  </a:lnTo>
                  <a:lnTo>
                    <a:pt x="23" y="82"/>
                  </a:lnTo>
                  <a:lnTo>
                    <a:pt x="23" y="80"/>
                  </a:lnTo>
                  <a:lnTo>
                    <a:pt x="21" y="78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7" y="71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3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59"/>
                  </a:lnTo>
                  <a:lnTo>
                    <a:pt x="19" y="57"/>
                  </a:lnTo>
                  <a:lnTo>
                    <a:pt x="17" y="57"/>
                  </a:lnTo>
                  <a:lnTo>
                    <a:pt x="17" y="55"/>
                  </a:lnTo>
                  <a:lnTo>
                    <a:pt x="17" y="53"/>
                  </a:lnTo>
                  <a:lnTo>
                    <a:pt x="15" y="5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09" name="Freeform 85"/>
            <p:cNvSpPr>
              <a:spLocks/>
            </p:cNvSpPr>
            <p:nvPr/>
          </p:nvSpPr>
          <p:spPr bwMode="auto">
            <a:xfrm>
              <a:off x="1162" y="1912"/>
              <a:ext cx="65" cy="190"/>
            </a:xfrm>
            <a:custGeom>
              <a:avLst/>
              <a:gdLst/>
              <a:ahLst/>
              <a:cxnLst>
                <a:cxn ang="0">
                  <a:pos x="52" y="188"/>
                </a:cxn>
                <a:cxn ang="0">
                  <a:pos x="57" y="186"/>
                </a:cxn>
                <a:cxn ang="0">
                  <a:pos x="63" y="182"/>
                </a:cxn>
                <a:cxn ang="0">
                  <a:pos x="61" y="171"/>
                </a:cxn>
                <a:cxn ang="0">
                  <a:pos x="57" y="159"/>
                </a:cxn>
                <a:cxn ang="0">
                  <a:pos x="59" y="149"/>
                </a:cxn>
                <a:cxn ang="0">
                  <a:pos x="59" y="138"/>
                </a:cxn>
                <a:cxn ang="0">
                  <a:pos x="59" y="128"/>
                </a:cxn>
                <a:cxn ang="0">
                  <a:pos x="61" y="121"/>
                </a:cxn>
                <a:cxn ang="0">
                  <a:pos x="61" y="115"/>
                </a:cxn>
                <a:cxn ang="0">
                  <a:pos x="63" y="105"/>
                </a:cxn>
                <a:cxn ang="0">
                  <a:pos x="65" y="98"/>
                </a:cxn>
                <a:cxn ang="0">
                  <a:pos x="65" y="84"/>
                </a:cxn>
                <a:cxn ang="0">
                  <a:pos x="63" y="75"/>
                </a:cxn>
                <a:cxn ang="0">
                  <a:pos x="63" y="65"/>
                </a:cxn>
                <a:cxn ang="0">
                  <a:pos x="57" y="61"/>
                </a:cxn>
                <a:cxn ang="0">
                  <a:pos x="54" y="55"/>
                </a:cxn>
                <a:cxn ang="0">
                  <a:pos x="52" y="48"/>
                </a:cxn>
                <a:cxn ang="0">
                  <a:pos x="50" y="40"/>
                </a:cxn>
                <a:cxn ang="0">
                  <a:pos x="48" y="34"/>
                </a:cxn>
                <a:cxn ang="0">
                  <a:pos x="42" y="30"/>
                </a:cxn>
                <a:cxn ang="0">
                  <a:pos x="38" y="27"/>
                </a:cxn>
                <a:cxn ang="0">
                  <a:pos x="36" y="21"/>
                </a:cxn>
                <a:cxn ang="0">
                  <a:pos x="36" y="13"/>
                </a:cxn>
                <a:cxn ang="0">
                  <a:pos x="38" y="5"/>
                </a:cxn>
                <a:cxn ang="0">
                  <a:pos x="31" y="5"/>
                </a:cxn>
                <a:cxn ang="0">
                  <a:pos x="21" y="5"/>
                </a:cxn>
                <a:cxn ang="0">
                  <a:pos x="15" y="4"/>
                </a:cxn>
                <a:cxn ang="0">
                  <a:pos x="9" y="2"/>
                </a:cxn>
                <a:cxn ang="0">
                  <a:pos x="2" y="4"/>
                </a:cxn>
                <a:cxn ang="0">
                  <a:pos x="2" y="11"/>
                </a:cxn>
                <a:cxn ang="0">
                  <a:pos x="2" y="21"/>
                </a:cxn>
                <a:cxn ang="0">
                  <a:pos x="6" y="25"/>
                </a:cxn>
                <a:cxn ang="0">
                  <a:pos x="11" y="30"/>
                </a:cxn>
                <a:cxn ang="0">
                  <a:pos x="17" y="38"/>
                </a:cxn>
                <a:cxn ang="0">
                  <a:pos x="15" y="50"/>
                </a:cxn>
                <a:cxn ang="0">
                  <a:pos x="15" y="55"/>
                </a:cxn>
                <a:cxn ang="0">
                  <a:pos x="11" y="61"/>
                </a:cxn>
                <a:cxn ang="0">
                  <a:pos x="15" y="67"/>
                </a:cxn>
                <a:cxn ang="0">
                  <a:pos x="21" y="73"/>
                </a:cxn>
                <a:cxn ang="0">
                  <a:pos x="21" y="84"/>
                </a:cxn>
                <a:cxn ang="0">
                  <a:pos x="17" y="92"/>
                </a:cxn>
                <a:cxn ang="0">
                  <a:pos x="23" y="98"/>
                </a:cxn>
                <a:cxn ang="0">
                  <a:pos x="29" y="105"/>
                </a:cxn>
                <a:cxn ang="0">
                  <a:pos x="31" y="115"/>
                </a:cxn>
                <a:cxn ang="0">
                  <a:pos x="27" y="128"/>
                </a:cxn>
                <a:cxn ang="0">
                  <a:pos x="25" y="134"/>
                </a:cxn>
                <a:cxn ang="0">
                  <a:pos x="25" y="144"/>
                </a:cxn>
                <a:cxn ang="0">
                  <a:pos x="21" y="149"/>
                </a:cxn>
                <a:cxn ang="0">
                  <a:pos x="23" y="157"/>
                </a:cxn>
                <a:cxn ang="0">
                  <a:pos x="23" y="165"/>
                </a:cxn>
                <a:cxn ang="0">
                  <a:pos x="27" y="171"/>
                </a:cxn>
                <a:cxn ang="0">
                  <a:pos x="31" y="176"/>
                </a:cxn>
                <a:cxn ang="0">
                  <a:pos x="36" y="178"/>
                </a:cxn>
                <a:cxn ang="0">
                  <a:pos x="40" y="186"/>
                </a:cxn>
              </a:cxnLst>
              <a:rect l="0" t="0" r="r" b="b"/>
              <a:pathLst>
                <a:path w="65" h="190">
                  <a:moveTo>
                    <a:pt x="44" y="190"/>
                  </a:moveTo>
                  <a:lnTo>
                    <a:pt x="48" y="190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7" y="186"/>
                  </a:lnTo>
                  <a:lnTo>
                    <a:pt x="59" y="186"/>
                  </a:lnTo>
                  <a:lnTo>
                    <a:pt x="61" y="184"/>
                  </a:lnTo>
                  <a:lnTo>
                    <a:pt x="63" y="184"/>
                  </a:lnTo>
                  <a:lnTo>
                    <a:pt x="63" y="182"/>
                  </a:lnTo>
                  <a:lnTo>
                    <a:pt x="63" y="180"/>
                  </a:lnTo>
                  <a:lnTo>
                    <a:pt x="61" y="176"/>
                  </a:lnTo>
                  <a:lnTo>
                    <a:pt x="61" y="172"/>
                  </a:lnTo>
                  <a:lnTo>
                    <a:pt x="61" y="171"/>
                  </a:lnTo>
                  <a:lnTo>
                    <a:pt x="59" y="169"/>
                  </a:lnTo>
                  <a:lnTo>
                    <a:pt x="59" y="167"/>
                  </a:lnTo>
                  <a:lnTo>
                    <a:pt x="59" y="163"/>
                  </a:lnTo>
                  <a:lnTo>
                    <a:pt x="57" y="159"/>
                  </a:lnTo>
                  <a:lnTo>
                    <a:pt x="57" y="157"/>
                  </a:lnTo>
                  <a:lnTo>
                    <a:pt x="59" y="155"/>
                  </a:lnTo>
                  <a:lnTo>
                    <a:pt x="59" y="153"/>
                  </a:lnTo>
                  <a:lnTo>
                    <a:pt x="59" y="149"/>
                  </a:lnTo>
                  <a:lnTo>
                    <a:pt x="59" y="147"/>
                  </a:lnTo>
                  <a:lnTo>
                    <a:pt x="59" y="144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4"/>
                  </a:lnTo>
                  <a:lnTo>
                    <a:pt x="59" y="132"/>
                  </a:lnTo>
                  <a:lnTo>
                    <a:pt x="59" y="130"/>
                  </a:lnTo>
                  <a:lnTo>
                    <a:pt x="59" y="128"/>
                  </a:lnTo>
                  <a:lnTo>
                    <a:pt x="59" y="126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61" y="117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63" y="109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5" y="98"/>
                  </a:lnTo>
                  <a:lnTo>
                    <a:pt x="65" y="94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4"/>
                  </a:lnTo>
                  <a:lnTo>
                    <a:pt x="65" y="82"/>
                  </a:lnTo>
                  <a:lnTo>
                    <a:pt x="65" y="80"/>
                  </a:lnTo>
                  <a:lnTo>
                    <a:pt x="65" y="78"/>
                  </a:lnTo>
                  <a:lnTo>
                    <a:pt x="63" y="75"/>
                  </a:lnTo>
                  <a:lnTo>
                    <a:pt x="63" y="73"/>
                  </a:lnTo>
                  <a:lnTo>
                    <a:pt x="63" y="71"/>
                  </a:lnTo>
                  <a:lnTo>
                    <a:pt x="63" y="67"/>
                  </a:lnTo>
                  <a:lnTo>
                    <a:pt x="63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59" y="63"/>
                  </a:lnTo>
                  <a:lnTo>
                    <a:pt x="57" y="61"/>
                  </a:lnTo>
                  <a:lnTo>
                    <a:pt x="57" y="59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2" y="53"/>
                  </a:lnTo>
                  <a:lnTo>
                    <a:pt x="52" y="50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38" y="29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6" y="27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6" y="21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5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9" y="30"/>
                  </a:lnTo>
                  <a:lnTo>
                    <a:pt x="11" y="30"/>
                  </a:lnTo>
                  <a:lnTo>
                    <a:pt x="11" y="32"/>
                  </a:lnTo>
                  <a:lnTo>
                    <a:pt x="13" y="36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5"/>
                  </a:lnTo>
                  <a:lnTo>
                    <a:pt x="11" y="55"/>
                  </a:lnTo>
                  <a:lnTo>
                    <a:pt x="11" y="57"/>
                  </a:lnTo>
                  <a:lnTo>
                    <a:pt x="11" y="59"/>
                  </a:lnTo>
                  <a:lnTo>
                    <a:pt x="11" y="61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21" y="71"/>
                  </a:lnTo>
                  <a:lnTo>
                    <a:pt x="21" y="73"/>
                  </a:lnTo>
                  <a:lnTo>
                    <a:pt x="21" y="76"/>
                  </a:lnTo>
                  <a:lnTo>
                    <a:pt x="21" y="80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17" y="92"/>
                  </a:lnTo>
                  <a:lnTo>
                    <a:pt x="17" y="94"/>
                  </a:lnTo>
                  <a:lnTo>
                    <a:pt x="19" y="96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5" y="98"/>
                  </a:lnTo>
                  <a:lnTo>
                    <a:pt x="25" y="100"/>
                  </a:lnTo>
                  <a:lnTo>
                    <a:pt x="27" y="103"/>
                  </a:lnTo>
                  <a:lnTo>
                    <a:pt x="29" y="105"/>
                  </a:lnTo>
                  <a:lnTo>
                    <a:pt x="29" y="109"/>
                  </a:lnTo>
                  <a:lnTo>
                    <a:pt x="31" y="109"/>
                  </a:lnTo>
                  <a:lnTo>
                    <a:pt x="31" y="111"/>
                  </a:lnTo>
                  <a:lnTo>
                    <a:pt x="31" y="115"/>
                  </a:lnTo>
                  <a:lnTo>
                    <a:pt x="29" y="117"/>
                  </a:lnTo>
                  <a:lnTo>
                    <a:pt x="27" y="121"/>
                  </a:lnTo>
                  <a:lnTo>
                    <a:pt x="27" y="124"/>
                  </a:lnTo>
                  <a:lnTo>
                    <a:pt x="27" y="128"/>
                  </a:lnTo>
                  <a:lnTo>
                    <a:pt x="25" y="128"/>
                  </a:lnTo>
                  <a:lnTo>
                    <a:pt x="25" y="130"/>
                  </a:lnTo>
                  <a:lnTo>
                    <a:pt x="25" y="132"/>
                  </a:lnTo>
                  <a:lnTo>
                    <a:pt x="25" y="134"/>
                  </a:lnTo>
                  <a:lnTo>
                    <a:pt x="25" y="138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5" y="147"/>
                  </a:lnTo>
                  <a:lnTo>
                    <a:pt x="23" y="147"/>
                  </a:lnTo>
                  <a:lnTo>
                    <a:pt x="23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51"/>
                  </a:lnTo>
                  <a:lnTo>
                    <a:pt x="23" y="153"/>
                  </a:lnTo>
                  <a:lnTo>
                    <a:pt x="23" y="157"/>
                  </a:lnTo>
                  <a:lnTo>
                    <a:pt x="23" y="159"/>
                  </a:lnTo>
                  <a:lnTo>
                    <a:pt x="25" y="161"/>
                  </a:lnTo>
                  <a:lnTo>
                    <a:pt x="23" y="163"/>
                  </a:lnTo>
                  <a:lnTo>
                    <a:pt x="23" y="165"/>
                  </a:lnTo>
                  <a:lnTo>
                    <a:pt x="23" y="167"/>
                  </a:lnTo>
                  <a:lnTo>
                    <a:pt x="25" y="169"/>
                  </a:lnTo>
                  <a:lnTo>
                    <a:pt x="25" y="171"/>
                  </a:lnTo>
                  <a:lnTo>
                    <a:pt x="27" y="171"/>
                  </a:lnTo>
                  <a:lnTo>
                    <a:pt x="27" y="172"/>
                  </a:lnTo>
                  <a:lnTo>
                    <a:pt x="29" y="172"/>
                  </a:lnTo>
                  <a:lnTo>
                    <a:pt x="31" y="174"/>
                  </a:lnTo>
                  <a:lnTo>
                    <a:pt x="31" y="176"/>
                  </a:lnTo>
                  <a:lnTo>
                    <a:pt x="31" y="176"/>
                  </a:lnTo>
                  <a:lnTo>
                    <a:pt x="32" y="176"/>
                  </a:lnTo>
                  <a:lnTo>
                    <a:pt x="34" y="178"/>
                  </a:lnTo>
                  <a:lnTo>
                    <a:pt x="36" y="178"/>
                  </a:lnTo>
                  <a:lnTo>
                    <a:pt x="36" y="182"/>
                  </a:lnTo>
                  <a:lnTo>
                    <a:pt x="36" y="184"/>
                  </a:lnTo>
                  <a:lnTo>
                    <a:pt x="38" y="184"/>
                  </a:lnTo>
                  <a:lnTo>
                    <a:pt x="40" y="186"/>
                  </a:lnTo>
                  <a:lnTo>
                    <a:pt x="42" y="186"/>
                  </a:lnTo>
                  <a:lnTo>
                    <a:pt x="42" y="188"/>
                  </a:lnTo>
                  <a:lnTo>
                    <a:pt x="44" y="1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0" name="Freeform 86"/>
            <p:cNvSpPr>
              <a:spLocks/>
            </p:cNvSpPr>
            <p:nvPr/>
          </p:nvSpPr>
          <p:spPr bwMode="auto">
            <a:xfrm>
              <a:off x="1162" y="1912"/>
              <a:ext cx="65" cy="190"/>
            </a:xfrm>
            <a:custGeom>
              <a:avLst/>
              <a:gdLst/>
              <a:ahLst/>
              <a:cxnLst>
                <a:cxn ang="0">
                  <a:pos x="52" y="188"/>
                </a:cxn>
                <a:cxn ang="0">
                  <a:pos x="57" y="186"/>
                </a:cxn>
                <a:cxn ang="0">
                  <a:pos x="63" y="182"/>
                </a:cxn>
                <a:cxn ang="0">
                  <a:pos x="61" y="171"/>
                </a:cxn>
                <a:cxn ang="0">
                  <a:pos x="57" y="159"/>
                </a:cxn>
                <a:cxn ang="0">
                  <a:pos x="59" y="149"/>
                </a:cxn>
                <a:cxn ang="0">
                  <a:pos x="59" y="138"/>
                </a:cxn>
                <a:cxn ang="0">
                  <a:pos x="59" y="128"/>
                </a:cxn>
                <a:cxn ang="0">
                  <a:pos x="61" y="121"/>
                </a:cxn>
                <a:cxn ang="0">
                  <a:pos x="61" y="115"/>
                </a:cxn>
                <a:cxn ang="0">
                  <a:pos x="63" y="105"/>
                </a:cxn>
                <a:cxn ang="0">
                  <a:pos x="65" y="98"/>
                </a:cxn>
                <a:cxn ang="0">
                  <a:pos x="65" y="84"/>
                </a:cxn>
                <a:cxn ang="0">
                  <a:pos x="63" y="75"/>
                </a:cxn>
                <a:cxn ang="0">
                  <a:pos x="63" y="65"/>
                </a:cxn>
                <a:cxn ang="0">
                  <a:pos x="57" y="61"/>
                </a:cxn>
                <a:cxn ang="0">
                  <a:pos x="54" y="55"/>
                </a:cxn>
                <a:cxn ang="0">
                  <a:pos x="52" y="48"/>
                </a:cxn>
                <a:cxn ang="0">
                  <a:pos x="50" y="40"/>
                </a:cxn>
                <a:cxn ang="0">
                  <a:pos x="48" y="34"/>
                </a:cxn>
                <a:cxn ang="0">
                  <a:pos x="42" y="30"/>
                </a:cxn>
                <a:cxn ang="0">
                  <a:pos x="38" y="27"/>
                </a:cxn>
                <a:cxn ang="0">
                  <a:pos x="36" y="21"/>
                </a:cxn>
                <a:cxn ang="0">
                  <a:pos x="36" y="13"/>
                </a:cxn>
                <a:cxn ang="0">
                  <a:pos x="38" y="5"/>
                </a:cxn>
                <a:cxn ang="0">
                  <a:pos x="31" y="5"/>
                </a:cxn>
                <a:cxn ang="0">
                  <a:pos x="21" y="5"/>
                </a:cxn>
                <a:cxn ang="0">
                  <a:pos x="15" y="4"/>
                </a:cxn>
                <a:cxn ang="0">
                  <a:pos x="9" y="2"/>
                </a:cxn>
                <a:cxn ang="0">
                  <a:pos x="2" y="4"/>
                </a:cxn>
                <a:cxn ang="0">
                  <a:pos x="2" y="11"/>
                </a:cxn>
                <a:cxn ang="0">
                  <a:pos x="2" y="21"/>
                </a:cxn>
                <a:cxn ang="0">
                  <a:pos x="6" y="25"/>
                </a:cxn>
                <a:cxn ang="0">
                  <a:pos x="11" y="30"/>
                </a:cxn>
                <a:cxn ang="0">
                  <a:pos x="17" y="38"/>
                </a:cxn>
                <a:cxn ang="0">
                  <a:pos x="15" y="50"/>
                </a:cxn>
                <a:cxn ang="0">
                  <a:pos x="15" y="55"/>
                </a:cxn>
                <a:cxn ang="0">
                  <a:pos x="11" y="61"/>
                </a:cxn>
                <a:cxn ang="0">
                  <a:pos x="15" y="67"/>
                </a:cxn>
                <a:cxn ang="0">
                  <a:pos x="21" y="73"/>
                </a:cxn>
                <a:cxn ang="0">
                  <a:pos x="21" y="84"/>
                </a:cxn>
                <a:cxn ang="0">
                  <a:pos x="17" y="92"/>
                </a:cxn>
                <a:cxn ang="0">
                  <a:pos x="23" y="98"/>
                </a:cxn>
                <a:cxn ang="0">
                  <a:pos x="29" y="105"/>
                </a:cxn>
                <a:cxn ang="0">
                  <a:pos x="31" y="115"/>
                </a:cxn>
                <a:cxn ang="0">
                  <a:pos x="27" y="128"/>
                </a:cxn>
                <a:cxn ang="0">
                  <a:pos x="25" y="134"/>
                </a:cxn>
                <a:cxn ang="0">
                  <a:pos x="25" y="144"/>
                </a:cxn>
                <a:cxn ang="0">
                  <a:pos x="21" y="149"/>
                </a:cxn>
                <a:cxn ang="0">
                  <a:pos x="23" y="157"/>
                </a:cxn>
                <a:cxn ang="0">
                  <a:pos x="23" y="165"/>
                </a:cxn>
                <a:cxn ang="0">
                  <a:pos x="27" y="171"/>
                </a:cxn>
                <a:cxn ang="0">
                  <a:pos x="31" y="176"/>
                </a:cxn>
                <a:cxn ang="0">
                  <a:pos x="36" y="178"/>
                </a:cxn>
                <a:cxn ang="0">
                  <a:pos x="40" y="186"/>
                </a:cxn>
              </a:cxnLst>
              <a:rect l="0" t="0" r="r" b="b"/>
              <a:pathLst>
                <a:path w="65" h="190">
                  <a:moveTo>
                    <a:pt x="44" y="190"/>
                  </a:moveTo>
                  <a:lnTo>
                    <a:pt x="48" y="190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7" y="186"/>
                  </a:lnTo>
                  <a:lnTo>
                    <a:pt x="59" y="186"/>
                  </a:lnTo>
                  <a:lnTo>
                    <a:pt x="61" y="184"/>
                  </a:lnTo>
                  <a:lnTo>
                    <a:pt x="63" y="184"/>
                  </a:lnTo>
                  <a:lnTo>
                    <a:pt x="63" y="182"/>
                  </a:lnTo>
                  <a:lnTo>
                    <a:pt x="63" y="180"/>
                  </a:lnTo>
                  <a:lnTo>
                    <a:pt x="61" y="176"/>
                  </a:lnTo>
                  <a:lnTo>
                    <a:pt x="61" y="172"/>
                  </a:lnTo>
                  <a:lnTo>
                    <a:pt x="61" y="171"/>
                  </a:lnTo>
                  <a:lnTo>
                    <a:pt x="59" y="169"/>
                  </a:lnTo>
                  <a:lnTo>
                    <a:pt x="59" y="167"/>
                  </a:lnTo>
                  <a:lnTo>
                    <a:pt x="59" y="163"/>
                  </a:lnTo>
                  <a:lnTo>
                    <a:pt x="57" y="159"/>
                  </a:lnTo>
                  <a:lnTo>
                    <a:pt x="57" y="157"/>
                  </a:lnTo>
                  <a:lnTo>
                    <a:pt x="59" y="155"/>
                  </a:lnTo>
                  <a:lnTo>
                    <a:pt x="59" y="153"/>
                  </a:lnTo>
                  <a:lnTo>
                    <a:pt x="59" y="149"/>
                  </a:lnTo>
                  <a:lnTo>
                    <a:pt x="59" y="147"/>
                  </a:lnTo>
                  <a:lnTo>
                    <a:pt x="59" y="144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4"/>
                  </a:lnTo>
                  <a:lnTo>
                    <a:pt x="59" y="132"/>
                  </a:lnTo>
                  <a:lnTo>
                    <a:pt x="59" y="130"/>
                  </a:lnTo>
                  <a:lnTo>
                    <a:pt x="59" y="128"/>
                  </a:lnTo>
                  <a:lnTo>
                    <a:pt x="59" y="126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61" y="117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63" y="109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5" y="98"/>
                  </a:lnTo>
                  <a:lnTo>
                    <a:pt x="65" y="94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4"/>
                  </a:lnTo>
                  <a:lnTo>
                    <a:pt x="65" y="82"/>
                  </a:lnTo>
                  <a:lnTo>
                    <a:pt x="65" y="80"/>
                  </a:lnTo>
                  <a:lnTo>
                    <a:pt x="65" y="78"/>
                  </a:lnTo>
                  <a:lnTo>
                    <a:pt x="63" y="75"/>
                  </a:lnTo>
                  <a:lnTo>
                    <a:pt x="63" y="73"/>
                  </a:lnTo>
                  <a:lnTo>
                    <a:pt x="63" y="71"/>
                  </a:lnTo>
                  <a:lnTo>
                    <a:pt x="63" y="67"/>
                  </a:lnTo>
                  <a:lnTo>
                    <a:pt x="63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59" y="63"/>
                  </a:lnTo>
                  <a:lnTo>
                    <a:pt x="57" y="61"/>
                  </a:lnTo>
                  <a:lnTo>
                    <a:pt x="57" y="59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2" y="53"/>
                  </a:lnTo>
                  <a:lnTo>
                    <a:pt x="52" y="50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38" y="29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6" y="27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6" y="21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5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9" y="30"/>
                  </a:lnTo>
                  <a:lnTo>
                    <a:pt x="11" y="30"/>
                  </a:lnTo>
                  <a:lnTo>
                    <a:pt x="11" y="32"/>
                  </a:lnTo>
                  <a:lnTo>
                    <a:pt x="13" y="36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5"/>
                  </a:lnTo>
                  <a:lnTo>
                    <a:pt x="11" y="55"/>
                  </a:lnTo>
                  <a:lnTo>
                    <a:pt x="11" y="57"/>
                  </a:lnTo>
                  <a:lnTo>
                    <a:pt x="11" y="59"/>
                  </a:lnTo>
                  <a:lnTo>
                    <a:pt x="11" y="61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21" y="71"/>
                  </a:lnTo>
                  <a:lnTo>
                    <a:pt x="21" y="73"/>
                  </a:lnTo>
                  <a:lnTo>
                    <a:pt x="21" y="76"/>
                  </a:lnTo>
                  <a:lnTo>
                    <a:pt x="21" y="80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17" y="92"/>
                  </a:lnTo>
                  <a:lnTo>
                    <a:pt x="17" y="94"/>
                  </a:lnTo>
                  <a:lnTo>
                    <a:pt x="19" y="96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5" y="98"/>
                  </a:lnTo>
                  <a:lnTo>
                    <a:pt x="25" y="100"/>
                  </a:lnTo>
                  <a:lnTo>
                    <a:pt x="27" y="103"/>
                  </a:lnTo>
                  <a:lnTo>
                    <a:pt x="29" y="105"/>
                  </a:lnTo>
                  <a:lnTo>
                    <a:pt x="29" y="109"/>
                  </a:lnTo>
                  <a:lnTo>
                    <a:pt x="31" y="109"/>
                  </a:lnTo>
                  <a:lnTo>
                    <a:pt x="31" y="111"/>
                  </a:lnTo>
                  <a:lnTo>
                    <a:pt x="31" y="115"/>
                  </a:lnTo>
                  <a:lnTo>
                    <a:pt x="29" y="117"/>
                  </a:lnTo>
                  <a:lnTo>
                    <a:pt x="27" y="121"/>
                  </a:lnTo>
                  <a:lnTo>
                    <a:pt x="27" y="124"/>
                  </a:lnTo>
                  <a:lnTo>
                    <a:pt x="27" y="128"/>
                  </a:lnTo>
                  <a:lnTo>
                    <a:pt x="25" y="128"/>
                  </a:lnTo>
                  <a:lnTo>
                    <a:pt x="25" y="130"/>
                  </a:lnTo>
                  <a:lnTo>
                    <a:pt x="25" y="132"/>
                  </a:lnTo>
                  <a:lnTo>
                    <a:pt x="25" y="134"/>
                  </a:lnTo>
                  <a:lnTo>
                    <a:pt x="25" y="138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5" y="147"/>
                  </a:lnTo>
                  <a:lnTo>
                    <a:pt x="23" y="147"/>
                  </a:lnTo>
                  <a:lnTo>
                    <a:pt x="23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51"/>
                  </a:lnTo>
                  <a:lnTo>
                    <a:pt x="23" y="153"/>
                  </a:lnTo>
                  <a:lnTo>
                    <a:pt x="23" y="157"/>
                  </a:lnTo>
                  <a:lnTo>
                    <a:pt x="23" y="159"/>
                  </a:lnTo>
                  <a:lnTo>
                    <a:pt x="25" y="161"/>
                  </a:lnTo>
                  <a:lnTo>
                    <a:pt x="23" y="163"/>
                  </a:lnTo>
                  <a:lnTo>
                    <a:pt x="23" y="165"/>
                  </a:lnTo>
                  <a:lnTo>
                    <a:pt x="23" y="167"/>
                  </a:lnTo>
                  <a:lnTo>
                    <a:pt x="25" y="169"/>
                  </a:lnTo>
                  <a:lnTo>
                    <a:pt x="25" y="171"/>
                  </a:lnTo>
                  <a:lnTo>
                    <a:pt x="27" y="171"/>
                  </a:lnTo>
                  <a:lnTo>
                    <a:pt x="27" y="172"/>
                  </a:lnTo>
                  <a:lnTo>
                    <a:pt x="29" y="172"/>
                  </a:lnTo>
                  <a:lnTo>
                    <a:pt x="31" y="174"/>
                  </a:lnTo>
                  <a:lnTo>
                    <a:pt x="31" y="176"/>
                  </a:lnTo>
                  <a:lnTo>
                    <a:pt x="31" y="176"/>
                  </a:lnTo>
                  <a:lnTo>
                    <a:pt x="32" y="176"/>
                  </a:lnTo>
                  <a:lnTo>
                    <a:pt x="34" y="178"/>
                  </a:lnTo>
                  <a:lnTo>
                    <a:pt x="36" y="178"/>
                  </a:lnTo>
                  <a:lnTo>
                    <a:pt x="36" y="182"/>
                  </a:lnTo>
                  <a:lnTo>
                    <a:pt x="36" y="184"/>
                  </a:lnTo>
                  <a:lnTo>
                    <a:pt x="38" y="184"/>
                  </a:lnTo>
                  <a:lnTo>
                    <a:pt x="40" y="186"/>
                  </a:lnTo>
                  <a:lnTo>
                    <a:pt x="42" y="186"/>
                  </a:lnTo>
                  <a:lnTo>
                    <a:pt x="42" y="188"/>
                  </a:lnTo>
                  <a:lnTo>
                    <a:pt x="44" y="19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1" name="Freeform 87"/>
            <p:cNvSpPr>
              <a:spLocks/>
            </p:cNvSpPr>
            <p:nvPr/>
          </p:nvSpPr>
          <p:spPr bwMode="auto">
            <a:xfrm>
              <a:off x="1198" y="1871"/>
              <a:ext cx="108" cy="225"/>
            </a:xfrm>
            <a:custGeom>
              <a:avLst/>
              <a:gdLst/>
              <a:ahLst/>
              <a:cxnLst>
                <a:cxn ang="0">
                  <a:pos x="39" y="225"/>
                </a:cxn>
                <a:cxn ang="0">
                  <a:pos x="50" y="225"/>
                </a:cxn>
                <a:cxn ang="0">
                  <a:pos x="58" y="225"/>
                </a:cxn>
                <a:cxn ang="0">
                  <a:pos x="67" y="223"/>
                </a:cxn>
                <a:cxn ang="0">
                  <a:pos x="67" y="212"/>
                </a:cxn>
                <a:cxn ang="0">
                  <a:pos x="67" y="198"/>
                </a:cxn>
                <a:cxn ang="0">
                  <a:pos x="67" y="183"/>
                </a:cxn>
                <a:cxn ang="0">
                  <a:pos x="66" y="169"/>
                </a:cxn>
                <a:cxn ang="0">
                  <a:pos x="64" y="158"/>
                </a:cxn>
                <a:cxn ang="0">
                  <a:pos x="66" y="150"/>
                </a:cxn>
                <a:cxn ang="0">
                  <a:pos x="67" y="141"/>
                </a:cxn>
                <a:cxn ang="0">
                  <a:pos x="69" y="129"/>
                </a:cxn>
                <a:cxn ang="0">
                  <a:pos x="75" y="123"/>
                </a:cxn>
                <a:cxn ang="0">
                  <a:pos x="87" y="123"/>
                </a:cxn>
                <a:cxn ang="0">
                  <a:pos x="87" y="112"/>
                </a:cxn>
                <a:cxn ang="0">
                  <a:pos x="89" y="102"/>
                </a:cxn>
                <a:cxn ang="0">
                  <a:pos x="92" y="96"/>
                </a:cxn>
                <a:cxn ang="0">
                  <a:pos x="102" y="91"/>
                </a:cxn>
                <a:cxn ang="0">
                  <a:pos x="102" y="79"/>
                </a:cxn>
                <a:cxn ang="0">
                  <a:pos x="108" y="70"/>
                </a:cxn>
                <a:cxn ang="0">
                  <a:pos x="108" y="58"/>
                </a:cxn>
                <a:cxn ang="0">
                  <a:pos x="108" y="48"/>
                </a:cxn>
                <a:cxn ang="0">
                  <a:pos x="104" y="43"/>
                </a:cxn>
                <a:cxn ang="0">
                  <a:pos x="100" y="35"/>
                </a:cxn>
                <a:cxn ang="0">
                  <a:pos x="100" y="23"/>
                </a:cxn>
                <a:cxn ang="0">
                  <a:pos x="100" y="12"/>
                </a:cxn>
                <a:cxn ang="0">
                  <a:pos x="92" y="10"/>
                </a:cxn>
                <a:cxn ang="0">
                  <a:pos x="85" y="8"/>
                </a:cxn>
                <a:cxn ang="0">
                  <a:pos x="77" y="0"/>
                </a:cxn>
                <a:cxn ang="0">
                  <a:pos x="69" y="2"/>
                </a:cxn>
                <a:cxn ang="0">
                  <a:pos x="64" y="6"/>
                </a:cxn>
                <a:cxn ang="0">
                  <a:pos x="56" y="8"/>
                </a:cxn>
                <a:cxn ang="0">
                  <a:pos x="52" y="14"/>
                </a:cxn>
                <a:cxn ang="0">
                  <a:pos x="52" y="23"/>
                </a:cxn>
                <a:cxn ang="0">
                  <a:pos x="44" y="33"/>
                </a:cxn>
                <a:cxn ang="0">
                  <a:pos x="31" y="35"/>
                </a:cxn>
                <a:cxn ang="0">
                  <a:pos x="18" y="35"/>
                </a:cxn>
                <a:cxn ang="0">
                  <a:pos x="12" y="41"/>
                </a:cxn>
                <a:cxn ang="0">
                  <a:pos x="4" y="46"/>
                </a:cxn>
                <a:cxn ang="0">
                  <a:pos x="2" y="56"/>
                </a:cxn>
                <a:cxn ang="0">
                  <a:pos x="0" y="66"/>
                </a:cxn>
                <a:cxn ang="0">
                  <a:pos x="8" y="73"/>
                </a:cxn>
                <a:cxn ang="0">
                  <a:pos x="16" y="83"/>
                </a:cxn>
                <a:cxn ang="0">
                  <a:pos x="16" y="93"/>
                </a:cxn>
                <a:cxn ang="0">
                  <a:pos x="21" y="102"/>
                </a:cxn>
                <a:cxn ang="0">
                  <a:pos x="29" y="112"/>
                </a:cxn>
                <a:cxn ang="0">
                  <a:pos x="27" y="123"/>
                </a:cxn>
                <a:cxn ang="0">
                  <a:pos x="29" y="133"/>
                </a:cxn>
                <a:cxn ang="0">
                  <a:pos x="29" y="144"/>
                </a:cxn>
                <a:cxn ang="0">
                  <a:pos x="27" y="154"/>
                </a:cxn>
                <a:cxn ang="0">
                  <a:pos x="25" y="162"/>
                </a:cxn>
                <a:cxn ang="0">
                  <a:pos x="23" y="169"/>
                </a:cxn>
                <a:cxn ang="0">
                  <a:pos x="23" y="181"/>
                </a:cxn>
                <a:cxn ang="0">
                  <a:pos x="23" y="192"/>
                </a:cxn>
                <a:cxn ang="0">
                  <a:pos x="23" y="202"/>
                </a:cxn>
                <a:cxn ang="0">
                  <a:pos x="25" y="212"/>
                </a:cxn>
                <a:cxn ang="0">
                  <a:pos x="25" y="223"/>
                </a:cxn>
              </a:cxnLst>
              <a:rect l="0" t="0" r="r" b="b"/>
              <a:pathLst>
                <a:path w="108" h="225">
                  <a:moveTo>
                    <a:pt x="27" y="225"/>
                  </a:moveTo>
                  <a:lnTo>
                    <a:pt x="31" y="225"/>
                  </a:lnTo>
                  <a:lnTo>
                    <a:pt x="35" y="223"/>
                  </a:lnTo>
                  <a:lnTo>
                    <a:pt x="37" y="225"/>
                  </a:lnTo>
                  <a:lnTo>
                    <a:pt x="39" y="225"/>
                  </a:lnTo>
                  <a:lnTo>
                    <a:pt x="41" y="225"/>
                  </a:lnTo>
                  <a:lnTo>
                    <a:pt x="43" y="225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54" y="225"/>
                  </a:lnTo>
                  <a:lnTo>
                    <a:pt x="56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60" y="223"/>
                  </a:lnTo>
                  <a:lnTo>
                    <a:pt x="6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7" y="223"/>
                  </a:lnTo>
                  <a:lnTo>
                    <a:pt x="69" y="223"/>
                  </a:lnTo>
                  <a:lnTo>
                    <a:pt x="69" y="221"/>
                  </a:lnTo>
                  <a:lnTo>
                    <a:pt x="69" y="219"/>
                  </a:lnTo>
                  <a:lnTo>
                    <a:pt x="69" y="213"/>
                  </a:lnTo>
                  <a:lnTo>
                    <a:pt x="67" y="212"/>
                  </a:lnTo>
                  <a:lnTo>
                    <a:pt x="67" y="208"/>
                  </a:lnTo>
                  <a:lnTo>
                    <a:pt x="67" y="206"/>
                  </a:lnTo>
                  <a:lnTo>
                    <a:pt x="67" y="202"/>
                  </a:lnTo>
                  <a:lnTo>
                    <a:pt x="67" y="200"/>
                  </a:lnTo>
                  <a:lnTo>
                    <a:pt x="67" y="198"/>
                  </a:lnTo>
                  <a:lnTo>
                    <a:pt x="67" y="194"/>
                  </a:lnTo>
                  <a:lnTo>
                    <a:pt x="67" y="192"/>
                  </a:lnTo>
                  <a:lnTo>
                    <a:pt x="67" y="188"/>
                  </a:lnTo>
                  <a:lnTo>
                    <a:pt x="67" y="185"/>
                  </a:lnTo>
                  <a:lnTo>
                    <a:pt x="67" y="183"/>
                  </a:lnTo>
                  <a:lnTo>
                    <a:pt x="67" y="181"/>
                  </a:lnTo>
                  <a:lnTo>
                    <a:pt x="67" y="179"/>
                  </a:lnTo>
                  <a:lnTo>
                    <a:pt x="67" y="175"/>
                  </a:lnTo>
                  <a:lnTo>
                    <a:pt x="67" y="171"/>
                  </a:lnTo>
                  <a:lnTo>
                    <a:pt x="66" y="169"/>
                  </a:lnTo>
                  <a:lnTo>
                    <a:pt x="66" y="167"/>
                  </a:lnTo>
                  <a:lnTo>
                    <a:pt x="64" y="165"/>
                  </a:lnTo>
                  <a:lnTo>
                    <a:pt x="64" y="164"/>
                  </a:lnTo>
                  <a:lnTo>
                    <a:pt x="64" y="162"/>
                  </a:lnTo>
                  <a:lnTo>
                    <a:pt x="64" y="158"/>
                  </a:lnTo>
                  <a:lnTo>
                    <a:pt x="64" y="156"/>
                  </a:lnTo>
                  <a:lnTo>
                    <a:pt x="64" y="154"/>
                  </a:lnTo>
                  <a:lnTo>
                    <a:pt x="64" y="152"/>
                  </a:lnTo>
                  <a:lnTo>
                    <a:pt x="64" y="150"/>
                  </a:lnTo>
                  <a:lnTo>
                    <a:pt x="66" y="150"/>
                  </a:lnTo>
                  <a:lnTo>
                    <a:pt x="66" y="146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7" y="142"/>
                  </a:lnTo>
                  <a:lnTo>
                    <a:pt x="67" y="141"/>
                  </a:lnTo>
                  <a:lnTo>
                    <a:pt x="67" y="139"/>
                  </a:lnTo>
                  <a:lnTo>
                    <a:pt x="67" y="135"/>
                  </a:lnTo>
                  <a:lnTo>
                    <a:pt x="67" y="133"/>
                  </a:lnTo>
                  <a:lnTo>
                    <a:pt x="67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81" y="123"/>
                  </a:lnTo>
                  <a:lnTo>
                    <a:pt x="83" y="123"/>
                  </a:lnTo>
                  <a:lnTo>
                    <a:pt x="85" y="123"/>
                  </a:lnTo>
                  <a:lnTo>
                    <a:pt x="87" y="123"/>
                  </a:lnTo>
                  <a:lnTo>
                    <a:pt x="87" y="119"/>
                  </a:lnTo>
                  <a:lnTo>
                    <a:pt x="87" y="117"/>
                  </a:lnTo>
                  <a:lnTo>
                    <a:pt x="87" y="116"/>
                  </a:lnTo>
                  <a:lnTo>
                    <a:pt x="87" y="114"/>
                  </a:lnTo>
                  <a:lnTo>
                    <a:pt x="87" y="112"/>
                  </a:lnTo>
                  <a:lnTo>
                    <a:pt x="87" y="110"/>
                  </a:lnTo>
                  <a:lnTo>
                    <a:pt x="87" y="108"/>
                  </a:lnTo>
                  <a:lnTo>
                    <a:pt x="87" y="106"/>
                  </a:lnTo>
                  <a:lnTo>
                    <a:pt x="87" y="104"/>
                  </a:lnTo>
                  <a:lnTo>
                    <a:pt x="89" y="102"/>
                  </a:lnTo>
                  <a:lnTo>
                    <a:pt x="89" y="100"/>
                  </a:lnTo>
                  <a:lnTo>
                    <a:pt x="91" y="100"/>
                  </a:lnTo>
                  <a:lnTo>
                    <a:pt x="92" y="98"/>
                  </a:lnTo>
                  <a:lnTo>
                    <a:pt x="92" y="96"/>
                  </a:lnTo>
                  <a:lnTo>
                    <a:pt x="92" y="96"/>
                  </a:lnTo>
                  <a:lnTo>
                    <a:pt x="96" y="96"/>
                  </a:lnTo>
                  <a:lnTo>
                    <a:pt x="96" y="94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1"/>
                  </a:lnTo>
                  <a:lnTo>
                    <a:pt x="102" y="89"/>
                  </a:lnTo>
                  <a:lnTo>
                    <a:pt x="102" y="85"/>
                  </a:lnTo>
                  <a:lnTo>
                    <a:pt x="102" y="83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3"/>
                  </a:lnTo>
                  <a:lnTo>
                    <a:pt x="104" y="71"/>
                  </a:lnTo>
                  <a:lnTo>
                    <a:pt x="106" y="71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8" y="66"/>
                  </a:lnTo>
                  <a:lnTo>
                    <a:pt x="108" y="64"/>
                  </a:lnTo>
                  <a:lnTo>
                    <a:pt x="108" y="62"/>
                  </a:lnTo>
                  <a:lnTo>
                    <a:pt x="108" y="58"/>
                  </a:lnTo>
                  <a:lnTo>
                    <a:pt x="108" y="56"/>
                  </a:lnTo>
                  <a:lnTo>
                    <a:pt x="108" y="54"/>
                  </a:lnTo>
                  <a:lnTo>
                    <a:pt x="108" y="52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08" y="46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2" y="43"/>
                  </a:lnTo>
                  <a:lnTo>
                    <a:pt x="100" y="41"/>
                  </a:lnTo>
                  <a:lnTo>
                    <a:pt x="100" y="39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3"/>
                  </a:lnTo>
                  <a:lnTo>
                    <a:pt x="100" y="22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7" y="10"/>
                  </a:lnTo>
                  <a:lnTo>
                    <a:pt x="85" y="8"/>
                  </a:lnTo>
                  <a:lnTo>
                    <a:pt x="83" y="8"/>
                  </a:lnTo>
                  <a:lnTo>
                    <a:pt x="83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1" y="2"/>
                  </a:lnTo>
                  <a:lnTo>
                    <a:pt x="69" y="2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6" y="4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0" y="27"/>
                  </a:lnTo>
                  <a:lnTo>
                    <a:pt x="48" y="29"/>
                  </a:lnTo>
                  <a:lnTo>
                    <a:pt x="46" y="31"/>
                  </a:lnTo>
                  <a:lnTo>
                    <a:pt x="44" y="33"/>
                  </a:lnTo>
                  <a:lnTo>
                    <a:pt x="41" y="33"/>
                  </a:lnTo>
                  <a:lnTo>
                    <a:pt x="39" y="35"/>
                  </a:lnTo>
                  <a:lnTo>
                    <a:pt x="37" y="35"/>
                  </a:lnTo>
                  <a:lnTo>
                    <a:pt x="35" y="35"/>
                  </a:lnTo>
                  <a:lnTo>
                    <a:pt x="31" y="35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5" y="35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14" y="39"/>
                  </a:lnTo>
                  <a:lnTo>
                    <a:pt x="14" y="41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6" y="45"/>
                  </a:lnTo>
                  <a:lnTo>
                    <a:pt x="4" y="46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6" y="71"/>
                  </a:lnTo>
                  <a:lnTo>
                    <a:pt x="8" y="73"/>
                  </a:lnTo>
                  <a:lnTo>
                    <a:pt x="8" y="75"/>
                  </a:lnTo>
                  <a:lnTo>
                    <a:pt x="12" y="77"/>
                  </a:lnTo>
                  <a:lnTo>
                    <a:pt x="12" y="79"/>
                  </a:lnTo>
                  <a:lnTo>
                    <a:pt x="14" y="81"/>
                  </a:lnTo>
                  <a:lnTo>
                    <a:pt x="16" y="83"/>
                  </a:lnTo>
                  <a:lnTo>
                    <a:pt x="16" y="85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16" y="91"/>
                  </a:lnTo>
                  <a:lnTo>
                    <a:pt x="16" y="93"/>
                  </a:lnTo>
                  <a:lnTo>
                    <a:pt x="18" y="93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1" y="102"/>
                  </a:lnTo>
                  <a:lnTo>
                    <a:pt x="23" y="104"/>
                  </a:lnTo>
                  <a:lnTo>
                    <a:pt x="25" y="106"/>
                  </a:lnTo>
                  <a:lnTo>
                    <a:pt x="25" y="108"/>
                  </a:lnTo>
                  <a:lnTo>
                    <a:pt x="27" y="112"/>
                  </a:lnTo>
                  <a:lnTo>
                    <a:pt x="29" y="112"/>
                  </a:lnTo>
                  <a:lnTo>
                    <a:pt x="29" y="114"/>
                  </a:lnTo>
                  <a:lnTo>
                    <a:pt x="29" y="116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7" y="123"/>
                  </a:lnTo>
                  <a:lnTo>
                    <a:pt x="27" y="125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9" y="131"/>
                  </a:lnTo>
                  <a:lnTo>
                    <a:pt x="29" y="133"/>
                  </a:lnTo>
                  <a:lnTo>
                    <a:pt x="29" y="135"/>
                  </a:lnTo>
                  <a:lnTo>
                    <a:pt x="29" y="139"/>
                  </a:lnTo>
                  <a:lnTo>
                    <a:pt x="29" y="141"/>
                  </a:lnTo>
                  <a:lnTo>
                    <a:pt x="29" y="142"/>
                  </a:lnTo>
                  <a:lnTo>
                    <a:pt x="29" y="144"/>
                  </a:lnTo>
                  <a:lnTo>
                    <a:pt x="29" y="146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4"/>
                  </a:lnTo>
                  <a:lnTo>
                    <a:pt x="27" y="156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5" y="160"/>
                  </a:lnTo>
                  <a:lnTo>
                    <a:pt x="25" y="162"/>
                  </a:lnTo>
                  <a:lnTo>
                    <a:pt x="23" y="164"/>
                  </a:lnTo>
                  <a:lnTo>
                    <a:pt x="23" y="165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3" y="169"/>
                  </a:lnTo>
                  <a:lnTo>
                    <a:pt x="23" y="173"/>
                  </a:lnTo>
                  <a:lnTo>
                    <a:pt x="23" y="175"/>
                  </a:lnTo>
                  <a:lnTo>
                    <a:pt x="23" y="177"/>
                  </a:lnTo>
                  <a:lnTo>
                    <a:pt x="23" y="179"/>
                  </a:lnTo>
                  <a:lnTo>
                    <a:pt x="23" y="181"/>
                  </a:lnTo>
                  <a:lnTo>
                    <a:pt x="23" y="185"/>
                  </a:lnTo>
                  <a:lnTo>
                    <a:pt x="23" y="187"/>
                  </a:lnTo>
                  <a:lnTo>
                    <a:pt x="23" y="188"/>
                  </a:lnTo>
                  <a:lnTo>
                    <a:pt x="23" y="190"/>
                  </a:lnTo>
                  <a:lnTo>
                    <a:pt x="23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3" y="202"/>
                  </a:lnTo>
                  <a:lnTo>
                    <a:pt x="23" y="206"/>
                  </a:lnTo>
                  <a:lnTo>
                    <a:pt x="23" y="208"/>
                  </a:lnTo>
                  <a:lnTo>
                    <a:pt x="23" y="210"/>
                  </a:lnTo>
                  <a:lnTo>
                    <a:pt x="25" y="212"/>
                  </a:lnTo>
                  <a:lnTo>
                    <a:pt x="25" y="212"/>
                  </a:lnTo>
                  <a:lnTo>
                    <a:pt x="25" y="213"/>
                  </a:lnTo>
                  <a:lnTo>
                    <a:pt x="25" y="217"/>
                  </a:lnTo>
                  <a:lnTo>
                    <a:pt x="25" y="219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7" y="2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2" name="Freeform 88"/>
            <p:cNvSpPr>
              <a:spLocks/>
            </p:cNvSpPr>
            <p:nvPr/>
          </p:nvSpPr>
          <p:spPr bwMode="auto">
            <a:xfrm>
              <a:off x="1198" y="1871"/>
              <a:ext cx="108" cy="225"/>
            </a:xfrm>
            <a:custGeom>
              <a:avLst/>
              <a:gdLst/>
              <a:ahLst/>
              <a:cxnLst>
                <a:cxn ang="0">
                  <a:pos x="39" y="225"/>
                </a:cxn>
                <a:cxn ang="0">
                  <a:pos x="50" y="225"/>
                </a:cxn>
                <a:cxn ang="0">
                  <a:pos x="58" y="225"/>
                </a:cxn>
                <a:cxn ang="0">
                  <a:pos x="67" y="223"/>
                </a:cxn>
                <a:cxn ang="0">
                  <a:pos x="67" y="212"/>
                </a:cxn>
                <a:cxn ang="0">
                  <a:pos x="67" y="198"/>
                </a:cxn>
                <a:cxn ang="0">
                  <a:pos x="67" y="183"/>
                </a:cxn>
                <a:cxn ang="0">
                  <a:pos x="66" y="169"/>
                </a:cxn>
                <a:cxn ang="0">
                  <a:pos x="64" y="158"/>
                </a:cxn>
                <a:cxn ang="0">
                  <a:pos x="66" y="150"/>
                </a:cxn>
                <a:cxn ang="0">
                  <a:pos x="67" y="141"/>
                </a:cxn>
                <a:cxn ang="0">
                  <a:pos x="69" y="129"/>
                </a:cxn>
                <a:cxn ang="0">
                  <a:pos x="75" y="123"/>
                </a:cxn>
                <a:cxn ang="0">
                  <a:pos x="87" y="123"/>
                </a:cxn>
                <a:cxn ang="0">
                  <a:pos x="87" y="112"/>
                </a:cxn>
                <a:cxn ang="0">
                  <a:pos x="89" y="102"/>
                </a:cxn>
                <a:cxn ang="0">
                  <a:pos x="92" y="96"/>
                </a:cxn>
                <a:cxn ang="0">
                  <a:pos x="102" y="91"/>
                </a:cxn>
                <a:cxn ang="0">
                  <a:pos x="102" y="79"/>
                </a:cxn>
                <a:cxn ang="0">
                  <a:pos x="108" y="70"/>
                </a:cxn>
                <a:cxn ang="0">
                  <a:pos x="108" y="58"/>
                </a:cxn>
                <a:cxn ang="0">
                  <a:pos x="108" y="48"/>
                </a:cxn>
                <a:cxn ang="0">
                  <a:pos x="104" y="43"/>
                </a:cxn>
                <a:cxn ang="0">
                  <a:pos x="100" y="35"/>
                </a:cxn>
                <a:cxn ang="0">
                  <a:pos x="100" y="23"/>
                </a:cxn>
                <a:cxn ang="0">
                  <a:pos x="100" y="12"/>
                </a:cxn>
                <a:cxn ang="0">
                  <a:pos x="92" y="10"/>
                </a:cxn>
                <a:cxn ang="0">
                  <a:pos x="85" y="8"/>
                </a:cxn>
                <a:cxn ang="0">
                  <a:pos x="77" y="0"/>
                </a:cxn>
                <a:cxn ang="0">
                  <a:pos x="69" y="2"/>
                </a:cxn>
                <a:cxn ang="0">
                  <a:pos x="64" y="6"/>
                </a:cxn>
                <a:cxn ang="0">
                  <a:pos x="56" y="8"/>
                </a:cxn>
                <a:cxn ang="0">
                  <a:pos x="52" y="14"/>
                </a:cxn>
                <a:cxn ang="0">
                  <a:pos x="52" y="23"/>
                </a:cxn>
                <a:cxn ang="0">
                  <a:pos x="44" y="33"/>
                </a:cxn>
                <a:cxn ang="0">
                  <a:pos x="31" y="35"/>
                </a:cxn>
                <a:cxn ang="0">
                  <a:pos x="18" y="35"/>
                </a:cxn>
                <a:cxn ang="0">
                  <a:pos x="12" y="41"/>
                </a:cxn>
                <a:cxn ang="0">
                  <a:pos x="4" y="46"/>
                </a:cxn>
                <a:cxn ang="0">
                  <a:pos x="2" y="56"/>
                </a:cxn>
                <a:cxn ang="0">
                  <a:pos x="0" y="66"/>
                </a:cxn>
                <a:cxn ang="0">
                  <a:pos x="8" y="73"/>
                </a:cxn>
                <a:cxn ang="0">
                  <a:pos x="16" y="83"/>
                </a:cxn>
                <a:cxn ang="0">
                  <a:pos x="16" y="93"/>
                </a:cxn>
                <a:cxn ang="0">
                  <a:pos x="21" y="102"/>
                </a:cxn>
                <a:cxn ang="0">
                  <a:pos x="29" y="112"/>
                </a:cxn>
                <a:cxn ang="0">
                  <a:pos x="27" y="123"/>
                </a:cxn>
                <a:cxn ang="0">
                  <a:pos x="29" y="133"/>
                </a:cxn>
                <a:cxn ang="0">
                  <a:pos x="29" y="144"/>
                </a:cxn>
                <a:cxn ang="0">
                  <a:pos x="27" y="154"/>
                </a:cxn>
                <a:cxn ang="0">
                  <a:pos x="25" y="162"/>
                </a:cxn>
                <a:cxn ang="0">
                  <a:pos x="23" y="169"/>
                </a:cxn>
                <a:cxn ang="0">
                  <a:pos x="23" y="181"/>
                </a:cxn>
                <a:cxn ang="0">
                  <a:pos x="23" y="192"/>
                </a:cxn>
                <a:cxn ang="0">
                  <a:pos x="23" y="202"/>
                </a:cxn>
                <a:cxn ang="0">
                  <a:pos x="25" y="212"/>
                </a:cxn>
                <a:cxn ang="0">
                  <a:pos x="25" y="223"/>
                </a:cxn>
              </a:cxnLst>
              <a:rect l="0" t="0" r="r" b="b"/>
              <a:pathLst>
                <a:path w="108" h="225">
                  <a:moveTo>
                    <a:pt x="27" y="225"/>
                  </a:moveTo>
                  <a:lnTo>
                    <a:pt x="31" y="225"/>
                  </a:lnTo>
                  <a:lnTo>
                    <a:pt x="35" y="223"/>
                  </a:lnTo>
                  <a:lnTo>
                    <a:pt x="37" y="225"/>
                  </a:lnTo>
                  <a:lnTo>
                    <a:pt x="39" y="225"/>
                  </a:lnTo>
                  <a:lnTo>
                    <a:pt x="41" y="225"/>
                  </a:lnTo>
                  <a:lnTo>
                    <a:pt x="43" y="225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54" y="225"/>
                  </a:lnTo>
                  <a:lnTo>
                    <a:pt x="56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60" y="223"/>
                  </a:lnTo>
                  <a:lnTo>
                    <a:pt x="6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7" y="223"/>
                  </a:lnTo>
                  <a:lnTo>
                    <a:pt x="69" y="223"/>
                  </a:lnTo>
                  <a:lnTo>
                    <a:pt x="69" y="221"/>
                  </a:lnTo>
                  <a:lnTo>
                    <a:pt x="69" y="219"/>
                  </a:lnTo>
                  <a:lnTo>
                    <a:pt x="69" y="213"/>
                  </a:lnTo>
                  <a:lnTo>
                    <a:pt x="67" y="212"/>
                  </a:lnTo>
                  <a:lnTo>
                    <a:pt x="67" y="208"/>
                  </a:lnTo>
                  <a:lnTo>
                    <a:pt x="67" y="206"/>
                  </a:lnTo>
                  <a:lnTo>
                    <a:pt x="67" y="202"/>
                  </a:lnTo>
                  <a:lnTo>
                    <a:pt x="67" y="200"/>
                  </a:lnTo>
                  <a:lnTo>
                    <a:pt x="67" y="198"/>
                  </a:lnTo>
                  <a:lnTo>
                    <a:pt x="67" y="194"/>
                  </a:lnTo>
                  <a:lnTo>
                    <a:pt x="67" y="192"/>
                  </a:lnTo>
                  <a:lnTo>
                    <a:pt x="67" y="188"/>
                  </a:lnTo>
                  <a:lnTo>
                    <a:pt x="67" y="185"/>
                  </a:lnTo>
                  <a:lnTo>
                    <a:pt x="67" y="183"/>
                  </a:lnTo>
                  <a:lnTo>
                    <a:pt x="67" y="181"/>
                  </a:lnTo>
                  <a:lnTo>
                    <a:pt x="67" y="179"/>
                  </a:lnTo>
                  <a:lnTo>
                    <a:pt x="67" y="175"/>
                  </a:lnTo>
                  <a:lnTo>
                    <a:pt x="67" y="171"/>
                  </a:lnTo>
                  <a:lnTo>
                    <a:pt x="66" y="169"/>
                  </a:lnTo>
                  <a:lnTo>
                    <a:pt x="66" y="167"/>
                  </a:lnTo>
                  <a:lnTo>
                    <a:pt x="64" y="165"/>
                  </a:lnTo>
                  <a:lnTo>
                    <a:pt x="64" y="164"/>
                  </a:lnTo>
                  <a:lnTo>
                    <a:pt x="64" y="162"/>
                  </a:lnTo>
                  <a:lnTo>
                    <a:pt x="64" y="158"/>
                  </a:lnTo>
                  <a:lnTo>
                    <a:pt x="64" y="156"/>
                  </a:lnTo>
                  <a:lnTo>
                    <a:pt x="64" y="154"/>
                  </a:lnTo>
                  <a:lnTo>
                    <a:pt x="64" y="152"/>
                  </a:lnTo>
                  <a:lnTo>
                    <a:pt x="64" y="150"/>
                  </a:lnTo>
                  <a:lnTo>
                    <a:pt x="66" y="150"/>
                  </a:lnTo>
                  <a:lnTo>
                    <a:pt x="66" y="146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7" y="142"/>
                  </a:lnTo>
                  <a:lnTo>
                    <a:pt x="67" y="141"/>
                  </a:lnTo>
                  <a:lnTo>
                    <a:pt x="67" y="139"/>
                  </a:lnTo>
                  <a:lnTo>
                    <a:pt x="67" y="135"/>
                  </a:lnTo>
                  <a:lnTo>
                    <a:pt x="67" y="133"/>
                  </a:lnTo>
                  <a:lnTo>
                    <a:pt x="67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81" y="123"/>
                  </a:lnTo>
                  <a:lnTo>
                    <a:pt x="83" y="123"/>
                  </a:lnTo>
                  <a:lnTo>
                    <a:pt x="85" y="123"/>
                  </a:lnTo>
                  <a:lnTo>
                    <a:pt x="87" y="123"/>
                  </a:lnTo>
                  <a:lnTo>
                    <a:pt x="87" y="119"/>
                  </a:lnTo>
                  <a:lnTo>
                    <a:pt x="87" y="117"/>
                  </a:lnTo>
                  <a:lnTo>
                    <a:pt x="87" y="116"/>
                  </a:lnTo>
                  <a:lnTo>
                    <a:pt x="87" y="114"/>
                  </a:lnTo>
                  <a:lnTo>
                    <a:pt x="87" y="112"/>
                  </a:lnTo>
                  <a:lnTo>
                    <a:pt x="87" y="110"/>
                  </a:lnTo>
                  <a:lnTo>
                    <a:pt x="87" y="108"/>
                  </a:lnTo>
                  <a:lnTo>
                    <a:pt x="87" y="106"/>
                  </a:lnTo>
                  <a:lnTo>
                    <a:pt x="87" y="104"/>
                  </a:lnTo>
                  <a:lnTo>
                    <a:pt x="89" y="102"/>
                  </a:lnTo>
                  <a:lnTo>
                    <a:pt x="89" y="100"/>
                  </a:lnTo>
                  <a:lnTo>
                    <a:pt x="91" y="100"/>
                  </a:lnTo>
                  <a:lnTo>
                    <a:pt x="92" y="98"/>
                  </a:lnTo>
                  <a:lnTo>
                    <a:pt x="92" y="96"/>
                  </a:lnTo>
                  <a:lnTo>
                    <a:pt x="92" y="96"/>
                  </a:lnTo>
                  <a:lnTo>
                    <a:pt x="96" y="96"/>
                  </a:lnTo>
                  <a:lnTo>
                    <a:pt x="96" y="94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1"/>
                  </a:lnTo>
                  <a:lnTo>
                    <a:pt x="102" y="89"/>
                  </a:lnTo>
                  <a:lnTo>
                    <a:pt x="102" y="85"/>
                  </a:lnTo>
                  <a:lnTo>
                    <a:pt x="102" y="83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3"/>
                  </a:lnTo>
                  <a:lnTo>
                    <a:pt x="104" y="71"/>
                  </a:lnTo>
                  <a:lnTo>
                    <a:pt x="106" y="71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8" y="66"/>
                  </a:lnTo>
                  <a:lnTo>
                    <a:pt x="108" y="64"/>
                  </a:lnTo>
                  <a:lnTo>
                    <a:pt x="108" y="62"/>
                  </a:lnTo>
                  <a:lnTo>
                    <a:pt x="108" y="58"/>
                  </a:lnTo>
                  <a:lnTo>
                    <a:pt x="108" y="56"/>
                  </a:lnTo>
                  <a:lnTo>
                    <a:pt x="108" y="54"/>
                  </a:lnTo>
                  <a:lnTo>
                    <a:pt x="108" y="52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08" y="46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2" y="43"/>
                  </a:lnTo>
                  <a:lnTo>
                    <a:pt x="100" y="41"/>
                  </a:lnTo>
                  <a:lnTo>
                    <a:pt x="100" y="39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3"/>
                  </a:lnTo>
                  <a:lnTo>
                    <a:pt x="100" y="22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7" y="10"/>
                  </a:lnTo>
                  <a:lnTo>
                    <a:pt x="85" y="8"/>
                  </a:lnTo>
                  <a:lnTo>
                    <a:pt x="83" y="8"/>
                  </a:lnTo>
                  <a:lnTo>
                    <a:pt x="83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1" y="2"/>
                  </a:lnTo>
                  <a:lnTo>
                    <a:pt x="69" y="2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6" y="4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0" y="27"/>
                  </a:lnTo>
                  <a:lnTo>
                    <a:pt x="48" y="29"/>
                  </a:lnTo>
                  <a:lnTo>
                    <a:pt x="46" y="31"/>
                  </a:lnTo>
                  <a:lnTo>
                    <a:pt x="44" y="33"/>
                  </a:lnTo>
                  <a:lnTo>
                    <a:pt x="41" y="33"/>
                  </a:lnTo>
                  <a:lnTo>
                    <a:pt x="39" y="35"/>
                  </a:lnTo>
                  <a:lnTo>
                    <a:pt x="37" y="35"/>
                  </a:lnTo>
                  <a:lnTo>
                    <a:pt x="35" y="35"/>
                  </a:lnTo>
                  <a:lnTo>
                    <a:pt x="31" y="35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5" y="35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14" y="39"/>
                  </a:lnTo>
                  <a:lnTo>
                    <a:pt x="14" y="41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6" y="45"/>
                  </a:lnTo>
                  <a:lnTo>
                    <a:pt x="4" y="46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6" y="71"/>
                  </a:lnTo>
                  <a:lnTo>
                    <a:pt x="8" y="73"/>
                  </a:lnTo>
                  <a:lnTo>
                    <a:pt x="8" y="75"/>
                  </a:lnTo>
                  <a:lnTo>
                    <a:pt x="12" y="77"/>
                  </a:lnTo>
                  <a:lnTo>
                    <a:pt x="12" y="79"/>
                  </a:lnTo>
                  <a:lnTo>
                    <a:pt x="14" y="81"/>
                  </a:lnTo>
                  <a:lnTo>
                    <a:pt x="16" y="83"/>
                  </a:lnTo>
                  <a:lnTo>
                    <a:pt x="16" y="85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16" y="91"/>
                  </a:lnTo>
                  <a:lnTo>
                    <a:pt x="16" y="93"/>
                  </a:lnTo>
                  <a:lnTo>
                    <a:pt x="18" y="93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1" y="102"/>
                  </a:lnTo>
                  <a:lnTo>
                    <a:pt x="23" y="104"/>
                  </a:lnTo>
                  <a:lnTo>
                    <a:pt x="25" y="106"/>
                  </a:lnTo>
                  <a:lnTo>
                    <a:pt x="25" y="108"/>
                  </a:lnTo>
                  <a:lnTo>
                    <a:pt x="27" y="112"/>
                  </a:lnTo>
                  <a:lnTo>
                    <a:pt x="29" y="112"/>
                  </a:lnTo>
                  <a:lnTo>
                    <a:pt x="29" y="114"/>
                  </a:lnTo>
                  <a:lnTo>
                    <a:pt x="29" y="116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7" y="123"/>
                  </a:lnTo>
                  <a:lnTo>
                    <a:pt x="27" y="125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9" y="131"/>
                  </a:lnTo>
                  <a:lnTo>
                    <a:pt x="29" y="133"/>
                  </a:lnTo>
                  <a:lnTo>
                    <a:pt x="29" y="135"/>
                  </a:lnTo>
                  <a:lnTo>
                    <a:pt x="29" y="139"/>
                  </a:lnTo>
                  <a:lnTo>
                    <a:pt x="29" y="141"/>
                  </a:lnTo>
                  <a:lnTo>
                    <a:pt x="29" y="142"/>
                  </a:lnTo>
                  <a:lnTo>
                    <a:pt x="29" y="144"/>
                  </a:lnTo>
                  <a:lnTo>
                    <a:pt x="29" y="146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4"/>
                  </a:lnTo>
                  <a:lnTo>
                    <a:pt x="27" y="156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5" y="160"/>
                  </a:lnTo>
                  <a:lnTo>
                    <a:pt x="25" y="162"/>
                  </a:lnTo>
                  <a:lnTo>
                    <a:pt x="23" y="164"/>
                  </a:lnTo>
                  <a:lnTo>
                    <a:pt x="23" y="165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3" y="169"/>
                  </a:lnTo>
                  <a:lnTo>
                    <a:pt x="23" y="173"/>
                  </a:lnTo>
                  <a:lnTo>
                    <a:pt x="23" y="175"/>
                  </a:lnTo>
                  <a:lnTo>
                    <a:pt x="23" y="177"/>
                  </a:lnTo>
                  <a:lnTo>
                    <a:pt x="23" y="179"/>
                  </a:lnTo>
                  <a:lnTo>
                    <a:pt x="23" y="181"/>
                  </a:lnTo>
                  <a:lnTo>
                    <a:pt x="23" y="185"/>
                  </a:lnTo>
                  <a:lnTo>
                    <a:pt x="23" y="187"/>
                  </a:lnTo>
                  <a:lnTo>
                    <a:pt x="23" y="188"/>
                  </a:lnTo>
                  <a:lnTo>
                    <a:pt x="23" y="190"/>
                  </a:lnTo>
                  <a:lnTo>
                    <a:pt x="23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3" y="202"/>
                  </a:lnTo>
                  <a:lnTo>
                    <a:pt x="23" y="206"/>
                  </a:lnTo>
                  <a:lnTo>
                    <a:pt x="23" y="208"/>
                  </a:lnTo>
                  <a:lnTo>
                    <a:pt x="23" y="210"/>
                  </a:lnTo>
                  <a:lnTo>
                    <a:pt x="25" y="212"/>
                  </a:lnTo>
                  <a:lnTo>
                    <a:pt x="25" y="212"/>
                  </a:lnTo>
                  <a:lnTo>
                    <a:pt x="25" y="213"/>
                  </a:lnTo>
                  <a:lnTo>
                    <a:pt x="25" y="217"/>
                  </a:lnTo>
                  <a:lnTo>
                    <a:pt x="25" y="219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7" y="225"/>
                  </a:lnTo>
                  <a:lnTo>
                    <a:pt x="27" y="22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3" name="Freeform 89"/>
            <p:cNvSpPr>
              <a:spLocks/>
            </p:cNvSpPr>
            <p:nvPr/>
          </p:nvSpPr>
          <p:spPr bwMode="auto">
            <a:xfrm>
              <a:off x="1260" y="1810"/>
              <a:ext cx="433" cy="359"/>
            </a:xfrm>
            <a:custGeom>
              <a:avLst/>
              <a:gdLst/>
              <a:ahLst/>
              <a:cxnLst>
                <a:cxn ang="0">
                  <a:pos x="50" y="50"/>
                </a:cxn>
                <a:cxn ang="0">
                  <a:pos x="57" y="33"/>
                </a:cxn>
                <a:cxn ang="0">
                  <a:pos x="69" y="17"/>
                </a:cxn>
                <a:cxn ang="0">
                  <a:pos x="90" y="13"/>
                </a:cxn>
                <a:cxn ang="0">
                  <a:pos x="111" y="13"/>
                </a:cxn>
                <a:cxn ang="0">
                  <a:pos x="126" y="2"/>
                </a:cxn>
                <a:cxn ang="0">
                  <a:pos x="142" y="8"/>
                </a:cxn>
                <a:cxn ang="0">
                  <a:pos x="159" y="29"/>
                </a:cxn>
                <a:cxn ang="0">
                  <a:pos x="176" y="40"/>
                </a:cxn>
                <a:cxn ang="0">
                  <a:pos x="195" y="29"/>
                </a:cxn>
                <a:cxn ang="0">
                  <a:pos x="217" y="25"/>
                </a:cxn>
                <a:cxn ang="0">
                  <a:pos x="240" y="44"/>
                </a:cxn>
                <a:cxn ang="0">
                  <a:pos x="257" y="56"/>
                </a:cxn>
                <a:cxn ang="0">
                  <a:pos x="272" y="35"/>
                </a:cxn>
                <a:cxn ang="0">
                  <a:pos x="291" y="33"/>
                </a:cxn>
                <a:cxn ang="0">
                  <a:pos x="318" y="29"/>
                </a:cxn>
                <a:cxn ang="0">
                  <a:pos x="347" y="25"/>
                </a:cxn>
                <a:cxn ang="0">
                  <a:pos x="370" y="29"/>
                </a:cxn>
                <a:cxn ang="0">
                  <a:pos x="382" y="15"/>
                </a:cxn>
                <a:cxn ang="0">
                  <a:pos x="403" y="8"/>
                </a:cxn>
                <a:cxn ang="0">
                  <a:pos x="410" y="29"/>
                </a:cxn>
                <a:cxn ang="0">
                  <a:pos x="406" y="40"/>
                </a:cxn>
                <a:cxn ang="0">
                  <a:pos x="410" y="65"/>
                </a:cxn>
                <a:cxn ang="0">
                  <a:pos x="430" y="73"/>
                </a:cxn>
                <a:cxn ang="0">
                  <a:pos x="431" y="96"/>
                </a:cxn>
                <a:cxn ang="0">
                  <a:pos x="418" y="113"/>
                </a:cxn>
                <a:cxn ang="0">
                  <a:pos x="408" y="131"/>
                </a:cxn>
                <a:cxn ang="0">
                  <a:pos x="403" y="155"/>
                </a:cxn>
                <a:cxn ang="0">
                  <a:pos x="387" y="169"/>
                </a:cxn>
                <a:cxn ang="0">
                  <a:pos x="380" y="188"/>
                </a:cxn>
                <a:cxn ang="0">
                  <a:pos x="360" y="205"/>
                </a:cxn>
                <a:cxn ang="0">
                  <a:pos x="347" y="225"/>
                </a:cxn>
                <a:cxn ang="0">
                  <a:pos x="339" y="248"/>
                </a:cxn>
                <a:cxn ang="0">
                  <a:pos x="332" y="265"/>
                </a:cxn>
                <a:cxn ang="0">
                  <a:pos x="316" y="274"/>
                </a:cxn>
                <a:cxn ang="0">
                  <a:pos x="303" y="257"/>
                </a:cxn>
                <a:cxn ang="0">
                  <a:pos x="284" y="257"/>
                </a:cxn>
                <a:cxn ang="0">
                  <a:pos x="266" y="269"/>
                </a:cxn>
                <a:cxn ang="0">
                  <a:pos x="251" y="286"/>
                </a:cxn>
                <a:cxn ang="0">
                  <a:pos x="234" y="297"/>
                </a:cxn>
                <a:cxn ang="0">
                  <a:pos x="226" y="319"/>
                </a:cxn>
                <a:cxn ang="0">
                  <a:pos x="222" y="344"/>
                </a:cxn>
                <a:cxn ang="0">
                  <a:pos x="197" y="342"/>
                </a:cxn>
                <a:cxn ang="0">
                  <a:pos x="163" y="349"/>
                </a:cxn>
                <a:cxn ang="0">
                  <a:pos x="144" y="351"/>
                </a:cxn>
                <a:cxn ang="0">
                  <a:pos x="119" y="345"/>
                </a:cxn>
                <a:cxn ang="0">
                  <a:pos x="101" y="330"/>
                </a:cxn>
                <a:cxn ang="0">
                  <a:pos x="92" y="313"/>
                </a:cxn>
                <a:cxn ang="0">
                  <a:pos x="78" y="292"/>
                </a:cxn>
                <a:cxn ang="0">
                  <a:pos x="59" y="278"/>
                </a:cxn>
                <a:cxn ang="0">
                  <a:pos x="29" y="278"/>
                </a:cxn>
                <a:cxn ang="0">
                  <a:pos x="7" y="278"/>
                </a:cxn>
                <a:cxn ang="0">
                  <a:pos x="4" y="255"/>
                </a:cxn>
                <a:cxn ang="0">
                  <a:pos x="2" y="228"/>
                </a:cxn>
                <a:cxn ang="0">
                  <a:pos x="5" y="205"/>
                </a:cxn>
                <a:cxn ang="0">
                  <a:pos x="9" y="182"/>
                </a:cxn>
                <a:cxn ang="0">
                  <a:pos x="27" y="173"/>
                </a:cxn>
                <a:cxn ang="0">
                  <a:pos x="34" y="154"/>
                </a:cxn>
                <a:cxn ang="0">
                  <a:pos x="44" y="132"/>
                </a:cxn>
                <a:cxn ang="0">
                  <a:pos x="46" y="111"/>
                </a:cxn>
                <a:cxn ang="0">
                  <a:pos x="38" y="92"/>
                </a:cxn>
              </a:cxnLst>
              <a:rect l="0" t="0" r="r" b="b"/>
              <a:pathLst>
                <a:path w="433" h="359">
                  <a:moveTo>
                    <a:pt x="38" y="73"/>
                  </a:moveTo>
                  <a:lnTo>
                    <a:pt x="38" y="69"/>
                  </a:lnTo>
                  <a:lnTo>
                    <a:pt x="40" y="65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42" y="58"/>
                  </a:lnTo>
                  <a:lnTo>
                    <a:pt x="42" y="54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52" y="48"/>
                  </a:lnTo>
                  <a:lnTo>
                    <a:pt x="52" y="46"/>
                  </a:lnTo>
                  <a:lnTo>
                    <a:pt x="53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7" y="40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3"/>
                  </a:lnTo>
                  <a:lnTo>
                    <a:pt x="57" y="31"/>
                  </a:lnTo>
                  <a:lnTo>
                    <a:pt x="57" y="29"/>
                  </a:lnTo>
                  <a:lnTo>
                    <a:pt x="57" y="27"/>
                  </a:lnTo>
                  <a:lnTo>
                    <a:pt x="61" y="27"/>
                  </a:lnTo>
                  <a:lnTo>
                    <a:pt x="61" y="25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73" y="15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6" y="13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6" y="17"/>
                  </a:lnTo>
                  <a:lnTo>
                    <a:pt x="99" y="17"/>
                  </a:lnTo>
                  <a:lnTo>
                    <a:pt x="101" y="17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5"/>
                  </a:lnTo>
                  <a:lnTo>
                    <a:pt x="107" y="15"/>
                  </a:lnTo>
                  <a:lnTo>
                    <a:pt x="109" y="15"/>
                  </a:lnTo>
                  <a:lnTo>
                    <a:pt x="111" y="15"/>
                  </a:lnTo>
                  <a:lnTo>
                    <a:pt x="111" y="13"/>
                  </a:lnTo>
                  <a:lnTo>
                    <a:pt x="113" y="13"/>
                  </a:lnTo>
                  <a:lnTo>
                    <a:pt x="115" y="12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9" y="8"/>
                  </a:lnTo>
                  <a:lnTo>
                    <a:pt x="119" y="6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4"/>
                  </a:lnTo>
                  <a:lnTo>
                    <a:pt x="140" y="4"/>
                  </a:lnTo>
                  <a:lnTo>
                    <a:pt x="140" y="6"/>
                  </a:lnTo>
                  <a:lnTo>
                    <a:pt x="142" y="6"/>
                  </a:lnTo>
                  <a:lnTo>
                    <a:pt x="142" y="8"/>
                  </a:lnTo>
                  <a:lnTo>
                    <a:pt x="142" y="10"/>
                  </a:lnTo>
                  <a:lnTo>
                    <a:pt x="144" y="12"/>
                  </a:lnTo>
                  <a:lnTo>
                    <a:pt x="146" y="13"/>
                  </a:lnTo>
                  <a:lnTo>
                    <a:pt x="146" y="15"/>
                  </a:lnTo>
                  <a:lnTo>
                    <a:pt x="147" y="17"/>
                  </a:lnTo>
                  <a:lnTo>
                    <a:pt x="151" y="17"/>
                  </a:lnTo>
                  <a:lnTo>
                    <a:pt x="153" y="19"/>
                  </a:lnTo>
                  <a:lnTo>
                    <a:pt x="155" y="21"/>
                  </a:lnTo>
                  <a:lnTo>
                    <a:pt x="157" y="25"/>
                  </a:lnTo>
                  <a:lnTo>
                    <a:pt x="159" y="27"/>
                  </a:lnTo>
                  <a:lnTo>
                    <a:pt x="159" y="29"/>
                  </a:lnTo>
                  <a:lnTo>
                    <a:pt x="161" y="31"/>
                  </a:lnTo>
                  <a:lnTo>
                    <a:pt x="161" y="33"/>
                  </a:lnTo>
                  <a:lnTo>
                    <a:pt x="163" y="33"/>
                  </a:lnTo>
                  <a:lnTo>
                    <a:pt x="167" y="33"/>
                  </a:lnTo>
                  <a:lnTo>
                    <a:pt x="169" y="35"/>
                  </a:lnTo>
                  <a:lnTo>
                    <a:pt x="170" y="35"/>
                  </a:lnTo>
                  <a:lnTo>
                    <a:pt x="172" y="36"/>
                  </a:lnTo>
                  <a:lnTo>
                    <a:pt x="172" y="38"/>
                  </a:lnTo>
                  <a:lnTo>
                    <a:pt x="174" y="38"/>
                  </a:lnTo>
                  <a:lnTo>
                    <a:pt x="176" y="38"/>
                  </a:lnTo>
                  <a:lnTo>
                    <a:pt x="176" y="40"/>
                  </a:lnTo>
                  <a:lnTo>
                    <a:pt x="178" y="40"/>
                  </a:lnTo>
                  <a:lnTo>
                    <a:pt x="180" y="40"/>
                  </a:lnTo>
                  <a:lnTo>
                    <a:pt x="182" y="40"/>
                  </a:lnTo>
                  <a:lnTo>
                    <a:pt x="184" y="40"/>
                  </a:lnTo>
                  <a:lnTo>
                    <a:pt x="186" y="38"/>
                  </a:lnTo>
                  <a:lnTo>
                    <a:pt x="188" y="36"/>
                  </a:lnTo>
                  <a:lnTo>
                    <a:pt x="190" y="35"/>
                  </a:lnTo>
                  <a:lnTo>
                    <a:pt x="192" y="35"/>
                  </a:lnTo>
                  <a:lnTo>
                    <a:pt x="192" y="33"/>
                  </a:lnTo>
                  <a:lnTo>
                    <a:pt x="194" y="31"/>
                  </a:lnTo>
                  <a:lnTo>
                    <a:pt x="195" y="29"/>
                  </a:lnTo>
                  <a:lnTo>
                    <a:pt x="197" y="27"/>
                  </a:lnTo>
                  <a:lnTo>
                    <a:pt x="201" y="25"/>
                  </a:lnTo>
                  <a:lnTo>
                    <a:pt x="203" y="25"/>
                  </a:lnTo>
                  <a:lnTo>
                    <a:pt x="205" y="25"/>
                  </a:lnTo>
                  <a:lnTo>
                    <a:pt x="207" y="23"/>
                  </a:lnTo>
                  <a:lnTo>
                    <a:pt x="209" y="25"/>
                  </a:lnTo>
                  <a:lnTo>
                    <a:pt x="211" y="25"/>
                  </a:lnTo>
                  <a:lnTo>
                    <a:pt x="213" y="23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8" y="27"/>
                  </a:lnTo>
                  <a:lnTo>
                    <a:pt x="220" y="27"/>
                  </a:lnTo>
                  <a:lnTo>
                    <a:pt x="222" y="29"/>
                  </a:lnTo>
                  <a:lnTo>
                    <a:pt x="224" y="31"/>
                  </a:lnTo>
                  <a:lnTo>
                    <a:pt x="226" y="33"/>
                  </a:lnTo>
                  <a:lnTo>
                    <a:pt x="228" y="35"/>
                  </a:lnTo>
                  <a:lnTo>
                    <a:pt x="232" y="38"/>
                  </a:lnTo>
                  <a:lnTo>
                    <a:pt x="236" y="42"/>
                  </a:lnTo>
                  <a:lnTo>
                    <a:pt x="236" y="44"/>
                  </a:lnTo>
                  <a:lnTo>
                    <a:pt x="238" y="44"/>
                  </a:lnTo>
                  <a:lnTo>
                    <a:pt x="240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3" y="46"/>
                  </a:lnTo>
                  <a:lnTo>
                    <a:pt x="245" y="46"/>
                  </a:lnTo>
                  <a:lnTo>
                    <a:pt x="247" y="48"/>
                  </a:lnTo>
                  <a:lnTo>
                    <a:pt x="249" y="50"/>
                  </a:lnTo>
                  <a:lnTo>
                    <a:pt x="249" y="52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53" y="56"/>
                  </a:lnTo>
                  <a:lnTo>
                    <a:pt x="257" y="56"/>
                  </a:lnTo>
                  <a:lnTo>
                    <a:pt x="259" y="52"/>
                  </a:lnTo>
                  <a:lnTo>
                    <a:pt x="263" y="50"/>
                  </a:lnTo>
                  <a:lnTo>
                    <a:pt x="265" y="48"/>
                  </a:lnTo>
                  <a:lnTo>
                    <a:pt x="265" y="46"/>
                  </a:lnTo>
                  <a:lnTo>
                    <a:pt x="266" y="44"/>
                  </a:lnTo>
                  <a:lnTo>
                    <a:pt x="266" y="42"/>
                  </a:lnTo>
                  <a:lnTo>
                    <a:pt x="268" y="40"/>
                  </a:lnTo>
                  <a:lnTo>
                    <a:pt x="268" y="40"/>
                  </a:lnTo>
                  <a:lnTo>
                    <a:pt x="270" y="40"/>
                  </a:lnTo>
                  <a:lnTo>
                    <a:pt x="272" y="38"/>
                  </a:lnTo>
                  <a:lnTo>
                    <a:pt x="272" y="35"/>
                  </a:lnTo>
                  <a:lnTo>
                    <a:pt x="274" y="35"/>
                  </a:lnTo>
                  <a:lnTo>
                    <a:pt x="274" y="33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80" y="33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6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1" y="33"/>
                  </a:lnTo>
                  <a:lnTo>
                    <a:pt x="295" y="33"/>
                  </a:lnTo>
                  <a:lnTo>
                    <a:pt x="297" y="33"/>
                  </a:lnTo>
                  <a:lnTo>
                    <a:pt x="299" y="33"/>
                  </a:lnTo>
                  <a:lnTo>
                    <a:pt x="303" y="33"/>
                  </a:lnTo>
                  <a:lnTo>
                    <a:pt x="305" y="33"/>
                  </a:lnTo>
                  <a:lnTo>
                    <a:pt x="309" y="33"/>
                  </a:lnTo>
                  <a:lnTo>
                    <a:pt x="312" y="31"/>
                  </a:lnTo>
                  <a:lnTo>
                    <a:pt x="314" y="31"/>
                  </a:lnTo>
                  <a:lnTo>
                    <a:pt x="316" y="31"/>
                  </a:lnTo>
                  <a:lnTo>
                    <a:pt x="316" y="29"/>
                  </a:lnTo>
                  <a:lnTo>
                    <a:pt x="318" y="29"/>
                  </a:lnTo>
                  <a:lnTo>
                    <a:pt x="324" y="27"/>
                  </a:lnTo>
                  <a:lnTo>
                    <a:pt x="326" y="27"/>
                  </a:lnTo>
                  <a:lnTo>
                    <a:pt x="330" y="27"/>
                  </a:lnTo>
                  <a:lnTo>
                    <a:pt x="332" y="27"/>
                  </a:lnTo>
                  <a:lnTo>
                    <a:pt x="334" y="27"/>
                  </a:lnTo>
                  <a:lnTo>
                    <a:pt x="336" y="27"/>
                  </a:lnTo>
                  <a:lnTo>
                    <a:pt x="339" y="27"/>
                  </a:lnTo>
                  <a:lnTo>
                    <a:pt x="341" y="25"/>
                  </a:lnTo>
                  <a:lnTo>
                    <a:pt x="343" y="25"/>
                  </a:lnTo>
                  <a:lnTo>
                    <a:pt x="345" y="25"/>
                  </a:lnTo>
                  <a:lnTo>
                    <a:pt x="347" y="25"/>
                  </a:lnTo>
                  <a:lnTo>
                    <a:pt x="349" y="27"/>
                  </a:lnTo>
                  <a:lnTo>
                    <a:pt x="351" y="27"/>
                  </a:lnTo>
                  <a:lnTo>
                    <a:pt x="353" y="29"/>
                  </a:lnTo>
                  <a:lnTo>
                    <a:pt x="357" y="31"/>
                  </a:lnTo>
                  <a:lnTo>
                    <a:pt x="359" y="31"/>
                  </a:lnTo>
                  <a:lnTo>
                    <a:pt x="360" y="33"/>
                  </a:lnTo>
                  <a:lnTo>
                    <a:pt x="362" y="33"/>
                  </a:lnTo>
                  <a:lnTo>
                    <a:pt x="364" y="33"/>
                  </a:lnTo>
                  <a:lnTo>
                    <a:pt x="366" y="31"/>
                  </a:lnTo>
                  <a:lnTo>
                    <a:pt x="368" y="31"/>
                  </a:lnTo>
                  <a:lnTo>
                    <a:pt x="370" y="29"/>
                  </a:lnTo>
                  <a:lnTo>
                    <a:pt x="370" y="29"/>
                  </a:lnTo>
                  <a:lnTo>
                    <a:pt x="372" y="27"/>
                  </a:lnTo>
                  <a:lnTo>
                    <a:pt x="372" y="25"/>
                  </a:lnTo>
                  <a:lnTo>
                    <a:pt x="374" y="23"/>
                  </a:lnTo>
                  <a:lnTo>
                    <a:pt x="374" y="21"/>
                  </a:lnTo>
                  <a:lnTo>
                    <a:pt x="376" y="21"/>
                  </a:lnTo>
                  <a:lnTo>
                    <a:pt x="376" y="19"/>
                  </a:lnTo>
                  <a:lnTo>
                    <a:pt x="378" y="19"/>
                  </a:lnTo>
                  <a:lnTo>
                    <a:pt x="380" y="17"/>
                  </a:lnTo>
                  <a:lnTo>
                    <a:pt x="380" y="15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5" y="15"/>
                  </a:lnTo>
                  <a:lnTo>
                    <a:pt x="387" y="13"/>
                  </a:lnTo>
                  <a:lnTo>
                    <a:pt x="389" y="12"/>
                  </a:lnTo>
                  <a:lnTo>
                    <a:pt x="393" y="12"/>
                  </a:lnTo>
                  <a:lnTo>
                    <a:pt x="395" y="12"/>
                  </a:lnTo>
                  <a:lnTo>
                    <a:pt x="395" y="10"/>
                  </a:lnTo>
                  <a:lnTo>
                    <a:pt x="397" y="10"/>
                  </a:lnTo>
                  <a:lnTo>
                    <a:pt x="399" y="10"/>
                  </a:lnTo>
                  <a:lnTo>
                    <a:pt x="401" y="8"/>
                  </a:lnTo>
                  <a:lnTo>
                    <a:pt x="403" y="8"/>
                  </a:lnTo>
                  <a:lnTo>
                    <a:pt x="403" y="12"/>
                  </a:lnTo>
                  <a:lnTo>
                    <a:pt x="403" y="13"/>
                  </a:lnTo>
                  <a:lnTo>
                    <a:pt x="403" y="15"/>
                  </a:lnTo>
                  <a:lnTo>
                    <a:pt x="406" y="17"/>
                  </a:lnTo>
                  <a:lnTo>
                    <a:pt x="408" y="19"/>
                  </a:lnTo>
                  <a:lnTo>
                    <a:pt x="408" y="21"/>
                  </a:lnTo>
                  <a:lnTo>
                    <a:pt x="408" y="23"/>
                  </a:lnTo>
                  <a:lnTo>
                    <a:pt x="410" y="23"/>
                  </a:lnTo>
                  <a:lnTo>
                    <a:pt x="412" y="25"/>
                  </a:lnTo>
                  <a:lnTo>
                    <a:pt x="410" y="27"/>
                  </a:lnTo>
                  <a:lnTo>
                    <a:pt x="410" y="29"/>
                  </a:lnTo>
                  <a:lnTo>
                    <a:pt x="410" y="31"/>
                  </a:lnTo>
                  <a:lnTo>
                    <a:pt x="410" y="33"/>
                  </a:lnTo>
                  <a:lnTo>
                    <a:pt x="412" y="33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408" y="35"/>
                  </a:lnTo>
                  <a:lnTo>
                    <a:pt x="406" y="35"/>
                  </a:lnTo>
                  <a:lnTo>
                    <a:pt x="406" y="36"/>
                  </a:lnTo>
                  <a:lnTo>
                    <a:pt x="406" y="38"/>
                  </a:lnTo>
                  <a:lnTo>
                    <a:pt x="406" y="40"/>
                  </a:lnTo>
                  <a:lnTo>
                    <a:pt x="406" y="44"/>
                  </a:lnTo>
                  <a:lnTo>
                    <a:pt x="406" y="46"/>
                  </a:lnTo>
                  <a:lnTo>
                    <a:pt x="406" y="50"/>
                  </a:lnTo>
                  <a:lnTo>
                    <a:pt x="406" y="52"/>
                  </a:lnTo>
                  <a:lnTo>
                    <a:pt x="406" y="54"/>
                  </a:lnTo>
                  <a:lnTo>
                    <a:pt x="406" y="56"/>
                  </a:lnTo>
                  <a:lnTo>
                    <a:pt x="406" y="58"/>
                  </a:lnTo>
                  <a:lnTo>
                    <a:pt x="406" y="58"/>
                  </a:lnTo>
                  <a:lnTo>
                    <a:pt x="408" y="58"/>
                  </a:lnTo>
                  <a:lnTo>
                    <a:pt x="408" y="61"/>
                  </a:lnTo>
                  <a:lnTo>
                    <a:pt x="410" y="65"/>
                  </a:lnTo>
                  <a:lnTo>
                    <a:pt x="412" y="67"/>
                  </a:lnTo>
                  <a:lnTo>
                    <a:pt x="414" y="67"/>
                  </a:lnTo>
                  <a:lnTo>
                    <a:pt x="416" y="67"/>
                  </a:lnTo>
                  <a:lnTo>
                    <a:pt x="418" y="67"/>
                  </a:lnTo>
                  <a:lnTo>
                    <a:pt x="418" y="69"/>
                  </a:lnTo>
                  <a:lnTo>
                    <a:pt x="420" y="69"/>
                  </a:lnTo>
                  <a:lnTo>
                    <a:pt x="422" y="69"/>
                  </a:lnTo>
                  <a:lnTo>
                    <a:pt x="424" y="71"/>
                  </a:lnTo>
                  <a:lnTo>
                    <a:pt x="426" y="73"/>
                  </a:lnTo>
                  <a:lnTo>
                    <a:pt x="428" y="73"/>
                  </a:lnTo>
                  <a:lnTo>
                    <a:pt x="430" y="73"/>
                  </a:lnTo>
                  <a:lnTo>
                    <a:pt x="431" y="77"/>
                  </a:lnTo>
                  <a:lnTo>
                    <a:pt x="431" y="79"/>
                  </a:lnTo>
                  <a:lnTo>
                    <a:pt x="431" y="81"/>
                  </a:lnTo>
                  <a:lnTo>
                    <a:pt x="431" y="83"/>
                  </a:lnTo>
                  <a:lnTo>
                    <a:pt x="431" y="84"/>
                  </a:lnTo>
                  <a:lnTo>
                    <a:pt x="431" y="88"/>
                  </a:lnTo>
                  <a:lnTo>
                    <a:pt x="433" y="90"/>
                  </a:lnTo>
                  <a:lnTo>
                    <a:pt x="433" y="92"/>
                  </a:lnTo>
                  <a:lnTo>
                    <a:pt x="433" y="96"/>
                  </a:lnTo>
                  <a:lnTo>
                    <a:pt x="431" y="96"/>
                  </a:lnTo>
                  <a:lnTo>
                    <a:pt x="431" y="96"/>
                  </a:lnTo>
                  <a:lnTo>
                    <a:pt x="431" y="100"/>
                  </a:lnTo>
                  <a:lnTo>
                    <a:pt x="430" y="102"/>
                  </a:lnTo>
                  <a:lnTo>
                    <a:pt x="428" y="102"/>
                  </a:lnTo>
                  <a:lnTo>
                    <a:pt x="428" y="104"/>
                  </a:lnTo>
                  <a:lnTo>
                    <a:pt x="426" y="106"/>
                  </a:lnTo>
                  <a:lnTo>
                    <a:pt x="426" y="106"/>
                  </a:lnTo>
                  <a:lnTo>
                    <a:pt x="424" y="106"/>
                  </a:lnTo>
                  <a:lnTo>
                    <a:pt x="422" y="107"/>
                  </a:lnTo>
                  <a:lnTo>
                    <a:pt x="420" y="109"/>
                  </a:lnTo>
                  <a:lnTo>
                    <a:pt x="418" y="111"/>
                  </a:lnTo>
                  <a:lnTo>
                    <a:pt x="418" y="113"/>
                  </a:lnTo>
                  <a:lnTo>
                    <a:pt x="418" y="115"/>
                  </a:lnTo>
                  <a:lnTo>
                    <a:pt x="416" y="115"/>
                  </a:lnTo>
                  <a:lnTo>
                    <a:pt x="416" y="117"/>
                  </a:lnTo>
                  <a:lnTo>
                    <a:pt x="416" y="119"/>
                  </a:lnTo>
                  <a:lnTo>
                    <a:pt x="414" y="119"/>
                  </a:lnTo>
                  <a:lnTo>
                    <a:pt x="414" y="123"/>
                  </a:lnTo>
                  <a:lnTo>
                    <a:pt x="412" y="125"/>
                  </a:lnTo>
                  <a:lnTo>
                    <a:pt x="412" y="127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08" y="131"/>
                  </a:lnTo>
                  <a:lnTo>
                    <a:pt x="408" y="134"/>
                  </a:lnTo>
                  <a:lnTo>
                    <a:pt x="408" y="136"/>
                  </a:lnTo>
                  <a:lnTo>
                    <a:pt x="408" y="138"/>
                  </a:lnTo>
                  <a:lnTo>
                    <a:pt x="408" y="140"/>
                  </a:lnTo>
                  <a:lnTo>
                    <a:pt x="408" y="142"/>
                  </a:lnTo>
                  <a:lnTo>
                    <a:pt x="408" y="144"/>
                  </a:lnTo>
                  <a:lnTo>
                    <a:pt x="406" y="146"/>
                  </a:lnTo>
                  <a:lnTo>
                    <a:pt x="406" y="148"/>
                  </a:lnTo>
                  <a:lnTo>
                    <a:pt x="406" y="150"/>
                  </a:lnTo>
                  <a:lnTo>
                    <a:pt x="405" y="152"/>
                  </a:lnTo>
                  <a:lnTo>
                    <a:pt x="403" y="155"/>
                  </a:lnTo>
                  <a:lnTo>
                    <a:pt x="403" y="157"/>
                  </a:lnTo>
                  <a:lnTo>
                    <a:pt x="401" y="157"/>
                  </a:lnTo>
                  <a:lnTo>
                    <a:pt x="399" y="157"/>
                  </a:lnTo>
                  <a:lnTo>
                    <a:pt x="397" y="157"/>
                  </a:lnTo>
                  <a:lnTo>
                    <a:pt x="395" y="159"/>
                  </a:lnTo>
                  <a:lnTo>
                    <a:pt x="393" y="161"/>
                  </a:lnTo>
                  <a:lnTo>
                    <a:pt x="391" y="163"/>
                  </a:lnTo>
                  <a:lnTo>
                    <a:pt x="389" y="165"/>
                  </a:lnTo>
                  <a:lnTo>
                    <a:pt x="389" y="165"/>
                  </a:lnTo>
                  <a:lnTo>
                    <a:pt x="387" y="167"/>
                  </a:lnTo>
                  <a:lnTo>
                    <a:pt x="387" y="169"/>
                  </a:lnTo>
                  <a:lnTo>
                    <a:pt x="385" y="169"/>
                  </a:lnTo>
                  <a:lnTo>
                    <a:pt x="383" y="169"/>
                  </a:lnTo>
                  <a:lnTo>
                    <a:pt x="383" y="173"/>
                  </a:lnTo>
                  <a:lnTo>
                    <a:pt x="385" y="175"/>
                  </a:lnTo>
                  <a:lnTo>
                    <a:pt x="385" y="178"/>
                  </a:lnTo>
                  <a:lnTo>
                    <a:pt x="385" y="180"/>
                  </a:lnTo>
                  <a:lnTo>
                    <a:pt x="383" y="182"/>
                  </a:lnTo>
                  <a:lnTo>
                    <a:pt x="383" y="184"/>
                  </a:lnTo>
                  <a:lnTo>
                    <a:pt x="383" y="186"/>
                  </a:lnTo>
                  <a:lnTo>
                    <a:pt x="382" y="188"/>
                  </a:lnTo>
                  <a:lnTo>
                    <a:pt x="380" y="188"/>
                  </a:lnTo>
                  <a:lnTo>
                    <a:pt x="380" y="190"/>
                  </a:lnTo>
                  <a:lnTo>
                    <a:pt x="378" y="192"/>
                  </a:lnTo>
                  <a:lnTo>
                    <a:pt x="376" y="194"/>
                  </a:lnTo>
                  <a:lnTo>
                    <a:pt x="374" y="196"/>
                  </a:lnTo>
                  <a:lnTo>
                    <a:pt x="370" y="200"/>
                  </a:lnTo>
                  <a:lnTo>
                    <a:pt x="368" y="202"/>
                  </a:lnTo>
                  <a:lnTo>
                    <a:pt x="366" y="202"/>
                  </a:lnTo>
                  <a:lnTo>
                    <a:pt x="366" y="203"/>
                  </a:lnTo>
                  <a:lnTo>
                    <a:pt x="364" y="203"/>
                  </a:lnTo>
                  <a:lnTo>
                    <a:pt x="362" y="205"/>
                  </a:lnTo>
                  <a:lnTo>
                    <a:pt x="360" y="205"/>
                  </a:lnTo>
                  <a:lnTo>
                    <a:pt x="359" y="207"/>
                  </a:lnTo>
                  <a:lnTo>
                    <a:pt x="357" y="209"/>
                  </a:lnTo>
                  <a:lnTo>
                    <a:pt x="355" y="211"/>
                  </a:lnTo>
                  <a:lnTo>
                    <a:pt x="353" y="211"/>
                  </a:lnTo>
                  <a:lnTo>
                    <a:pt x="351" y="213"/>
                  </a:lnTo>
                  <a:lnTo>
                    <a:pt x="351" y="213"/>
                  </a:lnTo>
                  <a:lnTo>
                    <a:pt x="349" y="215"/>
                  </a:lnTo>
                  <a:lnTo>
                    <a:pt x="347" y="217"/>
                  </a:lnTo>
                  <a:lnTo>
                    <a:pt x="347" y="219"/>
                  </a:lnTo>
                  <a:lnTo>
                    <a:pt x="347" y="223"/>
                  </a:lnTo>
                  <a:lnTo>
                    <a:pt x="347" y="225"/>
                  </a:lnTo>
                  <a:lnTo>
                    <a:pt x="347" y="226"/>
                  </a:lnTo>
                  <a:lnTo>
                    <a:pt x="347" y="228"/>
                  </a:lnTo>
                  <a:lnTo>
                    <a:pt x="347" y="230"/>
                  </a:lnTo>
                  <a:lnTo>
                    <a:pt x="345" y="232"/>
                  </a:lnTo>
                  <a:lnTo>
                    <a:pt x="345" y="234"/>
                  </a:lnTo>
                  <a:lnTo>
                    <a:pt x="343" y="236"/>
                  </a:lnTo>
                  <a:lnTo>
                    <a:pt x="341" y="238"/>
                  </a:lnTo>
                  <a:lnTo>
                    <a:pt x="341" y="242"/>
                  </a:lnTo>
                  <a:lnTo>
                    <a:pt x="341" y="244"/>
                  </a:lnTo>
                  <a:lnTo>
                    <a:pt x="341" y="246"/>
                  </a:lnTo>
                  <a:lnTo>
                    <a:pt x="339" y="248"/>
                  </a:lnTo>
                  <a:lnTo>
                    <a:pt x="339" y="249"/>
                  </a:lnTo>
                  <a:lnTo>
                    <a:pt x="339" y="251"/>
                  </a:lnTo>
                  <a:lnTo>
                    <a:pt x="339" y="253"/>
                  </a:lnTo>
                  <a:lnTo>
                    <a:pt x="337" y="255"/>
                  </a:lnTo>
                  <a:lnTo>
                    <a:pt x="337" y="257"/>
                  </a:lnTo>
                  <a:lnTo>
                    <a:pt x="337" y="259"/>
                  </a:lnTo>
                  <a:lnTo>
                    <a:pt x="336" y="261"/>
                  </a:lnTo>
                  <a:lnTo>
                    <a:pt x="334" y="261"/>
                  </a:lnTo>
                  <a:lnTo>
                    <a:pt x="334" y="263"/>
                  </a:lnTo>
                  <a:lnTo>
                    <a:pt x="334" y="265"/>
                  </a:lnTo>
                  <a:lnTo>
                    <a:pt x="332" y="265"/>
                  </a:lnTo>
                  <a:lnTo>
                    <a:pt x="330" y="267"/>
                  </a:lnTo>
                  <a:lnTo>
                    <a:pt x="330" y="269"/>
                  </a:lnTo>
                  <a:lnTo>
                    <a:pt x="328" y="271"/>
                  </a:lnTo>
                  <a:lnTo>
                    <a:pt x="326" y="273"/>
                  </a:lnTo>
                  <a:lnTo>
                    <a:pt x="324" y="273"/>
                  </a:lnTo>
                  <a:lnTo>
                    <a:pt x="324" y="274"/>
                  </a:lnTo>
                  <a:lnTo>
                    <a:pt x="324" y="276"/>
                  </a:lnTo>
                  <a:lnTo>
                    <a:pt x="320" y="276"/>
                  </a:lnTo>
                  <a:lnTo>
                    <a:pt x="318" y="276"/>
                  </a:lnTo>
                  <a:lnTo>
                    <a:pt x="316" y="276"/>
                  </a:lnTo>
                  <a:lnTo>
                    <a:pt x="316" y="274"/>
                  </a:lnTo>
                  <a:lnTo>
                    <a:pt x="314" y="273"/>
                  </a:lnTo>
                  <a:lnTo>
                    <a:pt x="314" y="271"/>
                  </a:lnTo>
                  <a:lnTo>
                    <a:pt x="312" y="269"/>
                  </a:lnTo>
                  <a:lnTo>
                    <a:pt x="311" y="267"/>
                  </a:lnTo>
                  <a:lnTo>
                    <a:pt x="311" y="265"/>
                  </a:lnTo>
                  <a:lnTo>
                    <a:pt x="311" y="263"/>
                  </a:lnTo>
                  <a:lnTo>
                    <a:pt x="311" y="261"/>
                  </a:lnTo>
                  <a:lnTo>
                    <a:pt x="309" y="259"/>
                  </a:lnTo>
                  <a:lnTo>
                    <a:pt x="307" y="259"/>
                  </a:lnTo>
                  <a:lnTo>
                    <a:pt x="305" y="259"/>
                  </a:lnTo>
                  <a:lnTo>
                    <a:pt x="303" y="257"/>
                  </a:lnTo>
                  <a:lnTo>
                    <a:pt x="301" y="255"/>
                  </a:lnTo>
                  <a:lnTo>
                    <a:pt x="299" y="255"/>
                  </a:lnTo>
                  <a:lnTo>
                    <a:pt x="297" y="255"/>
                  </a:lnTo>
                  <a:lnTo>
                    <a:pt x="293" y="253"/>
                  </a:lnTo>
                  <a:lnTo>
                    <a:pt x="291" y="253"/>
                  </a:lnTo>
                  <a:lnTo>
                    <a:pt x="291" y="255"/>
                  </a:lnTo>
                  <a:lnTo>
                    <a:pt x="289" y="255"/>
                  </a:lnTo>
                  <a:lnTo>
                    <a:pt x="289" y="257"/>
                  </a:lnTo>
                  <a:lnTo>
                    <a:pt x="289" y="257"/>
                  </a:lnTo>
                  <a:lnTo>
                    <a:pt x="286" y="257"/>
                  </a:lnTo>
                  <a:lnTo>
                    <a:pt x="284" y="257"/>
                  </a:lnTo>
                  <a:lnTo>
                    <a:pt x="284" y="257"/>
                  </a:lnTo>
                  <a:lnTo>
                    <a:pt x="280" y="255"/>
                  </a:lnTo>
                  <a:lnTo>
                    <a:pt x="278" y="255"/>
                  </a:lnTo>
                  <a:lnTo>
                    <a:pt x="278" y="255"/>
                  </a:lnTo>
                  <a:lnTo>
                    <a:pt x="274" y="257"/>
                  </a:lnTo>
                  <a:lnTo>
                    <a:pt x="272" y="257"/>
                  </a:lnTo>
                  <a:lnTo>
                    <a:pt x="270" y="261"/>
                  </a:lnTo>
                  <a:lnTo>
                    <a:pt x="270" y="263"/>
                  </a:lnTo>
                  <a:lnTo>
                    <a:pt x="268" y="265"/>
                  </a:lnTo>
                  <a:lnTo>
                    <a:pt x="268" y="269"/>
                  </a:lnTo>
                  <a:lnTo>
                    <a:pt x="266" y="269"/>
                  </a:lnTo>
                  <a:lnTo>
                    <a:pt x="265" y="273"/>
                  </a:lnTo>
                  <a:lnTo>
                    <a:pt x="263" y="273"/>
                  </a:lnTo>
                  <a:lnTo>
                    <a:pt x="263" y="274"/>
                  </a:lnTo>
                  <a:lnTo>
                    <a:pt x="261" y="276"/>
                  </a:lnTo>
                  <a:lnTo>
                    <a:pt x="259" y="278"/>
                  </a:lnTo>
                  <a:lnTo>
                    <a:pt x="259" y="280"/>
                  </a:lnTo>
                  <a:lnTo>
                    <a:pt x="259" y="282"/>
                  </a:lnTo>
                  <a:lnTo>
                    <a:pt x="257" y="284"/>
                  </a:lnTo>
                  <a:lnTo>
                    <a:pt x="255" y="284"/>
                  </a:lnTo>
                  <a:lnTo>
                    <a:pt x="253" y="286"/>
                  </a:lnTo>
                  <a:lnTo>
                    <a:pt x="251" y="286"/>
                  </a:lnTo>
                  <a:lnTo>
                    <a:pt x="249" y="290"/>
                  </a:lnTo>
                  <a:lnTo>
                    <a:pt x="247" y="292"/>
                  </a:lnTo>
                  <a:lnTo>
                    <a:pt x="245" y="292"/>
                  </a:lnTo>
                  <a:lnTo>
                    <a:pt x="243" y="294"/>
                  </a:lnTo>
                  <a:lnTo>
                    <a:pt x="241" y="294"/>
                  </a:lnTo>
                  <a:lnTo>
                    <a:pt x="240" y="296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4" y="297"/>
                  </a:lnTo>
                  <a:lnTo>
                    <a:pt x="234" y="297"/>
                  </a:lnTo>
                  <a:lnTo>
                    <a:pt x="232" y="297"/>
                  </a:lnTo>
                  <a:lnTo>
                    <a:pt x="232" y="299"/>
                  </a:lnTo>
                  <a:lnTo>
                    <a:pt x="230" y="299"/>
                  </a:lnTo>
                  <a:lnTo>
                    <a:pt x="228" y="301"/>
                  </a:lnTo>
                  <a:lnTo>
                    <a:pt x="228" y="303"/>
                  </a:lnTo>
                  <a:lnTo>
                    <a:pt x="226" y="305"/>
                  </a:lnTo>
                  <a:lnTo>
                    <a:pt x="226" y="309"/>
                  </a:lnTo>
                  <a:lnTo>
                    <a:pt x="226" y="311"/>
                  </a:lnTo>
                  <a:lnTo>
                    <a:pt x="226" y="315"/>
                  </a:lnTo>
                  <a:lnTo>
                    <a:pt x="226" y="317"/>
                  </a:lnTo>
                  <a:lnTo>
                    <a:pt x="226" y="319"/>
                  </a:lnTo>
                  <a:lnTo>
                    <a:pt x="226" y="322"/>
                  </a:lnTo>
                  <a:lnTo>
                    <a:pt x="226" y="324"/>
                  </a:lnTo>
                  <a:lnTo>
                    <a:pt x="226" y="328"/>
                  </a:lnTo>
                  <a:lnTo>
                    <a:pt x="226" y="330"/>
                  </a:lnTo>
                  <a:lnTo>
                    <a:pt x="226" y="332"/>
                  </a:lnTo>
                  <a:lnTo>
                    <a:pt x="226" y="334"/>
                  </a:lnTo>
                  <a:lnTo>
                    <a:pt x="226" y="336"/>
                  </a:lnTo>
                  <a:lnTo>
                    <a:pt x="226" y="340"/>
                  </a:lnTo>
                  <a:lnTo>
                    <a:pt x="224" y="340"/>
                  </a:lnTo>
                  <a:lnTo>
                    <a:pt x="224" y="342"/>
                  </a:lnTo>
                  <a:lnTo>
                    <a:pt x="222" y="344"/>
                  </a:lnTo>
                  <a:lnTo>
                    <a:pt x="222" y="345"/>
                  </a:lnTo>
                  <a:lnTo>
                    <a:pt x="220" y="345"/>
                  </a:lnTo>
                  <a:lnTo>
                    <a:pt x="218" y="345"/>
                  </a:lnTo>
                  <a:lnTo>
                    <a:pt x="217" y="345"/>
                  </a:lnTo>
                  <a:lnTo>
                    <a:pt x="217" y="344"/>
                  </a:lnTo>
                  <a:lnTo>
                    <a:pt x="213" y="344"/>
                  </a:lnTo>
                  <a:lnTo>
                    <a:pt x="209" y="344"/>
                  </a:lnTo>
                  <a:lnTo>
                    <a:pt x="207" y="342"/>
                  </a:lnTo>
                  <a:lnTo>
                    <a:pt x="203" y="342"/>
                  </a:lnTo>
                  <a:lnTo>
                    <a:pt x="201" y="342"/>
                  </a:lnTo>
                  <a:lnTo>
                    <a:pt x="197" y="342"/>
                  </a:lnTo>
                  <a:lnTo>
                    <a:pt x="195" y="342"/>
                  </a:lnTo>
                  <a:lnTo>
                    <a:pt x="192" y="342"/>
                  </a:lnTo>
                  <a:lnTo>
                    <a:pt x="186" y="342"/>
                  </a:lnTo>
                  <a:lnTo>
                    <a:pt x="184" y="345"/>
                  </a:lnTo>
                  <a:lnTo>
                    <a:pt x="180" y="345"/>
                  </a:lnTo>
                  <a:lnTo>
                    <a:pt x="178" y="345"/>
                  </a:lnTo>
                  <a:lnTo>
                    <a:pt x="178" y="347"/>
                  </a:lnTo>
                  <a:lnTo>
                    <a:pt x="172" y="347"/>
                  </a:lnTo>
                  <a:lnTo>
                    <a:pt x="169" y="349"/>
                  </a:lnTo>
                  <a:lnTo>
                    <a:pt x="167" y="349"/>
                  </a:lnTo>
                  <a:lnTo>
                    <a:pt x="163" y="349"/>
                  </a:lnTo>
                  <a:lnTo>
                    <a:pt x="161" y="349"/>
                  </a:lnTo>
                  <a:lnTo>
                    <a:pt x="157" y="349"/>
                  </a:lnTo>
                  <a:lnTo>
                    <a:pt x="155" y="347"/>
                  </a:lnTo>
                  <a:lnTo>
                    <a:pt x="153" y="347"/>
                  </a:lnTo>
                  <a:lnTo>
                    <a:pt x="151" y="345"/>
                  </a:lnTo>
                  <a:lnTo>
                    <a:pt x="151" y="344"/>
                  </a:lnTo>
                  <a:lnTo>
                    <a:pt x="147" y="342"/>
                  </a:lnTo>
                  <a:lnTo>
                    <a:pt x="147" y="344"/>
                  </a:lnTo>
                  <a:lnTo>
                    <a:pt x="146" y="345"/>
                  </a:lnTo>
                  <a:lnTo>
                    <a:pt x="144" y="347"/>
                  </a:lnTo>
                  <a:lnTo>
                    <a:pt x="144" y="351"/>
                  </a:lnTo>
                  <a:lnTo>
                    <a:pt x="142" y="355"/>
                  </a:lnTo>
                  <a:lnTo>
                    <a:pt x="142" y="359"/>
                  </a:lnTo>
                  <a:lnTo>
                    <a:pt x="140" y="359"/>
                  </a:lnTo>
                  <a:lnTo>
                    <a:pt x="136" y="359"/>
                  </a:lnTo>
                  <a:lnTo>
                    <a:pt x="132" y="359"/>
                  </a:lnTo>
                  <a:lnTo>
                    <a:pt x="128" y="357"/>
                  </a:lnTo>
                  <a:lnTo>
                    <a:pt x="124" y="355"/>
                  </a:lnTo>
                  <a:lnTo>
                    <a:pt x="124" y="351"/>
                  </a:lnTo>
                  <a:lnTo>
                    <a:pt x="123" y="349"/>
                  </a:lnTo>
                  <a:lnTo>
                    <a:pt x="121" y="347"/>
                  </a:lnTo>
                  <a:lnTo>
                    <a:pt x="119" y="345"/>
                  </a:lnTo>
                  <a:lnTo>
                    <a:pt x="117" y="345"/>
                  </a:lnTo>
                  <a:lnTo>
                    <a:pt x="115" y="345"/>
                  </a:lnTo>
                  <a:lnTo>
                    <a:pt x="111" y="345"/>
                  </a:lnTo>
                  <a:lnTo>
                    <a:pt x="109" y="345"/>
                  </a:lnTo>
                  <a:lnTo>
                    <a:pt x="107" y="345"/>
                  </a:lnTo>
                  <a:lnTo>
                    <a:pt x="105" y="342"/>
                  </a:lnTo>
                  <a:lnTo>
                    <a:pt x="103" y="342"/>
                  </a:lnTo>
                  <a:lnTo>
                    <a:pt x="101" y="340"/>
                  </a:lnTo>
                  <a:lnTo>
                    <a:pt x="101" y="336"/>
                  </a:lnTo>
                  <a:lnTo>
                    <a:pt x="101" y="334"/>
                  </a:lnTo>
                  <a:lnTo>
                    <a:pt x="101" y="330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6"/>
                  </a:lnTo>
                  <a:lnTo>
                    <a:pt x="101" y="324"/>
                  </a:lnTo>
                  <a:lnTo>
                    <a:pt x="99" y="322"/>
                  </a:lnTo>
                  <a:lnTo>
                    <a:pt x="98" y="320"/>
                  </a:lnTo>
                  <a:lnTo>
                    <a:pt x="98" y="319"/>
                  </a:lnTo>
                  <a:lnTo>
                    <a:pt x="96" y="319"/>
                  </a:lnTo>
                  <a:lnTo>
                    <a:pt x="94" y="317"/>
                  </a:lnTo>
                  <a:lnTo>
                    <a:pt x="92" y="315"/>
                  </a:lnTo>
                  <a:lnTo>
                    <a:pt x="92" y="313"/>
                  </a:lnTo>
                  <a:lnTo>
                    <a:pt x="90" y="313"/>
                  </a:lnTo>
                  <a:lnTo>
                    <a:pt x="88" y="311"/>
                  </a:lnTo>
                  <a:lnTo>
                    <a:pt x="86" y="309"/>
                  </a:lnTo>
                  <a:lnTo>
                    <a:pt x="86" y="309"/>
                  </a:lnTo>
                  <a:lnTo>
                    <a:pt x="84" y="307"/>
                  </a:lnTo>
                  <a:lnTo>
                    <a:pt x="82" y="303"/>
                  </a:lnTo>
                  <a:lnTo>
                    <a:pt x="80" y="301"/>
                  </a:lnTo>
                  <a:lnTo>
                    <a:pt x="80" y="297"/>
                  </a:lnTo>
                  <a:lnTo>
                    <a:pt x="80" y="296"/>
                  </a:lnTo>
                  <a:lnTo>
                    <a:pt x="80" y="294"/>
                  </a:lnTo>
                  <a:lnTo>
                    <a:pt x="78" y="292"/>
                  </a:lnTo>
                  <a:lnTo>
                    <a:pt x="78" y="290"/>
                  </a:lnTo>
                  <a:lnTo>
                    <a:pt x="75" y="286"/>
                  </a:lnTo>
                  <a:lnTo>
                    <a:pt x="73" y="284"/>
                  </a:lnTo>
                  <a:lnTo>
                    <a:pt x="71" y="284"/>
                  </a:lnTo>
                  <a:lnTo>
                    <a:pt x="71" y="282"/>
                  </a:lnTo>
                  <a:lnTo>
                    <a:pt x="69" y="282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3" y="278"/>
                  </a:lnTo>
                  <a:lnTo>
                    <a:pt x="61" y="278"/>
                  </a:lnTo>
                  <a:lnTo>
                    <a:pt x="59" y="278"/>
                  </a:lnTo>
                  <a:lnTo>
                    <a:pt x="57" y="278"/>
                  </a:lnTo>
                  <a:lnTo>
                    <a:pt x="55" y="278"/>
                  </a:lnTo>
                  <a:lnTo>
                    <a:pt x="52" y="278"/>
                  </a:lnTo>
                  <a:lnTo>
                    <a:pt x="50" y="278"/>
                  </a:lnTo>
                  <a:lnTo>
                    <a:pt x="48" y="278"/>
                  </a:lnTo>
                  <a:lnTo>
                    <a:pt x="44" y="278"/>
                  </a:lnTo>
                  <a:lnTo>
                    <a:pt x="40" y="278"/>
                  </a:lnTo>
                  <a:lnTo>
                    <a:pt x="38" y="278"/>
                  </a:lnTo>
                  <a:lnTo>
                    <a:pt x="34" y="278"/>
                  </a:lnTo>
                  <a:lnTo>
                    <a:pt x="30" y="278"/>
                  </a:lnTo>
                  <a:lnTo>
                    <a:pt x="29" y="278"/>
                  </a:lnTo>
                  <a:lnTo>
                    <a:pt x="27" y="278"/>
                  </a:lnTo>
                  <a:lnTo>
                    <a:pt x="25" y="278"/>
                  </a:lnTo>
                  <a:lnTo>
                    <a:pt x="23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7" y="278"/>
                  </a:lnTo>
                  <a:lnTo>
                    <a:pt x="17" y="280"/>
                  </a:lnTo>
                  <a:lnTo>
                    <a:pt x="13" y="280"/>
                  </a:lnTo>
                  <a:lnTo>
                    <a:pt x="11" y="280"/>
                  </a:lnTo>
                  <a:lnTo>
                    <a:pt x="7" y="280"/>
                  </a:lnTo>
                  <a:lnTo>
                    <a:pt x="7" y="278"/>
                  </a:lnTo>
                  <a:lnTo>
                    <a:pt x="5" y="276"/>
                  </a:lnTo>
                  <a:lnTo>
                    <a:pt x="5" y="274"/>
                  </a:lnTo>
                  <a:lnTo>
                    <a:pt x="5" y="273"/>
                  </a:lnTo>
                  <a:lnTo>
                    <a:pt x="5" y="269"/>
                  </a:lnTo>
                  <a:lnTo>
                    <a:pt x="5" y="267"/>
                  </a:lnTo>
                  <a:lnTo>
                    <a:pt x="5" y="263"/>
                  </a:lnTo>
                  <a:lnTo>
                    <a:pt x="5" y="261"/>
                  </a:lnTo>
                  <a:lnTo>
                    <a:pt x="5" y="261"/>
                  </a:lnTo>
                  <a:lnTo>
                    <a:pt x="5" y="259"/>
                  </a:lnTo>
                  <a:lnTo>
                    <a:pt x="5" y="257"/>
                  </a:lnTo>
                  <a:lnTo>
                    <a:pt x="4" y="255"/>
                  </a:lnTo>
                  <a:lnTo>
                    <a:pt x="4" y="253"/>
                  </a:lnTo>
                  <a:lnTo>
                    <a:pt x="4" y="251"/>
                  </a:lnTo>
                  <a:lnTo>
                    <a:pt x="4" y="249"/>
                  </a:lnTo>
                  <a:lnTo>
                    <a:pt x="4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4" y="238"/>
                  </a:lnTo>
                  <a:lnTo>
                    <a:pt x="2" y="234"/>
                  </a:lnTo>
                  <a:lnTo>
                    <a:pt x="2" y="230"/>
                  </a:lnTo>
                  <a:lnTo>
                    <a:pt x="2" y="228"/>
                  </a:lnTo>
                  <a:lnTo>
                    <a:pt x="2" y="228"/>
                  </a:lnTo>
                  <a:lnTo>
                    <a:pt x="0" y="225"/>
                  </a:lnTo>
                  <a:lnTo>
                    <a:pt x="0" y="223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7"/>
                  </a:lnTo>
                  <a:lnTo>
                    <a:pt x="0" y="215"/>
                  </a:lnTo>
                  <a:lnTo>
                    <a:pt x="0" y="213"/>
                  </a:lnTo>
                  <a:lnTo>
                    <a:pt x="2" y="211"/>
                  </a:lnTo>
                  <a:lnTo>
                    <a:pt x="4" y="207"/>
                  </a:lnTo>
                  <a:lnTo>
                    <a:pt x="4" y="205"/>
                  </a:lnTo>
                  <a:lnTo>
                    <a:pt x="5" y="205"/>
                  </a:lnTo>
                  <a:lnTo>
                    <a:pt x="5" y="203"/>
                  </a:lnTo>
                  <a:lnTo>
                    <a:pt x="5" y="202"/>
                  </a:lnTo>
                  <a:lnTo>
                    <a:pt x="5" y="200"/>
                  </a:lnTo>
                  <a:lnTo>
                    <a:pt x="5" y="196"/>
                  </a:lnTo>
                  <a:lnTo>
                    <a:pt x="5" y="194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8"/>
                  </a:lnTo>
                  <a:lnTo>
                    <a:pt x="7" y="188"/>
                  </a:lnTo>
                  <a:lnTo>
                    <a:pt x="7" y="184"/>
                  </a:lnTo>
                  <a:lnTo>
                    <a:pt x="9" y="182"/>
                  </a:lnTo>
                  <a:lnTo>
                    <a:pt x="11" y="182"/>
                  </a:lnTo>
                  <a:lnTo>
                    <a:pt x="15" y="182"/>
                  </a:lnTo>
                  <a:lnTo>
                    <a:pt x="17" y="182"/>
                  </a:lnTo>
                  <a:lnTo>
                    <a:pt x="19" y="184"/>
                  </a:lnTo>
                  <a:lnTo>
                    <a:pt x="21" y="184"/>
                  </a:lnTo>
                  <a:lnTo>
                    <a:pt x="23" y="184"/>
                  </a:lnTo>
                  <a:lnTo>
                    <a:pt x="25" y="184"/>
                  </a:lnTo>
                  <a:lnTo>
                    <a:pt x="27" y="180"/>
                  </a:lnTo>
                  <a:lnTo>
                    <a:pt x="27" y="178"/>
                  </a:lnTo>
                  <a:lnTo>
                    <a:pt x="27" y="175"/>
                  </a:lnTo>
                  <a:lnTo>
                    <a:pt x="27" y="173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7" y="165"/>
                  </a:lnTo>
                  <a:lnTo>
                    <a:pt x="29" y="163"/>
                  </a:lnTo>
                  <a:lnTo>
                    <a:pt x="29" y="161"/>
                  </a:lnTo>
                  <a:lnTo>
                    <a:pt x="30" y="159"/>
                  </a:lnTo>
                  <a:lnTo>
                    <a:pt x="30" y="157"/>
                  </a:lnTo>
                  <a:lnTo>
                    <a:pt x="32" y="157"/>
                  </a:lnTo>
                  <a:lnTo>
                    <a:pt x="34" y="155"/>
                  </a:lnTo>
                  <a:lnTo>
                    <a:pt x="34" y="154"/>
                  </a:lnTo>
                  <a:lnTo>
                    <a:pt x="36" y="154"/>
                  </a:lnTo>
                  <a:lnTo>
                    <a:pt x="38" y="152"/>
                  </a:lnTo>
                  <a:lnTo>
                    <a:pt x="38" y="150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8" y="140"/>
                  </a:lnTo>
                  <a:lnTo>
                    <a:pt x="38" y="138"/>
                  </a:lnTo>
                  <a:lnTo>
                    <a:pt x="40" y="136"/>
                  </a:lnTo>
                  <a:lnTo>
                    <a:pt x="42" y="134"/>
                  </a:lnTo>
                  <a:lnTo>
                    <a:pt x="44" y="132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6" y="127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6" y="115"/>
                  </a:lnTo>
                  <a:lnTo>
                    <a:pt x="46" y="113"/>
                  </a:lnTo>
                  <a:lnTo>
                    <a:pt x="46" y="111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6"/>
                  </a:lnTo>
                  <a:lnTo>
                    <a:pt x="46" y="104"/>
                  </a:lnTo>
                  <a:lnTo>
                    <a:pt x="44" y="102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38" y="98"/>
                  </a:lnTo>
                  <a:lnTo>
                    <a:pt x="38" y="96"/>
                  </a:lnTo>
                  <a:lnTo>
                    <a:pt x="38" y="94"/>
                  </a:lnTo>
                  <a:lnTo>
                    <a:pt x="38" y="92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38" y="84"/>
                  </a:lnTo>
                  <a:lnTo>
                    <a:pt x="38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40" y="77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38" y="7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4" name="Freeform 90"/>
            <p:cNvSpPr>
              <a:spLocks/>
            </p:cNvSpPr>
            <p:nvPr/>
          </p:nvSpPr>
          <p:spPr bwMode="auto">
            <a:xfrm>
              <a:off x="1260" y="1810"/>
              <a:ext cx="433" cy="359"/>
            </a:xfrm>
            <a:custGeom>
              <a:avLst/>
              <a:gdLst/>
              <a:ahLst/>
              <a:cxnLst>
                <a:cxn ang="0">
                  <a:pos x="50" y="50"/>
                </a:cxn>
                <a:cxn ang="0">
                  <a:pos x="57" y="33"/>
                </a:cxn>
                <a:cxn ang="0">
                  <a:pos x="69" y="17"/>
                </a:cxn>
                <a:cxn ang="0">
                  <a:pos x="90" y="13"/>
                </a:cxn>
                <a:cxn ang="0">
                  <a:pos x="111" y="13"/>
                </a:cxn>
                <a:cxn ang="0">
                  <a:pos x="126" y="2"/>
                </a:cxn>
                <a:cxn ang="0">
                  <a:pos x="142" y="8"/>
                </a:cxn>
                <a:cxn ang="0">
                  <a:pos x="159" y="29"/>
                </a:cxn>
                <a:cxn ang="0">
                  <a:pos x="176" y="40"/>
                </a:cxn>
                <a:cxn ang="0">
                  <a:pos x="195" y="29"/>
                </a:cxn>
                <a:cxn ang="0">
                  <a:pos x="217" y="25"/>
                </a:cxn>
                <a:cxn ang="0">
                  <a:pos x="240" y="44"/>
                </a:cxn>
                <a:cxn ang="0">
                  <a:pos x="257" y="56"/>
                </a:cxn>
                <a:cxn ang="0">
                  <a:pos x="272" y="35"/>
                </a:cxn>
                <a:cxn ang="0">
                  <a:pos x="291" y="33"/>
                </a:cxn>
                <a:cxn ang="0">
                  <a:pos x="318" y="29"/>
                </a:cxn>
                <a:cxn ang="0">
                  <a:pos x="347" y="25"/>
                </a:cxn>
                <a:cxn ang="0">
                  <a:pos x="370" y="29"/>
                </a:cxn>
                <a:cxn ang="0">
                  <a:pos x="382" y="15"/>
                </a:cxn>
                <a:cxn ang="0">
                  <a:pos x="403" y="8"/>
                </a:cxn>
                <a:cxn ang="0">
                  <a:pos x="410" y="29"/>
                </a:cxn>
                <a:cxn ang="0">
                  <a:pos x="406" y="40"/>
                </a:cxn>
                <a:cxn ang="0">
                  <a:pos x="410" y="65"/>
                </a:cxn>
                <a:cxn ang="0">
                  <a:pos x="430" y="73"/>
                </a:cxn>
                <a:cxn ang="0">
                  <a:pos x="431" y="96"/>
                </a:cxn>
                <a:cxn ang="0">
                  <a:pos x="418" y="113"/>
                </a:cxn>
                <a:cxn ang="0">
                  <a:pos x="408" y="131"/>
                </a:cxn>
                <a:cxn ang="0">
                  <a:pos x="403" y="155"/>
                </a:cxn>
                <a:cxn ang="0">
                  <a:pos x="387" y="169"/>
                </a:cxn>
                <a:cxn ang="0">
                  <a:pos x="380" y="188"/>
                </a:cxn>
                <a:cxn ang="0">
                  <a:pos x="360" y="205"/>
                </a:cxn>
                <a:cxn ang="0">
                  <a:pos x="347" y="225"/>
                </a:cxn>
                <a:cxn ang="0">
                  <a:pos x="339" y="248"/>
                </a:cxn>
                <a:cxn ang="0">
                  <a:pos x="332" y="265"/>
                </a:cxn>
                <a:cxn ang="0">
                  <a:pos x="316" y="274"/>
                </a:cxn>
                <a:cxn ang="0">
                  <a:pos x="303" y="257"/>
                </a:cxn>
                <a:cxn ang="0">
                  <a:pos x="284" y="257"/>
                </a:cxn>
                <a:cxn ang="0">
                  <a:pos x="266" y="269"/>
                </a:cxn>
                <a:cxn ang="0">
                  <a:pos x="251" y="286"/>
                </a:cxn>
                <a:cxn ang="0">
                  <a:pos x="234" y="297"/>
                </a:cxn>
                <a:cxn ang="0">
                  <a:pos x="226" y="319"/>
                </a:cxn>
                <a:cxn ang="0">
                  <a:pos x="222" y="344"/>
                </a:cxn>
                <a:cxn ang="0">
                  <a:pos x="197" y="342"/>
                </a:cxn>
                <a:cxn ang="0">
                  <a:pos x="163" y="349"/>
                </a:cxn>
                <a:cxn ang="0">
                  <a:pos x="144" y="351"/>
                </a:cxn>
                <a:cxn ang="0">
                  <a:pos x="119" y="345"/>
                </a:cxn>
                <a:cxn ang="0">
                  <a:pos x="101" y="330"/>
                </a:cxn>
                <a:cxn ang="0">
                  <a:pos x="92" y="313"/>
                </a:cxn>
                <a:cxn ang="0">
                  <a:pos x="78" y="292"/>
                </a:cxn>
                <a:cxn ang="0">
                  <a:pos x="59" y="278"/>
                </a:cxn>
                <a:cxn ang="0">
                  <a:pos x="29" y="278"/>
                </a:cxn>
                <a:cxn ang="0">
                  <a:pos x="7" y="278"/>
                </a:cxn>
                <a:cxn ang="0">
                  <a:pos x="4" y="255"/>
                </a:cxn>
                <a:cxn ang="0">
                  <a:pos x="2" y="228"/>
                </a:cxn>
                <a:cxn ang="0">
                  <a:pos x="5" y="205"/>
                </a:cxn>
                <a:cxn ang="0">
                  <a:pos x="9" y="182"/>
                </a:cxn>
                <a:cxn ang="0">
                  <a:pos x="27" y="173"/>
                </a:cxn>
                <a:cxn ang="0">
                  <a:pos x="34" y="154"/>
                </a:cxn>
                <a:cxn ang="0">
                  <a:pos x="44" y="132"/>
                </a:cxn>
                <a:cxn ang="0">
                  <a:pos x="46" y="111"/>
                </a:cxn>
                <a:cxn ang="0">
                  <a:pos x="38" y="92"/>
                </a:cxn>
              </a:cxnLst>
              <a:rect l="0" t="0" r="r" b="b"/>
              <a:pathLst>
                <a:path w="433" h="359">
                  <a:moveTo>
                    <a:pt x="38" y="73"/>
                  </a:moveTo>
                  <a:lnTo>
                    <a:pt x="38" y="69"/>
                  </a:lnTo>
                  <a:lnTo>
                    <a:pt x="40" y="65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42" y="58"/>
                  </a:lnTo>
                  <a:lnTo>
                    <a:pt x="42" y="54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52" y="48"/>
                  </a:lnTo>
                  <a:lnTo>
                    <a:pt x="52" y="46"/>
                  </a:lnTo>
                  <a:lnTo>
                    <a:pt x="53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7" y="40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3"/>
                  </a:lnTo>
                  <a:lnTo>
                    <a:pt x="57" y="31"/>
                  </a:lnTo>
                  <a:lnTo>
                    <a:pt x="57" y="29"/>
                  </a:lnTo>
                  <a:lnTo>
                    <a:pt x="57" y="27"/>
                  </a:lnTo>
                  <a:lnTo>
                    <a:pt x="61" y="27"/>
                  </a:lnTo>
                  <a:lnTo>
                    <a:pt x="61" y="25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73" y="15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6" y="13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6" y="17"/>
                  </a:lnTo>
                  <a:lnTo>
                    <a:pt x="99" y="17"/>
                  </a:lnTo>
                  <a:lnTo>
                    <a:pt x="101" y="17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5"/>
                  </a:lnTo>
                  <a:lnTo>
                    <a:pt x="107" y="15"/>
                  </a:lnTo>
                  <a:lnTo>
                    <a:pt x="109" y="15"/>
                  </a:lnTo>
                  <a:lnTo>
                    <a:pt x="111" y="15"/>
                  </a:lnTo>
                  <a:lnTo>
                    <a:pt x="111" y="13"/>
                  </a:lnTo>
                  <a:lnTo>
                    <a:pt x="113" y="13"/>
                  </a:lnTo>
                  <a:lnTo>
                    <a:pt x="115" y="12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9" y="8"/>
                  </a:lnTo>
                  <a:lnTo>
                    <a:pt x="119" y="6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4"/>
                  </a:lnTo>
                  <a:lnTo>
                    <a:pt x="140" y="4"/>
                  </a:lnTo>
                  <a:lnTo>
                    <a:pt x="140" y="6"/>
                  </a:lnTo>
                  <a:lnTo>
                    <a:pt x="142" y="6"/>
                  </a:lnTo>
                  <a:lnTo>
                    <a:pt x="142" y="8"/>
                  </a:lnTo>
                  <a:lnTo>
                    <a:pt x="142" y="10"/>
                  </a:lnTo>
                  <a:lnTo>
                    <a:pt x="144" y="12"/>
                  </a:lnTo>
                  <a:lnTo>
                    <a:pt x="146" y="13"/>
                  </a:lnTo>
                  <a:lnTo>
                    <a:pt x="146" y="15"/>
                  </a:lnTo>
                  <a:lnTo>
                    <a:pt x="147" y="17"/>
                  </a:lnTo>
                  <a:lnTo>
                    <a:pt x="151" y="17"/>
                  </a:lnTo>
                  <a:lnTo>
                    <a:pt x="153" y="19"/>
                  </a:lnTo>
                  <a:lnTo>
                    <a:pt x="155" y="21"/>
                  </a:lnTo>
                  <a:lnTo>
                    <a:pt x="157" y="25"/>
                  </a:lnTo>
                  <a:lnTo>
                    <a:pt x="159" y="27"/>
                  </a:lnTo>
                  <a:lnTo>
                    <a:pt x="159" y="29"/>
                  </a:lnTo>
                  <a:lnTo>
                    <a:pt x="161" y="31"/>
                  </a:lnTo>
                  <a:lnTo>
                    <a:pt x="161" y="33"/>
                  </a:lnTo>
                  <a:lnTo>
                    <a:pt x="163" y="33"/>
                  </a:lnTo>
                  <a:lnTo>
                    <a:pt x="167" y="33"/>
                  </a:lnTo>
                  <a:lnTo>
                    <a:pt x="169" y="35"/>
                  </a:lnTo>
                  <a:lnTo>
                    <a:pt x="170" y="35"/>
                  </a:lnTo>
                  <a:lnTo>
                    <a:pt x="172" y="36"/>
                  </a:lnTo>
                  <a:lnTo>
                    <a:pt x="172" y="38"/>
                  </a:lnTo>
                  <a:lnTo>
                    <a:pt x="174" y="38"/>
                  </a:lnTo>
                  <a:lnTo>
                    <a:pt x="176" y="38"/>
                  </a:lnTo>
                  <a:lnTo>
                    <a:pt x="176" y="40"/>
                  </a:lnTo>
                  <a:lnTo>
                    <a:pt x="178" y="40"/>
                  </a:lnTo>
                  <a:lnTo>
                    <a:pt x="180" y="40"/>
                  </a:lnTo>
                  <a:lnTo>
                    <a:pt x="182" y="40"/>
                  </a:lnTo>
                  <a:lnTo>
                    <a:pt x="184" y="40"/>
                  </a:lnTo>
                  <a:lnTo>
                    <a:pt x="186" y="38"/>
                  </a:lnTo>
                  <a:lnTo>
                    <a:pt x="188" y="36"/>
                  </a:lnTo>
                  <a:lnTo>
                    <a:pt x="190" y="35"/>
                  </a:lnTo>
                  <a:lnTo>
                    <a:pt x="192" y="35"/>
                  </a:lnTo>
                  <a:lnTo>
                    <a:pt x="192" y="33"/>
                  </a:lnTo>
                  <a:lnTo>
                    <a:pt x="194" y="31"/>
                  </a:lnTo>
                  <a:lnTo>
                    <a:pt x="195" y="29"/>
                  </a:lnTo>
                  <a:lnTo>
                    <a:pt x="197" y="27"/>
                  </a:lnTo>
                  <a:lnTo>
                    <a:pt x="201" y="25"/>
                  </a:lnTo>
                  <a:lnTo>
                    <a:pt x="203" y="25"/>
                  </a:lnTo>
                  <a:lnTo>
                    <a:pt x="205" y="25"/>
                  </a:lnTo>
                  <a:lnTo>
                    <a:pt x="207" y="23"/>
                  </a:lnTo>
                  <a:lnTo>
                    <a:pt x="209" y="25"/>
                  </a:lnTo>
                  <a:lnTo>
                    <a:pt x="211" y="25"/>
                  </a:lnTo>
                  <a:lnTo>
                    <a:pt x="213" y="23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8" y="27"/>
                  </a:lnTo>
                  <a:lnTo>
                    <a:pt x="220" y="27"/>
                  </a:lnTo>
                  <a:lnTo>
                    <a:pt x="222" y="29"/>
                  </a:lnTo>
                  <a:lnTo>
                    <a:pt x="224" y="31"/>
                  </a:lnTo>
                  <a:lnTo>
                    <a:pt x="226" y="33"/>
                  </a:lnTo>
                  <a:lnTo>
                    <a:pt x="228" y="35"/>
                  </a:lnTo>
                  <a:lnTo>
                    <a:pt x="232" y="38"/>
                  </a:lnTo>
                  <a:lnTo>
                    <a:pt x="236" y="42"/>
                  </a:lnTo>
                  <a:lnTo>
                    <a:pt x="236" y="44"/>
                  </a:lnTo>
                  <a:lnTo>
                    <a:pt x="238" y="44"/>
                  </a:lnTo>
                  <a:lnTo>
                    <a:pt x="240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3" y="46"/>
                  </a:lnTo>
                  <a:lnTo>
                    <a:pt x="245" y="46"/>
                  </a:lnTo>
                  <a:lnTo>
                    <a:pt x="247" y="48"/>
                  </a:lnTo>
                  <a:lnTo>
                    <a:pt x="249" y="50"/>
                  </a:lnTo>
                  <a:lnTo>
                    <a:pt x="249" y="52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53" y="56"/>
                  </a:lnTo>
                  <a:lnTo>
                    <a:pt x="257" y="56"/>
                  </a:lnTo>
                  <a:lnTo>
                    <a:pt x="259" y="52"/>
                  </a:lnTo>
                  <a:lnTo>
                    <a:pt x="263" y="50"/>
                  </a:lnTo>
                  <a:lnTo>
                    <a:pt x="265" y="48"/>
                  </a:lnTo>
                  <a:lnTo>
                    <a:pt x="265" y="46"/>
                  </a:lnTo>
                  <a:lnTo>
                    <a:pt x="266" y="44"/>
                  </a:lnTo>
                  <a:lnTo>
                    <a:pt x="266" y="42"/>
                  </a:lnTo>
                  <a:lnTo>
                    <a:pt x="268" y="40"/>
                  </a:lnTo>
                  <a:lnTo>
                    <a:pt x="268" y="40"/>
                  </a:lnTo>
                  <a:lnTo>
                    <a:pt x="270" y="40"/>
                  </a:lnTo>
                  <a:lnTo>
                    <a:pt x="272" y="38"/>
                  </a:lnTo>
                  <a:lnTo>
                    <a:pt x="272" y="35"/>
                  </a:lnTo>
                  <a:lnTo>
                    <a:pt x="274" y="35"/>
                  </a:lnTo>
                  <a:lnTo>
                    <a:pt x="274" y="33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80" y="33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6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1" y="33"/>
                  </a:lnTo>
                  <a:lnTo>
                    <a:pt x="295" y="33"/>
                  </a:lnTo>
                  <a:lnTo>
                    <a:pt x="297" y="33"/>
                  </a:lnTo>
                  <a:lnTo>
                    <a:pt x="299" y="33"/>
                  </a:lnTo>
                  <a:lnTo>
                    <a:pt x="303" y="33"/>
                  </a:lnTo>
                  <a:lnTo>
                    <a:pt x="305" y="33"/>
                  </a:lnTo>
                  <a:lnTo>
                    <a:pt x="309" y="33"/>
                  </a:lnTo>
                  <a:lnTo>
                    <a:pt x="312" y="31"/>
                  </a:lnTo>
                  <a:lnTo>
                    <a:pt x="314" y="31"/>
                  </a:lnTo>
                  <a:lnTo>
                    <a:pt x="316" y="31"/>
                  </a:lnTo>
                  <a:lnTo>
                    <a:pt x="316" y="29"/>
                  </a:lnTo>
                  <a:lnTo>
                    <a:pt x="318" y="29"/>
                  </a:lnTo>
                  <a:lnTo>
                    <a:pt x="324" y="27"/>
                  </a:lnTo>
                  <a:lnTo>
                    <a:pt x="326" y="27"/>
                  </a:lnTo>
                  <a:lnTo>
                    <a:pt x="330" y="27"/>
                  </a:lnTo>
                  <a:lnTo>
                    <a:pt x="332" y="27"/>
                  </a:lnTo>
                  <a:lnTo>
                    <a:pt x="334" y="27"/>
                  </a:lnTo>
                  <a:lnTo>
                    <a:pt x="336" y="27"/>
                  </a:lnTo>
                  <a:lnTo>
                    <a:pt x="339" y="27"/>
                  </a:lnTo>
                  <a:lnTo>
                    <a:pt x="341" y="25"/>
                  </a:lnTo>
                  <a:lnTo>
                    <a:pt x="343" y="25"/>
                  </a:lnTo>
                  <a:lnTo>
                    <a:pt x="345" y="25"/>
                  </a:lnTo>
                  <a:lnTo>
                    <a:pt x="347" y="25"/>
                  </a:lnTo>
                  <a:lnTo>
                    <a:pt x="349" y="27"/>
                  </a:lnTo>
                  <a:lnTo>
                    <a:pt x="351" y="27"/>
                  </a:lnTo>
                  <a:lnTo>
                    <a:pt x="353" y="29"/>
                  </a:lnTo>
                  <a:lnTo>
                    <a:pt x="357" y="31"/>
                  </a:lnTo>
                  <a:lnTo>
                    <a:pt x="359" y="31"/>
                  </a:lnTo>
                  <a:lnTo>
                    <a:pt x="360" y="33"/>
                  </a:lnTo>
                  <a:lnTo>
                    <a:pt x="362" y="33"/>
                  </a:lnTo>
                  <a:lnTo>
                    <a:pt x="364" y="33"/>
                  </a:lnTo>
                  <a:lnTo>
                    <a:pt x="366" y="31"/>
                  </a:lnTo>
                  <a:lnTo>
                    <a:pt x="368" y="31"/>
                  </a:lnTo>
                  <a:lnTo>
                    <a:pt x="370" y="29"/>
                  </a:lnTo>
                  <a:lnTo>
                    <a:pt x="370" y="29"/>
                  </a:lnTo>
                  <a:lnTo>
                    <a:pt x="372" y="27"/>
                  </a:lnTo>
                  <a:lnTo>
                    <a:pt x="372" y="25"/>
                  </a:lnTo>
                  <a:lnTo>
                    <a:pt x="374" y="23"/>
                  </a:lnTo>
                  <a:lnTo>
                    <a:pt x="374" y="21"/>
                  </a:lnTo>
                  <a:lnTo>
                    <a:pt x="376" y="21"/>
                  </a:lnTo>
                  <a:lnTo>
                    <a:pt x="376" y="19"/>
                  </a:lnTo>
                  <a:lnTo>
                    <a:pt x="378" y="19"/>
                  </a:lnTo>
                  <a:lnTo>
                    <a:pt x="380" y="17"/>
                  </a:lnTo>
                  <a:lnTo>
                    <a:pt x="380" y="15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5" y="15"/>
                  </a:lnTo>
                  <a:lnTo>
                    <a:pt x="387" y="13"/>
                  </a:lnTo>
                  <a:lnTo>
                    <a:pt x="389" y="12"/>
                  </a:lnTo>
                  <a:lnTo>
                    <a:pt x="393" y="12"/>
                  </a:lnTo>
                  <a:lnTo>
                    <a:pt x="395" y="12"/>
                  </a:lnTo>
                  <a:lnTo>
                    <a:pt x="395" y="10"/>
                  </a:lnTo>
                  <a:lnTo>
                    <a:pt x="397" y="10"/>
                  </a:lnTo>
                  <a:lnTo>
                    <a:pt x="399" y="10"/>
                  </a:lnTo>
                  <a:lnTo>
                    <a:pt x="401" y="8"/>
                  </a:lnTo>
                  <a:lnTo>
                    <a:pt x="403" y="8"/>
                  </a:lnTo>
                  <a:lnTo>
                    <a:pt x="403" y="12"/>
                  </a:lnTo>
                  <a:lnTo>
                    <a:pt x="403" y="13"/>
                  </a:lnTo>
                  <a:lnTo>
                    <a:pt x="403" y="15"/>
                  </a:lnTo>
                  <a:lnTo>
                    <a:pt x="406" y="17"/>
                  </a:lnTo>
                  <a:lnTo>
                    <a:pt x="408" y="19"/>
                  </a:lnTo>
                  <a:lnTo>
                    <a:pt x="408" y="21"/>
                  </a:lnTo>
                  <a:lnTo>
                    <a:pt x="408" y="23"/>
                  </a:lnTo>
                  <a:lnTo>
                    <a:pt x="410" y="23"/>
                  </a:lnTo>
                  <a:lnTo>
                    <a:pt x="412" y="25"/>
                  </a:lnTo>
                  <a:lnTo>
                    <a:pt x="410" y="27"/>
                  </a:lnTo>
                  <a:lnTo>
                    <a:pt x="410" y="29"/>
                  </a:lnTo>
                  <a:lnTo>
                    <a:pt x="410" y="31"/>
                  </a:lnTo>
                  <a:lnTo>
                    <a:pt x="410" y="33"/>
                  </a:lnTo>
                  <a:lnTo>
                    <a:pt x="412" y="33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408" y="35"/>
                  </a:lnTo>
                  <a:lnTo>
                    <a:pt x="406" y="35"/>
                  </a:lnTo>
                  <a:lnTo>
                    <a:pt x="406" y="36"/>
                  </a:lnTo>
                  <a:lnTo>
                    <a:pt x="406" y="38"/>
                  </a:lnTo>
                  <a:lnTo>
                    <a:pt x="406" y="40"/>
                  </a:lnTo>
                  <a:lnTo>
                    <a:pt x="406" y="44"/>
                  </a:lnTo>
                  <a:lnTo>
                    <a:pt x="406" y="46"/>
                  </a:lnTo>
                  <a:lnTo>
                    <a:pt x="406" y="50"/>
                  </a:lnTo>
                  <a:lnTo>
                    <a:pt x="406" y="52"/>
                  </a:lnTo>
                  <a:lnTo>
                    <a:pt x="406" y="54"/>
                  </a:lnTo>
                  <a:lnTo>
                    <a:pt x="406" y="56"/>
                  </a:lnTo>
                  <a:lnTo>
                    <a:pt x="406" y="58"/>
                  </a:lnTo>
                  <a:lnTo>
                    <a:pt x="406" y="58"/>
                  </a:lnTo>
                  <a:lnTo>
                    <a:pt x="408" y="58"/>
                  </a:lnTo>
                  <a:lnTo>
                    <a:pt x="408" y="61"/>
                  </a:lnTo>
                  <a:lnTo>
                    <a:pt x="410" y="65"/>
                  </a:lnTo>
                  <a:lnTo>
                    <a:pt x="412" y="67"/>
                  </a:lnTo>
                  <a:lnTo>
                    <a:pt x="414" y="67"/>
                  </a:lnTo>
                  <a:lnTo>
                    <a:pt x="416" y="67"/>
                  </a:lnTo>
                  <a:lnTo>
                    <a:pt x="418" y="67"/>
                  </a:lnTo>
                  <a:lnTo>
                    <a:pt x="418" y="69"/>
                  </a:lnTo>
                  <a:lnTo>
                    <a:pt x="420" y="69"/>
                  </a:lnTo>
                  <a:lnTo>
                    <a:pt x="422" y="69"/>
                  </a:lnTo>
                  <a:lnTo>
                    <a:pt x="424" y="71"/>
                  </a:lnTo>
                  <a:lnTo>
                    <a:pt x="426" y="73"/>
                  </a:lnTo>
                  <a:lnTo>
                    <a:pt x="428" y="73"/>
                  </a:lnTo>
                  <a:lnTo>
                    <a:pt x="430" y="73"/>
                  </a:lnTo>
                  <a:lnTo>
                    <a:pt x="431" y="77"/>
                  </a:lnTo>
                  <a:lnTo>
                    <a:pt x="431" y="79"/>
                  </a:lnTo>
                  <a:lnTo>
                    <a:pt x="431" y="81"/>
                  </a:lnTo>
                  <a:lnTo>
                    <a:pt x="431" y="83"/>
                  </a:lnTo>
                  <a:lnTo>
                    <a:pt x="431" y="84"/>
                  </a:lnTo>
                  <a:lnTo>
                    <a:pt x="431" y="88"/>
                  </a:lnTo>
                  <a:lnTo>
                    <a:pt x="433" y="90"/>
                  </a:lnTo>
                  <a:lnTo>
                    <a:pt x="433" y="92"/>
                  </a:lnTo>
                  <a:lnTo>
                    <a:pt x="433" y="96"/>
                  </a:lnTo>
                  <a:lnTo>
                    <a:pt x="431" y="96"/>
                  </a:lnTo>
                  <a:lnTo>
                    <a:pt x="431" y="96"/>
                  </a:lnTo>
                  <a:lnTo>
                    <a:pt x="431" y="100"/>
                  </a:lnTo>
                  <a:lnTo>
                    <a:pt x="430" y="102"/>
                  </a:lnTo>
                  <a:lnTo>
                    <a:pt x="428" y="102"/>
                  </a:lnTo>
                  <a:lnTo>
                    <a:pt x="428" y="104"/>
                  </a:lnTo>
                  <a:lnTo>
                    <a:pt x="426" y="106"/>
                  </a:lnTo>
                  <a:lnTo>
                    <a:pt x="426" y="106"/>
                  </a:lnTo>
                  <a:lnTo>
                    <a:pt x="424" y="106"/>
                  </a:lnTo>
                  <a:lnTo>
                    <a:pt x="422" y="107"/>
                  </a:lnTo>
                  <a:lnTo>
                    <a:pt x="420" y="109"/>
                  </a:lnTo>
                  <a:lnTo>
                    <a:pt x="418" y="111"/>
                  </a:lnTo>
                  <a:lnTo>
                    <a:pt x="418" y="113"/>
                  </a:lnTo>
                  <a:lnTo>
                    <a:pt x="418" y="115"/>
                  </a:lnTo>
                  <a:lnTo>
                    <a:pt x="416" y="115"/>
                  </a:lnTo>
                  <a:lnTo>
                    <a:pt x="416" y="117"/>
                  </a:lnTo>
                  <a:lnTo>
                    <a:pt x="416" y="119"/>
                  </a:lnTo>
                  <a:lnTo>
                    <a:pt x="414" y="119"/>
                  </a:lnTo>
                  <a:lnTo>
                    <a:pt x="414" y="123"/>
                  </a:lnTo>
                  <a:lnTo>
                    <a:pt x="412" y="125"/>
                  </a:lnTo>
                  <a:lnTo>
                    <a:pt x="412" y="127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08" y="131"/>
                  </a:lnTo>
                  <a:lnTo>
                    <a:pt x="408" y="134"/>
                  </a:lnTo>
                  <a:lnTo>
                    <a:pt x="408" y="136"/>
                  </a:lnTo>
                  <a:lnTo>
                    <a:pt x="408" y="138"/>
                  </a:lnTo>
                  <a:lnTo>
                    <a:pt x="408" y="140"/>
                  </a:lnTo>
                  <a:lnTo>
                    <a:pt x="408" y="142"/>
                  </a:lnTo>
                  <a:lnTo>
                    <a:pt x="408" y="144"/>
                  </a:lnTo>
                  <a:lnTo>
                    <a:pt x="406" y="146"/>
                  </a:lnTo>
                  <a:lnTo>
                    <a:pt x="406" y="148"/>
                  </a:lnTo>
                  <a:lnTo>
                    <a:pt x="406" y="150"/>
                  </a:lnTo>
                  <a:lnTo>
                    <a:pt x="405" y="152"/>
                  </a:lnTo>
                  <a:lnTo>
                    <a:pt x="403" y="155"/>
                  </a:lnTo>
                  <a:lnTo>
                    <a:pt x="403" y="157"/>
                  </a:lnTo>
                  <a:lnTo>
                    <a:pt x="401" y="157"/>
                  </a:lnTo>
                  <a:lnTo>
                    <a:pt x="399" y="157"/>
                  </a:lnTo>
                  <a:lnTo>
                    <a:pt x="397" y="157"/>
                  </a:lnTo>
                  <a:lnTo>
                    <a:pt x="395" y="159"/>
                  </a:lnTo>
                  <a:lnTo>
                    <a:pt x="393" y="161"/>
                  </a:lnTo>
                  <a:lnTo>
                    <a:pt x="391" y="163"/>
                  </a:lnTo>
                  <a:lnTo>
                    <a:pt x="389" y="165"/>
                  </a:lnTo>
                  <a:lnTo>
                    <a:pt x="389" y="165"/>
                  </a:lnTo>
                  <a:lnTo>
                    <a:pt x="387" y="167"/>
                  </a:lnTo>
                  <a:lnTo>
                    <a:pt x="387" y="169"/>
                  </a:lnTo>
                  <a:lnTo>
                    <a:pt x="385" y="169"/>
                  </a:lnTo>
                  <a:lnTo>
                    <a:pt x="383" y="169"/>
                  </a:lnTo>
                  <a:lnTo>
                    <a:pt x="383" y="173"/>
                  </a:lnTo>
                  <a:lnTo>
                    <a:pt x="385" y="175"/>
                  </a:lnTo>
                  <a:lnTo>
                    <a:pt x="385" y="178"/>
                  </a:lnTo>
                  <a:lnTo>
                    <a:pt x="385" y="180"/>
                  </a:lnTo>
                  <a:lnTo>
                    <a:pt x="383" y="182"/>
                  </a:lnTo>
                  <a:lnTo>
                    <a:pt x="383" y="184"/>
                  </a:lnTo>
                  <a:lnTo>
                    <a:pt x="383" y="186"/>
                  </a:lnTo>
                  <a:lnTo>
                    <a:pt x="382" y="188"/>
                  </a:lnTo>
                  <a:lnTo>
                    <a:pt x="380" y="188"/>
                  </a:lnTo>
                  <a:lnTo>
                    <a:pt x="380" y="190"/>
                  </a:lnTo>
                  <a:lnTo>
                    <a:pt x="378" y="192"/>
                  </a:lnTo>
                  <a:lnTo>
                    <a:pt x="376" y="194"/>
                  </a:lnTo>
                  <a:lnTo>
                    <a:pt x="374" y="196"/>
                  </a:lnTo>
                  <a:lnTo>
                    <a:pt x="370" y="200"/>
                  </a:lnTo>
                  <a:lnTo>
                    <a:pt x="368" y="202"/>
                  </a:lnTo>
                  <a:lnTo>
                    <a:pt x="366" y="202"/>
                  </a:lnTo>
                  <a:lnTo>
                    <a:pt x="366" y="203"/>
                  </a:lnTo>
                  <a:lnTo>
                    <a:pt x="364" y="203"/>
                  </a:lnTo>
                  <a:lnTo>
                    <a:pt x="362" y="205"/>
                  </a:lnTo>
                  <a:lnTo>
                    <a:pt x="360" y="205"/>
                  </a:lnTo>
                  <a:lnTo>
                    <a:pt x="359" y="207"/>
                  </a:lnTo>
                  <a:lnTo>
                    <a:pt x="357" y="209"/>
                  </a:lnTo>
                  <a:lnTo>
                    <a:pt x="355" y="211"/>
                  </a:lnTo>
                  <a:lnTo>
                    <a:pt x="353" y="211"/>
                  </a:lnTo>
                  <a:lnTo>
                    <a:pt x="351" y="213"/>
                  </a:lnTo>
                  <a:lnTo>
                    <a:pt x="351" y="213"/>
                  </a:lnTo>
                  <a:lnTo>
                    <a:pt x="349" y="215"/>
                  </a:lnTo>
                  <a:lnTo>
                    <a:pt x="347" y="217"/>
                  </a:lnTo>
                  <a:lnTo>
                    <a:pt x="347" y="219"/>
                  </a:lnTo>
                  <a:lnTo>
                    <a:pt x="347" y="223"/>
                  </a:lnTo>
                  <a:lnTo>
                    <a:pt x="347" y="225"/>
                  </a:lnTo>
                  <a:lnTo>
                    <a:pt x="347" y="226"/>
                  </a:lnTo>
                  <a:lnTo>
                    <a:pt x="347" y="228"/>
                  </a:lnTo>
                  <a:lnTo>
                    <a:pt x="347" y="230"/>
                  </a:lnTo>
                  <a:lnTo>
                    <a:pt x="345" y="232"/>
                  </a:lnTo>
                  <a:lnTo>
                    <a:pt x="345" y="234"/>
                  </a:lnTo>
                  <a:lnTo>
                    <a:pt x="343" y="236"/>
                  </a:lnTo>
                  <a:lnTo>
                    <a:pt x="341" y="238"/>
                  </a:lnTo>
                  <a:lnTo>
                    <a:pt x="341" y="242"/>
                  </a:lnTo>
                  <a:lnTo>
                    <a:pt x="341" y="244"/>
                  </a:lnTo>
                  <a:lnTo>
                    <a:pt x="341" y="246"/>
                  </a:lnTo>
                  <a:lnTo>
                    <a:pt x="339" y="248"/>
                  </a:lnTo>
                  <a:lnTo>
                    <a:pt x="339" y="249"/>
                  </a:lnTo>
                  <a:lnTo>
                    <a:pt x="339" y="251"/>
                  </a:lnTo>
                  <a:lnTo>
                    <a:pt x="339" y="253"/>
                  </a:lnTo>
                  <a:lnTo>
                    <a:pt x="337" y="255"/>
                  </a:lnTo>
                  <a:lnTo>
                    <a:pt x="337" y="257"/>
                  </a:lnTo>
                  <a:lnTo>
                    <a:pt x="337" y="259"/>
                  </a:lnTo>
                  <a:lnTo>
                    <a:pt x="336" y="261"/>
                  </a:lnTo>
                  <a:lnTo>
                    <a:pt x="334" y="261"/>
                  </a:lnTo>
                  <a:lnTo>
                    <a:pt x="334" y="263"/>
                  </a:lnTo>
                  <a:lnTo>
                    <a:pt x="334" y="265"/>
                  </a:lnTo>
                  <a:lnTo>
                    <a:pt x="332" y="265"/>
                  </a:lnTo>
                  <a:lnTo>
                    <a:pt x="330" y="267"/>
                  </a:lnTo>
                  <a:lnTo>
                    <a:pt x="330" y="269"/>
                  </a:lnTo>
                  <a:lnTo>
                    <a:pt x="328" y="271"/>
                  </a:lnTo>
                  <a:lnTo>
                    <a:pt x="326" y="273"/>
                  </a:lnTo>
                  <a:lnTo>
                    <a:pt x="324" y="273"/>
                  </a:lnTo>
                  <a:lnTo>
                    <a:pt x="324" y="274"/>
                  </a:lnTo>
                  <a:lnTo>
                    <a:pt x="324" y="276"/>
                  </a:lnTo>
                  <a:lnTo>
                    <a:pt x="320" y="276"/>
                  </a:lnTo>
                  <a:lnTo>
                    <a:pt x="318" y="276"/>
                  </a:lnTo>
                  <a:lnTo>
                    <a:pt x="316" y="276"/>
                  </a:lnTo>
                  <a:lnTo>
                    <a:pt x="316" y="274"/>
                  </a:lnTo>
                  <a:lnTo>
                    <a:pt x="314" y="273"/>
                  </a:lnTo>
                  <a:lnTo>
                    <a:pt x="314" y="271"/>
                  </a:lnTo>
                  <a:lnTo>
                    <a:pt x="312" y="269"/>
                  </a:lnTo>
                  <a:lnTo>
                    <a:pt x="311" y="267"/>
                  </a:lnTo>
                  <a:lnTo>
                    <a:pt x="311" y="265"/>
                  </a:lnTo>
                  <a:lnTo>
                    <a:pt x="311" y="263"/>
                  </a:lnTo>
                  <a:lnTo>
                    <a:pt x="311" y="261"/>
                  </a:lnTo>
                  <a:lnTo>
                    <a:pt x="309" y="259"/>
                  </a:lnTo>
                  <a:lnTo>
                    <a:pt x="307" y="259"/>
                  </a:lnTo>
                  <a:lnTo>
                    <a:pt x="305" y="259"/>
                  </a:lnTo>
                  <a:lnTo>
                    <a:pt x="303" y="257"/>
                  </a:lnTo>
                  <a:lnTo>
                    <a:pt x="301" y="255"/>
                  </a:lnTo>
                  <a:lnTo>
                    <a:pt x="299" y="255"/>
                  </a:lnTo>
                  <a:lnTo>
                    <a:pt x="297" y="255"/>
                  </a:lnTo>
                  <a:lnTo>
                    <a:pt x="293" y="253"/>
                  </a:lnTo>
                  <a:lnTo>
                    <a:pt x="291" y="253"/>
                  </a:lnTo>
                  <a:lnTo>
                    <a:pt x="291" y="255"/>
                  </a:lnTo>
                  <a:lnTo>
                    <a:pt x="289" y="255"/>
                  </a:lnTo>
                  <a:lnTo>
                    <a:pt x="289" y="257"/>
                  </a:lnTo>
                  <a:lnTo>
                    <a:pt x="289" y="257"/>
                  </a:lnTo>
                  <a:lnTo>
                    <a:pt x="286" y="257"/>
                  </a:lnTo>
                  <a:lnTo>
                    <a:pt x="284" y="257"/>
                  </a:lnTo>
                  <a:lnTo>
                    <a:pt x="284" y="257"/>
                  </a:lnTo>
                  <a:lnTo>
                    <a:pt x="280" y="255"/>
                  </a:lnTo>
                  <a:lnTo>
                    <a:pt x="278" y="255"/>
                  </a:lnTo>
                  <a:lnTo>
                    <a:pt x="278" y="255"/>
                  </a:lnTo>
                  <a:lnTo>
                    <a:pt x="274" y="257"/>
                  </a:lnTo>
                  <a:lnTo>
                    <a:pt x="272" y="257"/>
                  </a:lnTo>
                  <a:lnTo>
                    <a:pt x="270" y="261"/>
                  </a:lnTo>
                  <a:lnTo>
                    <a:pt x="270" y="263"/>
                  </a:lnTo>
                  <a:lnTo>
                    <a:pt x="268" y="265"/>
                  </a:lnTo>
                  <a:lnTo>
                    <a:pt x="268" y="269"/>
                  </a:lnTo>
                  <a:lnTo>
                    <a:pt x="266" y="269"/>
                  </a:lnTo>
                  <a:lnTo>
                    <a:pt x="265" y="273"/>
                  </a:lnTo>
                  <a:lnTo>
                    <a:pt x="263" y="273"/>
                  </a:lnTo>
                  <a:lnTo>
                    <a:pt x="263" y="274"/>
                  </a:lnTo>
                  <a:lnTo>
                    <a:pt x="261" y="276"/>
                  </a:lnTo>
                  <a:lnTo>
                    <a:pt x="259" y="278"/>
                  </a:lnTo>
                  <a:lnTo>
                    <a:pt x="259" y="280"/>
                  </a:lnTo>
                  <a:lnTo>
                    <a:pt x="259" y="282"/>
                  </a:lnTo>
                  <a:lnTo>
                    <a:pt x="257" y="284"/>
                  </a:lnTo>
                  <a:lnTo>
                    <a:pt x="255" y="284"/>
                  </a:lnTo>
                  <a:lnTo>
                    <a:pt x="253" y="286"/>
                  </a:lnTo>
                  <a:lnTo>
                    <a:pt x="251" y="286"/>
                  </a:lnTo>
                  <a:lnTo>
                    <a:pt x="249" y="290"/>
                  </a:lnTo>
                  <a:lnTo>
                    <a:pt x="247" y="292"/>
                  </a:lnTo>
                  <a:lnTo>
                    <a:pt x="245" y="292"/>
                  </a:lnTo>
                  <a:lnTo>
                    <a:pt x="243" y="294"/>
                  </a:lnTo>
                  <a:lnTo>
                    <a:pt x="241" y="294"/>
                  </a:lnTo>
                  <a:lnTo>
                    <a:pt x="240" y="296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4" y="297"/>
                  </a:lnTo>
                  <a:lnTo>
                    <a:pt x="234" y="297"/>
                  </a:lnTo>
                  <a:lnTo>
                    <a:pt x="232" y="297"/>
                  </a:lnTo>
                  <a:lnTo>
                    <a:pt x="232" y="299"/>
                  </a:lnTo>
                  <a:lnTo>
                    <a:pt x="230" y="299"/>
                  </a:lnTo>
                  <a:lnTo>
                    <a:pt x="228" y="301"/>
                  </a:lnTo>
                  <a:lnTo>
                    <a:pt x="228" y="303"/>
                  </a:lnTo>
                  <a:lnTo>
                    <a:pt x="226" y="305"/>
                  </a:lnTo>
                  <a:lnTo>
                    <a:pt x="226" y="309"/>
                  </a:lnTo>
                  <a:lnTo>
                    <a:pt x="226" y="311"/>
                  </a:lnTo>
                  <a:lnTo>
                    <a:pt x="226" y="315"/>
                  </a:lnTo>
                  <a:lnTo>
                    <a:pt x="226" y="317"/>
                  </a:lnTo>
                  <a:lnTo>
                    <a:pt x="226" y="319"/>
                  </a:lnTo>
                  <a:lnTo>
                    <a:pt x="226" y="322"/>
                  </a:lnTo>
                  <a:lnTo>
                    <a:pt x="226" y="324"/>
                  </a:lnTo>
                  <a:lnTo>
                    <a:pt x="226" y="328"/>
                  </a:lnTo>
                  <a:lnTo>
                    <a:pt x="226" y="330"/>
                  </a:lnTo>
                  <a:lnTo>
                    <a:pt x="226" y="332"/>
                  </a:lnTo>
                  <a:lnTo>
                    <a:pt x="226" y="334"/>
                  </a:lnTo>
                  <a:lnTo>
                    <a:pt x="226" y="336"/>
                  </a:lnTo>
                  <a:lnTo>
                    <a:pt x="226" y="340"/>
                  </a:lnTo>
                  <a:lnTo>
                    <a:pt x="224" y="340"/>
                  </a:lnTo>
                  <a:lnTo>
                    <a:pt x="224" y="342"/>
                  </a:lnTo>
                  <a:lnTo>
                    <a:pt x="222" y="344"/>
                  </a:lnTo>
                  <a:lnTo>
                    <a:pt x="222" y="345"/>
                  </a:lnTo>
                  <a:lnTo>
                    <a:pt x="220" y="345"/>
                  </a:lnTo>
                  <a:lnTo>
                    <a:pt x="218" y="345"/>
                  </a:lnTo>
                  <a:lnTo>
                    <a:pt x="217" y="345"/>
                  </a:lnTo>
                  <a:lnTo>
                    <a:pt x="217" y="344"/>
                  </a:lnTo>
                  <a:lnTo>
                    <a:pt x="213" y="344"/>
                  </a:lnTo>
                  <a:lnTo>
                    <a:pt x="209" y="344"/>
                  </a:lnTo>
                  <a:lnTo>
                    <a:pt x="207" y="342"/>
                  </a:lnTo>
                  <a:lnTo>
                    <a:pt x="203" y="342"/>
                  </a:lnTo>
                  <a:lnTo>
                    <a:pt x="201" y="342"/>
                  </a:lnTo>
                  <a:lnTo>
                    <a:pt x="197" y="342"/>
                  </a:lnTo>
                  <a:lnTo>
                    <a:pt x="195" y="342"/>
                  </a:lnTo>
                  <a:lnTo>
                    <a:pt x="192" y="342"/>
                  </a:lnTo>
                  <a:lnTo>
                    <a:pt x="186" y="342"/>
                  </a:lnTo>
                  <a:lnTo>
                    <a:pt x="184" y="345"/>
                  </a:lnTo>
                  <a:lnTo>
                    <a:pt x="180" y="345"/>
                  </a:lnTo>
                  <a:lnTo>
                    <a:pt x="178" y="345"/>
                  </a:lnTo>
                  <a:lnTo>
                    <a:pt x="178" y="347"/>
                  </a:lnTo>
                  <a:lnTo>
                    <a:pt x="172" y="347"/>
                  </a:lnTo>
                  <a:lnTo>
                    <a:pt x="169" y="349"/>
                  </a:lnTo>
                  <a:lnTo>
                    <a:pt x="167" y="349"/>
                  </a:lnTo>
                  <a:lnTo>
                    <a:pt x="163" y="349"/>
                  </a:lnTo>
                  <a:lnTo>
                    <a:pt x="161" y="349"/>
                  </a:lnTo>
                  <a:lnTo>
                    <a:pt x="157" y="349"/>
                  </a:lnTo>
                  <a:lnTo>
                    <a:pt x="155" y="347"/>
                  </a:lnTo>
                  <a:lnTo>
                    <a:pt x="153" y="347"/>
                  </a:lnTo>
                  <a:lnTo>
                    <a:pt x="151" y="345"/>
                  </a:lnTo>
                  <a:lnTo>
                    <a:pt x="151" y="344"/>
                  </a:lnTo>
                  <a:lnTo>
                    <a:pt x="147" y="342"/>
                  </a:lnTo>
                  <a:lnTo>
                    <a:pt x="147" y="344"/>
                  </a:lnTo>
                  <a:lnTo>
                    <a:pt x="146" y="345"/>
                  </a:lnTo>
                  <a:lnTo>
                    <a:pt x="144" y="347"/>
                  </a:lnTo>
                  <a:lnTo>
                    <a:pt x="144" y="351"/>
                  </a:lnTo>
                  <a:lnTo>
                    <a:pt x="142" y="355"/>
                  </a:lnTo>
                  <a:lnTo>
                    <a:pt x="142" y="359"/>
                  </a:lnTo>
                  <a:lnTo>
                    <a:pt x="140" y="359"/>
                  </a:lnTo>
                  <a:lnTo>
                    <a:pt x="136" y="359"/>
                  </a:lnTo>
                  <a:lnTo>
                    <a:pt x="132" y="359"/>
                  </a:lnTo>
                  <a:lnTo>
                    <a:pt x="128" y="357"/>
                  </a:lnTo>
                  <a:lnTo>
                    <a:pt x="124" y="355"/>
                  </a:lnTo>
                  <a:lnTo>
                    <a:pt x="124" y="351"/>
                  </a:lnTo>
                  <a:lnTo>
                    <a:pt x="123" y="349"/>
                  </a:lnTo>
                  <a:lnTo>
                    <a:pt x="121" y="347"/>
                  </a:lnTo>
                  <a:lnTo>
                    <a:pt x="119" y="345"/>
                  </a:lnTo>
                  <a:lnTo>
                    <a:pt x="117" y="345"/>
                  </a:lnTo>
                  <a:lnTo>
                    <a:pt x="115" y="345"/>
                  </a:lnTo>
                  <a:lnTo>
                    <a:pt x="111" y="345"/>
                  </a:lnTo>
                  <a:lnTo>
                    <a:pt x="109" y="345"/>
                  </a:lnTo>
                  <a:lnTo>
                    <a:pt x="107" y="345"/>
                  </a:lnTo>
                  <a:lnTo>
                    <a:pt x="105" y="342"/>
                  </a:lnTo>
                  <a:lnTo>
                    <a:pt x="103" y="342"/>
                  </a:lnTo>
                  <a:lnTo>
                    <a:pt x="101" y="340"/>
                  </a:lnTo>
                  <a:lnTo>
                    <a:pt x="101" y="336"/>
                  </a:lnTo>
                  <a:lnTo>
                    <a:pt x="101" y="334"/>
                  </a:lnTo>
                  <a:lnTo>
                    <a:pt x="101" y="330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6"/>
                  </a:lnTo>
                  <a:lnTo>
                    <a:pt x="101" y="324"/>
                  </a:lnTo>
                  <a:lnTo>
                    <a:pt x="99" y="322"/>
                  </a:lnTo>
                  <a:lnTo>
                    <a:pt x="98" y="320"/>
                  </a:lnTo>
                  <a:lnTo>
                    <a:pt x="98" y="319"/>
                  </a:lnTo>
                  <a:lnTo>
                    <a:pt x="96" y="319"/>
                  </a:lnTo>
                  <a:lnTo>
                    <a:pt x="94" y="317"/>
                  </a:lnTo>
                  <a:lnTo>
                    <a:pt x="92" y="315"/>
                  </a:lnTo>
                  <a:lnTo>
                    <a:pt x="92" y="313"/>
                  </a:lnTo>
                  <a:lnTo>
                    <a:pt x="90" y="313"/>
                  </a:lnTo>
                  <a:lnTo>
                    <a:pt x="88" y="311"/>
                  </a:lnTo>
                  <a:lnTo>
                    <a:pt x="86" y="309"/>
                  </a:lnTo>
                  <a:lnTo>
                    <a:pt x="86" y="309"/>
                  </a:lnTo>
                  <a:lnTo>
                    <a:pt x="84" y="307"/>
                  </a:lnTo>
                  <a:lnTo>
                    <a:pt x="82" y="303"/>
                  </a:lnTo>
                  <a:lnTo>
                    <a:pt x="80" y="301"/>
                  </a:lnTo>
                  <a:lnTo>
                    <a:pt x="80" y="297"/>
                  </a:lnTo>
                  <a:lnTo>
                    <a:pt x="80" y="296"/>
                  </a:lnTo>
                  <a:lnTo>
                    <a:pt x="80" y="294"/>
                  </a:lnTo>
                  <a:lnTo>
                    <a:pt x="78" y="292"/>
                  </a:lnTo>
                  <a:lnTo>
                    <a:pt x="78" y="290"/>
                  </a:lnTo>
                  <a:lnTo>
                    <a:pt x="75" y="286"/>
                  </a:lnTo>
                  <a:lnTo>
                    <a:pt x="73" y="284"/>
                  </a:lnTo>
                  <a:lnTo>
                    <a:pt x="71" y="284"/>
                  </a:lnTo>
                  <a:lnTo>
                    <a:pt x="71" y="282"/>
                  </a:lnTo>
                  <a:lnTo>
                    <a:pt x="69" y="282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3" y="278"/>
                  </a:lnTo>
                  <a:lnTo>
                    <a:pt x="61" y="278"/>
                  </a:lnTo>
                  <a:lnTo>
                    <a:pt x="59" y="278"/>
                  </a:lnTo>
                  <a:lnTo>
                    <a:pt x="57" y="278"/>
                  </a:lnTo>
                  <a:lnTo>
                    <a:pt x="55" y="278"/>
                  </a:lnTo>
                  <a:lnTo>
                    <a:pt x="52" y="278"/>
                  </a:lnTo>
                  <a:lnTo>
                    <a:pt x="50" y="278"/>
                  </a:lnTo>
                  <a:lnTo>
                    <a:pt x="48" y="278"/>
                  </a:lnTo>
                  <a:lnTo>
                    <a:pt x="44" y="278"/>
                  </a:lnTo>
                  <a:lnTo>
                    <a:pt x="40" y="278"/>
                  </a:lnTo>
                  <a:lnTo>
                    <a:pt x="38" y="278"/>
                  </a:lnTo>
                  <a:lnTo>
                    <a:pt x="34" y="278"/>
                  </a:lnTo>
                  <a:lnTo>
                    <a:pt x="30" y="278"/>
                  </a:lnTo>
                  <a:lnTo>
                    <a:pt x="29" y="278"/>
                  </a:lnTo>
                  <a:lnTo>
                    <a:pt x="27" y="278"/>
                  </a:lnTo>
                  <a:lnTo>
                    <a:pt x="25" y="278"/>
                  </a:lnTo>
                  <a:lnTo>
                    <a:pt x="23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7" y="278"/>
                  </a:lnTo>
                  <a:lnTo>
                    <a:pt x="17" y="280"/>
                  </a:lnTo>
                  <a:lnTo>
                    <a:pt x="13" y="280"/>
                  </a:lnTo>
                  <a:lnTo>
                    <a:pt x="11" y="280"/>
                  </a:lnTo>
                  <a:lnTo>
                    <a:pt x="7" y="280"/>
                  </a:lnTo>
                  <a:lnTo>
                    <a:pt x="7" y="278"/>
                  </a:lnTo>
                  <a:lnTo>
                    <a:pt x="5" y="276"/>
                  </a:lnTo>
                  <a:lnTo>
                    <a:pt x="5" y="274"/>
                  </a:lnTo>
                  <a:lnTo>
                    <a:pt x="5" y="273"/>
                  </a:lnTo>
                  <a:lnTo>
                    <a:pt x="5" y="269"/>
                  </a:lnTo>
                  <a:lnTo>
                    <a:pt x="5" y="267"/>
                  </a:lnTo>
                  <a:lnTo>
                    <a:pt x="5" y="263"/>
                  </a:lnTo>
                  <a:lnTo>
                    <a:pt x="5" y="261"/>
                  </a:lnTo>
                  <a:lnTo>
                    <a:pt x="5" y="261"/>
                  </a:lnTo>
                  <a:lnTo>
                    <a:pt x="5" y="259"/>
                  </a:lnTo>
                  <a:lnTo>
                    <a:pt x="5" y="257"/>
                  </a:lnTo>
                  <a:lnTo>
                    <a:pt x="4" y="255"/>
                  </a:lnTo>
                  <a:lnTo>
                    <a:pt x="4" y="253"/>
                  </a:lnTo>
                  <a:lnTo>
                    <a:pt x="4" y="251"/>
                  </a:lnTo>
                  <a:lnTo>
                    <a:pt x="4" y="249"/>
                  </a:lnTo>
                  <a:lnTo>
                    <a:pt x="4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4" y="238"/>
                  </a:lnTo>
                  <a:lnTo>
                    <a:pt x="2" y="234"/>
                  </a:lnTo>
                  <a:lnTo>
                    <a:pt x="2" y="230"/>
                  </a:lnTo>
                  <a:lnTo>
                    <a:pt x="2" y="228"/>
                  </a:lnTo>
                  <a:lnTo>
                    <a:pt x="2" y="228"/>
                  </a:lnTo>
                  <a:lnTo>
                    <a:pt x="0" y="225"/>
                  </a:lnTo>
                  <a:lnTo>
                    <a:pt x="0" y="223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7"/>
                  </a:lnTo>
                  <a:lnTo>
                    <a:pt x="0" y="215"/>
                  </a:lnTo>
                  <a:lnTo>
                    <a:pt x="0" y="213"/>
                  </a:lnTo>
                  <a:lnTo>
                    <a:pt x="2" y="211"/>
                  </a:lnTo>
                  <a:lnTo>
                    <a:pt x="4" y="207"/>
                  </a:lnTo>
                  <a:lnTo>
                    <a:pt x="4" y="205"/>
                  </a:lnTo>
                  <a:lnTo>
                    <a:pt x="5" y="205"/>
                  </a:lnTo>
                  <a:lnTo>
                    <a:pt x="5" y="203"/>
                  </a:lnTo>
                  <a:lnTo>
                    <a:pt x="5" y="202"/>
                  </a:lnTo>
                  <a:lnTo>
                    <a:pt x="5" y="200"/>
                  </a:lnTo>
                  <a:lnTo>
                    <a:pt x="5" y="196"/>
                  </a:lnTo>
                  <a:lnTo>
                    <a:pt x="5" y="194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8"/>
                  </a:lnTo>
                  <a:lnTo>
                    <a:pt x="7" y="188"/>
                  </a:lnTo>
                  <a:lnTo>
                    <a:pt x="7" y="184"/>
                  </a:lnTo>
                  <a:lnTo>
                    <a:pt x="9" y="182"/>
                  </a:lnTo>
                  <a:lnTo>
                    <a:pt x="11" y="182"/>
                  </a:lnTo>
                  <a:lnTo>
                    <a:pt x="15" y="182"/>
                  </a:lnTo>
                  <a:lnTo>
                    <a:pt x="17" y="182"/>
                  </a:lnTo>
                  <a:lnTo>
                    <a:pt x="19" y="184"/>
                  </a:lnTo>
                  <a:lnTo>
                    <a:pt x="21" y="184"/>
                  </a:lnTo>
                  <a:lnTo>
                    <a:pt x="23" y="184"/>
                  </a:lnTo>
                  <a:lnTo>
                    <a:pt x="25" y="184"/>
                  </a:lnTo>
                  <a:lnTo>
                    <a:pt x="27" y="180"/>
                  </a:lnTo>
                  <a:lnTo>
                    <a:pt x="27" y="178"/>
                  </a:lnTo>
                  <a:lnTo>
                    <a:pt x="27" y="175"/>
                  </a:lnTo>
                  <a:lnTo>
                    <a:pt x="27" y="173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7" y="165"/>
                  </a:lnTo>
                  <a:lnTo>
                    <a:pt x="29" y="163"/>
                  </a:lnTo>
                  <a:lnTo>
                    <a:pt x="29" y="161"/>
                  </a:lnTo>
                  <a:lnTo>
                    <a:pt x="30" y="159"/>
                  </a:lnTo>
                  <a:lnTo>
                    <a:pt x="30" y="157"/>
                  </a:lnTo>
                  <a:lnTo>
                    <a:pt x="32" y="157"/>
                  </a:lnTo>
                  <a:lnTo>
                    <a:pt x="34" y="155"/>
                  </a:lnTo>
                  <a:lnTo>
                    <a:pt x="34" y="154"/>
                  </a:lnTo>
                  <a:lnTo>
                    <a:pt x="36" y="154"/>
                  </a:lnTo>
                  <a:lnTo>
                    <a:pt x="38" y="152"/>
                  </a:lnTo>
                  <a:lnTo>
                    <a:pt x="38" y="150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8" y="140"/>
                  </a:lnTo>
                  <a:lnTo>
                    <a:pt x="38" y="138"/>
                  </a:lnTo>
                  <a:lnTo>
                    <a:pt x="40" y="136"/>
                  </a:lnTo>
                  <a:lnTo>
                    <a:pt x="42" y="134"/>
                  </a:lnTo>
                  <a:lnTo>
                    <a:pt x="44" y="132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6" y="127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6" y="115"/>
                  </a:lnTo>
                  <a:lnTo>
                    <a:pt x="46" y="113"/>
                  </a:lnTo>
                  <a:lnTo>
                    <a:pt x="46" y="111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6"/>
                  </a:lnTo>
                  <a:lnTo>
                    <a:pt x="46" y="104"/>
                  </a:lnTo>
                  <a:lnTo>
                    <a:pt x="44" y="102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38" y="98"/>
                  </a:lnTo>
                  <a:lnTo>
                    <a:pt x="38" y="96"/>
                  </a:lnTo>
                  <a:lnTo>
                    <a:pt x="38" y="94"/>
                  </a:lnTo>
                  <a:lnTo>
                    <a:pt x="38" y="92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38" y="84"/>
                  </a:lnTo>
                  <a:lnTo>
                    <a:pt x="38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40" y="77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38" y="7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5" name="Freeform 91"/>
            <p:cNvSpPr>
              <a:spLocks/>
            </p:cNvSpPr>
            <p:nvPr/>
          </p:nvSpPr>
          <p:spPr bwMode="auto">
            <a:xfrm>
              <a:off x="966" y="1770"/>
              <a:ext cx="284" cy="207"/>
            </a:xfrm>
            <a:custGeom>
              <a:avLst/>
              <a:gdLst/>
              <a:ahLst/>
              <a:cxnLst>
                <a:cxn ang="0">
                  <a:pos x="276" y="101"/>
                </a:cxn>
                <a:cxn ang="0">
                  <a:pos x="278" y="86"/>
                </a:cxn>
                <a:cxn ang="0">
                  <a:pos x="263" y="86"/>
                </a:cxn>
                <a:cxn ang="0">
                  <a:pos x="252" y="76"/>
                </a:cxn>
                <a:cxn ang="0">
                  <a:pos x="252" y="63"/>
                </a:cxn>
                <a:cxn ang="0">
                  <a:pos x="244" y="57"/>
                </a:cxn>
                <a:cxn ang="0">
                  <a:pos x="232" y="52"/>
                </a:cxn>
                <a:cxn ang="0">
                  <a:pos x="227" y="40"/>
                </a:cxn>
                <a:cxn ang="0">
                  <a:pos x="221" y="32"/>
                </a:cxn>
                <a:cxn ang="0">
                  <a:pos x="217" y="17"/>
                </a:cxn>
                <a:cxn ang="0">
                  <a:pos x="217" y="2"/>
                </a:cxn>
                <a:cxn ang="0">
                  <a:pos x="202" y="2"/>
                </a:cxn>
                <a:cxn ang="0">
                  <a:pos x="184" y="0"/>
                </a:cxn>
                <a:cxn ang="0">
                  <a:pos x="167" y="0"/>
                </a:cxn>
                <a:cxn ang="0">
                  <a:pos x="159" y="11"/>
                </a:cxn>
                <a:cxn ang="0">
                  <a:pos x="144" y="17"/>
                </a:cxn>
                <a:cxn ang="0">
                  <a:pos x="133" y="23"/>
                </a:cxn>
                <a:cxn ang="0">
                  <a:pos x="131" y="46"/>
                </a:cxn>
                <a:cxn ang="0">
                  <a:pos x="117" y="40"/>
                </a:cxn>
                <a:cxn ang="0">
                  <a:pos x="104" y="42"/>
                </a:cxn>
                <a:cxn ang="0">
                  <a:pos x="96" y="52"/>
                </a:cxn>
                <a:cxn ang="0">
                  <a:pos x="86" y="61"/>
                </a:cxn>
                <a:cxn ang="0">
                  <a:pos x="77" y="75"/>
                </a:cxn>
                <a:cxn ang="0">
                  <a:pos x="60" y="73"/>
                </a:cxn>
                <a:cxn ang="0">
                  <a:pos x="48" y="78"/>
                </a:cxn>
                <a:cxn ang="0">
                  <a:pos x="48" y="92"/>
                </a:cxn>
                <a:cxn ang="0">
                  <a:pos x="39" y="100"/>
                </a:cxn>
                <a:cxn ang="0">
                  <a:pos x="37" y="115"/>
                </a:cxn>
                <a:cxn ang="0">
                  <a:pos x="25" y="119"/>
                </a:cxn>
                <a:cxn ang="0">
                  <a:pos x="10" y="121"/>
                </a:cxn>
                <a:cxn ang="0">
                  <a:pos x="0" y="130"/>
                </a:cxn>
                <a:cxn ang="0">
                  <a:pos x="6" y="140"/>
                </a:cxn>
                <a:cxn ang="0">
                  <a:pos x="2" y="151"/>
                </a:cxn>
                <a:cxn ang="0">
                  <a:pos x="4" y="163"/>
                </a:cxn>
                <a:cxn ang="0">
                  <a:pos x="6" y="172"/>
                </a:cxn>
                <a:cxn ang="0">
                  <a:pos x="16" y="184"/>
                </a:cxn>
                <a:cxn ang="0">
                  <a:pos x="21" y="192"/>
                </a:cxn>
                <a:cxn ang="0">
                  <a:pos x="31" y="197"/>
                </a:cxn>
                <a:cxn ang="0">
                  <a:pos x="42" y="207"/>
                </a:cxn>
                <a:cxn ang="0">
                  <a:pos x="48" y="199"/>
                </a:cxn>
                <a:cxn ang="0">
                  <a:pos x="60" y="195"/>
                </a:cxn>
                <a:cxn ang="0">
                  <a:pos x="71" y="192"/>
                </a:cxn>
                <a:cxn ang="0">
                  <a:pos x="86" y="192"/>
                </a:cxn>
                <a:cxn ang="0">
                  <a:pos x="98" y="197"/>
                </a:cxn>
                <a:cxn ang="0">
                  <a:pos x="102" y="184"/>
                </a:cxn>
                <a:cxn ang="0">
                  <a:pos x="98" y="172"/>
                </a:cxn>
                <a:cxn ang="0">
                  <a:pos x="100" y="157"/>
                </a:cxn>
                <a:cxn ang="0">
                  <a:pos x="104" y="144"/>
                </a:cxn>
                <a:cxn ang="0">
                  <a:pos x="113" y="147"/>
                </a:cxn>
                <a:cxn ang="0">
                  <a:pos x="127" y="151"/>
                </a:cxn>
                <a:cxn ang="0">
                  <a:pos x="144" y="151"/>
                </a:cxn>
                <a:cxn ang="0">
                  <a:pos x="159" y="149"/>
                </a:cxn>
                <a:cxn ang="0">
                  <a:pos x="177" y="149"/>
                </a:cxn>
                <a:cxn ang="0">
                  <a:pos x="192" y="147"/>
                </a:cxn>
                <a:cxn ang="0">
                  <a:pos x="204" y="142"/>
                </a:cxn>
                <a:cxn ang="0">
                  <a:pos x="215" y="146"/>
                </a:cxn>
                <a:cxn ang="0">
                  <a:pos x="230" y="147"/>
                </a:cxn>
                <a:cxn ang="0">
                  <a:pos x="244" y="144"/>
                </a:cxn>
                <a:cxn ang="0">
                  <a:pos x="252" y="138"/>
                </a:cxn>
                <a:cxn ang="0">
                  <a:pos x="265" y="136"/>
                </a:cxn>
                <a:cxn ang="0">
                  <a:pos x="276" y="134"/>
                </a:cxn>
                <a:cxn ang="0">
                  <a:pos x="284" y="124"/>
                </a:cxn>
                <a:cxn ang="0">
                  <a:pos x="284" y="113"/>
                </a:cxn>
              </a:cxnLst>
              <a:rect l="0" t="0" r="r" b="b"/>
              <a:pathLst>
                <a:path w="284" h="207">
                  <a:moveTo>
                    <a:pt x="284" y="111"/>
                  </a:moveTo>
                  <a:lnTo>
                    <a:pt x="282" y="109"/>
                  </a:lnTo>
                  <a:lnTo>
                    <a:pt x="278" y="109"/>
                  </a:lnTo>
                  <a:lnTo>
                    <a:pt x="278" y="107"/>
                  </a:lnTo>
                  <a:lnTo>
                    <a:pt x="276" y="105"/>
                  </a:lnTo>
                  <a:lnTo>
                    <a:pt x="276" y="101"/>
                  </a:lnTo>
                  <a:lnTo>
                    <a:pt x="276" y="101"/>
                  </a:lnTo>
                  <a:lnTo>
                    <a:pt x="278" y="100"/>
                  </a:lnTo>
                  <a:lnTo>
                    <a:pt x="280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2"/>
                  </a:lnTo>
                  <a:lnTo>
                    <a:pt x="280" y="88"/>
                  </a:lnTo>
                  <a:lnTo>
                    <a:pt x="278" y="86"/>
                  </a:lnTo>
                  <a:lnTo>
                    <a:pt x="275" y="86"/>
                  </a:lnTo>
                  <a:lnTo>
                    <a:pt x="273" y="84"/>
                  </a:lnTo>
                  <a:lnTo>
                    <a:pt x="269" y="84"/>
                  </a:lnTo>
                  <a:lnTo>
                    <a:pt x="269" y="86"/>
                  </a:lnTo>
                  <a:lnTo>
                    <a:pt x="267" y="86"/>
                  </a:lnTo>
                  <a:lnTo>
                    <a:pt x="263" y="86"/>
                  </a:lnTo>
                  <a:lnTo>
                    <a:pt x="263" y="86"/>
                  </a:lnTo>
                  <a:lnTo>
                    <a:pt x="261" y="86"/>
                  </a:lnTo>
                  <a:lnTo>
                    <a:pt x="259" y="86"/>
                  </a:lnTo>
                  <a:lnTo>
                    <a:pt x="259" y="84"/>
                  </a:lnTo>
                  <a:lnTo>
                    <a:pt x="257" y="84"/>
                  </a:lnTo>
                  <a:lnTo>
                    <a:pt x="255" y="80"/>
                  </a:lnTo>
                  <a:lnTo>
                    <a:pt x="255" y="78"/>
                  </a:lnTo>
                  <a:lnTo>
                    <a:pt x="252" y="76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50" y="71"/>
                  </a:lnTo>
                  <a:lnTo>
                    <a:pt x="250" y="69"/>
                  </a:lnTo>
                  <a:lnTo>
                    <a:pt x="252" y="67"/>
                  </a:lnTo>
                  <a:lnTo>
                    <a:pt x="252" y="65"/>
                  </a:lnTo>
                  <a:lnTo>
                    <a:pt x="252" y="63"/>
                  </a:lnTo>
                  <a:lnTo>
                    <a:pt x="255" y="63"/>
                  </a:lnTo>
                  <a:lnTo>
                    <a:pt x="253" y="63"/>
                  </a:lnTo>
                  <a:lnTo>
                    <a:pt x="252" y="63"/>
                  </a:lnTo>
                  <a:lnTo>
                    <a:pt x="252" y="61"/>
                  </a:lnTo>
                  <a:lnTo>
                    <a:pt x="250" y="59"/>
                  </a:lnTo>
                  <a:lnTo>
                    <a:pt x="246" y="59"/>
                  </a:lnTo>
                  <a:lnTo>
                    <a:pt x="244" y="57"/>
                  </a:lnTo>
                  <a:lnTo>
                    <a:pt x="242" y="57"/>
                  </a:lnTo>
                  <a:lnTo>
                    <a:pt x="240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6" y="55"/>
                  </a:lnTo>
                  <a:lnTo>
                    <a:pt x="234" y="53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2" y="50"/>
                  </a:lnTo>
                  <a:lnTo>
                    <a:pt x="228" y="50"/>
                  </a:lnTo>
                  <a:lnTo>
                    <a:pt x="228" y="46"/>
                  </a:lnTo>
                  <a:lnTo>
                    <a:pt x="228" y="46"/>
                  </a:lnTo>
                  <a:lnTo>
                    <a:pt x="227" y="4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5" y="38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1" y="36"/>
                  </a:lnTo>
                  <a:lnTo>
                    <a:pt x="221" y="34"/>
                  </a:lnTo>
                  <a:lnTo>
                    <a:pt x="221" y="32"/>
                  </a:lnTo>
                  <a:lnTo>
                    <a:pt x="219" y="32"/>
                  </a:lnTo>
                  <a:lnTo>
                    <a:pt x="217" y="30"/>
                  </a:lnTo>
                  <a:lnTo>
                    <a:pt x="217" y="29"/>
                  </a:lnTo>
                  <a:lnTo>
                    <a:pt x="217" y="27"/>
                  </a:lnTo>
                  <a:lnTo>
                    <a:pt x="217" y="25"/>
                  </a:lnTo>
                  <a:lnTo>
                    <a:pt x="217" y="21"/>
                  </a:lnTo>
                  <a:lnTo>
                    <a:pt x="217" y="17"/>
                  </a:lnTo>
                  <a:lnTo>
                    <a:pt x="217" y="15"/>
                  </a:lnTo>
                  <a:lnTo>
                    <a:pt x="217" y="13"/>
                  </a:lnTo>
                  <a:lnTo>
                    <a:pt x="217" y="11"/>
                  </a:lnTo>
                  <a:lnTo>
                    <a:pt x="217" y="7"/>
                  </a:lnTo>
                  <a:lnTo>
                    <a:pt x="217" y="5"/>
                  </a:lnTo>
                  <a:lnTo>
                    <a:pt x="217" y="4"/>
                  </a:lnTo>
                  <a:lnTo>
                    <a:pt x="217" y="2"/>
                  </a:lnTo>
                  <a:lnTo>
                    <a:pt x="217" y="0"/>
                  </a:lnTo>
                  <a:lnTo>
                    <a:pt x="213" y="0"/>
                  </a:lnTo>
                  <a:lnTo>
                    <a:pt x="211" y="2"/>
                  </a:lnTo>
                  <a:lnTo>
                    <a:pt x="209" y="2"/>
                  </a:lnTo>
                  <a:lnTo>
                    <a:pt x="207" y="2"/>
                  </a:lnTo>
                  <a:lnTo>
                    <a:pt x="204" y="2"/>
                  </a:lnTo>
                  <a:lnTo>
                    <a:pt x="202" y="2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0" y="2"/>
                  </a:lnTo>
                  <a:lnTo>
                    <a:pt x="188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7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5" y="0"/>
                  </a:lnTo>
                  <a:lnTo>
                    <a:pt x="165" y="2"/>
                  </a:lnTo>
                  <a:lnTo>
                    <a:pt x="163" y="4"/>
                  </a:lnTo>
                  <a:lnTo>
                    <a:pt x="161" y="5"/>
                  </a:lnTo>
                  <a:lnTo>
                    <a:pt x="161" y="7"/>
                  </a:lnTo>
                  <a:lnTo>
                    <a:pt x="159" y="7"/>
                  </a:lnTo>
                  <a:lnTo>
                    <a:pt x="159" y="11"/>
                  </a:lnTo>
                  <a:lnTo>
                    <a:pt x="157" y="11"/>
                  </a:lnTo>
                  <a:lnTo>
                    <a:pt x="156" y="13"/>
                  </a:lnTo>
                  <a:lnTo>
                    <a:pt x="154" y="13"/>
                  </a:lnTo>
                  <a:lnTo>
                    <a:pt x="152" y="13"/>
                  </a:lnTo>
                  <a:lnTo>
                    <a:pt x="148" y="17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38" y="21"/>
                  </a:lnTo>
                  <a:lnTo>
                    <a:pt x="136" y="21"/>
                  </a:lnTo>
                  <a:lnTo>
                    <a:pt x="136" y="23"/>
                  </a:lnTo>
                  <a:lnTo>
                    <a:pt x="134" y="23"/>
                  </a:lnTo>
                  <a:lnTo>
                    <a:pt x="133" y="23"/>
                  </a:lnTo>
                  <a:lnTo>
                    <a:pt x="133" y="25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4"/>
                  </a:lnTo>
                  <a:lnTo>
                    <a:pt x="131" y="36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29" y="46"/>
                  </a:lnTo>
                  <a:lnTo>
                    <a:pt x="127" y="44"/>
                  </a:lnTo>
                  <a:lnTo>
                    <a:pt x="125" y="44"/>
                  </a:lnTo>
                  <a:lnTo>
                    <a:pt x="123" y="44"/>
                  </a:lnTo>
                  <a:lnTo>
                    <a:pt x="121" y="42"/>
                  </a:lnTo>
                  <a:lnTo>
                    <a:pt x="117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08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0" y="44"/>
                  </a:lnTo>
                  <a:lnTo>
                    <a:pt x="98" y="46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3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0" y="61"/>
                  </a:lnTo>
                  <a:lnTo>
                    <a:pt x="88" y="61"/>
                  </a:lnTo>
                  <a:lnTo>
                    <a:pt x="86" y="61"/>
                  </a:lnTo>
                  <a:lnTo>
                    <a:pt x="85" y="61"/>
                  </a:lnTo>
                  <a:lnTo>
                    <a:pt x="83" y="63"/>
                  </a:lnTo>
                  <a:lnTo>
                    <a:pt x="85" y="67"/>
                  </a:lnTo>
                  <a:lnTo>
                    <a:pt x="85" y="73"/>
                  </a:lnTo>
                  <a:lnTo>
                    <a:pt x="83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5" y="75"/>
                  </a:lnTo>
                  <a:lnTo>
                    <a:pt x="73" y="75"/>
                  </a:lnTo>
                  <a:lnTo>
                    <a:pt x="69" y="73"/>
                  </a:lnTo>
                  <a:lnTo>
                    <a:pt x="65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8"/>
                  </a:lnTo>
                  <a:lnTo>
                    <a:pt x="48" y="78"/>
                  </a:lnTo>
                  <a:lnTo>
                    <a:pt x="48" y="80"/>
                  </a:lnTo>
                  <a:lnTo>
                    <a:pt x="46" y="82"/>
                  </a:lnTo>
                  <a:lnTo>
                    <a:pt x="44" y="84"/>
                  </a:lnTo>
                  <a:lnTo>
                    <a:pt x="46" y="86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0" y="98"/>
                  </a:lnTo>
                  <a:lnTo>
                    <a:pt x="39" y="100"/>
                  </a:lnTo>
                  <a:lnTo>
                    <a:pt x="39" y="103"/>
                  </a:lnTo>
                  <a:lnTo>
                    <a:pt x="39" y="105"/>
                  </a:lnTo>
                  <a:lnTo>
                    <a:pt x="39" y="107"/>
                  </a:lnTo>
                  <a:lnTo>
                    <a:pt x="39" y="111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7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1" y="121"/>
                  </a:lnTo>
                  <a:lnTo>
                    <a:pt x="19" y="121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2" y="121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4"/>
                  </a:lnTo>
                  <a:lnTo>
                    <a:pt x="2" y="124"/>
                  </a:lnTo>
                  <a:lnTo>
                    <a:pt x="0" y="128"/>
                  </a:lnTo>
                  <a:lnTo>
                    <a:pt x="0" y="130"/>
                  </a:lnTo>
                  <a:lnTo>
                    <a:pt x="4" y="130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6" y="134"/>
                  </a:lnTo>
                  <a:lnTo>
                    <a:pt x="6" y="136"/>
                  </a:lnTo>
                  <a:lnTo>
                    <a:pt x="6" y="138"/>
                  </a:lnTo>
                  <a:lnTo>
                    <a:pt x="6" y="140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7"/>
                  </a:lnTo>
                  <a:lnTo>
                    <a:pt x="2" y="147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53"/>
                  </a:lnTo>
                  <a:lnTo>
                    <a:pt x="4" y="157"/>
                  </a:lnTo>
                  <a:lnTo>
                    <a:pt x="4" y="159"/>
                  </a:lnTo>
                  <a:lnTo>
                    <a:pt x="4" y="161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5"/>
                  </a:lnTo>
                  <a:lnTo>
                    <a:pt x="4" y="167"/>
                  </a:lnTo>
                  <a:lnTo>
                    <a:pt x="2" y="169"/>
                  </a:lnTo>
                  <a:lnTo>
                    <a:pt x="2" y="171"/>
                  </a:lnTo>
                  <a:lnTo>
                    <a:pt x="2" y="172"/>
                  </a:lnTo>
                  <a:lnTo>
                    <a:pt x="6" y="172"/>
                  </a:lnTo>
                  <a:lnTo>
                    <a:pt x="8" y="174"/>
                  </a:lnTo>
                  <a:lnTo>
                    <a:pt x="10" y="174"/>
                  </a:lnTo>
                  <a:lnTo>
                    <a:pt x="12" y="176"/>
                  </a:lnTo>
                  <a:lnTo>
                    <a:pt x="12" y="178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7" y="186"/>
                  </a:lnTo>
                  <a:lnTo>
                    <a:pt x="17" y="188"/>
                  </a:lnTo>
                  <a:lnTo>
                    <a:pt x="17" y="190"/>
                  </a:lnTo>
                  <a:lnTo>
                    <a:pt x="19" y="190"/>
                  </a:lnTo>
                  <a:lnTo>
                    <a:pt x="21" y="192"/>
                  </a:lnTo>
                  <a:lnTo>
                    <a:pt x="21" y="192"/>
                  </a:lnTo>
                  <a:lnTo>
                    <a:pt x="23" y="194"/>
                  </a:lnTo>
                  <a:lnTo>
                    <a:pt x="23" y="195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7" y="197"/>
                  </a:lnTo>
                  <a:lnTo>
                    <a:pt x="29" y="197"/>
                  </a:lnTo>
                  <a:lnTo>
                    <a:pt x="31" y="197"/>
                  </a:lnTo>
                  <a:lnTo>
                    <a:pt x="33" y="199"/>
                  </a:lnTo>
                  <a:lnTo>
                    <a:pt x="35" y="201"/>
                  </a:lnTo>
                  <a:lnTo>
                    <a:pt x="37" y="201"/>
                  </a:lnTo>
                  <a:lnTo>
                    <a:pt x="39" y="203"/>
                  </a:lnTo>
                  <a:lnTo>
                    <a:pt x="40" y="205"/>
                  </a:lnTo>
                  <a:lnTo>
                    <a:pt x="40" y="207"/>
                  </a:lnTo>
                  <a:lnTo>
                    <a:pt x="42" y="207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8" y="207"/>
                  </a:lnTo>
                  <a:lnTo>
                    <a:pt x="48" y="205"/>
                  </a:lnTo>
                  <a:lnTo>
                    <a:pt x="48" y="203"/>
                  </a:lnTo>
                  <a:lnTo>
                    <a:pt x="48" y="201"/>
                  </a:lnTo>
                  <a:lnTo>
                    <a:pt x="48" y="199"/>
                  </a:lnTo>
                  <a:lnTo>
                    <a:pt x="50" y="197"/>
                  </a:lnTo>
                  <a:lnTo>
                    <a:pt x="52" y="197"/>
                  </a:lnTo>
                  <a:lnTo>
                    <a:pt x="54" y="197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60" y="195"/>
                  </a:lnTo>
                  <a:lnTo>
                    <a:pt x="60" y="195"/>
                  </a:lnTo>
                  <a:lnTo>
                    <a:pt x="62" y="195"/>
                  </a:lnTo>
                  <a:lnTo>
                    <a:pt x="63" y="194"/>
                  </a:lnTo>
                  <a:lnTo>
                    <a:pt x="65" y="194"/>
                  </a:lnTo>
                  <a:lnTo>
                    <a:pt x="67" y="192"/>
                  </a:lnTo>
                  <a:lnTo>
                    <a:pt x="67" y="192"/>
                  </a:lnTo>
                  <a:lnTo>
                    <a:pt x="69" y="192"/>
                  </a:lnTo>
                  <a:lnTo>
                    <a:pt x="71" y="192"/>
                  </a:lnTo>
                  <a:lnTo>
                    <a:pt x="75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8" y="192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2" y="195"/>
                  </a:lnTo>
                  <a:lnTo>
                    <a:pt x="94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100" y="195"/>
                  </a:lnTo>
                  <a:lnTo>
                    <a:pt x="100" y="192"/>
                  </a:lnTo>
                  <a:lnTo>
                    <a:pt x="102" y="190"/>
                  </a:lnTo>
                  <a:lnTo>
                    <a:pt x="102" y="188"/>
                  </a:lnTo>
                  <a:lnTo>
                    <a:pt x="102" y="186"/>
                  </a:lnTo>
                  <a:lnTo>
                    <a:pt x="102" y="184"/>
                  </a:lnTo>
                  <a:lnTo>
                    <a:pt x="102" y="180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100" y="176"/>
                  </a:lnTo>
                  <a:lnTo>
                    <a:pt x="100" y="174"/>
                  </a:lnTo>
                  <a:lnTo>
                    <a:pt x="98" y="172"/>
                  </a:lnTo>
                  <a:lnTo>
                    <a:pt x="98" y="172"/>
                  </a:lnTo>
                  <a:lnTo>
                    <a:pt x="100" y="169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59"/>
                  </a:lnTo>
                  <a:lnTo>
                    <a:pt x="100" y="157"/>
                  </a:lnTo>
                  <a:lnTo>
                    <a:pt x="100" y="155"/>
                  </a:lnTo>
                  <a:lnTo>
                    <a:pt x="100" y="153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2" y="147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8" y="146"/>
                  </a:lnTo>
                  <a:lnTo>
                    <a:pt x="110" y="146"/>
                  </a:lnTo>
                  <a:lnTo>
                    <a:pt x="110" y="146"/>
                  </a:lnTo>
                  <a:lnTo>
                    <a:pt x="111" y="146"/>
                  </a:lnTo>
                  <a:lnTo>
                    <a:pt x="113" y="147"/>
                  </a:lnTo>
                  <a:lnTo>
                    <a:pt x="115" y="147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21" y="147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7" y="151"/>
                  </a:lnTo>
                  <a:lnTo>
                    <a:pt x="129" y="151"/>
                  </a:lnTo>
                  <a:lnTo>
                    <a:pt x="131" y="151"/>
                  </a:lnTo>
                  <a:lnTo>
                    <a:pt x="133" y="151"/>
                  </a:lnTo>
                  <a:lnTo>
                    <a:pt x="134" y="151"/>
                  </a:lnTo>
                  <a:lnTo>
                    <a:pt x="138" y="151"/>
                  </a:lnTo>
                  <a:lnTo>
                    <a:pt x="140" y="151"/>
                  </a:lnTo>
                  <a:lnTo>
                    <a:pt x="144" y="151"/>
                  </a:lnTo>
                  <a:lnTo>
                    <a:pt x="146" y="149"/>
                  </a:lnTo>
                  <a:lnTo>
                    <a:pt x="150" y="149"/>
                  </a:lnTo>
                  <a:lnTo>
                    <a:pt x="152" y="149"/>
                  </a:lnTo>
                  <a:lnTo>
                    <a:pt x="154" y="149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9" y="149"/>
                  </a:lnTo>
                  <a:lnTo>
                    <a:pt x="161" y="151"/>
                  </a:lnTo>
                  <a:lnTo>
                    <a:pt x="165" y="151"/>
                  </a:lnTo>
                  <a:lnTo>
                    <a:pt x="167" y="151"/>
                  </a:lnTo>
                  <a:lnTo>
                    <a:pt x="171" y="151"/>
                  </a:lnTo>
                  <a:lnTo>
                    <a:pt x="171" y="151"/>
                  </a:lnTo>
                  <a:lnTo>
                    <a:pt x="173" y="151"/>
                  </a:lnTo>
                  <a:lnTo>
                    <a:pt x="177" y="149"/>
                  </a:lnTo>
                  <a:lnTo>
                    <a:pt x="179" y="149"/>
                  </a:lnTo>
                  <a:lnTo>
                    <a:pt x="181" y="149"/>
                  </a:lnTo>
                  <a:lnTo>
                    <a:pt x="182" y="147"/>
                  </a:lnTo>
                  <a:lnTo>
                    <a:pt x="184" y="147"/>
                  </a:lnTo>
                  <a:lnTo>
                    <a:pt x="188" y="147"/>
                  </a:lnTo>
                  <a:lnTo>
                    <a:pt x="190" y="147"/>
                  </a:lnTo>
                  <a:lnTo>
                    <a:pt x="192" y="147"/>
                  </a:lnTo>
                  <a:lnTo>
                    <a:pt x="194" y="147"/>
                  </a:lnTo>
                  <a:lnTo>
                    <a:pt x="196" y="147"/>
                  </a:lnTo>
                  <a:lnTo>
                    <a:pt x="198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202" y="142"/>
                  </a:lnTo>
                  <a:lnTo>
                    <a:pt x="204" y="142"/>
                  </a:lnTo>
                  <a:lnTo>
                    <a:pt x="204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7" y="146"/>
                  </a:lnTo>
                  <a:lnTo>
                    <a:pt x="219" y="146"/>
                  </a:lnTo>
                  <a:lnTo>
                    <a:pt x="221" y="147"/>
                  </a:lnTo>
                  <a:lnTo>
                    <a:pt x="223" y="147"/>
                  </a:lnTo>
                  <a:lnTo>
                    <a:pt x="227" y="147"/>
                  </a:lnTo>
                  <a:lnTo>
                    <a:pt x="228" y="147"/>
                  </a:lnTo>
                  <a:lnTo>
                    <a:pt x="230" y="147"/>
                  </a:lnTo>
                  <a:lnTo>
                    <a:pt x="232" y="147"/>
                  </a:lnTo>
                  <a:lnTo>
                    <a:pt x="234" y="147"/>
                  </a:lnTo>
                  <a:lnTo>
                    <a:pt x="238" y="147"/>
                  </a:lnTo>
                  <a:lnTo>
                    <a:pt x="240" y="147"/>
                  </a:lnTo>
                  <a:lnTo>
                    <a:pt x="242" y="146"/>
                  </a:lnTo>
                  <a:lnTo>
                    <a:pt x="242" y="146"/>
                  </a:lnTo>
                  <a:lnTo>
                    <a:pt x="244" y="144"/>
                  </a:lnTo>
                  <a:lnTo>
                    <a:pt x="246" y="144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0" y="138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3" y="136"/>
                  </a:lnTo>
                  <a:lnTo>
                    <a:pt x="255" y="136"/>
                  </a:lnTo>
                  <a:lnTo>
                    <a:pt x="257" y="136"/>
                  </a:lnTo>
                  <a:lnTo>
                    <a:pt x="261" y="136"/>
                  </a:lnTo>
                  <a:lnTo>
                    <a:pt x="263" y="136"/>
                  </a:lnTo>
                  <a:lnTo>
                    <a:pt x="265" y="136"/>
                  </a:lnTo>
                  <a:lnTo>
                    <a:pt x="267" y="136"/>
                  </a:lnTo>
                  <a:lnTo>
                    <a:pt x="269" y="136"/>
                  </a:lnTo>
                  <a:lnTo>
                    <a:pt x="269" y="136"/>
                  </a:lnTo>
                  <a:lnTo>
                    <a:pt x="271" y="136"/>
                  </a:lnTo>
                  <a:lnTo>
                    <a:pt x="273" y="136"/>
                  </a:lnTo>
                  <a:lnTo>
                    <a:pt x="275" y="136"/>
                  </a:lnTo>
                  <a:lnTo>
                    <a:pt x="276" y="134"/>
                  </a:lnTo>
                  <a:lnTo>
                    <a:pt x="278" y="134"/>
                  </a:lnTo>
                  <a:lnTo>
                    <a:pt x="278" y="132"/>
                  </a:lnTo>
                  <a:lnTo>
                    <a:pt x="280" y="130"/>
                  </a:lnTo>
                  <a:lnTo>
                    <a:pt x="280" y="130"/>
                  </a:lnTo>
                  <a:lnTo>
                    <a:pt x="282" y="128"/>
                  </a:lnTo>
                  <a:lnTo>
                    <a:pt x="284" y="128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4" y="121"/>
                  </a:lnTo>
                  <a:lnTo>
                    <a:pt x="284" y="119"/>
                  </a:lnTo>
                  <a:lnTo>
                    <a:pt x="284" y="117"/>
                  </a:lnTo>
                  <a:lnTo>
                    <a:pt x="284" y="117"/>
                  </a:lnTo>
                  <a:lnTo>
                    <a:pt x="284" y="115"/>
                  </a:lnTo>
                  <a:lnTo>
                    <a:pt x="284" y="113"/>
                  </a:lnTo>
                  <a:lnTo>
                    <a:pt x="284" y="111"/>
                  </a:lnTo>
                  <a:lnTo>
                    <a:pt x="282" y="111"/>
                  </a:lnTo>
                  <a:lnTo>
                    <a:pt x="284" y="1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6" name="Freeform 92"/>
            <p:cNvSpPr>
              <a:spLocks/>
            </p:cNvSpPr>
            <p:nvPr/>
          </p:nvSpPr>
          <p:spPr bwMode="auto">
            <a:xfrm>
              <a:off x="966" y="1770"/>
              <a:ext cx="284" cy="207"/>
            </a:xfrm>
            <a:custGeom>
              <a:avLst/>
              <a:gdLst/>
              <a:ahLst/>
              <a:cxnLst>
                <a:cxn ang="0">
                  <a:pos x="276" y="101"/>
                </a:cxn>
                <a:cxn ang="0">
                  <a:pos x="278" y="86"/>
                </a:cxn>
                <a:cxn ang="0">
                  <a:pos x="263" y="86"/>
                </a:cxn>
                <a:cxn ang="0">
                  <a:pos x="252" y="76"/>
                </a:cxn>
                <a:cxn ang="0">
                  <a:pos x="252" y="63"/>
                </a:cxn>
                <a:cxn ang="0">
                  <a:pos x="244" y="57"/>
                </a:cxn>
                <a:cxn ang="0">
                  <a:pos x="232" y="52"/>
                </a:cxn>
                <a:cxn ang="0">
                  <a:pos x="227" y="40"/>
                </a:cxn>
                <a:cxn ang="0">
                  <a:pos x="221" y="32"/>
                </a:cxn>
                <a:cxn ang="0">
                  <a:pos x="217" y="17"/>
                </a:cxn>
                <a:cxn ang="0">
                  <a:pos x="217" y="2"/>
                </a:cxn>
                <a:cxn ang="0">
                  <a:pos x="202" y="2"/>
                </a:cxn>
                <a:cxn ang="0">
                  <a:pos x="184" y="0"/>
                </a:cxn>
                <a:cxn ang="0">
                  <a:pos x="167" y="0"/>
                </a:cxn>
                <a:cxn ang="0">
                  <a:pos x="159" y="11"/>
                </a:cxn>
                <a:cxn ang="0">
                  <a:pos x="144" y="17"/>
                </a:cxn>
                <a:cxn ang="0">
                  <a:pos x="133" y="23"/>
                </a:cxn>
                <a:cxn ang="0">
                  <a:pos x="131" y="46"/>
                </a:cxn>
                <a:cxn ang="0">
                  <a:pos x="117" y="40"/>
                </a:cxn>
                <a:cxn ang="0">
                  <a:pos x="104" y="42"/>
                </a:cxn>
                <a:cxn ang="0">
                  <a:pos x="96" y="52"/>
                </a:cxn>
                <a:cxn ang="0">
                  <a:pos x="86" y="61"/>
                </a:cxn>
                <a:cxn ang="0">
                  <a:pos x="77" y="75"/>
                </a:cxn>
                <a:cxn ang="0">
                  <a:pos x="60" y="73"/>
                </a:cxn>
                <a:cxn ang="0">
                  <a:pos x="48" y="78"/>
                </a:cxn>
                <a:cxn ang="0">
                  <a:pos x="48" y="92"/>
                </a:cxn>
                <a:cxn ang="0">
                  <a:pos x="39" y="100"/>
                </a:cxn>
                <a:cxn ang="0">
                  <a:pos x="37" y="115"/>
                </a:cxn>
                <a:cxn ang="0">
                  <a:pos x="25" y="119"/>
                </a:cxn>
                <a:cxn ang="0">
                  <a:pos x="10" y="121"/>
                </a:cxn>
                <a:cxn ang="0">
                  <a:pos x="0" y="130"/>
                </a:cxn>
                <a:cxn ang="0">
                  <a:pos x="6" y="140"/>
                </a:cxn>
                <a:cxn ang="0">
                  <a:pos x="2" y="151"/>
                </a:cxn>
                <a:cxn ang="0">
                  <a:pos x="4" y="163"/>
                </a:cxn>
                <a:cxn ang="0">
                  <a:pos x="6" y="172"/>
                </a:cxn>
                <a:cxn ang="0">
                  <a:pos x="16" y="184"/>
                </a:cxn>
                <a:cxn ang="0">
                  <a:pos x="21" y="192"/>
                </a:cxn>
                <a:cxn ang="0">
                  <a:pos x="31" y="197"/>
                </a:cxn>
                <a:cxn ang="0">
                  <a:pos x="42" y="207"/>
                </a:cxn>
                <a:cxn ang="0">
                  <a:pos x="48" y="199"/>
                </a:cxn>
                <a:cxn ang="0">
                  <a:pos x="60" y="195"/>
                </a:cxn>
                <a:cxn ang="0">
                  <a:pos x="71" y="192"/>
                </a:cxn>
                <a:cxn ang="0">
                  <a:pos x="86" y="192"/>
                </a:cxn>
                <a:cxn ang="0">
                  <a:pos x="98" y="197"/>
                </a:cxn>
                <a:cxn ang="0">
                  <a:pos x="102" y="184"/>
                </a:cxn>
                <a:cxn ang="0">
                  <a:pos x="98" y="172"/>
                </a:cxn>
                <a:cxn ang="0">
                  <a:pos x="100" y="157"/>
                </a:cxn>
                <a:cxn ang="0">
                  <a:pos x="104" y="144"/>
                </a:cxn>
                <a:cxn ang="0">
                  <a:pos x="113" y="147"/>
                </a:cxn>
                <a:cxn ang="0">
                  <a:pos x="127" y="151"/>
                </a:cxn>
                <a:cxn ang="0">
                  <a:pos x="144" y="151"/>
                </a:cxn>
                <a:cxn ang="0">
                  <a:pos x="159" y="149"/>
                </a:cxn>
                <a:cxn ang="0">
                  <a:pos x="177" y="149"/>
                </a:cxn>
                <a:cxn ang="0">
                  <a:pos x="192" y="147"/>
                </a:cxn>
                <a:cxn ang="0">
                  <a:pos x="204" y="142"/>
                </a:cxn>
                <a:cxn ang="0">
                  <a:pos x="215" y="146"/>
                </a:cxn>
                <a:cxn ang="0">
                  <a:pos x="230" y="147"/>
                </a:cxn>
                <a:cxn ang="0">
                  <a:pos x="244" y="144"/>
                </a:cxn>
                <a:cxn ang="0">
                  <a:pos x="252" y="138"/>
                </a:cxn>
                <a:cxn ang="0">
                  <a:pos x="265" y="136"/>
                </a:cxn>
                <a:cxn ang="0">
                  <a:pos x="276" y="134"/>
                </a:cxn>
                <a:cxn ang="0">
                  <a:pos x="284" y="124"/>
                </a:cxn>
                <a:cxn ang="0">
                  <a:pos x="284" y="113"/>
                </a:cxn>
              </a:cxnLst>
              <a:rect l="0" t="0" r="r" b="b"/>
              <a:pathLst>
                <a:path w="284" h="207">
                  <a:moveTo>
                    <a:pt x="284" y="111"/>
                  </a:moveTo>
                  <a:lnTo>
                    <a:pt x="282" y="109"/>
                  </a:lnTo>
                  <a:lnTo>
                    <a:pt x="278" y="109"/>
                  </a:lnTo>
                  <a:lnTo>
                    <a:pt x="278" y="107"/>
                  </a:lnTo>
                  <a:lnTo>
                    <a:pt x="276" y="105"/>
                  </a:lnTo>
                  <a:lnTo>
                    <a:pt x="276" y="101"/>
                  </a:lnTo>
                  <a:lnTo>
                    <a:pt x="276" y="101"/>
                  </a:lnTo>
                  <a:lnTo>
                    <a:pt x="278" y="100"/>
                  </a:lnTo>
                  <a:lnTo>
                    <a:pt x="280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2"/>
                  </a:lnTo>
                  <a:lnTo>
                    <a:pt x="280" y="88"/>
                  </a:lnTo>
                  <a:lnTo>
                    <a:pt x="278" y="86"/>
                  </a:lnTo>
                  <a:lnTo>
                    <a:pt x="275" y="86"/>
                  </a:lnTo>
                  <a:lnTo>
                    <a:pt x="273" y="84"/>
                  </a:lnTo>
                  <a:lnTo>
                    <a:pt x="269" y="84"/>
                  </a:lnTo>
                  <a:lnTo>
                    <a:pt x="269" y="86"/>
                  </a:lnTo>
                  <a:lnTo>
                    <a:pt x="267" y="86"/>
                  </a:lnTo>
                  <a:lnTo>
                    <a:pt x="263" y="86"/>
                  </a:lnTo>
                  <a:lnTo>
                    <a:pt x="263" y="86"/>
                  </a:lnTo>
                  <a:lnTo>
                    <a:pt x="261" y="86"/>
                  </a:lnTo>
                  <a:lnTo>
                    <a:pt x="259" y="86"/>
                  </a:lnTo>
                  <a:lnTo>
                    <a:pt x="259" y="84"/>
                  </a:lnTo>
                  <a:lnTo>
                    <a:pt x="257" y="84"/>
                  </a:lnTo>
                  <a:lnTo>
                    <a:pt x="255" y="80"/>
                  </a:lnTo>
                  <a:lnTo>
                    <a:pt x="255" y="78"/>
                  </a:lnTo>
                  <a:lnTo>
                    <a:pt x="252" y="76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50" y="71"/>
                  </a:lnTo>
                  <a:lnTo>
                    <a:pt x="250" y="69"/>
                  </a:lnTo>
                  <a:lnTo>
                    <a:pt x="252" y="67"/>
                  </a:lnTo>
                  <a:lnTo>
                    <a:pt x="252" y="65"/>
                  </a:lnTo>
                  <a:lnTo>
                    <a:pt x="252" y="63"/>
                  </a:lnTo>
                  <a:lnTo>
                    <a:pt x="255" y="63"/>
                  </a:lnTo>
                  <a:lnTo>
                    <a:pt x="253" y="63"/>
                  </a:lnTo>
                  <a:lnTo>
                    <a:pt x="252" y="63"/>
                  </a:lnTo>
                  <a:lnTo>
                    <a:pt x="252" y="61"/>
                  </a:lnTo>
                  <a:lnTo>
                    <a:pt x="250" y="59"/>
                  </a:lnTo>
                  <a:lnTo>
                    <a:pt x="246" y="59"/>
                  </a:lnTo>
                  <a:lnTo>
                    <a:pt x="244" y="57"/>
                  </a:lnTo>
                  <a:lnTo>
                    <a:pt x="242" y="57"/>
                  </a:lnTo>
                  <a:lnTo>
                    <a:pt x="240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6" y="55"/>
                  </a:lnTo>
                  <a:lnTo>
                    <a:pt x="234" y="53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2" y="50"/>
                  </a:lnTo>
                  <a:lnTo>
                    <a:pt x="228" y="50"/>
                  </a:lnTo>
                  <a:lnTo>
                    <a:pt x="228" y="46"/>
                  </a:lnTo>
                  <a:lnTo>
                    <a:pt x="228" y="46"/>
                  </a:lnTo>
                  <a:lnTo>
                    <a:pt x="227" y="4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5" y="38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1" y="36"/>
                  </a:lnTo>
                  <a:lnTo>
                    <a:pt x="221" y="34"/>
                  </a:lnTo>
                  <a:lnTo>
                    <a:pt x="221" y="32"/>
                  </a:lnTo>
                  <a:lnTo>
                    <a:pt x="219" y="32"/>
                  </a:lnTo>
                  <a:lnTo>
                    <a:pt x="217" y="30"/>
                  </a:lnTo>
                  <a:lnTo>
                    <a:pt x="217" y="29"/>
                  </a:lnTo>
                  <a:lnTo>
                    <a:pt x="217" y="27"/>
                  </a:lnTo>
                  <a:lnTo>
                    <a:pt x="217" y="25"/>
                  </a:lnTo>
                  <a:lnTo>
                    <a:pt x="217" y="21"/>
                  </a:lnTo>
                  <a:lnTo>
                    <a:pt x="217" y="17"/>
                  </a:lnTo>
                  <a:lnTo>
                    <a:pt x="217" y="15"/>
                  </a:lnTo>
                  <a:lnTo>
                    <a:pt x="217" y="13"/>
                  </a:lnTo>
                  <a:lnTo>
                    <a:pt x="217" y="11"/>
                  </a:lnTo>
                  <a:lnTo>
                    <a:pt x="217" y="7"/>
                  </a:lnTo>
                  <a:lnTo>
                    <a:pt x="217" y="5"/>
                  </a:lnTo>
                  <a:lnTo>
                    <a:pt x="217" y="4"/>
                  </a:lnTo>
                  <a:lnTo>
                    <a:pt x="217" y="2"/>
                  </a:lnTo>
                  <a:lnTo>
                    <a:pt x="217" y="0"/>
                  </a:lnTo>
                  <a:lnTo>
                    <a:pt x="213" y="0"/>
                  </a:lnTo>
                  <a:lnTo>
                    <a:pt x="211" y="2"/>
                  </a:lnTo>
                  <a:lnTo>
                    <a:pt x="209" y="2"/>
                  </a:lnTo>
                  <a:lnTo>
                    <a:pt x="207" y="2"/>
                  </a:lnTo>
                  <a:lnTo>
                    <a:pt x="204" y="2"/>
                  </a:lnTo>
                  <a:lnTo>
                    <a:pt x="202" y="2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0" y="2"/>
                  </a:lnTo>
                  <a:lnTo>
                    <a:pt x="188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7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5" y="0"/>
                  </a:lnTo>
                  <a:lnTo>
                    <a:pt x="165" y="2"/>
                  </a:lnTo>
                  <a:lnTo>
                    <a:pt x="163" y="4"/>
                  </a:lnTo>
                  <a:lnTo>
                    <a:pt x="161" y="5"/>
                  </a:lnTo>
                  <a:lnTo>
                    <a:pt x="161" y="7"/>
                  </a:lnTo>
                  <a:lnTo>
                    <a:pt x="159" y="7"/>
                  </a:lnTo>
                  <a:lnTo>
                    <a:pt x="159" y="11"/>
                  </a:lnTo>
                  <a:lnTo>
                    <a:pt x="157" y="11"/>
                  </a:lnTo>
                  <a:lnTo>
                    <a:pt x="156" y="13"/>
                  </a:lnTo>
                  <a:lnTo>
                    <a:pt x="154" y="13"/>
                  </a:lnTo>
                  <a:lnTo>
                    <a:pt x="152" y="13"/>
                  </a:lnTo>
                  <a:lnTo>
                    <a:pt x="148" y="17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38" y="21"/>
                  </a:lnTo>
                  <a:lnTo>
                    <a:pt x="136" y="21"/>
                  </a:lnTo>
                  <a:lnTo>
                    <a:pt x="136" y="23"/>
                  </a:lnTo>
                  <a:lnTo>
                    <a:pt x="134" y="23"/>
                  </a:lnTo>
                  <a:lnTo>
                    <a:pt x="133" y="23"/>
                  </a:lnTo>
                  <a:lnTo>
                    <a:pt x="133" y="25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4"/>
                  </a:lnTo>
                  <a:lnTo>
                    <a:pt x="131" y="36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29" y="46"/>
                  </a:lnTo>
                  <a:lnTo>
                    <a:pt x="127" y="44"/>
                  </a:lnTo>
                  <a:lnTo>
                    <a:pt x="125" y="44"/>
                  </a:lnTo>
                  <a:lnTo>
                    <a:pt x="123" y="44"/>
                  </a:lnTo>
                  <a:lnTo>
                    <a:pt x="121" y="42"/>
                  </a:lnTo>
                  <a:lnTo>
                    <a:pt x="117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08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0" y="44"/>
                  </a:lnTo>
                  <a:lnTo>
                    <a:pt x="98" y="46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3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0" y="61"/>
                  </a:lnTo>
                  <a:lnTo>
                    <a:pt x="88" y="61"/>
                  </a:lnTo>
                  <a:lnTo>
                    <a:pt x="86" y="61"/>
                  </a:lnTo>
                  <a:lnTo>
                    <a:pt x="85" y="61"/>
                  </a:lnTo>
                  <a:lnTo>
                    <a:pt x="83" y="63"/>
                  </a:lnTo>
                  <a:lnTo>
                    <a:pt x="85" y="67"/>
                  </a:lnTo>
                  <a:lnTo>
                    <a:pt x="85" y="73"/>
                  </a:lnTo>
                  <a:lnTo>
                    <a:pt x="83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5" y="75"/>
                  </a:lnTo>
                  <a:lnTo>
                    <a:pt x="73" y="75"/>
                  </a:lnTo>
                  <a:lnTo>
                    <a:pt x="69" y="73"/>
                  </a:lnTo>
                  <a:lnTo>
                    <a:pt x="65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8"/>
                  </a:lnTo>
                  <a:lnTo>
                    <a:pt x="48" y="78"/>
                  </a:lnTo>
                  <a:lnTo>
                    <a:pt x="48" y="80"/>
                  </a:lnTo>
                  <a:lnTo>
                    <a:pt x="46" y="82"/>
                  </a:lnTo>
                  <a:lnTo>
                    <a:pt x="44" y="84"/>
                  </a:lnTo>
                  <a:lnTo>
                    <a:pt x="46" y="86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0" y="98"/>
                  </a:lnTo>
                  <a:lnTo>
                    <a:pt x="39" y="100"/>
                  </a:lnTo>
                  <a:lnTo>
                    <a:pt x="39" y="103"/>
                  </a:lnTo>
                  <a:lnTo>
                    <a:pt x="39" y="105"/>
                  </a:lnTo>
                  <a:lnTo>
                    <a:pt x="39" y="107"/>
                  </a:lnTo>
                  <a:lnTo>
                    <a:pt x="39" y="111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7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1" y="121"/>
                  </a:lnTo>
                  <a:lnTo>
                    <a:pt x="19" y="121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2" y="121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4"/>
                  </a:lnTo>
                  <a:lnTo>
                    <a:pt x="2" y="124"/>
                  </a:lnTo>
                  <a:lnTo>
                    <a:pt x="0" y="128"/>
                  </a:lnTo>
                  <a:lnTo>
                    <a:pt x="0" y="130"/>
                  </a:lnTo>
                  <a:lnTo>
                    <a:pt x="4" y="130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6" y="134"/>
                  </a:lnTo>
                  <a:lnTo>
                    <a:pt x="6" y="136"/>
                  </a:lnTo>
                  <a:lnTo>
                    <a:pt x="6" y="138"/>
                  </a:lnTo>
                  <a:lnTo>
                    <a:pt x="6" y="140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7"/>
                  </a:lnTo>
                  <a:lnTo>
                    <a:pt x="2" y="147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53"/>
                  </a:lnTo>
                  <a:lnTo>
                    <a:pt x="4" y="157"/>
                  </a:lnTo>
                  <a:lnTo>
                    <a:pt x="4" y="159"/>
                  </a:lnTo>
                  <a:lnTo>
                    <a:pt x="4" y="161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5"/>
                  </a:lnTo>
                  <a:lnTo>
                    <a:pt x="4" y="167"/>
                  </a:lnTo>
                  <a:lnTo>
                    <a:pt x="2" y="169"/>
                  </a:lnTo>
                  <a:lnTo>
                    <a:pt x="2" y="171"/>
                  </a:lnTo>
                  <a:lnTo>
                    <a:pt x="2" y="172"/>
                  </a:lnTo>
                  <a:lnTo>
                    <a:pt x="6" y="172"/>
                  </a:lnTo>
                  <a:lnTo>
                    <a:pt x="8" y="174"/>
                  </a:lnTo>
                  <a:lnTo>
                    <a:pt x="10" y="174"/>
                  </a:lnTo>
                  <a:lnTo>
                    <a:pt x="12" y="176"/>
                  </a:lnTo>
                  <a:lnTo>
                    <a:pt x="12" y="178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7" y="186"/>
                  </a:lnTo>
                  <a:lnTo>
                    <a:pt x="17" y="188"/>
                  </a:lnTo>
                  <a:lnTo>
                    <a:pt x="17" y="190"/>
                  </a:lnTo>
                  <a:lnTo>
                    <a:pt x="19" y="190"/>
                  </a:lnTo>
                  <a:lnTo>
                    <a:pt x="21" y="192"/>
                  </a:lnTo>
                  <a:lnTo>
                    <a:pt x="21" y="192"/>
                  </a:lnTo>
                  <a:lnTo>
                    <a:pt x="23" y="194"/>
                  </a:lnTo>
                  <a:lnTo>
                    <a:pt x="23" y="195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7" y="197"/>
                  </a:lnTo>
                  <a:lnTo>
                    <a:pt x="29" y="197"/>
                  </a:lnTo>
                  <a:lnTo>
                    <a:pt x="31" y="197"/>
                  </a:lnTo>
                  <a:lnTo>
                    <a:pt x="33" y="199"/>
                  </a:lnTo>
                  <a:lnTo>
                    <a:pt x="35" y="201"/>
                  </a:lnTo>
                  <a:lnTo>
                    <a:pt x="37" y="201"/>
                  </a:lnTo>
                  <a:lnTo>
                    <a:pt x="39" y="203"/>
                  </a:lnTo>
                  <a:lnTo>
                    <a:pt x="40" y="205"/>
                  </a:lnTo>
                  <a:lnTo>
                    <a:pt x="40" y="207"/>
                  </a:lnTo>
                  <a:lnTo>
                    <a:pt x="42" y="207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8" y="207"/>
                  </a:lnTo>
                  <a:lnTo>
                    <a:pt x="48" y="205"/>
                  </a:lnTo>
                  <a:lnTo>
                    <a:pt x="48" y="203"/>
                  </a:lnTo>
                  <a:lnTo>
                    <a:pt x="48" y="201"/>
                  </a:lnTo>
                  <a:lnTo>
                    <a:pt x="48" y="199"/>
                  </a:lnTo>
                  <a:lnTo>
                    <a:pt x="50" y="197"/>
                  </a:lnTo>
                  <a:lnTo>
                    <a:pt x="52" y="197"/>
                  </a:lnTo>
                  <a:lnTo>
                    <a:pt x="54" y="197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60" y="195"/>
                  </a:lnTo>
                  <a:lnTo>
                    <a:pt x="60" y="195"/>
                  </a:lnTo>
                  <a:lnTo>
                    <a:pt x="62" y="195"/>
                  </a:lnTo>
                  <a:lnTo>
                    <a:pt x="63" y="194"/>
                  </a:lnTo>
                  <a:lnTo>
                    <a:pt x="65" y="194"/>
                  </a:lnTo>
                  <a:lnTo>
                    <a:pt x="67" y="192"/>
                  </a:lnTo>
                  <a:lnTo>
                    <a:pt x="67" y="192"/>
                  </a:lnTo>
                  <a:lnTo>
                    <a:pt x="69" y="192"/>
                  </a:lnTo>
                  <a:lnTo>
                    <a:pt x="71" y="192"/>
                  </a:lnTo>
                  <a:lnTo>
                    <a:pt x="75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8" y="192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2" y="195"/>
                  </a:lnTo>
                  <a:lnTo>
                    <a:pt x="94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100" y="195"/>
                  </a:lnTo>
                  <a:lnTo>
                    <a:pt x="100" y="192"/>
                  </a:lnTo>
                  <a:lnTo>
                    <a:pt x="102" y="190"/>
                  </a:lnTo>
                  <a:lnTo>
                    <a:pt x="102" y="188"/>
                  </a:lnTo>
                  <a:lnTo>
                    <a:pt x="102" y="186"/>
                  </a:lnTo>
                  <a:lnTo>
                    <a:pt x="102" y="184"/>
                  </a:lnTo>
                  <a:lnTo>
                    <a:pt x="102" y="180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100" y="176"/>
                  </a:lnTo>
                  <a:lnTo>
                    <a:pt x="100" y="174"/>
                  </a:lnTo>
                  <a:lnTo>
                    <a:pt x="98" y="172"/>
                  </a:lnTo>
                  <a:lnTo>
                    <a:pt x="98" y="172"/>
                  </a:lnTo>
                  <a:lnTo>
                    <a:pt x="100" y="169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59"/>
                  </a:lnTo>
                  <a:lnTo>
                    <a:pt x="100" y="157"/>
                  </a:lnTo>
                  <a:lnTo>
                    <a:pt x="100" y="155"/>
                  </a:lnTo>
                  <a:lnTo>
                    <a:pt x="100" y="153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2" y="147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8" y="146"/>
                  </a:lnTo>
                  <a:lnTo>
                    <a:pt x="110" y="146"/>
                  </a:lnTo>
                  <a:lnTo>
                    <a:pt x="110" y="146"/>
                  </a:lnTo>
                  <a:lnTo>
                    <a:pt x="111" y="146"/>
                  </a:lnTo>
                  <a:lnTo>
                    <a:pt x="113" y="147"/>
                  </a:lnTo>
                  <a:lnTo>
                    <a:pt x="115" y="147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21" y="147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7" y="151"/>
                  </a:lnTo>
                  <a:lnTo>
                    <a:pt x="129" y="151"/>
                  </a:lnTo>
                  <a:lnTo>
                    <a:pt x="131" y="151"/>
                  </a:lnTo>
                  <a:lnTo>
                    <a:pt x="133" y="151"/>
                  </a:lnTo>
                  <a:lnTo>
                    <a:pt x="134" y="151"/>
                  </a:lnTo>
                  <a:lnTo>
                    <a:pt x="138" y="151"/>
                  </a:lnTo>
                  <a:lnTo>
                    <a:pt x="140" y="151"/>
                  </a:lnTo>
                  <a:lnTo>
                    <a:pt x="144" y="151"/>
                  </a:lnTo>
                  <a:lnTo>
                    <a:pt x="146" y="149"/>
                  </a:lnTo>
                  <a:lnTo>
                    <a:pt x="150" y="149"/>
                  </a:lnTo>
                  <a:lnTo>
                    <a:pt x="152" y="149"/>
                  </a:lnTo>
                  <a:lnTo>
                    <a:pt x="154" y="149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9" y="149"/>
                  </a:lnTo>
                  <a:lnTo>
                    <a:pt x="161" y="151"/>
                  </a:lnTo>
                  <a:lnTo>
                    <a:pt x="165" y="151"/>
                  </a:lnTo>
                  <a:lnTo>
                    <a:pt x="167" y="151"/>
                  </a:lnTo>
                  <a:lnTo>
                    <a:pt x="171" y="151"/>
                  </a:lnTo>
                  <a:lnTo>
                    <a:pt x="171" y="151"/>
                  </a:lnTo>
                  <a:lnTo>
                    <a:pt x="173" y="151"/>
                  </a:lnTo>
                  <a:lnTo>
                    <a:pt x="177" y="149"/>
                  </a:lnTo>
                  <a:lnTo>
                    <a:pt x="179" y="149"/>
                  </a:lnTo>
                  <a:lnTo>
                    <a:pt x="181" y="149"/>
                  </a:lnTo>
                  <a:lnTo>
                    <a:pt x="182" y="147"/>
                  </a:lnTo>
                  <a:lnTo>
                    <a:pt x="184" y="147"/>
                  </a:lnTo>
                  <a:lnTo>
                    <a:pt x="188" y="147"/>
                  </a:lnTo>
                  <a:lnTo>
                    <a:pt x="190" y="147"/>
                  </a:lnTo>
                  <a:lnTo>
                    <a:pt x="192" y="147"/>
                  </a:lnTo>
                  <a:lnTo>
                    <a:pt x="194" y="147"/>
                  </a:lnTo>
                  <a:lnTo>
                    <a:pt x="196" y="147"/>
                  </a:lnTo>
                  <a:lnTo>
                    <a:pt x="198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202" y="142"/>
                  </a:lnTo>
                  <a:lnTo>
                    <a:pt x="204" y="142"/>
                  </a:lnTo>
                  <a:lnTo>
                    <a:pt x="204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7" y="146"/>
                  </a:lnTo>
                  <a:lnTo>
                    <a:pt x="219" y="146"/>
                  </a:lnTo>
                  <a:lnTo>
                    <a:pt x="221" y="147"/>
                  </a:lnTo>
                  <a:lnTo>
                    <a:pt x="223" y="147"/>
                  </a:lnTo>
                  <a:lnTo>
                    <a:pt x="227" y="147"/>
                  </a:lnTo>
                  <a:lnTo>
                    <a:pt x="228" y="147"/>
                  </a:lnTo>
                  <a:lnTo>
                    <a:pt x="230" y="147"/>
                  </a:lnTo>
                  <a:lnTo>
                    <a:pt x="232" y="147"/>
                  </a:lnTo>
                  <a:lnTo>
                    <a:pt x="234" y="147"/>
                  </a:lnTo>
                  <a:lnTo>
                    <a:pt x="238" y="147"/>
                  </a:lnTo>
                  <a:lnTo>
                    <a:pt x="240" y="147"/>
                  </a:lnTo>
                  <a:lnTo>
                    <a:pt x="242" y="146"/>
                  </a:lnTo>
                  <a:lnTo>
                    <a:pt x="242" y="146"/>
                  </a:lnTo>
                  <a:lnTo>
                    <a:pt x="244" y="144"/>
                  </a:lnTo>
                  <a:lnTo>
                    <a:pt x="246" y="144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0" y="138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3" y="136"/>
                  </a:lnTo>
                  <a:lnTo>
                    <a:pt x="255" y="136"/>
                  </a:lnTo>
                  <a:lnTo>
                    <a:pt x="257" y="136"/>
                  </a:lnTo>
                  <a:lnTo>
                    <a:pt x="261" y="136"/>
                  </a:lnTo>
                  <a:lnTo>
                    <a:pt x="263" y="136"/>
                  </a:lnTo>
                  <a:lnTo>
                    <a:pt x="265" y="136"/>
                  </a:lnTo>
                  <a:lnTo>
                    <a:pt x="267" y="136"/>
                  </a:lnTo>
                  <a:lnTo>
                    <a:pt x="269" y="136"/>
                  </a:lnTo>
                  <a:lnTo>
                    <a:pt x="269" y="136"/>
                  </a:lnTo>
                  <a:lnTo>
                    <a:pt x="271" y="136"/>
                  </a:lnTo>
                  <a:lnTo>
                    <a:pt x="273" y="136"/>
                  </a:lnTo>
                  <a:lnTo>
                    <a:pt x="275" y="136"/>
                  </a:lnTo>
                  <a:lnTo>
                    <a:pt x="276" y="134"/>
                  </a:lnTo>
                  <a:lnTo>
                    <a:pt x="278" y="134"/>
                  </a:lnTo>
                  <a:lnTo>
                    <a:pt x="278" y="132"/>
                  </a:lnTo>
                  <a:lnTo>
                    <a:pt x="280" y="130"/>
                  </a:lnTo>
                  <a:lnTo>
                    <a:pt x="280" y="130"/>
                  </a:lnTo>
                  <a:lnTo>
                    <a:pt x="282" y="128"/>
                  </a:lnTo>
                  <a:lnTo>
                    <a:pt x="284" y="128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4" y="121"/>
                  </a:lnTo>
                  <a:lnTo>
                    <a:pt x="284" y="119"/>
                  </a:lnTo>
                  <a:lnTo>
                    <a:pt x="284" y="117"/>
                  </a:lnTo>
                  <a:lnTo>
                    <a:pt x="284" y="117"/>
                  </a:lnTo>
                  <a:lnTo>
                    <a:pt x="284" y="115"/>
                  </a:lnTo>
                  <a:lnTo>
                    <a:pt x="284" y="113"/>
                  </a:lnTo>
                  <a:lnTo>
                    <a:pt x="284" y="111"/>
                  </a:lnTo>
                  <a:lnTo>
                    <a:pt x="282" y="111"/>
                  </a:lnTo>
                  <a:lnTo>
                    <a:pt x="284" y="11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7" name="Freeform 93"/>
            <p:cNvSpPr>
              <a:spLocks/>
            </p:cNvSpPr>
            <p:nvPr/>
          </p:nvSpPr>
          <p:spPr bwMode="auto">
            <a:xfrm>
              <a:off x="1179" y="1461"/>
              <a:ext cx="566" cy="422"/>
            </a:xfrm>
            <a:custGeom>
              <a:avLst/>
              <a:gdLst/>
              <a:ahLst/>
              <a:cxnLst>
                <a:cxn ang="0">
                  <a:pos x="90" y="297"/>
                </a:cxn>
                <a:cxn ang="0">
                  <a:pos x="127" y="291"/>
                </a:cxn>
                <a:cxn ang="0">
                  <a:pos x="156" y="261"/>
                </a:cxn>
                <a:cxn ang="0">
                  <a:pos x="169" y="163"/>
                </a:cxn>
                <a:cxn ang="0">
                  <a:pos x="205" y="149"/>
                </a:cxn>
                <a:cxn ang="0">
                  <a:pos x="443" y="2"/>
                </a:cxn>
                <a:cxn ang="0">
                  <a:pos x="466" y="7"/>
                </a:cxn>
                <a:cxn ang="0">
                  <a:pos x="489" y="9"/>
                </a:cxn>
                <a:cxn ang="0">
                  <a:pos x="505" y="23"/>
                </a:cxn>
                <a:cxn ang="0">
                  <a:pos x="518" y="32"/>
                </a:cxn>
                <a:cxn ang="0">
                  <a:pos x="539" y="27"/>
                </a:cxn>
                <a:cxn ang="0">
                  <a:pos x="545" y="48"/>
                </a:cxn>
                <a:cxn ang="0">
                  <a:pos x="549" y="71"/>
                </a:cxn>
                <a:cxn ang="0">
                  <a:pos x="562" y="82"/>
                </a:cxn>
                <a:cxn ang="0">
                  <a:pos x="566" y="103"/>
                </a:cxn>
                <a:cxn ang="0">
                  <a:pos x="566" y="123"/>
                </a:cxn>
                <a:cxn ang="0">
                  <a:pos x="555" y="138"/>
                </a:cxn>
                <a:cxn ang="0">
                  <a:pos x="551" y="155"/>
                </a:cxn>
                <a:cxn ang="0">
                  <a:pos x="555" y="184"/>
                </a:cxn>
                <a:cxn ang="0">
                  <a:pos x="557" y="217"/>
                </a:cxn>
                <a:cxn ang="0">
                  <a:pos x="557" y="245"/>
                </a:cxn>
                <a:cxn ang="0">
                  <a:pos x="541" y="265"/>
                </a:cxn>
                <a:cxn ang="0">
                  <a:pos x="522" y="276"/>
                </a:cxn>
                <a:cxn ang="0">
                  <a:pos x="511" y="290"/>
                </a:cxn>
                <a:cxn ang="0">
                  <a:pos x="499" y="305"/>
                </a:cxn>
                <a:cxn ang="0">
                  <a:pos x="486" y="328"/>
                </a:cxn>
                <a:cxn ang="0">
                  <a:pos x="482" y="357"/>
                </a:cxn>
                <a:cxn ang="0">
                  <a:pos x="466" y="366"/>
                </a:cxn>
                <a:cxn ang="0">
                  <a:pos x="451" y="376"/>
                </a:cxn>
                <a:cxn ang="0">
                  <a:pos x="434" y="378"/>
                </a:cxn>
                <a:cxn ang="0">
                  <a:pos x="415" y="374"/>
                </a:cxn>
                <a:cxn ang="0">
                  <a:pos x="395" y="380"/>
                </a:cxn>
                <a:cxn ang="0">
                  <a:pos x="369" y="382"/>
                </a:cxn>
                <a:cxn ang="0">
                  <a:pos x="355" y="384"/>
                </a:cxn>
                <a:cxn ang="0">
                  <a:pos x="342" y="399"/>
                </a:cxn>
                <a:cxn ang="0">
                  <a:pos x="328" y="395"/>
                </a:cxn>
                <a:cxn ang="0">
                  <a:pos x="313" y="387"/>
                </a:cxn>
                <a:cxn ang="0">
                  <a:pos x="301" y="374"/>
                </a:cxn>
                <a:cxn ang="0">
                  <a:pos x="278" y="376"/>
                </a:cxn>
                <a:cxn ang="0">
                  <a:pos x="267" y="389"/>
                </a:cxn>
                <a:cxn ang="0">
                  <a:pos x="250" y="384"/>
                </a:cxn>
                <a:cxn ang="0">
                  <a:pos x="232" y="368"/>
                </a:cxn>
                <a:cxn ang="0">
                  <a:pos x="217" y="355"/>
                </a:cxn>
                <a:cxn ang="0">
                  <a:pos x="204" y="351"/>
                </a:cxn>
                <a:cxn ang="0">
                  <a:pos x="190" y="364"/>
                </a:cxn>
                <a:cxn ang="0">
                  <a:pos x="171" y="362"/>
                </a:cxn>
                <a:cxn ang="0">
                  <a:pos x="152" y="364"/>
                </a:cxn>
                <a:cxn ang="0">
                  <a:pos x="140" y="376"/>
                </a:cxn>
                <a:cxn ang="0">
                  <a:pos x="131" y="397"/>
                </a:cxn>
                <a:cxn ang="0">
                  <a:pos x="121" y="414"/>
                </a:cxn>
                <a:cxn ang="0">
                  <a:pos x="108" y="420"/>
                </a:cxn>
                <a:cxn ang="0">
                  <a:pos x="92" y="410"/>
                </a:cxn>
                <a:cxn ang="0">
                  <a:pos x="77" y="420"/>
                </a:cxn>
                <a:cxn ang="0">
                  <a:pos x="63" y="410"/>
                </a:cxn>
                <a:cxn ang="0">
                  <a:pos x="63" y="395"/>
                </a:cxn>
                <a:cxn ang="0">
                  <a:pos x="48" y="397"/>
                </a:cxn>
                <a:cxn ang="0">
                  <a:pos x="39" y="382"/>
                </a:cxn>
                <a:cxn ang="0">
                  <a:pos x="27" y="364"/>
                </a:cxn>
                <a:cxn ang="0">
                  <a:pos x="14" y="351"/>
                </a:cxn>
                <a:cxn ang="0">
                  <a:pos x="2" y="334"/>
                </a:cxn>
                <a:cxn ang="0">
                  <a:pos x="4" y="311"/>
                </a:cxn>
              </a:cxnLst>
              <a:rect l="0" t="0" r="r" b="b"/>
              <a:pathLst>
                <a:path w="566" h="422">
                  <a:moveTo>
                    <a:pt x="4" y="309"/>
                  </a:moveTo>
                  <a:lnTo>
                    <a:pt x="15" y="309"/>
                  </a:lnTo>
                  <a:lnTo>
                    <a:pt x="27" y="311"/>
                  </a:lnTo>
                  <a:lnTo>
                    <a:pt x="33" y="309"/>
                  </a:lnTo>
                  <a:lnTo>
                    <a:pt x="40" y="309"/>
                  </a:lnTo>
                  <a:lnTo>
                    <a:pt x="46" y="303"/>
                  </a:lnTo>
                  <a:lnTo>
                    <a:pt x="52" y="299"/>
                  </a:lnTo>
                  <a:lnTo>
                    <a:pt x="67" y="299"/>
                  </a:lnTo>
                  <a:lnTo>
                    <a:pt x="81" y="299"/>
                  </a:lnTo>
                  <a:lnTo>
                    <a:pt x="85" y="297"/>
                  </a:lnTo>
                  <a:lnTo>
                    <a:pt x="90" y="297"/>
                  </a:lnTo>
                  <a:lnTo>
                    <a:pt x="92" y="297"/>
                  </a:lnTo>
                  <a:lnTo>
                    <a:pt x="94" y="297"/>
                  </a:lnTo>
                  <a:lnTo>
                    <a:pt x="96" y="295"/>
                  </a:lnTo>
                  <a:lnTo>
                    <a:pt x="98" y="295"/>
                  </a:lnTo>
                  <a:lnTo>
                    <a:pt x="100" y="293"/>
                  </a:lnTo>
                  <a:lnTo>
                    <a:pt x="100" y="293"/>
                  </a:lnTo>
                  <a:lnTo>
                    <a:pt x="102" y="291"/>
                  </a:lnTo>
                  <a:lnTo>
                    <a:pt x="104" y="290"/>
                  </a:lnTo>
                  <a:lnTo>
                    <a:pt x="113" y="290"/>
                  </a:lnTo>
                  <a:lnTo>
                    <a:pt x="119" y="290"/>
                  </a:lnTo>
                  <a:lnTo>
                    <a:pt x="127" y="291"/>
                  </a:lnTo>
                  <a:lnTo>
                    <a:pt x="131" y="291"/>
                  </a:lnTo>
                  <a:lnTo>
                    <a:pt x="136" y="293"/>
                  </a:lnTo>
                  <a:lnTo>
                    <a:pt x="144" y="284"/>
                  </a:lnTo>
                  <a:lnTo>
                    <a:pt x="146" y="280"/>
                  </a:lnTo>
                  <a:lnTo>
                    <a:pt x="148" y="276"/>
                  </a:lnTo>
                  <a:lnTo>
                    <a:pt x="150" y="274"/>
                  </a:lnTo>
                  <a:lnTo>
                    <a:pt x="154" y="270"/>
                  </a:lnTo>
                  <a:lnTo>
                    <a:pt x="154" y="268"/>
                  </a:lnTo>
                  <a:lnTo>
                    <a:pt x="156" y="267"/>
                  </a:lnTo>
                  <a:lnTo>
                    <a:pt x="156" y="265"/>
                  </a:lnTo>
                  <a:lnTo>
                    <a:pt x="156" y="261"/>
                  </a:lnTo>
                  <a:lnTo>
                    <a:pt x="156" y="259"/>
                  </a:lnTo>
                  <a:lnTo>
                    <a:pt x="156" y="255"/>
                  </a:lnTo>
                  <a:lnTo>
                    <a:pt x="154" y="247"/>
                  </a:lnTo>
                  <a:lnTo>
                    <a:pt x="154" y="238"/>
                  </a:lnTo>
                  <a:lnTo>
                    <a:pt x="154" y="220"/>
                  </a:lnTo>
                  <a:lnTo>
                    <a:pt x="154" y="213"/>
                  </a:lnTo>
                  <a:lnTo>
                    <a:pt x="152" y="205"/>
                  </a:lnTo>
                  <a:lnTo>
                    <a:pt x="150" y="186"/>
                  </a:lnTo>
                  <a:lnTo>
                    <a:pt x="150" y="165"/>
                  </a:lnTo>
                  <a:lnTo>
                    <a:pt x="159" y="165"/>
                  </a:lnTo>
                  <a:lnTo>
                    <a:pt x="169" y="163"/>
                  </a:lnTo>
                  <a:lnTo>
                    <a:pt x="173" y="163"/>
                  </a:lnTo>
                  <a:lnTo>
                    <a:pt x="177" y="161"/>
                  </a:lnTo>
                  <a:lnTo>
                    <a:pt x="180" y="161"/>
                  </a:lnTo>
                  <a:lnTo>
                    <a:pt x="182" y="161"/>
                  </a:lnTo>
                  <a:lnTo>
                    <a:pt x="190" y="159"/>
                  </a:lnTo>
                  <a:lnTo>
                    <a:pt x="198" y="155"/>
                  </a:lnTo>
                  <a:lnTo>
                    <a:pt x="204" y="155"/>
                  </a:lnTo>
                  <a:lnTo>
                    <a:pt x="204" y="153"/>
                  </a:lnTo>
                  <a:lnTo>
                    <a:pt x="204" y="151"/>
                  </a:lnTo>
                  <a:lnTo>
                    <a:pt x="205" y="149"/>
                  </a:lnTo>
                  <a:lnTo>
                    <a:pt x="205" y="149"/>
                  </a:lnTo>
                  <a:lnTo>
                    <a:pt x="207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11" y="142"/>
                  </a:lnTo>
                  <a:lnTo>
                    <a:pt x="290" y="84"/>
                  </a:lnTo>
                  <a:lnTo>
                    <a:pt x="434" y="0"/>
                  </a:lnTo>
                  <a:lnTo>
                    <a:pt x="438" y="2"/>
                  </a:lnTo>
                  <a:lnTo>
                    <a:pt x="440" y="2"/>
                  </a:lnTo>
                  <a:lnTo>
                    <a:pt x="443" y="2"/>
                  </a:lnTo>
                  <a:lnTo>
                    <a:pt x="445" y="4"/>
                  </a:lnTo>
                  <a:lnTo>
                    <a:pt x="449" y="4"/>
                  </a:lnTo>
                  <a:lnTo>
                    <a:pt x="451" y="4"/>
                  </a:lnTo>
                  <a:lnTo>
                    <a:pt x="453" y="4"/>
                  </a:lnTo>
                  <a:lnTo>
                    <a:pt x="455" y="4"/>
                  </a:lnTo>
                  <a:lnTo>
                    <a:pt x="457" y="4"/>
                  </a:lnTo>
                  <a:lnTo>
                    <a:pt x="459" y="4"/>
                  </a:lnTo>
                  <a:lnTo>
                    <a:pt x="461" y="4"/>
                  </a:lnTo>
                  <a:lnTo>
                    <a:pt x="463" y="6"/>
                  </a:lnTo>
                  <a:lnTo>
                    <a:pt x="463" y="7"/>
                  </a:lnTo>
                  <a:lnTo>
                    <a:pt x="466" y="7"/>
                  </a:lnTo>
                  <a:lnTo>
                    <a:pt x="466" y="7"/>
                  </a:lnTo>
                  <a:lnTo>
                    <a:pt x="470" y="7"/>
                  </a:lnTo>
                  <a:lnTo>
                    <a:pt x="472" y="7"/>
                  </a:lnTo>
                  <a:lnTo>
                    <a:pt x="474" y="7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2" y="9"/>
                  </a:lnTo>
                  <a:lnTo>
                    <a:pt x="484" y="9"/>
                  </a:lnTo>
                  <a:lnTo>
                    <a:pt x="486" y="9"/>
                  </a:lnTo>
                  <a:lnTo>
                    <a:pt x="487" y="9"/>
                  </a:lnTo>
                  <a:lnTo>
                    <a:pt x="489" y="9"/>
                  </a:lnTo>
                  <a:lnTo>
                    <a:pt x="491" y="9"/>
                  </a:lnTo>
                  <a:lnTo>
                    <a:pt x="493" y="11"/>
                  </a:lnTo>
                  <a:lnTo>
                    <a:pt x="493" y="13"/>
                  </a:lnTo>
                  <a:lnTo>
                    <a:pt x="495" y="15"/>
                  </a:lnTo>
                  <a:lnTo>
                    <a:pt x="497" y="15"/>
                  </a:lnTo>
                  <a:lnTo>
                    <a:pt x="499" y="17"/>
                  </a:lnTo>
                  <a:lnTo>
                    <a:pt x="501" y="19"/>
                  </a:lnTo>
                  <a:lnTo>
                    <a:pt x="501" y="19"/>
                  </a:lnTo>
                  <a:lnTo>
                    <a:pt x="503" y="21"/>
                  </a:lnTo>
                  <a:lnTo>
                    <a:pt x="503" y="21"/>
                  </a:lnTo>
                  <a:lnTo>
                    <a:pt x="505" y="23"/>
                  </a:lnTo>
                  <a:lnTo>
                    <a:pt x="507" y="23"/>
                  </a:lnTo>
                  <a:lnTo>
                    <a:pt x="507" y="25"/>
                  </a:lnTo>
                  <a:lnTo>
                    <a:pt x="509" y="27"/>
                  </a:lnTo>
                  <a:lnTo>
                    <a:pt x="509" y="27"/>
                  </a:lnTo>
                  <a:lnTo>
                    <a:pt x="509" y="30"/>
                  </a:lnTo>
                  <a:lnTo>
                    <a:pt x="511" y="30"/>
                  </a:lnTo>
                  <a:lnTo>
                    <a:pt x="511" y="34"/>
                  </a:lnTo>
                  <a:lnTo>
                    <a:pt x="512" y="34"/>
                  </a:lnTo>
                  <a:lnTo>
                    <a:pt x="514" y="34"/>
                  </a:lnTo>
                  <a:lnTo>
                    <a:pt x="516" y="34"/>
                  </a:lnTo>
                  <a:lnTo>
                    <a:pt x="518" y="32"/>
                  </a:lnTo>
                  <a:lnTo>
                    <a:pt x="520" y="30"/>
                  </a:lnTo>
                  <a:lnTo>
                    <a:pt x="522" y="30"/>
                  </a:lnTo>
                  <a:lnTo>
                    <a:pt x="524" y="30"/>
                  </a:lnTo>
                  <a:lnTo>
                    <a:pt x="526" y="30"/>
                  </a:lnTo>
                  <a:lnTo>
                    <a:pt x="528" y="30"/>
                  </a:lnTo>
                  <a:lnTo>
                    <a:pt x="530" y="30"/>
                  </a:lnTo>
                  <a:lnTo>
                    <a:pt x="532" y="30"/>
                  </a:lnTo>
                  <a:lnTo>
                    <a:pt x="534" y="29"/>
                  </a:lnTo>
                  <a:lnTo>
                    <a:pt x="537" y="29"/>
                  </a:lnTo>
                  <a:lnTo>
                    <a:pt x="537" y="27"/>
                  </a:lnTo>
                  <a:lnTo>
                    <a:pt x="539" y="27"/>
                  </a:lnTo>
                  <a:lnTo>
                    <a:pt x="543" y="27"/>
                  </a:lnTo>
                  <a:lnTo>
                    <a:pt x="545" y="27"/>
                  </a:lnTo>
                  <a:lnTo>
                    <a:pt x="543" y="30"/>
                  </a:lnTo>
                  <a:lnTo>
                    <a:pt x="543" y="32"/>
                  </a:lnTo>
                  <a:lnTo>
                    <a:pt x="543" y="34"/>
                  </a:lnTo>
                  <a:lnTo>
                    <a:pt x="543" y="36"/>
                  </a:lnTo>
                  <a:lnTo>
                    <a:pt x="543" y="38"/>
                  </a:lnTo>
                  <a:lnTo>
                    <a:pt x="543" y="42"/>
                  </a:lnTo>
                  <a:lnTo>
                    <a:pt x="543" y="44"/>
                  </a:lnTo>
                  <a:lnTo>
                    <a:pt x="543" y="46"/>
                  </a:lnTo>
                  <a:lnTo>
                    <a:pt x="545" y="48"/>
                  </a:lnTo>
                  <a:lnTo>
                    <a:pt x="545" y="50"/>
                  </a:lnTo>
                  <a:lnTo>
                    <a:pt x="545" y="52"/>
                  </a:lnTo>
                  <a:lnTo>
                    <a:pt x="545" y="54"/>
                  </a:lnTo>
                  <a:lnTo>
                    <a:pt x="545" y="57"/>
                  </a:lnTo>
                  <a:lnTo>
                    <a:pt x="545" y="59"/>
                  </a:lnTo>
                  <a:lnTo>
                    <a:pt x="545" y="61"/>
                  </a:lnTo>
                  <a:lnTo>
                    <a:pt x="545" y="63"/>
                  </a:lnTo>
                  <a:lnTo>
                    <a:pt x="547" y="65"/>
                  </a:lnTo>
                  <a:lnTo>
                    <a:pt x="547" y="65"/>
                  </a:lnTo>
                  <a:lnTo>
                    <a:pt x="549" y="67"/>
                  </a:lnTo>
                  <a:lnTo>
                    <a:pt x="549" y="71"/>
                  </a:lnTo>
                  <a:lnTo>
                    <a:pt x="551" y="73"/>
                  </a:lnTo>
                  <a:lnTo>
                    <a:pt x="551" y="75"/>
                  </a:lnTo>
                  <a:lnTo>
                    <a:pt x="553" y="75"/>
                  </a:lnTo>
                  <a:lnTo>
                    <a:pt x="553" y="77"/>
                  </a:lnTo>
                  <a:lnTo>
                    <a:pt x="553" y="78"/>
                  </a:lnTo>
                  <a:lnTo>
                    <a:pt x="555" y="78"/>
                  </a:lnTo>
                  <a:lnTo>
                    <a:pt x="557" y="78"/>
                  </a:lnTo>
                  <a:lnTo>
                    <a:pt x="558" y="78"/>
                  </a:lnTo>
                  <a:lnTo>
                    <a:pt x="560" y="80"/>
                  </a:lnTo>
                  <a:lnTo>
                    <a:pt x="560" y="80"/>
                  </a:lnTo>
                  <a:lnTo>
                    <a:pt x="562" y="82"/>
                  </a:lnTo>
                  <a:lnTo>
                    <a:pt x="562" y="86"/>
                  </a:lnTo>
                  <a:lnTo>
                    <a:pt x="562" y="88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4"/>
                  </a:lnTo>
                  <a:lnTo>
                    <a:pt x="566" y="98"/>
                  </a:lnTo>
                  <a:lnTo>
                    <a:pt x="566" y="100"/>
                  </a:lnTo>
                  <a:lnTo>
                    <a:pt x="566" y="101"/>
                  </a:lnTo>
                  <a:lnTo>
                    <a:pt x="566" y="103"/>
                  </a:lnTo>
                  <a:lnTo>
                    <a:pt x="566" y="105"/>
                  </a:lnTo>
                  <a:lnTo>
                    <a:pt x="566" y="107"/>
                  </a:lnTo>
                  <a:lnTo>
                    <a:pt x="564" y="107"/>
                  </a:lnTo>
                  <a:lnTo>
                    <a:pt x="564" y="109"/>
                  </a:lnTo>
                  <a:lnTo>
                    <a:pt x="564" y="113"/>
                  </a:lnTo>
                  <a:lnTo>
                    <a:pt x="564" y="113"/>
                  </a:lnTo>
                  <a:lnTo>
                    <a:pt x="564" y="115"/>
                  </a:lnTo>
                  <a:lnTo>
                    <a:pt x="566" y="117"/>
                  </a:lnTo>
                  <a:lnTo>
                    <a:pt x="566" y="119"/>
                  </a:lnTo>
                  <a:lnTo>
                    <a:pt x="566" y="121"/>
                  </a:lnTo>
                  <a:lnTo>
                    <a:pt x="566" y="123"/>
                  </a:lnTo>
                  <a:lnTo>
                    <a:pt x="566" y="125"/>
                  </a:lnTo>
                  <a:lnTo>
                    <a:pt x="564" y="125"/>
                  </a:lnTo>
                  <a:lnTo>
                    <a:pt x="562" y="126"/>
                  </a:lnTo>
                  <a:lnTo>
                    <a:pt x="562" y="130"/>
                  </a:lnTo>
                  <a:lnTo>
                    <a:pt x="562" y="132"/>
                  </a:lnTo>
                  <a:lnTo>
                    <a:pt x="562" y="134"/>
                  </a:lnTo>
                  <a:lnTo>
                    <a:pt x="560" y="134"/>
                  </a:lnTo>
                  <a:lnTo>
                    <a:pt x="558" y="136"/>
                  </a:lnTo>
                  <a:lnTo>
                    <a:pt x="557" y="136"/>
                  </a:lnTo>
                  <a:lnTo>
                    <a:pt x="557" y="136"/>
                  </a:lnTo>
                  <a:lnTo>
                    <a:pt x="555" y="138"/>
                  </a:lnTo>
                  <a:lnTo>
                    <a:pt x="553" y="138"/>
                  </a:lnTo>
                  <a:lnTo>
                    <a:pt x="553" y="140"/>
                  </a:lnTo>
                  <a:lnTo>
                    <a:pt x="551" y="140"/>
                  </a:lnTo>
                  <a:lnTo>
                    <a:pt x="549" y="142"/>
                  </a:lnTo>
                  <a:lnTo>
                    <a:pt x="549" y="144"/>
                  </a:lnTo>
                  <a:lnTo>
                    <a:pt x="549" y="146"/>
                  </a:lnTo>
                  <a:lnTo>
                    <a:pt x="549" y="148"/>
                  </a:lnTo>
                  <a:lnTo>
                    <a:pt x="549" y="149"/>
                  </a:lnTo>
                  <a:lnTo>
                    <a:pt x="549" y="151"/>
                  </a:lnTo>
                  <a:lnTo>
                    <a:pt x="549" y="153"/>
                  </a:lnTo>
                  <a:lnTo>
                    <a:pt x="551" y="155"/>
                  </a:lnTo>
                  <a:lnTo>
                    <a:pt x="551" y="157"/>
                  </a:lnTo>
                  <a:lnTo>
                    <a:pt x="551" y="159"/>
                  </a:lnTo>
                  <a:lnTo>
                    <a:pt x="551" y="161"/>
                  </a:lnTo>
                  <a:lnTo>
                    <a:pt x="551" y="165"/>
                  </a:lnTo>
                  <a:lnTo>
                    <a:pt x="551" y="169"/>
                  </a:lnTo>
                  <a:lnTo>
                    <a:pt x="553" y="169"/>
                  </a:lnTo>
                  <a:lnTo>
                    <a:pt x="553" y="171"/>
                  </a:lnTo>
                  <a:lnTo>
                    <a:pt x="553" y="174"/>
                  </a:lnTo>
                  <a:lnTo>
                    <a:pt x="555" y="178"/>
                  </a:lnTo>
                  <a:lnTo>
                    <a:pt x="555" y="182"/>
                  </a:lnTo>
                  <a:lnTo>
                    <a:pt x="555" y="184"/>
                  </a:lnTo>
                  <a:lnTo>
                    <a:pt x="555" y="188"/>
                  </a:lnTo>
                  <a:lnTo>
                    <a:pt x="555" y="192"/>
                  </a:lnTo>
                  <a:lnTo>
                    <a:pt x="555" y="194"/>
                  </a:lnTo>
                  <a:lnTo>
                    <a:pt x="555" y="196"/>
                  </a:lnTo>
                  <a:lnTo>
                    <a:pt x="555" y="197"/>
                  </a:lnTo>
                  <a:lnTo>
                    <a:pt x="557" y="201"/>
                  </a:lnTo>
                  <a:lnTo>
                    <a:pt x="557" y="203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7" y="213"/>
                  </a:lnTo>
                  <a:lnTo>
                    <a:pt x="557" y="217"/>
                  </a:lnTo>
                  <a:lnTo>
                    <a:pt x="557" y="222"/>
                  </a:lnTo>
                  <a:lnTo>
                    <a:pt x="558" y="224"/>
                  </a:lnTo>
                  <a:lnTo>
                    <a:pt x="558" y="226"/>
                  </a:lnTo>
                  <a:lnTo>
                    <a:pt x="557" y="230"/>
                  </a:lnTo>
                  <a:lnTo>
                    <a:pt x="557" y="232"/>
                  </a:lnTo>
                  <a:lnTo>
                    <a:pt x="557" y="234"/>
                  </a:lnTo>
                  <a:lnTo>
                    <a:pt x="557" y="238"/>
                  </a:lnTo>
                  <a:lnTo>
                    <a:pt x="557" y="240"/>
                  </a:lnTo>
                  <a:lnTo>
                    <a:pt x="557" y="242"/>
                  </a:lnTo>
                  <a:lnTo>
                    <a:pt x="557" y="243"/>
                  </a:lnTo>
                  <a:lnTo>
                    <a:pt x="557" y="245"/>
                  </a:lnTo>
                  <a:lnTo>
                    <a:pt x="557" y="247"/>
                  </a:lnTo>
                  <a:lnTo>
                    <a:pt x="555" y="249"/>
                  </a:lnTo>
                  <a:lnTo>
                    <a:pt x="555" y="251"/>
                  </a:lnTo>
                  <a:lnTo>
                    <a:pt x="551" y="253"/>
                  </a:lnTo>
                  <a:lnTo>
                    <a:pt x="549" y="255"/>
                  </a:lnTo>
                  <a:lnTo>
                    <a:pt x="549" y="257"/>
                  </a:lnTo>
                  <a:lnTo>
                    <a:pt x="547" y="259"/>
                  </a:lnTo>
                  <a:lnTo>
                    <a:pt x="545" y="259"/>
                  </a:lnTo>
                  <a:lnTo>
                    <a:pt x="543" y="261"/>
                  </a:lnTo>
                  <a:lnTo>
                    <a:pt x="543" y="263"/>
                  </a:lnTo>
                  <a:lnTo>
                    <a:pt x="541" y="265"/>
                  </a:lnTo>
                  <a:lnTo>
                    <a:pt x="539" y="265"/>
                  </a:lnTo>
                  <a:lnTo>
                    <a:pt x="537" y="265"/>
                  </a:lnTo>
                  <a:lnTo>
                    <a:pt x="537" y="265"/>
                  </a:lnTo>
                  <a:lnTo>
                    <a:pt x="535" y="267"/>
                  </a:lnTo>
                  <a:lnTo>
                    <a:pt x="534" y="268"/>
                  </a:lnTo>
                  <a:lnTo>
                    <a:pt x="532" y="270"/>
                  </a:lnTo>
                  <a:lnTo>
                    <a:pt x="528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4" y="274"/>
                  </a:lnTo>
                  <a:lnTo>
                    <a:pt x="522" y="276"/>
                  </a:lnTo>
                  <a:lnTo>
                    <a:pt x="522" y="278"/>
                  </a:lnTo>
                  <a:lnTo>
                    <a:pt x="520" y="278"/>
                  </a:lnTo>
                  <a:lnTo>
                    <a:pt x="518" y="278"/>
                  </a:lnTo>
                  <a:lnTo>
                    <a:pt x="518" y="280"/>
                  </a:lnTo>
                  <a:lnTo>
                    <a:pt x="518" y="282"/>
                  </a:lnTo>
                  <a:lnTo>
                    <a:pt x="516" y="284"/>
                  </a:lnTo>
                  <a:lnTo>
                    <a:pt x="516" y="284"/>
                  </a:lnTo>
                  <a:lnTo>
                    <a:pt x="514" y="284"/>
                  </a:lnTo>
                  <a:lnTo>
                    <a:pt x="514" y="286"/>
                  </a:lnTo>
                  <a:lnTo>
                    <a:pt x="512" y="288"/>
                  </a:lnTo>
                  <a:lnTo>
                    <a:pt x="511" y="290"/>
                  </a:lnTo>
                  <a:lnTo>
                    <a:pt x="511" y="290"/>
                  </a:lnTo>
                  <a:lnTo>
                    <a:pt x="509" y="291"/>
                  </a:lnTo>
                  <a:lnTo>
                    <a:pt x="507" y="291"/>
                  </a:lnTo>
                  <a:lnTo>
                    <a:pt x="507" y="293"/>
                  </a:lnTo>
                  <a:lnTo>
                    <a:pt x="505" y="295"/>
                  </a:lnTo>
                  <a:lnTo>
                    <a:pt x="505" y="295"/>
                  </a:lnTo>
                  <a:lnTo>
                    <a:pt x="503" y="297"/>
                  </a:lnTo>
                  <a:lnTo>
                    <a:pt x="501" y="297"/>
                  </a:lnTo>
                  <a:lnTo>
                    <a:pt x="501" y="299"/>
                  </a:lnTo>
                  <a:lnTo>
                    <a:pt x="499" y="301"/>
                  </a:lnTo>
                  <a:lnTo>
                    <a:pt x="499" y="305"/>
                  </a:lnTo>
                  <a:lnTo>
                    <a:pt x="497" y="307"/>
                  </a:lnTo>
                  <a:lnTo>
                    <a:pt x="497" y="309"/>
                  </a:lnTo>
                  <a:lnTo>
                    <a:pt x="495" y="313"/>
                  </a:lnTo>
                  <a:lnTo>
                    <a:pt x="493" y="314"/>
                  </a:lnTo>
                  <a:lnTo>
                    <a:pt x="493" y="316"/>
                  </a:lnTo>
                  <a:lnTo>
                    <a:pt x="493" y="320"/>
                  </a:lnTo>
                  <a:lnTo>
                    <a:pt x="489" y="320"/>
                  </a:lnTo>
                  <a:lnTo>
                    <a:pt x="489" y="322"/>
                  </a:lnTo>
                  <a:lnTo>
                    <a:pt x="487" y="324"/>
                  </a:lnTo>
                  <a:lnTo>
                    <a:pt x="487" y="326"/>
                  </a:lnTo>
                  <a:lnTo>
                    <a:pt x="486" y="328"/>
                  </a:lnTo>
                  <a:lnTo>
                    <a:pt x="486" y="328"/>
                  </a:lnTo>
                  <a:lnTo>
                    <a:pt x="486" y="334"/>
                  </a:lnTo>
                  <a:lnTo>
                    <a:pt x="484" y="338"/>
                  </a:lnTo>
                  <a:lnTo>
                    <a:pt x="482" y="339"/>
                  </a:lnTo>
                  <a:lnTo>
                    <a:pt x="482" y="341"/>
                  </a:lnTo>
                  <a:lnTo>
                    <a:pt x="482" y="343"/>
                  </a:lnTo>
                  <a:lnTo>
                    <a:pt x="482" y="345"/>
                  </a:lnTo>
                  <a:lnTo>
                    <a:pt x="482" y="349"/>
                  </a:lnTo>
                  <a:lnTo>
                    <a:pt x="482" y="353"/>
                  </a:lnTo>
                  <a:lnTo>
                    <a:pt x="482" y="355"/>
                  </a:lnTo>
                  <a:lnTo>
                    <a:pt x="482" y="357"/>
                  </a:lnTo>
                  <a:lnTo>
                    <a:pt x="482" y="359"/>
                  </a:lnTo>
                  <a:lnTo>
                    <a:pt x="478" y="359"/>
                  </a:lnTo>
                  <a:lnTo>
                    <a:pt x="476" y="359"/>
                  </a:lnTo>
                  <a:lnTo>
                    <a:pt x="476" y="359"/>
                  </a:lnTo>
                  <a:lnTo>
                    <a:pt x="474" y="361"/>
                  </a:lnTo>
                  <a:lnTo>
                    <a:pt x="472" y="361"/>
                  </a:lnTo>
                  <a:lnTo>
                    <a:pt x="470" y="361"/>
                  </a:lnTo>
                  <a:lnTo>
                    <a:pt x="470" y="362"/>
                  </a:lnTo>
                  <a:lnTo>
                    <a:pt x="468" y="362"/>
                  </a:lnTo>
                  <a:lnTo>
                    <a:pt x="466" y="364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7" y="370"/>
                  </a:lnTo>
                  <a:lnTo>
                    <a:pt x="455" y="370"/>
                  </a:lnTo>
                  <a:lnTo>
                    <a:pt x="455" y="370"/>
                  </a:lnTo>
                  <a:lnTo>
                    <a:pt x="453" y="372"/>
                  </a:lnTo>
                  <a:lnTo>
                    <a:pt x="453" y="374"/>
                  </a:lnTo>
                  <a:lnTo>
                    <a:pt x="451" y="374"/>
                  </a:lnTo>
                  <a:lnTo>
                    <a:pt x="451" y="376"/>
                  </a:lnTo>
                  <a:lnTo>
                    <a:pt x="451" y="378"/>
                  </a:lnTo>
                  <a:lnTo>
                    <a:pt x="449" y="378"/>
                  </a:lnTo>
                  <a:lnTo>
                    <a:pt x="447" y="378"/>
                  </a:lnTo>
                  <a:lnTo>
                    <a:pt x="447" y="378"/>
                  </a:lnTo>
                  <a:lnTo>
                    <a:pt x="445" y="380"/>
                  </a:lnTo>
                  <a:lnTo>
                    <a:pt x="443" y="380"/>
                  </a:lnTo>
                  <a:lnTo>
                    <a:pt x="441" y="382"/>
                  </a:lnTo>
                  <a:lnTo>
                    <a:pt x="440" y="380"/>
                  </a:lnTo>
                  <a:lnTo>
                    <a:pt x="438" y="380"/>
                  </a:lnTo>
                  <a:lnTo>
                    <a:pt x="436" y="380"/>
                  </a:lnTo>
                  <a:lnTo>
                    <a:pt x="434" y="378"/>
                  </a:lnTo>
                  <a:lnTo>
                    <a:pt x="434" y="376"/>
                  </a:lnTo>
                  <a:lnTo>
                    <a:pt x="432" y="376"/>
                  </a:lnTo>
                  <a:lnTo>
                    <a:pt x="430" y="376"/>
                  </a:lnTo>
                  <a:lnTo>
                    <a:pt x="428" y="376"/>
                  </a:lnTo>
                  <a:lnTo>
                    <a:pt x="426" y="376"/>
                  </a:lnTo>
                  <a:lnTo>
                    <a:pt x="424" y="376"/>
                  </a:lnTo>
                  <a:lnTo>
                    <a:pt x="422" y="374"/>
                  </a:lnTo>
                  <a:lnTo>
                    <a:pt x="420" y="374"/>
                  </a:lnTo>
                  <a:lnTo>
                    <a:pt x="418" y="374"/>
                  </a:lnTo>
                  <a:lnTo>
                    <a:pt x="417" y="374"/>
                  </a:lnTo>
                  <a:lnTo>
                    <a:pt x="415" y="374"/>
                  </a:lnTo>
                  <a:lnTo>
                    <a:pt x="413" y="376"/>
                  </a:lnTo>
                  <a:lnTo>
                    <a:pt x="411" y="376"/>
                  </a:lnTo>
                  <a:lnTo>
                    <a:pt x="409" y="376"/>
                  </a:lnTo>
                  <a:lnTo>
                    <a:pt x="407" y="376"/>
                  </a:lnTo>
                  <a:lnTo>
                    <a:pt x="405" y="376"/>
                  </a:lnTo>
                  <a:lnTo>
                    <a:pt x="401" y="376"/>
                  </a:lnTo>
                  <a:lnTo>
                    <a:pt x="399" y="378"/>
                  </a:lnTo>
                  <a:lnTo>
                    <a:pt x="399" y="378"/>
                  </a:lnTo>
                  <a:lnTo>
                    <a:pt x="397" y="378"/>
                  </a:lnTo>
                  <a:lnTo>
                    <a:pt x="397" y="380"/>
                  </a:lnTo>
                  <a:lnTo>
                    <a:pt x="395" y="380"/>
                  </a:lnTo>
                  <a:lnTo>
                    <a:pt x="393" y="382"/>
                  </a:lnTo>
                  <a:lnTo>
                    <a:pt x="392" y="382"/>
                  </a:lnTo>
                  <a:lnTo>
                    <a:pt x="388" y="382"/>
                  </a:lnTo>
                  <a:lnTo>
                    <a:pt x="386" y="382"/>
                  </a:lnTo>
                  <a:lnTo>
                    <a:pt x="382" y="382"/>
                  </a:lnTo>
                  <a:lnTo>
                    <a:pt x="380" y="382"/>
                  </a:lnTo>
                  <a:lnTo>
                    <a:pt x="378" y="382"/>
                  </a:lnTo>
                  <a:lnTo>
                    <a:pt x="376" y="382"/>
                  </a:lnTo>
                  <a:lnTo>
                    <a:pt x="372" y="382"/>
                  </a:lnTo>
                  <a:lnTo>
                    <a:pt x="370" y="382"/>
                  </a:lnTo>
                  <a:lnTo>
                    <a:pt x="369" y="382"/>
                  </a:lnTo>
                  <a:lnTo>
                    <a:pt x="367" y="382"/>
                  </a:lnTo>
                  <a:lnTo>
                    <a:pt x="365" y="382"/>
                  </a:lnTo>
                  <a:lnTo>
                    <a:pt x="365" y="380"/>
                  </a:lnTo>
                  <a:lnTo>
                    <a:pt x="363" y="380"/>
                  </a:lnTo>
                  <a:lnTo>
                    <a:pt x="361" y="380"/>
                  </a:lnTo>
                  <a:lnTo>
                    <a:pt x="359" y="378"/>
                  </a:lnTo>
                  <a:lnTo>
                    <a:pt x="359" y="380"/>
                  </a:lnTo>
                  <a:lnTo>
                    <a:pt x="357" y="380"/>
                  </a:lnTo>
                  <a:lnTo>
                    <a:pt x="355" y="382"/>
                  </a:lnTo>
                  <a:lnTo>
                    <a:pt x="355" y="384"/>
                  </a:lnTo>
                  <a:lnTo>
                    <a:pt x="355" y="384"/>
                  </a:lnTo>
                  <a:lnTo>
                    <a:pt x="353" y="384"/>
                  </a:lnTo>
                  <a:lnTo>
                    <a:pt x="353" y="385"/>
                  </a:lnTo>
                  <a:lnTo>
                    <a:pt x="351" y="387"/>
                  </a:lnTo>
                  <a:lnTo>
                    <a:pt x="351" y="389"/>
                  </a:lnTo>
                  <a:lnTo>
                    <a:pt x="349" y="389"/>
                  </a:lnTo>
                  <a:lnTo>
                    <a:pt x="349" y="389"/>
                  </a:lnTo>
                  <a:lnTo>
                    <a:pt x="347" y="393"/>
                  </a:lnTo>
                  <a:lnTo>
                    <a:pt x="346" y="395"/>
                  </a:lnTo>
                  <a:lnTo>
                    <a:pt x="344" y="395"/>
                  </a:lnTo>
                  <a:lnTo>
                    <a:pt x="344" y="399"/>
                  </a:lnTo>
                  <a:lnTo>
                    <a:pt x="342" y="399"/>
                  </a:lnTo>
                  <a:lnTo>
                    <a:pt x="340" y="399"/>
                  </a:lnTo>
                  <a:lnTo>
                    <a:pt x="340" y="401"/>
                  </a:lnTo>
                  <a:lnTo>
                    <a:pt x="338" y="403"/>
                  </a:lnTo>
                  <a:lnTo>
                    <a:pt x="336" y="403"/>
                  </a:lnTo>
                  <a:lnTo>
                    <a:pt x="334" y="403"/>
                  </a:lnTo>
                  <a:lnTo>
                    <a:pt x="332" y="403"/>
                  </a:lnTo>
                  <a:lnTo>
                    <a:pt x="332" y="401"/>
                  </a:lnTo>
                  <a:lnTo>
                    <a:pt x="330" y="401"/>
                  </a:lnTo>
                  <a:lnTo>
                    <a:pt x="330" y="399"/>
                  </a:lnTo>
                  <a:lnTo>
                    <a:pt x="328" y="397"/>
                  </a:lnTo>
                  <a:lnTo>
                    <a:pt x="328" y="395"/>
                  </a:lnTo>
                  <a:lnTo>
                    <a:pt x="326" y="395"/>
                  </a:lnTo>
                  <a:lnTo>
                    <a:pt x="324" y="395"/>
                  </a:lnTo>
                  <a:lnTo>
                    <a:pt x="322" y="395"/>
                  </a:lnTo>
                  <a:lnTo>
                    <a:pt x="322" y="393"/>
                  </a:lnTo>
                  <a:lnTo>
                    <a:pt x="321" y="393"/>
                  </a:lnTo>
                  <a:lnTo>
                    <a:pt x="319" y="393"/>
                  </a:lnTo>
                  <a:lnTo>
                    <a:pt x="319" y="389"/>
                  </a:lnTo>
                  <a:lnTo>
                    <a:pt x="317" y="389"/>
                  </a:lnTo>
                  <a:lnTo>
                    <a:pt x="315" y="389"/>
                  </a:lnTo>
                  <a:lnTo>
                    <a:pt x="315" y="389"/>
                  </a:lnTo>
                  <a:lnTo>
                    <a:pt x="313" y="387"/>
                  </a:lnTo>
                  <a:lnTo>
                    <a:pt x="311" y="387"/>
                  </a:lnTo>
                  <a:lnTo>
                    <a:pt x="311" y="385"/>
                  </a:lnTo>
                  <a:lnTo>
                    <a:pt x="309" y="384"/>
                  </a:lnTo>
                  <a:lnTo>
                    <a:pt x="309" y="384"/>
                  </a:lnTo>
                  <a:lnTo>
                    <a:pt x="309" y="382"/>
                  </a:lnTo>
                  <a:lnTo>
                    <a:pt x="307" y="380"/>
                  </a:lnTo>
                  <a:lnTo>
                    <a:pt x="305" y="378"/>
                  </a:lnTo>
                  <a:lnTo>
                    <a:pt x="305" y="378"/>
                  </a:lnTo>
                  <a:lnTo>
                    <a:pt x="303" y="376"/>
                  </a:lnTo>
                  <a:lnTo>
                    <a:pt x="303" y="376"/>
                  </a:lnTo>
                  <a:lnTo>
                    <a:pt x="301" y="374"/>
                  </a:lnTo>
                  <a:lnTo>
                    <a:pt x="299" y="374"/>
                  </a:lnTo>
                  <a:lnTo>
                    <a:pt x="298" y="372"/>
                  </a:lnTo>
                  <a:lnTo>
                    <a:pt x="294" y="372"/>
                  </a:lnTo>
                  <a:lnTo>
                    <a:pt x="292" y="372"/>
                  </a:lnTo>
                  <a:lnTo>
                    <a:pt x="290" y="372"/>
                  </a:lnTo>
                  <a:lnTo>
                    <a:pt x="288" y="372"/>
                  </a:lnTo>
                  <a:lnTo>
                    <a:pt x="284" y="372"/>
                  </a:lnTo>
                  <a:lnTo>
                    <a:pt x="282" y="372"/>
                  </a:lnTo>
                  <a:lnTo>
                    <a:pt x="282" y="374"/>
                  </a:lnTo>
                  <a:lnTo>
                    <a:pt x="278" y="374"/>
                  </a:lnTo>
                  <a:lnTo>
                    <a:pt x="278" y="376"/>
                  </a:lnTo>
                  <a:lnTo>
                    <a:pt x="276" y="376"/>
                  </a:lnTo>
                  <a:lnTo>
                    <a:pt x="276" y="378"/>
                  </a:lnTo>
                  <a:lnTo>
                    <a:pt x="275" y="380"/>
                  </a:lnTo>
                  <a:lnTo>
                    <a:pt x="273" y="382"/>
                  </a:lnTo>
                  <a:lnTo>
                    <a:pt x="273" y="382"/>
                  </a:lnTo>
                  <a:lnTo>
                    <a:pt x="271" y="382"/>
                  </a:lnTo>
                  <a:lnTo>
                    <a:pt x="271" y="384"/>
                  </a:lnTo>
                  <a:lnTo>
                    <a:pt x="271" y="385"/>
                  </a:lnTo>
                  <a:lnTo>
                    <a:pt x="269" y="387"/>
                  </a:lnTo>
                  <a:lnTo>
                    <a:pt x="267" y="387"/>
                  </a:lnTo>
                  <a:lnTo>
                    <a:pt x="267" y="389"/>
                  </a:lnTo>
                  <a:lnTo>
                    <a:pt x="263" y="389"/>
                  </a:lnTo>
                  <a:lnTo>
                    <a:pt x="261" y="389"/>
                  </a:lnTo>
                  <a:lnTo>
                    <a:pt x="261" y="389"/>
                  </a:lnTo>
                  <a:lnTo>
                    <a:pt x="259" y="387"/>
                  </a:lnTo>
                  <a:lnTo>
                    <a:pt x="259" y="387"/>
                  </a:lnTo>
                  <a:lnTo>
                    <a:pt x="257" y="385"/>
                  </a:lnTo>
                  <a:lnTo>
                    <a:pt x="255" y="387"/>
                  </a:lnTo>
                  <a:lnTo>
                    <a:pt x="253" y="387"/>
                  </a:lnTo>
                  <a:lnTo>
                    <a:pt x="253" y="384"/>
                  </a:lnTo>
                  <a:lnTo>
                    <a:pt x="251" y="384"/>
                  </a:lnTo>
                  <a:lnTo>
                    <a:pt x="250" y="384"/>
                  </a:lnTo>
                  <a:lnTo>
                    <a:pt x="250" y="382"/>
                  </a:lnTo>
                  <a:lnTo>
                    <a:pt x="248" y="382"/>
                  </a:lnTo>
                  <a:lnTo>
                    <a:pt x="244" y="382"/>
                  </a:lnTo>
                  <a:lnTo>
                    <a:pt x="242" y="382"/>
                  </a:lnTo>
                  <a:lnTo>
                    <a:pt x="242" y="380"/>
                  </a:lnTo>
                  <a:lnTo>
                    <a:pt x="242" y="378"/>
                  </a:lnTo>
                  <a:lnTo>
                    <a:pt x="240" y="376"/>
                  </a:lnTo>
                  <a:lnTo>
                    <a:pt x="240" y="376"/>
                  </a:lnTo>
                  <a:lnTo>
                    <a:pt x="236" y="370"/>
                  </a:lnTo>
                  <a:lnTo>
                    <a:pt x="232" y="370"/>
                  </a:lnTo>
                  <a:lnTo>
                    <a:pt x="232" y="368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4"/>
                  </a:lnTo>
                  <a:lnTo>
                    <a:pt x="227" y="364"/>
                  </a:lnTo>
                  <a:lnTo>
                    <a:pt x="225" y="362"/>
                  </a:lnTo>
                  <a:lnTo>
                    <a:pt x="223" y="361"/>
                  </a:lnTo>
                  <a:lnTo>
                    <a:pt x="223" y="359"/>
                  </a:lnTo>
                  <a:lnTo>
                    <a:pt x="223" y="359"/>
                  </a:lnTo>
                  <a:lnTo>
                    <a:pt x="221" y="357"/>
                  </a:lnTo>
                  <a:lnTo>
                    <a:pt x="219" y="355"/>
                  </a:lnTo>
                  <a:lnTo>
                    <a:pt x="217" y="355"/>
                  </a:lnTo>
                  <a:lnTo>
                    <a:pt x="217" y="353"/>
                  </a:lnTo>
                  <a:lnTo>
                    <a:pt x="217" y="353"/>
                  </a:lnTo>
                  <a:lnTo>
                    <a:pt x="215" y="351"/>
                  </a:lnTo>
                  <a:lnTo>
                    <a:pt x="211" y="351"/>
                  </a:lnTo>
                  <a:lnTo>
                    <a:pt x="211" y="349"/>
                  </a:lnTo>
                  <a:lnTo>
                    <a:pt x="211" y="349"/>
                  </a:lnTo>
                  <a:lnTo>
                    <a:pt x="209" y="349"/>
                  </a:lnTo>
                  <a:lnTo>
                    <a:pt x="207" y="349"/>
                  </a:lnTo>
                  <a:lnTo>
                    <a:pt x="205" y="349"/>
                  </a:lnTo>
                  <a:lnTo>
                    <a:pt x="204" y="351"/>
                  </a:lnTo>
                  <a:lnTo>
                    <a:pt x="204" y="351"/>
                  </a:lnTo>
                  <a:lnTo>
                    <a:pt x="202" y="353"/>
                  </a:lnTo>
                  <a:lnTo>
                    <a:pt x="200" y="355"/>
                  </a:lnTo>
                  <a:lnTo>
                    <a:pt x="200" y="355"/>
                  </a:lnTo>
                  <a:lnTo>
                    <a:pt x="198" y="357"/>
                  </a:lnTo>
                  <a:lnTo>
                    <a:pt x="196" y="357"/>
                  </a:lnTo>
                  <a:lnTo>
                    <a:pt x="194" y="359"/>
                  </a:lnTo>
                  <a:lnTo>
                    <a:pt x="194" y="359"/>
                  </a:lnTo>
                  <a:lnTo>
                    <a:pt x="192" y="361"/>
                  </a:lnTo>
                  <a:lnTo>
                    <a:pt x="192" y="361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88" y="364"/>
                  </a:lnTo>
                  <a:lnTo>
                    <a:pt x="186" y="364"/>
                  </a:lnTo>
                  <a:lnTo>
                    <a:pt x="186" y="366"/>
                  </a:lnTo>
                  <a:lnTo>
                    <a:pt x="182" y="366"/>
                  </a:lnTo>
                  <a:lnTo>
                    <a:pt x="180" y="366"/>
                  </a:lnTo>
                  <a:lnTo>
                    <a:pt x="179" y="366"/>
                  </a:lnTo>
                  <a:lnTo>
                    <a:pt x="177" y="366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71" y="364"/>
                  </a:lnTo>
                  <a:lnTo>
                    <a:pt x="171" y="362"/>
                  </a:lnTo>
                  <a:lnTo>
                    <a:pt x="167" y="362"/>
                  </a:lnTo>
                  <a:lnTo>
                    <a:pt x="165" y="361"/>
                  </a:lnTo>
                  <a:lnTo>
                    <a:pt x="163" y="361"/>
                  </a:lnTo>
                  <a:lnTo>
                    <a:pt x="161" y="361"/>
                  </a:lnTo>
                  <a:lnTo>
                    <a:pt x="159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6" y="361"/>
                  </a:lnTo>
                  <a:lnTo>
                    <a:pt x="154" y="362"/>
                  </a:lnTo>
                  <a:lnTo>
                    <a:pt x="154" y="362"/>
                  </a:lnTo>
                  <a:lnTo>
                    <a:pt x="152" y="364"/>
                  </a:lnTo>
                  <a:lnTo>
                    <a:pt x="152" y="364"/>
                  </a:lnTo>
                  <a:lnTo>
                    <a:pt x="150" y="366"/>
                  </a:lnTo>
                  <a:lnTo>
                    <a:pt x="150" y="366"/>
                  </a:lnTo>
                  <a:lnTo>
                    <a:pt x="148" y="366"/>
                  </a:lnTo>
                  <a:lnTo>
                    <a:pt x="146" y="368"/>
                  </a:lnTo>
                  <a:lnTo>
                    <a:pt x="144" y="370"/>
                  </a:lnTo>
                  <a:lnTo>
                    <a:pt x="144" y="370"/>
                  </a:lnTo>
                  <a:lnTo>
                    <a:pt x="142" y="372"/>
                  </a:lnTo>
                  <a:lnTo>
                    <a:pt x="142" y="374"/>
                  </a:lnTo>
                  <a:lnTo>
                    <a:pt x="142" y="376"/>
                  </a:lnTo>
                  <a:lnTo>
                    <a:pt x="140" y="376"/>
                  </a:lnTo>
                  <a:lnTo>
                    <a:pt x="138" y="378"/>
                  </a:lnTo>
                  <a:lnTo>
                    <a:pt x="138" y="382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38" y="389"/>
                  </a:lnTo>
                  <a:lnTo>
                    <a:pt x="138" y="391"/>
                  </a:lnTo>
                  <a:lnTo>
                    <a:pt x="136" y="393"/>
                  </a:lnTo>
                  <a:lnTo>
                    <a:pt x="134" y="393"/>
                  </a:lnTo>
                  <a:lnTo>
                    <a:pt x="133" y="395"/>
                  </a:lnTo>
                  <a:lnTo>
                    <a:pt x="133" y="395"/>
                  </a:lnTo>
                  <a:lnTo>
                    <a:pt x="131" y="397"/>
                  </a:lnTo>
                  <a:lnTo>
                    <a:pt x="131" y="399"/>
                  </a:lnTo>
                  <a:lnTo>
                    <a:pt x="129" y="401"/>
                  </a:lnTo>
                  <a:lnTo>
                    <a:pt x="127" y="401"/>
                  </a:lnTo>
                  <a:lnTo>
                    <a:pt x="127" y="405"/>
                  </a:lnTo>
                  <a:lnTo>
                    <a:pt x="125" y="405"/>
                  </a:lnTo>
                  <a:lnTo>
                    <a:pt x="125" y="405"/>
                  </a:lnTo>
                  <a:lnTo>
                    <a:pt x="125" y="407"/>
                  </a:lnTo>
                  <a:lnTo>
                    <a:pt x="123" y="409"/>
                  </a:lnTo>
                  <a:lnTo>
                    <a:pt x="121" y="410"/>
                  </a:lnTo>
                  <a:lnTo>
                    <a:pt x="121" y="414"/>
                  </a:lnTo>
                  <a:lnTo>
                    <a:pt x="121" y="414"/>
                  </a:lnTo>
                  <a:lnTo>
                    <a:pt x="119" y="416"/>
                  </a:lnTo>
                  <a:lnTo>
                    <a:pt x="119" y="418"/>
                  </a:lnTo>
                  <a:lnTo>
                    <a:pt x="119" y="416"/>
                  </a:lnTo>
                  <a:lnTo>
                    <a:pt x="117" y="416"/>
                  </a:lnTo>
                  <a:lnTo>
                    <a:pt x="117" y="418"/>
                  </a:lnTo>
                  <a:lnTo>
                    <a:pt x="115" y="420"/>
                  </a:lnTo>
                  <a:lnTo>
                    <a:pt x="115" y="422"/>
                  </a:lnTo>
                  <a:lnTo>
                    <a:pt x="111" y="422"/>
                  </a:lnTo>
                  <a:lnTo>
                    <a:pt x="110" y="422"/>
                  </a:lnTo>
                  <a:lnTo>
                    <a:pt x="108" y="422"/>
                  </a:lnTo>
                  <a:lnTo>
                    <a:pt x="108" y="420"/>
                  </a:lnTo>
                  <a:lnTo>
                    <a:pt x="106" y="420"/>
                  </a:lnTo>
                  <a:lnTo>
                    <a:pt x="104" y="418"/>
                  </a:lnTo>
                  <a:lnTo>
                    <a:pt x="104" y="418"/>
                  </a:lnTo>
                  <a:lnTo>
                    <a:pt x="102" y="416"/>
                  </a:lnTo>
                  <a:lnTo>
                    <a:pt x="100" y="416"/>
                  </a:lnTo>
                  <a:lnTo>
                    <a:pt x="100" y="414"/>
                  </a:lnTo>
                  <a:lnTo>
                    <a:pt x="100" y="412"/>
                  </a:lnTo>
                  <a:lnTo>
                    <a:pt x="98" y="410"/>
                  </a:lnTo>
                  <a:lnTo>
                    <a:pt x="96" y="410"/>
                  </a:lnTo>
                  <a:lnTo>
                    <a:pt x="94" y="410"/>
                  </a:lnTo>
                  <a:lnTo>
                    <a:pt x="92" y="410"/>
                  </a:lnTo>
                  <a:lnTo>
                    <a:pt x="90" y="410"/>
                  </a:lnTo>
                  <a:lnTo>
                    <a:pt x="90" y="412"/>
                  </a:lnTo>
                  <a:lnTo>
                    <a:pt x="88" y="412"/>
                  </a:lnTo>
                  <a:lnTo>
                    <a:pt x="86" y="414"/>
                  </a:lnTo>
                  <a:lnTo>
                    <a:pt x="86" y="414"/>
                  </a:lnTo>
                  <a:lnTo>
                    <a:pt x="85" y="416"/>
                  </a:lnTo>
                  <a:lnTo>
                    <a:pt x="83" y="418"/>
                  </a:lnTo>
                  <a:lnTo>
                    <a:pt x="83" y="418"/>
                  </a:lnTo>
                  <a:lnTo>
                    <a:pt x="81" y="418"/>
                  </a:lnTo>
                  <a:lnTo>
                    <a:pt x="79" y="418"/>
                  </a:lnTo>
                  <a:lnTo>
                    <a:pt x="77" y="420"/>
                  </a:lnTo>
                  <a:lnTo>
                    <a:pt x="75" y="420"/>
                  </a:lnTo>
                  <a:lnTo>
                    <a:pt x="73" y="420"/>
                  </a:lnTo>
                  <a:lnTo>
                    <a:pt x="71" y="420"/>
                  </a:lnTo>
                  <a:lnTo>
                    <a:pt x="69" y="420"/>
                  </a:lnTo>
                  <a:lnTo>
                    <a:pt x="67" y="420"/>
                  </a:lnTo>
                  <a:lnTo>
                    <a:pt x="67" y="416"/>
                  </a:lnTo>
                  <a:lnTo>
                    <a:pt x="65" y="416"/>
                  </a:lnTo>
                  <a:lnTo>
                    <a:pt x="65" y="414"/>
                  </a:lnTo>
                  <a:lnTo>
                    <a:pt x="63" y="412"/>
                  </a:lnTo>
                  <a:lnTo>
                    <a:pt x="63" y="410"/>
                  </a:lnTo>
                  <a:lnTo>
                    <a:pt x="63" y="410"/>
                  </a:lnTo>
                  <a:lnTo>
                    <a:pt x="65" y="409"/>
                  </a:lnTo>
                  <a:lnTo>
                    <a:pt x="65" y="407"/>
                  </a:lnTo>
                  <a:lnTo>
                    <a:pt x="65" y="405"/>
                  </a:lnTo>
                  <a:lnTo>
                    <a:pt x="67" y="403"/>
                  </a:lnTo>
                  <a:lnTo>
                    <a:pt x="69" y="401"/>
                  </a:lnTo>
                  <a:lnTo>
                    <a:pt x="67" y="401"/>
                  </a:lnTo>
                  <a:lnTo>
                    <a:pt x="67" y="399"/>
                  </a:lnTo>
                  <a:lnTo>
                    <a:pt x="65" y="397"/>
                  </a:lnTo>
                  <a:lnTo>
                    <a:pt x="65" y="395"/>
                  </a:lnTo>
                  <a:lnTo>
                    <a:pt x="65" y="395"/>
                  </a:lnTo>
                  <a:lnTo>
                    <a:pt x="63" y="395"/>
                  </a:lnTo>
                  <a:lnTo>
                    <a:pt x="62" y="395"/>
                  </a:lnTo>
                  <a:lnTo>
                    <a:pt x="60" y="393"/>
                  </a:lnTo>
                  <a:lnTo>
                    <a:pt x="58" y="393"/>
                  </a:lnTo>
                  <a:lnTo>
                    <a:pt x="56" y="393"/>
                  </a:lnTo>
                  <a:lnTo>
                    <a:pt x="56" y="395"/>
                  </a:lnTo>
                  <a:lnTo>
                    <a:pt x="54" y="395"/>
                  </a:lnTo>
                  <a:lnTo>
                    <a:pt x="54" y="395"/>
                  </a:lnTo>
                  <a:lnTo>
                    <a:pt x="54" y="397"/>
                  </a:lnTo>
                  <a:lnTo>
                    <a:pt x="50" y="397"/>
                  </a:lnTo>
                  <a:lnTo>
                    <a:pt x="50" y="397"/>
                  </a:lnTo>
                  <a:lnTo>
                    <a:pt x="48" y="397"/>
                  </a:lnTo>
                  <a:lnTo>
                    <a:pt x="48" y="395"/>
                  </a:lnTo>
                  <a:lnTo>
                    <a:pt x="46" y="395"/>
                  </a:lnTo>
                  <a:lnTo>
                    <a:pt x="44" y="393"/>
                  </a:lnTo>
                  <a:lnTo>
                    <a:pt x="44" y="391"/>
                  </a:lnTo>
                  <a:lnTo>
                    <a:pt x="44" y="389"/>
                  </a:lnTo>
                  <a:lnTo>
                    <a:pt x="42" y="387"/>
                  </a:lnTo>
                  <a:lnTo>
                    <a:pt x="42" y="387"/>
                  </a:lnTo>
                  <a:lnTo>
                    <a:pt x="40" y="385"/>
                  </a:lnTo>
                  <a:lnTo>
                    <a:pt x="39" y="385"/>
                  </a:lnTo>
                  <a:lnTo>
                    <a:pt x="39" y="384"/>
                  </a:lnTo>
                  <a:lnTo>
                    <a:pt x="39" y="382"/>
                  </a:lnTo>
                  <a:lnTo>
                    <a:pt x="37" y="382"/>
                  </a:lnTo>
                  <a:lnTo>
                    <a:pt x="37" y="378"/>
                  </a:lnTo>
                  <a:lnTo>
                    <a:pt x="37" y="376"/>
                  </a:lnTo>
                  <a:lnTo>
                    <a:pt x="37" y="374"/>
                  </a:lnTo>
                  <a:lnTo>
                    <a:pt x="37" y="372"/>
                  </a:lnTo>
                  <a:lnTo>
                    <a:pt x="37" y="370"/>
                  </a:lnTo>
                  <a:lnTo>
                    <a:pt x="37" y="366"/>
                  </a:lnTo>
                  <a:lnTo>
                    <a:pt x="31" y="366"/>
                  </a:lnTo>
                  <a:lnTo>
                    <a:pt x="29" y="366"/>
                  </a:lnTo>
                  <a:lnTo>
                    <a:pt x="29" y="364"/>
                  </a:lnTo>
                  <a:lnTo>
                    <a:pt x="27" y="364"/>
                  </a:lnTo>
                  <a:lnTo>
                    <a:pt x="25" y="364"/>
                  </a:lnTo>
                  <a:lnTo>
                    <a:pt x="23" y="362"/>
                  </a:lnTo>
                  <a:lnTo>
                    <a:pt x="23" y="361"/>
                  </a:lnTo>
                  <a:lnTo>
                    <a:pt x="21" y="361"/>
                  </a:lnTo>
                  <a:lnTo>
                    <a:pt x="19" y="359"/>
                  </a:lnTo>
                  <a:lnTo>
                    <a:pt x="17" y="359"/>
                  </a:lnTo>
                  <a:lnTo>
                    <a:pt x="17" y="355"/>
                  </a:lnTo>
                  <a:lnTo>
                    <a:pt x="15" y="355"/>
                  </a:lnTo>
                  <a:lnTo>
                    <a:pt x="15" y="353"/>
                  </a:lnTo>
                  <a:lnTo>
                    <a:pt x="14" y="353"/>
                  </a:lnTo>
                  <a:lnTo>
                    <a:pt x="14" y="351"/>
                  </a:lnTo>
                  <a:lnTo>
                    <a:pt x="12" y="351"/>
                  </a:lnTo>
                  <a:lnTo>
                    <a:pt x="10" y="349"/>
                  </a:lnTo>
                  <a:lnTo>
                    <a:pt x="8" y="347"/>
                  </a:lnTo>
                  <a:lnTo>
                    <a:pt x="8" y="345"/>
                  </a:lnTo>
                  <a:lnTo>
                    <a:pt x="8" y="343"/>
                  </a:lnTo>
                  <a:lnTo>
                    <a:pt x="6" y="341"/>
                  </a:lnTo>
                  <a:lnTo>
                    <a:pt x="6" y="339"/>
                  </a:lnTo>
                  <a:lnTo>
                    <a:pt x="4" y="338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2" y="328"/>
                  </a:lnTo>
                  <a:lnTo>
                    <a:pt x="2" y="326"/>
                  </a:lnTo>
                  <a:lnTo>
                    <a:pt x="0" y="322"/>
                  </a:lnTo>
                  <a:lnTo>
                    <a:pt x="2" y="322"/>
                  </a:lnTo>
                  <a:lnTo>
                    <a:pt x="2" y="320"/>
                  </a:lnTo>
                  <a:lnTo>
                    <a:pt x="2" y="318"/>
                  </a:lnTo>
                  <a:lnTo>
                    <a:pt x="2" y="316"/>
                  </a:lnTo>
                  <a:lnTo>
                    <a:pt x="4" y="314"/>
                  </a:lnTo>
                  <a:lnTo>
                    <a:pt x="4" y="311"/>
                  </a:lnTo>
                  <a:lnTo>
                    <a:pt x="2" y="311"/>
                  </a:lnTo>
                  <a:lnTo>
                    <a:pt x="4" y="3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8" name="Freeform 94"/>
            <p:cNvSpPr>
              <a:spLocks/>
            </p:cNvSpPr>
            <p:nvPr/>
          </p:nvSpPr>
          <p:spPr bwMode="auto">
            <a:xfrm>
              <a:off x="1179" y="1461"/>
              <a:ext cx="566" cy="422"/>
            </a:xfrm>
            <a:custGeom>
              <a:avLst/>
              <a:gdLst/>
              <a:ahLst/>
              <a:cxnLst>
                <a:cxn ang="0">
                  <a:pos x="90" y="297"/>
                </a:cxn>
                <a:cxn ang="0">
                  <a:pos x="127" y="291"/>
                </a:cxn>
                <a:cxn ang="0">
                  <a:pos x="156" y="261"/>
                </a:cxn>
                <a:cxn ang="0">
                  <a:pos x="169" y="163"/>
                </a:cxn>
                <a:cxn ang="0">
                  <a:pos x="205" y="149"/>
                </a:cxn>
                <a:cxn ang="0">
                  <a:pos x="443" y="2"/>
                </a:cxn>
                <a:cxn ang="0">
                  <a:pos x="466" y="7"/>
                </a:cxn>
                <a:cxn ang="0">
                  <a:pos x="489" y="9"/>
                </a:cxn>
                <a:cxn ang="0">
                  <a:pos x="505" y="23"/>
                </a:cxn>
                <a:cxn ang="0">
                  <a:pos x="518" y="32"/>
                </a:cxn>
                <a:cxn ang="0">
                  <a:pos x="539" y="27"/>
                </a:cxn>
                <a:cxn ang="0">
                  <a:pos x="545" y="48"/>
                </a:cxn>
                <a:cxn ang="0">
                  <a:pos x="549" y="71"/>
                </a:cxn>
                <a:cxn ang="0">
                  <a:pos x="562" y="82"/>
                </a:cxn>
                <a:cxn ang="0">
                  <a:pos x="566" y="103"/>
                </a:cxn>
                <a:cxn ang="0">
                  <a:pos x="566" y="123"/>
                </a:cxn>
                <a:cxn ang="0">
                  <a:pos x="555" y="138"/>
                </a:cxn>
                <a:cxn ang="0">
                  <a:pos x="551" y="155"/>
                </a:cxn>
                <a:cxn ang="0">
                  <a:pos x="555" y="184"/>
                </a:cxn>
                <a:cxn ang="0">
                  <a:pos x="557" y="217"/>
                </a:cxn>
                <a:cxn ang="0">
                  <a:pos x="557" y="245"/>
                </a:cxn>
                <a:cxn ang="0">
                  <a:pos x="541" y="265"/>
                </a:cxn>
                <a:cxn ang="0">
                  <a:pos x="522" y="276"/>
                </a:cxn>
                <a:cxn ang="0">
                  <a:pos x="511" y="290"/>
                </a:cxn>
                <a:cxn ang="0">
                  <a:pos x="499" y="305"/>
                </a:cxn>
                <a:cxn ang="0">
                  <a:pos x="486" y="328"/>
                </a:cxn>
                <a:cxn ang="0">
                  <a:pos x="482" y="357"/>
                </a:cxn>
                <a:cxn ang="0">
                  <a:pos x="466" y="366"/>
                </a:cxn>
                <a:cxn ang="0">
                  <a:pos x="451" y="376"/>
                </a:cxn>
                <a:cxn ang="0">
                  <a:pos x="434" y="378"/>
                </a:cxn>
                <a:cxn ang="0">
                  <a:pos x="415" y="374"/>
                </a:cxn>
                <a:cxn ang="0">
                  <a:pos x="395" y="380"/>
                </a:cxn>
                <a:cxn ang="0">
                  <a:pos x="369" y="382"/>
                </a:cxn>
                <a:cxn ang="0">
                  <a:pos x="355" y="384"/>
                </a:cxn>
                <a:cxn ang="0">
                  <a:pos x="342" y="399"/>
                </a:cxn>
                <a:cxn ang="0">
                  <a:pos x="328" y="395"/>
                </a:cxn>
                <a:cxn ang="0">
                  <a:pos x="313" y="387"/>
                </a:cxn>
                <a:cxn ang="0">
                  <a:pos x="301" y="374"/>
                </a:cxn>
                <a:cxn ang="0">
                  <a:pos x="278" y="376"/>
                </a:cxn>
                <a:cxn ang="0">
                  <a:pos x="267" y="389"/>
                </a:cxn>
                <a:cxn ang="0">
                  <a:pos x="250" y="384"/>
                </a:cxn>
                <a:cxn ang="0">
                  <a:pos x="232" y="368"/>
                </a:cxn>
                <a:cxn ang="0">
                  <a:pos x="217" y="355"/>
                </a:cxn>
                <a:cxn ang="0">
                  <a:pos x="204" y="351"/>
                </a:cxn>
                <a:cxn ang="0">
                  <a:pos x="190" y="364"/>
                </a:cxn>
                <a:cxn ang="0">
                  <a:pos x="171" y="362"/>
                </a:cxn>
                <a:cxn ang="0">
                  <a:pos x="152" y="364"/>
                </a:cxn>
                <a:cxn ang="0">
                  <a:pos x="140" y="376"/>
                </a:cxn>
                <a:cxn ang="0">
                  <a:pos x="131" y="397"/>
                </a:cxn>
                <a:cxn ang="0">
                  <a:pos x="121" y="414"/>
                </a:cxn>
                <a:cxn ang="0">
                  <a:pos x="108" y="420"/>
                </a:cxn>
                <a:cxn ang="0">
                  <a:pos x="92" y="410"/>
                </a:cxn>
                <a:cxn ang="0">
                  <a:pos x="77" y="420"/>
                </a:cxn>
                <a:cxn ang="0">
                  <a:pos x="63" y="410"/>
                </a:cxn>
                <a:cxn ang="0">
                  <a:pos x="63" y="395"/>
                </a:cxn>
                <a:cxn ang="0">
                  <a:pos x="48" y="397"/>
                </a:cxn>
                <a:cxn ang="0">
                  <a:pos x="39" y="382"/>
                </a:cxn>
                <a:cxn ang="0">
                  <a:pos x="27" y="364"/>
                </a:cxn>
                <a:cxn ang="0">
                  <a:pos x="14" y="351"/>
                </a:cxn>
                <a:cxn ang="0">
                  <a:pos x="2" y="334"/>
                </a:cxn>
                <a:cxn ang="0">
                  <a:pos x="4" y="311"/>
                </a:cxn>
              </a:cxnLst>
              <a:rect l="0" t="0" r="r" b="b"/>
              <a:pathLst>
                <a:path w="566" h="422">
                  <a:moveTo>
                    <a:pt x="4" y="309"/>
                  </a:moveTo>
                  <a:lnTo>
                    <a:pt x="15" y="309"/>
                  </a:lnTo>
                  <a:lnTo>
                    <a:pt x="27" y="311"/>
                  </a:lnTo>
                  <a:lnTo>
                    <a:pt x="33" y="309"/>
                  </a:lnTo>
                  <a:lnTo>
                    <a:pt x="40" y="309"/>
                  </a:lnTo>
                  <a:lnTo>
                    <a:pt x="46" y="303"/>
                  </a:lnTo>
                  <a:lnTo>
                    <a:pt x="52" y="299"/>
                  </a:lnTo>
                  <a:lnTo>
                    <a:pt x="67" y="299"/>
                  </a:lnTo>
                  <a:lnTo>
                    <a:pt x="81" y="299"/>
                  </a:lnTo>
                  <a:lnTo>
                    <a:pt x="85" y="297"/>
                  </a:lnTo>
                  <a:lnTo>
                    <a:pt x="90" y="297"/>
                  </a:lnTo>
                  <a:lnTo>
                    <a:pt x="92" y="297"/>
                  </a:lnTo>
                  <a:lnTo>
                    <a:pt x="94" y="297"/>
                  </a:lnTo>
                  <a:lnTo>
                    <a:pt x="96" y="295"/>
                  </a:lnTo>
                  <a:lnTo>
                    <a:pt x="98" y="295"/>
                  </a:lnTo>
                  <a:lnTo>
                    <a:pt x="100" y="293"/>
                  </a:lnTo>
                  <a:lnTo>
                    <a:pt x="100" y="293"/>
                  </a:lnTo>
                  <a:lnTo>
                    <a:pt x="102" y="291"/>
                  </a:lnTo>
                  <a:lnTo>
                    <a:pt x="104" y="290"/>
                  </a:lnTo>
                  <a:lnTo>
                    <a:pt x="113" y="290"/>
                  </a:lnTo>
                  <a:lnTo>
                    <a:pt x="119" y="290"/>
                  </a:lnTo>
                  <a:lnTo>
                    <a:pt x="127" y="291"/>
                  </a:lnTo>
                  <a:lnTo>
                    <a:pt x="131" y="291"/>
                  </a:lnTo>
                  <a:lnTo>
                    <a:pt x="136" y="293"/>
                  </a:lnTo>
                  <a:lnTo>
                    <a:pt x="144" y="284"/>
                  </a:lnTo>
                  <a:lnTo>
                    <a:pt x="146" y="280"/>
                  </a:lnTo>
                  <a:lnTo>
                    <a:pt x="148" y="276"/>
                  </a:lnTo>
                  <a:lnTo>
                    <a:pt x="150" y="274"/>
                  </a:lnTo>
                  <a:lnTo>
                    <a:pt x="154" y="270"/>
                  </a:lnTo>
                  <a:lnTo>
                    <a:pt x="154" y="268"/>
                  </a:lnTo>
                  <a:lnTo>
                    <a:pt x="156" y="267"/>
                  </a:lnTo>
                  <a:lnTo>
                    <a:pt x="156" y="265"/>
                  </a:lnTo>
                  <a:lnTo>
                    <a:pt x="156" y="261"/>
                  </a:lnTo>
                  <a:lnTo>
                    <a:pt x="156" y="259"/>
                  </a:lnTo>
                  <a:lnTo>
                    <a:pt x="156" y="255"/>
                  </a:lnTo>
                  <a:lnTo>
                    <a:pt x="154" y="247"/>
                  </a:lnTo>
                  <a:lnTo>
                    <a:pt x="154" y="238"/>
                  </a:lnTo>
                  <a:lnTo>
                    <a:pt x="154" y="220"/>
                  </a:lnTo>
                  <a:lnTo>
                    <a:pt x="154" y="213"/>
                  </a:lnTo>
                  <a:lnTo>
                    <a:pt x="152" y="205"/>
                  </a:lnTo>
                  <a:lnTo>
                    <a:pt x="150" y="186"/>
                  </a:lnTo>
                  <a:lnTo>
                    <a:pt x="150" y="165"/>
                  </a:lnTo>
                  <a:lnTo>
                    <a:pt x="159" y="165"/>
                  </a:lnTo>
                  <a:lnTo>
                    <a:pt x="169" y="163"/>
                  </a:lnTo>
                  <a:lnTo>
                    <a:pt x="173" y="163"/>
                  </a:lnTo>
                  <a:lnTo>
                    <a:pt x="177" y="161"/>
                  </a:lnTo>
                  <a:lnTo>
                    <a:pt x="180" y="161"/>
                  </a:lnTo>
                  <a:lnTo>
                    <a:pt x="182" y="161"/>
                  </a:lnTo>
                  <a:lnTo>
                    <a:pt x="190" y="159"/>
                  </a:lnTo>
                  <a:lnTo>
                    <a:pt x="198" y="155"/>
                  </a:lnTo>
                  <a:lnTo>
                    <a:pt x="204" y="155"/>
                  </a:lnTo>
                  <a:lnTo>
                    <a:pt x="204" y="153"/>
                  </a:lnTo>
                  <a:lnTo>
                    <a:pt x="204" y="151"/>
                  </a:lnTo>
                  <a:lnTo>
                    <a:pt x="205" y="149"/>
                  </a:lnTo>
                  <a:lnTo>
                    <a:pt x="205" y="149"/>
                  </a:lnTo>
                  <a:lnTo>
                    <a:pt x="207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11" y="142"/>
                  </a:lnTo>
                  <a:lnTo>
                    <a:pt x="290" y="84"/>
                  </a:lnTo>
                  <a:lnTo>
                    <a:pt x="434" y="0"/>
                  </a:lnTo>
                  <a:lnTo>
                    <a:pt x="438" y="2"/>
                  </a:lnTo>
                  <a:lnTo>
                    <a:pt x="440" y="2"/>
                  </a:lnTo>
                  <a:lnTo>
                    <a:pt x="443" y="2"/>
                  </a:lnTo>
                  <a:lnTo>
                    <a:pt x="445" y="4"/>
                  </a:lnTo>
                  <a:lnTo>
                    <a:pt x="449" y="4"/>
                  </a:lnTo>
                  <a:lnTo>
                    <a:pt x="451" y="4"/>
                  </a:lnTo>
                  <a:lnTo>
                    <a:pt x="453" y="4"/>
                  </a:lnTo>
                  <a:lnTo>
                    <a:pt x="455" y="4"/>
                  </a:lnTo>
                  <a:lnTo>
                    <a:pt x="457" y="4"/>
                  </a:lnTo>
                  <a:lnTo>
                    <a:pt x="459" y="4"/>
                  </a:lnTo>
                  <a:lnTo>
                    <a:pt x="461" y="4"/>
                  </a:lnTo>
                  <a:lnTo>
                    <a:pt x="463" y="6"/>
                  </a:lnTo>
                  <a:lnTo>
                    <a:pt x="463" y="7"/>
                  </a:lnTo>
                  <a:lnTo>
                    <a:pt x="466" y="7"/>
                  </a:lnTo>
                  <a:lnTo>
                    <a:pt x="466" y="7"/>
                  </a:lnTo>
                  <a:lnTo>
                    <a:pt x="470" y="7"/>
                  </a:lnTo>
                  <a:lnTo>
                    <a:pt x="472" y="7"/>
                  </a:lnTo>
                  <a:lnTo>
                    <a:pt x="474" y="7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2" y="9"/>
                  </a:lnTo>
                  <a:lnTo>
                    <a:pt x="484" y="9"/>
                  </a:lnTo>
                  <a:lnTo>
                    <a:pt x="486" y="9"/>
                  </a:lnTo>
                  <a:lnTo>
                    <a:pt x="487" y="9"/>
                  </a:lnTo>
                  <a:lnTo>
                    <a:pt x="489" y="9"/>
                  </a:lnTo>
                  <a:lnTo>
                    <a:pt x="491" y="9"/>
                  </a:lnTo>
                  <a:lnTo>
                    <a:pt x="493" y="11"/>
                  </a:lnTo>
                  <a:lnTo>
                    <a:pt x="493" y="13"/>
                  </a:lnTo>
                  <a:lnTo>
                    <a:pt x="495" y="15"/>
                  </a:lnTo>
                  <a:lnTo>
                    <a:pt x="497" y="15"/>
                  </a:lnTo>
                  <a:lnTo>
                    <a:pt x="499" y="17"/>
                  </a:lnTo>
                  <a:lnTo>
                    <a:pt x="501" y="19"/>
                  </a:lnTo>
                  <a:lnTo>
                    <a:pt x="501" y="19"/>
                  </a:lnTo>
                  <a:lnTo>
                    <a:pt x="503" y="21"/>
                  </a:lnTo>
                  <a:lnTo>
                    <a:pt x="503" y="21"/>
                  </a:lnTo>
                  <a:lnTo>
                    <a:pt x="505" y="23"/>
                  </a:lnTo>
                  <a:lnTo>
                    <a:pt x="507" y="23"/>
                  </a:lnTo>
                  <a:lnTo>
                    <a:pt x="507" y="25"/>
                  </a:lnTo>
                  <a:lnTo>
                    <a:pt x="509" y="27"/>
                  </a:lnTo>
                  <a:lnTo>
                    <a:pt x="509" y="27"/>
                  </a:lnTo>
                  <a:lnTo>
                    <a:pt x="509" y="30"/>
                  </a:lnTo>
                  <a:lnTo>
                    <a:pt x="511" y="30"/>
                  </a:lnTo>
                  <a:lnTo>
                    <a:pt x="511" y="34"/>
                  </a:lnTo>
                  <a:lnTo>
                    <a:pt x="512" y="34"/>
                  </a:lnTo>
                  <a:lnTo>
                    <a:pt x="514" y="34"/>
                  </a:lnTo>
                  <a:lnTo>
                    <a:pt x="516" y="34"/>
                  </a:lnTo>
                  <a:lnTo>
                    <a:pt x="518" y="32"/>
                  </a:lnTo>
                  <a:lnTo>
                    <a:pt x="520" y="30"/>
                  </a:lnTo>
                  <a:lnTo>
                    <a:pt x="522" y="30"/>
                  </a:lnTo>
                  <a:lnTo>
                    <a:pt x="524" y="30"/>
                  </a:lnTo>
                  <a:lnTo>
                    <a:pt x="526" y="30"/>
                  </a:lnTo>
                  <a:lnTo>
                    <a:pt x="528" y="30"/>
                  </a:lnTo>
                  <a:lnTo>
                    <a:pt x="530" y="30"/>
                  </a:lnTo>
                  <a:lnTo>
                    <a:pt x="532" y="30"/>
                  </a:lnTo>
                  <a:lnTo>
                    <a:pt x="534" y="29"/>
                  </a:lnTo>
                  <a:lnTo>
                    <a:pt x="537" y="29"/>
                  </a:lnTo>
                  <a:lnTo>
                    <a:pt x="537" y="27"/>
                  </a:lnTo>
                  <a:lnTo>
                    <a:pt x="539" y="27"/>
                  </a:lnTo>
                  <a:lnTo>
                    <a:pt x="543" y="27"/>
                  </a:lnTo>
                  <a:lnTo>
                    <a:pt x="545" y="27"/>
                  </a:lnTo>
                  <a:lnTo>
                    <a:pt x="543" y="30"/>
                  </a:lnTo>
                  <a:lnTo>
                    <a:pt x="543" y="32"/>
                  </a:lnTo>
                  <a:lnTo>
                    <a:pt x="543" y="34"/>
                  </a:lnTo>
                  <a:lnTo>
                    <a:pt x="543" y="36"/>
                  </a:lnTo>
                  <a:lnTo>
                    <a:pt x="543" y="38"/>
                  </a:lnTo>
                  <a:lnTo>
                    <a:pt x="543" y="42"/>
                  </a:lnTo>
                  <a:lnTo>
                    <a:pt x="543" y="44"/>
                  </a:lnTo>
                  <a:lnTo>
                    <a:pt x="543" y="46"/>
                  </a:lnTo>
                  <a:lnTo>
                    <a:pt x="545" y="48"/>
                  </a:lnTo>
                  <a:lnTo>
                    <a:pt x="545" y="50"/>
                  </a:lnTo>
                  <a:lnTo>
                    <a:pt x="545" y="52"/>
                  </a:lnTo>
                  <a:lnTo>
                    <a:pt x="545" y="54"/>
                  </a:lnTo>
                  <a:lnTo>
                    <a:pt x="545" y="57"/>
                  </a:lnTo>
                  <a:lnTo>
                    <a:pt x="545" y="59"/>
                  </a:lnTo>
                  <a:lnTo>
                    <a:pt x="545" y="61"/>
                  </a:lnTo>
                  <a:lnTo>
                    <a:pt x="545" y="63"/>
                  </a:lnTo>
                  <a:lnTo>
                    <a:pt x="547" y="65"/>
                  </a:lnTo>
                  <a:lnTo>
                    <a:pt x="547" y="65"/>
                  </a:lnTo>
                  <a:lnTo>
                    <a:pt x="549" y="67"/>
                  </a:lnTo>
                  <a:lnTo>
                    <a:pt x="549" y="71"/>
                  </a:lnTo>
                  <a:lnTo>
                    <a:pt x="551" y="73"/>
                  </a:lnTo>
                  <a:lnTo>
                    <a:pt x="551" y="75"/>
                  </a:lnTo>
                  <a:lnTo>
                    <a:pt x="553" y="75"/>
                  </a:lnTo>
                  <a:lnTo>
                    <a:pt x="553" y="77"/>
                  </a:lnTo>
                  <a:lnTo>
                    <a:pt x="553" y="78"/>
                  </a:lnTo>
                  <a:lnTo>
                    <a:pt x="555" y="78"/>
                  </a:lnTo>
                  <a:lnTo>
                    <a:pt x="557" y="78"/>
                  </a:lnTo>
                  <a:lnTo>
                    <a:pt x="558" y="78"/>
                  </a:lnTo>
                  <a:lnTo>
                    <a:pt x="560" y="80"/>
                  </a:lnTo>
                  <a:lnTo>
                    <a:pt x="560" y="80"/>
                  </a:lnTo>
                  <a:lnTo>
                    <a:pt x="562" y="82"/>
                  </a:lnTo>
                  <a:lnTo>
                    <a:pt x="562" y="86"/>
                  </a:lnTo>
                  <a:lnTo>
                    <a:pt x="562" y="88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4"/>
                  </a:lnTo>
                  <a:lnTo>
                    <a:pt x="566" y="98"/>
                  </a:lnTo>
                  <a:lnTo>
                    <a:pt x="566" y="100"/>
                  </a:lnTo>
                  <a:lnTo>
                    <a:pt x="566" y="101"/>
                  </a:lnTo>
                  <a:lnTo>
                    <a:pt x="566" y="103"/>
                  </a:lnTo>
                  <a:lnTo>
                    <a:pt x="566" y="105"/>
                  </a:lnTo>
                  <a:lnTo>
                    <a:pt x="566" y="107"/>
                  </a:lnTo>
                  <a:lnTo>
                    <a:pt x="564" y="107"/>
                  </a:lnTo>
                  <a:lnTo>
                    <a:pt x="564" y="109"/>
                  </a:lnTo>
                  <a:lnTo>
                    <a:pt x="564" y="113"/>
                  </a:lnTo>
                  <a:lnTo>
                    <a:pt x="564" y="113"/>
                  </a:lnTo>
                  <a:lnTo>
                    <a:pt x="564" y="115"/>
                  </a:lnTo>
                  <a:lnTo>
                    <a:pt x="566" y="117"/>
                  </a:lnTo>
                  <a:lnTo>
                    <a:pt x="566" y="119"/>
                  </a:lnTo>
                  <a:lnTo>
                    <a:pt x="566" y="121"/>
                  </a:lnTo>
                  <a:lnTo>
                    <a:pt x="566" y="123"/>
                  </a:lnTo>
                  <a:lnTo>
                    <a:pt x="566" y="125"/>
                  </a:lnTo>
                  <a:lnTo>
                    <a:pt x="564" y="125"/>
                  </a:lnTo>
                  <a:lnTo>
                    <a:pt x="562" y="126"/>
                  </a:lnTo>
                  <a:lnTo>
                    <a:pt x="562" y="130"/>
                  </a:lnTo>
                  <a:lnTo>
                    <a:pt x="562" y="132"/>
                  </a:lnTo>
                  <a:lnTo>
                    <a:pt x="562" y="134"/>
                  </a:lnTo>
                  <a:lnTo>
                    <a:pt x="560" y="134"/>
                  </a:lnTo>
                  <a:lnTo>
                    <a:pt x="558" y="136"/>
                  </a:lnTo>
                  <a:lnTo>
                    <a:pt x="557" y="136"/>
                  </a:lnTo>
                  <a:lnTo>
                    <a:pt x="557" y="136"/>
                  </a:lnTo>
                  <a:lnTo>
                    <a:pt x="555" y="138"/>
                  </a:lnTo>
                  <a:lnTo>
                    <a:pt x="553" y="138"/>
                  </a:lnTo>
                  <a:lnTo>
                    <a:pt x="553" y="140"/>
                  </a:lnTo>
                  <a:lnTo>
                    <a:pt x="551" y="140"/>
                  </a:lnTo>
                  <a:lnTo>
                    <a:pt x="549" y="142"/>
                  </a:lnTo>
                  <a:lnTo>
                    <a:pt x="549" y="144"/>
                  </a:lnTo>
                  <a:lnTo>
                    <a:pt x="549" y="146"/>
                  </a:lnTo>
                  <a:lnTo>
                    <a:pt x="549" y="148"/>
                  </a:lnTo>
                  <a:lnTo>
                    <a:pt x="549" y="149"/>
                  </a:lnTo>
                  <a:lnTo>
                    <a:pt x="549" y="151"/>
                  </a:lnTo>
                  <a:lnTo>
                    <a:pt x="549" y="153"/>
                  </a:lnTo>
                  <a:lnTo>
                    <a:pt x="551" y="155"/>
                  </a:lnTo>
                  <a:lnTo>
                    <a:pt x="551" y="157"/>
                  </a:lnTo>
                  <a:lnTo>
                    <a:pt x="551" y="159"/>
                  </a:lnTo>
                  <a:lnTo>
                    <a:pt x="551" y="161"/>
                  </a:lnTo>
                  <a:lnTo>
                    <a:pt x="551" y="165"/>
                  </a:lnTo>
                  <a:lnTo>
                    <a:pt x="551" y="169"/>
                  </a:lnTo>
                  <a:lnTo>
                    <a:pt x="553" y="169"/>
                  </a:lnTo>
                  <a:lnTo>
                    <a:pt x="553" y="171"/>
                  </a:lnTo>
                  <a:lnTo>
                    <a:pt x="553" y="174"/>
                  </a:lnTo>
                  <a:lnTo>
                    <a:pt x="555" y="178"/>
                  </a:lnTo>
                  <a:lnTo>
                    <a:pt x="555" y="182"/>
                  </a:lnTo>
                  <a:lnTo>
                    <a:pt x="555" y="184"/>
                  </a:lnTo>
                  <a:lnTo>
                    <a:pt x="555" y="188"/>
                  </a:lnTo>
                  <a:lnTo>
                    <a:pt x="555" y="192"/>
                  </a:lnTo>
                  <a:lnTo>
                    <a:pt x="555" y="194"/>
                  </a:lnTo>
                  <a:lnTo>
                    <a:pt x="555" y="196"/>
                  </a:lnTo>
                  <a:lnTo>
                    <a:pt x="555" y="197"/>
                  </a:lnTo>
                  <a:lnTo>
                    <a:pt x="557" y="201"/>
                  </a:lnTo>
                  <a:lnTo>
                    <a:pt x="557" y="203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7" y="213"/>
                  </a:lnTo>
                  <a:lnTo>
                    <a:pt x="557" y="217"/>
                  </a:lnTo>
                  <a:lnTo>
                    <a:pt x="557" y="222"/>
                  </a:lnTo>
                  <a:lnTo>
                    <a:pt x="558" y="224"/>
                  </a:lnTo>
                  <a:lnTo>
                    <a:pt x="558" y="226"/>
                  </a:lnTo>
                  <a:lnTo>
                    <a:pt x="557" y="230"/>
                  </a:lnTo>
                  <a:lnTo>
                    <a:pt x="557" y="232"/>
                  </a:lnTo>
                  <a:lnTo>
                    <a:pt x="557" y="234"/>
                  </a:lnTo>
                  <a:lnTo>
                    <a:pt x="557" y="238"/>
                  </a:lnTo>
                  <a:lnTo>
                    <a:pt x="557" y="240"/>
                  </a:lnTo>
                  <a:lnTo>
                    <a:pt x="557" y="242"/>
                  </a:lnTo>
                  <a:lnTo>
                    <a:pt x="557" y="243"/>
                  </a:lnTo>
                  <a:lnTo>
                    <a:pt x="557" y="245"/>
                  </a:lnTo>
                  <a:lnTo>
                    <a:pt x="557" y="247"/>
                  </a:lnTo>
                  <a:lnTo>
                    <a:pt x="555" y="249"/>
                  </a:lnTo>
                  <a:lnTo>
                    <a:pt x="555" y="251"/>
                  </a:lnTo>
                  <a:lnTo>
                    <a:pt x="551" y="253"/>
                  </a:lnTo>
                  <a:lnTo>
                    <a:pt x="549" y="255"/>
                  </a:lnTo>
                  <a:lnTo>
                    <a:pt x="549" y="257"/>
                  </a:lnTo>
                  <a:lnTo>
                    <a:pt x="547" y="259"/>
                  </a:lnTo>
                  <a:lnTo>
                    <a:pt x="545" y="259"/>
                  </a:lnTo>
                  <a:lnTo>
                    <a:pt x="543" y="261"/>
                  </a:lnTo>
                  <a:lnTo>
                    <a:pt x="543" y="263"/>
                  </a:lnTo>
                  <a:lnTo>
                    <a:pt x="541" y="265"/>
                  </a:lnTo>
                  <a:lnTo>
                    <a:pt x="539" y="265"/>
                  </a:lnTo>
                  <a:lnTo>
                    <a:pt x="537" y="265"/>
                  </a:lnTo>
                  <a:lnTo>
                    <a:pt x="537" y="265"/>
                  </a:lnTo>
                  <a:lnTo>
                    <a:pt x="535" y="267"/>
                  </a:lnTo>
                  <a:lnTo>
                    <a:pt x="534" y="268"/>
                  </a:lnTo>
                  <a:lnTo>
                    <a:pt x="532" y="270"/>
                  </a:lnTo>
                  <a:lnTo>
                    <a:pt x="528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4" y="274"/>
                  </a:lnTo>
                  <a:lnTo>
                    <a:pt x="522" y="276"/>
                  </a:lnTo>
                  <a:lnTo>
                    <a:pt x="522" y="278"/>
                  </a:lnTo>
                  <a:lnTo>
                    <a:pt x="520" y="278"/>
                  </a:lnTo>
                  <a:lnTo>
                    <a:pt x="518" y="278"/>
                  </a:lnTo>
                  <a:lnTo>
                    <a:pt x="518" y="280"/>
                  </a:lnTo>
                  <a:lnTo>
                    <a:pt x="518" y="282"/>
                  </a:lnTo>
                  <a:lnTo>
                    <a:pt x="516" y="284"/>
                  </a:lnTo>
                  <a:lnTo>
                    <a:pt x="516" y="284"/>
                  </a:lnTo>
                  <a:lnTo>
                    <a:pt x="514" y="284"/>
                  </a:lnTo>
                  <a:lnTo>
                    <a:pt x="514" y="286"/>
                  </a:lnTo>
                  <a:lnTo>
                    <a:pt x="512" y="288"/>
                  </a:lnTo>
                  <a:lnTo>
                    <a:pt x="511" y="290"/>
                  </a:lnTo>
                  <a:lnTo>
                    <a:pt x="511" y="290"/>
                  </a:lnTo>
                  <a:lnTo>
                    <a:pt x="509" y="291"/>
                  </a:lnTo>
                  <a:lnTo>
                    <a:pt x="507" y="291"/>
                  </a:lnTo>
                  <a:lnTo>
                    <a:pt x="507" y="293"/>
                  </a:lnTo>
                  <a:lnTo>
                    <a:pt x="505" y="295"/>
                  </a:lnTo>
                  <a:lnTo>
                    <a:pt x="505" y="295"/>
                  </a:lnTo>
                  <a:lnTo>
                    <a:pt x="503" y="297"/>
                  </a:lnTo>
                  <a:lnTo>
                    <a:pt x="501" y="297"/>
                  </a:lnTo>
                  <a:lnTo>
                    <a:pt x="501" y="299"/>
                  </a:lnTo>
                  <a:lnTo>
                    <a:pt x="499" y="301"/>
                  </a:lnTo>
                  <a:lnTo>
                    <a:pt x="499" y="305"/>
                  </a:lnTo>
                  <a:lnTo>
                    <a:pt x="497" y="307"/>
                  </a:lnTo>
                  <a:lnTo>
                    <a:pt x="497" y="309"/>
                  </a:lnTo>
                  <a:lnTo>
                    <a:pt x="495" y="313"/>
                  </a:lnTo>
                  <a:lnTo>
                    <a:pt x="493" y="314"/>
                  </a:lnTo>
                  <a:lnTo>
                    <a:pt x="493" y="316"/>
                  </a:lnTo>
                  <a:lnTo>
                    <a:pt x="493" y="320"/>
                  </a:lnTo>
                  <a:lnTo>
                    <a:pt x="489" y="320"/>
                  </a:lnTo>
                  <a:lnTo>
                    <a:pt x="489" y="322"/>
                  </a:lnTo>
                  <a:lnTo>
                    <a:pt x="487" y="324"/>
                  </a:lnTo>
                  <a:lnTo>
                    <a:pt x="487" y="326"/>
                  </a:lnTo>
                  <a:lnTo>
                    <a:pt x="486" y="328"/>
                  </a:lnTo>
                  <a:lnTo>
                    <a:pt x="486" y="328"/>
                  </a:lnTo>
                  <a:lnTo>
                    <a:pt x="486" y="334"/>
                  </a:lnTo>
                  <a:lnTo>
                    <a:pt x="484" y="338"/>
                  </a:lnTo>
                  <a:lnTo>
                    <a:pt x="482" y="339"/>
                  </a:lnTo>
                  <a:lnTo>
                    <a:pt x="482" y="341"/>
                  </a:lnTo>
                  <a:lnTo>
                    <a:pt x="482" y="343"/>
                  </a:lnTo>
                  <a:lnTo>
                    <a:pt x="482" y="345"/>
                  </a:lnTo>
                  <a:lnTo>
                    <a:pt x="482" y="349"/>
                  </a:lnTo>
                  <a:lnTo>
                    <a:pt x="482" y="353"/>
                  </a:lnTo>
                  <a:lnTo>
                    <a:pt x="482" y="355"/>
                  </a:lnTo>
                  <a:lnTo>
                    <a:pt x="482" y="357"/>
                  </a:lnTo>
                  <a:lnTo>
                    <a:pt x="482" y="359"/>
                  </a:lnTo>
                  <a:lnTo>
                    <a:pt x="478" y="359"/>
                  </a:lnTo>
                  <a:lnTo>
                    <a:pt x="476" y="359"/>
                  </a:lnTo>
                  <a:lnTo>
                    <a:pt x="476" y="359"/>
                  </a:lnTo>
                  <a:lnTo>
                    <a:pt x="474" y="361"/>
                  </a:lnTo>
                  <a:lnTo>
                    <a:pt x="472" y="361"/>
                  </a:lnTo>
                  <a:lnTo>
                    <a:pt x="470" y="361"/>
                  </a:lnTo>
                  <a:lnTo>
                    <a:pt x="470" y="362"/>
                  </a:lnTo>
                  <a:lnTo>
                    <a:pt x="468" y="362"/>
                  </a:lnTo>
                  <a:lnTo>
                    <a:pt x="466" y="364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7" y="370"/>
                  </a:lnTo>
                  <a:lnTo>
                    <a:pt x="455" y="370"/>
                  </a:lnTo>
                  <a:lnTo>
                    <a:pt x="455" y="370"/>
                  </a:lnTo>
                  <a:lnTo>
                    <a:pt x="453" y="372"/>
                  </a:lnTo>
                  <a:lnTo>
                    <a:pt x="453" y="374"/>
                  </a:lnTo>
                  <a:lnTo>
                    <a:pt x="451" y="374"/>
                  </a:lnTo>
                  <a:lnTo>
                    <a:pt x="451" y="376"/>
                  </a:lnTo>
                  <a:lnTo>
                    <a:pt x="451" y="378"/>
                  </a:lnTo>
                  <a:lnTo>
                    <a:pt x="449" y="378"/>
                  </a:lnTo>
                  <a:lnTo>
                    <a:pt x="447" y="378"/>
                  </a:lnTo>
                  <a:lnTo>
                    <a:pt x="447" y="378"/>
                  </a:lnTo>
                  <a:lnTo>
                    <a:pt x="445" y="380"/>
                  </a:lnTo>
                  <a:lnTo>
                    <a:pt x="443" y="380"/>
                  </a:lnTo>
                  <a:lnTo>
                    <a:pt x="441" y="382"/>
                  </a:lnTo>
                  <a:lnTo>
                    <a:pt x="440" y="380"/>
                  </a:lnTo>
                  <a:lnTo>
                    <a:pt x="438" y="380"/>
                  </a:lnTo>
                  <a:lnTo>
                    <a:pt x="436" y="380"/>
                  </a:lnTo>
                  <a:lnTo>
                    <a:pt x="434" y="378"/>
                  </a:lnTo>
                  <a:lnTo>
                    <a:pt x="434" y="376"/>
                  </a:lnTo>
                  <a:lnTo>
                    <a:pt x="432" y="376"/>
                  </a:lnTo>
                  <a:lnTo>
                    <a:pt x="430" y="376"/>
                  </a:lnTo>
                  <a:lnTo>
                    <a:pt x="428" y="376"/>
                  </a:lnTo>
                  <a:lnTo>
                    <a:pt x="426" y="376"/>
                  </a:lnTo>
                  <a:lnTo>
                    <a:pt x="424" y="376"/>
                  </a:lnTo>
                  <a:lnTo>
                    <a:pt x="422" y="374"/>
                  </a:lnTo>
                  <a:lnTo>
                    <a:pt x="420" y="374"/>
                  </a:lnTo>
                  <a:lnTo>
                    <a:pt x="418" y="374"/>
                  </a:lnTo>
                  <a:lnTo>
                    <a:pt x="417" y="374"/>
                  </a:lnTo>
                  <a:lnTo>
                    <a:pt x="415" y="374"/>
                  </a:lnTo>
                  <a:lnTo>
                    <a:pt x="413" y="376"/>
                  </a:lnTo>
                  <a:lnTo>
                    <a:pt x="411" y="376"/>
                  </a:lnTo>
                  <a:lnTo>
                    <a:pt x="409" y="376"/>
                  </a:lnTo>
                  <a:lnTo>
                    <a:pt x="407" y="376"/>
                  </a:lnTo>
                  <a:lnTo>
                    <a:pt x="405" y="376"/>
                  </a:lnTo>
                  <a:lnTo>
                    <a:pt x="401" y="376"/>
                  </a:lnTo>
                  <a:lnTo>
                    <a:pt x="399" y="378"/>
                  </a:lnTo>
                  <a:lnTo>
                    <a:pt x="399" y="378"/>
                  </a:lnTo>
                  <a:lnTo>
                    <a:pt x="397" y="378"/>
                  </a:lnTo>
                  <a:lnTo>
                    <a:pt x="397" y="380"/>
                  </a:lnTo>
                  <a:lnTo>
                    <a:pt x="395" y="380"/>
                  </a:lnTo>
                  <a:lnTo>
                    <a:pt x="393" y="382"/>
                  </a:lnTo>
                  <a:lnTo>
                    <a:pt x="392" y="382"/>
                  </a:lnTo>
                  <a:lnTo>
                    <a:pt x="388" y="382"/>
                  </a:lnTo>
                  <a:lnTo>
                    <a:pt x="386" y="382"/>
                  </a:lnTo>
                  <a:lnTo>
                    <a:pt x="382" y="382"/>
                  </a:lnTo>
                  <a:lnTo>
                    <a:pt x="380" y="382"/>
                  </a:lnTo>
                  <a:lnTo>
                    <a:pt x="378" y="382"/>
                  </a:lnTo>
                  <a:lnTo>
                    <a:pt x="376" y="382"/>
                  </a:lnTo>
                  <a:lnTo>
                    <a:pt x="372" y="382"/>
                  </a:lnTo>
                  <a:lnTo>
                    <a:pt x="370" y="382"/>
                  </a:lnTo>
                  <a:lnTo>
                    <a:pt x="369" y="382"/>
                  </a:lnTo>
                  <a:lnTo>
                    <a:pt x="367" y="382"/>
                  </a:lnTo>
                  <a:lnTo>
                    <a:pt x="365" y="382"/>
                  </a:lnTo>
                  <a:lnTo>
                    <a:pt x="365" y="380"/>
                  </a:lnTo>
                  <a:lnTo>
                    <a:pt x="363" y="380"/>
                  </a:lnTo>
                  <a:lnTo>
                    <a:pt x="361" y="380"/>
                  </a:lnTo>
                  <a:lnTo>
                    <a:pt x="359" y="378"/>
                  </a:lnTo>
                  <a:lnTo>
                    <a:pt x="359" y="380"/>
                  </a:lnTo>
                  <a:lnTo>
                    <a:pt x="357" y="380"/>
                  </a:lnTo>
                  <a:lnTo>
                    <a:pt x="355" y="382"/>
                  </a:lnTo>
                  <a:lnTo>
                    <a:pt x="355" y="384"/>
                  </a:lnTo>
                  <a:lnTo>
                    <a:pt x="355" y="384"/>
                  </a:lnTo>
                  <a:lnTo>
                    <a:pt x="353" y="384"/>
                  </a:lnTo>
                  <a:lnTo>
                    <a:pt x="353" y="385"/>
                  </a:lnTo>
                  <a:lnTo>
                    <a:pt x="351" y="387"/>
                  </a:lnTo>
                  <a:lnTo>
                    <a:pt x="351" y="389"/>
                  </a:lnTo>
                  <a:lnTo>
                    <a:pt x="349" y="389"/>
                  </a:lnTo>
                  <a:lnTo>
                    <a:pt x="349" y="389"/>
                  </a:lnTo>
                  <a:lnTo>
                    <a:pt x="347" y="393"/>
                  </a:lnTo>
                  <a:lnTo>
                    <a:pt x="346" y="395"/>
                  </a:lnTo>
                  <a:lnTo>
                    <a:pt x="344" y="395"/>
                  </a:lnTo>
                  <a:lnTo>
                    <a:pt x="344" y="399"/>
                  </a:lnTo>
                  <a:lnTo>
                    <a:pt x="342" y="399"/>
                  </a:lnTo>
                  <a:lnTo>
                    <a:pt x="340" y="399"/>
                  </a:lnTo>
                  <a:lnTo>
                    <a:pt x="340" y="401"/>
                  </a:lnTo>
                  <a:lnTo>
                    <a:pt x="338" y="403"/>
                  </a:lnTo>
                  <a:lnTo>
                    <a:pt x="336" y="403"/>
                  </a:lnTo>
                  <a:lnTo>
                    <a:pt x="334" y="403"/>
                  </a:lnTo>
                  <a:lnTo>
                    <a:pt x="332" y="403"/>
                  </a:lnTo>
                  <a:lnTo>
                    <a:pt x="332" y="401"/>
                  </a:lnTo>
                  <a:lnTo>
                    <a:pt x="330" y="401"/>
                  </a:lnTo>
                  <a:lnTo>
                    <a:pt x="330" y="399"/>
                  </a:lnTo>
                  <a:lnTo>
                    <a:pt x="328" y="397"/>
                  </a:lnTo>
                  <a:lnTo>
                    <a:pt x="328" y="395"/>
                  </a:lnTo>
                  <a:lnTo>
                    <a:pt x="326" y="395"/>
                  </a:lnTo>
                  <a:lnTo>
                    <a:pt x="324" y="395"/>
                  </a:lnTo>
                  <a:lnTo>
                    <a:pt x="322" y="395"/>
                  </a:lnTo>
                  <a:lnTo>
                    <a:pt x="322" y="393"/>
                  </a:lnTo>
                  <a:lnTo>
                    <a:pt x="321" y="393"/>
                  </a:lnTo>
                  <a:lnTo>
                    <a:pt x="319" y="393"/>
                  </a:lnTo>
                  <a:lnTo>
                    <a:pt x="319" y="389"/>
                  </a:lnTo>
                  <a:lnTo>
                    <a:pt x="317" y="389"/>
                  </a:lnTo>
                  <a:lnTo>
                    <a:pt x="315" y="389"/>
                  </a:lnTo>
                  <a:lnTo>
                    <a:pt x="315" y="389"/>
                  </a:lnTo>
                  <a:lnTo>
                    <a:pt x="313" y="387"/>
                  </a:lnTo>
                  <a:lnTo>
                    <a:pt x="311" y="387"/>
                  </a:lnTo>
                  <a:lnTo>
                    <a:pt x="311" y="385"/>
                  </a:lnTo>
                  <a:lnTo>
                    <a:pt x="309" y="384"/>
                  </a:lnTo>
                  <a:lnTo>
                    <a:pt x="309" y="384"/>
                  </a:lnTo>
                  <a:lnTo>
                    <a:pt x="309" y="382"/>
                  </a:lnTo>
                  <a:lnTo>
                    <a:pt x="307" y="380"/>
                  </a:lnTo>
                  <a:lnTo>
                    <a:pt x="305" y="378"/>
                  </a:lnTo>
                  <a:lnTo>
                    <a:pt x="305" y="378"/>
                  </a:lnTo>
                  <a:lnTo>
                    <a:pt x="303" y="376"/>
                  </a:lnTo>
                  <a:lnTo>
                    <a:pt x="303" y="376"/>
                  </a:lnTo>
                  <a:lnTo>
                    <a:pt x="301" y="374"/>
                  </a:lnTo>
                  <a:lnTo>
                    <a:pt x="299" y="374"/>
                  </a:lnTo>
                  <a:lnTo>
                    <a:pt x="298" y="372"/>
                  </a:lnTo>
                  <a:lnTo>
                    <a:pt x="294" y="372"/>
                  </a:lnTo>
                  <a:lnTo>
                    <a:pt x="292" y="372"/>
                  </a:lnTo>
                  <a:lnTo>
                    <a:pt x="290" y="372"/>
                  </a:lnTo>
                  <a:lnTo>
                    <a:pt x="288" y="372"/>
                  </a:lnTo>
                  <a:lnTo>
                    <a:pt x="284" y="372"/>
                  </a:lnTo>
                  <a:lnTo>
                    <a:pt x="282" y="372"/>
                  </a:lnTo>
                  <a:lnTo>
                    <a:pt x="282" y="374"/>
                  </a:lnTo>
                  <a:lnTo>
                    <a:pt x="278" y="374"/>
                  </a:lnTo>
                  <a:lnTo>
                    <a:pt x="278" y="376"/>
                  </a:lnTo>
                  <a:lnTo>
                    <a:pt x="276" y="376"/>
                  </a:lnTo>
                  <a:lnTo>
                    <a:pt x="276" y="378"/>
                  </a:lnTo>
                  <a:lnTo>
                    <a:pt x="275" y="380"/>
                  </a:lnTo>
                  <a:lnTo>
                    <a:pt x="273" y="382"/>
                  </a:lnTo>
                  <a:lnTo>
                    <a:pt x="273" y="382"/>
                  </a:lnTo>
                  <a:lnTo>
                    <a:pt x="271" y="382"/>
                  </a:lnTo>
                  <a:lnTo>
                    <a:pt x="271" y="384"/>
                  </a:lnTo>
                  <a:lnTo>
                    <a:pt x="271" y="385"/>
                  </a:lnTo>
                  <a:lnTo>
                    <a:pt x="269" y="387"/>
                  </a:lnTo>
                  <a:lnTo>
                    <a:pt x="267" y="387"/>
                  </a:lnTo>
                  <a:lnTo>
                    <a:pt x="267" y="389"/>
                  </a:lnTo>
                  <a:lnTo>
                    <a:pt x="263" y="389"/>
                  </a:lnTo>
                  <a:lnTo>
                    <a:pt x="261" y="389"/>
                  </a:lnTo>
                  <a:lnTo>
                    <a:pt x="261" y="389"/>
                  </a:lnTo>
                  <a:lnTo>
                    <a:pt x="259" y="387"/>
                  </a:lnTo>
                  <a:lnTo>
                    <a:pt x="259" y="387"/>
                  </a:lnTo>
                  <a:lnTo>
                    <a:pt x="257" y="385"/>
                  </a:lnTo>
                  <a:lnTo>
                    <a:pt x="255" y="387"/>
                  </a:lnTo>
                  <a:lnTo>
                    <a:pt x="253" y="387"/>
                  </a:lnTo>
                  <a:lnTo>
                    <a:pt x="253" y="384"/>
                  </a:lnTo>
                  <a:lnTo>
                    <a:pt x="251" y="384"/>
                  </a:lnTo>
                  <a:lnTo>
                    <a:pt x="250" y="384"/>
                  </a:lnTo>
                  <a:lnTo>
                    <a:pt x="250" y="382"/>
                  </a:lnTo>
                  <a:lnTo>
                    <a:pt x="248" y="382"/>
                  </a:lnTo>
                  <a:lnTo>
                    <a:pt x="244" y="382"/>
                  </a:lnTo>
                  <a:lnTo>
                    <a:pt x="242" y="382"/>
                  </a:lnTo>
                  <a:lnTo>
                    <a:pt x="242" y="380"/>
                  </a:lnTo>
                  <a:lnTo>
                    <a:pt x="242" y="378"/>
                  </a:lnTo>
                  <a:lnTo>
                    <a:pt x="240" y="376"/>
                  </a:lnTo>
                  <a:lnTo>
                    <a:pt x="240" y="376"/>
                  </a:lnTo>
                  <a:lnTo>
                    <a:pt x="236" y="370"/>
                  </a:lnTo>
                  <a:lnTo>
                    <a:pt x="232" y="370"/>
                  </a:lnTo>
                  <a:lnTo>
                    <a:pt x="232" y="368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4"/>
                  </a:lnTo>
                  <a:lnTo>
                    <a:pt x="227" y="364"/>
                  </a:lnTo>
                  <a:lnTo>
                    <a:pt x="225" y="362"/>
                  </a:lnTo>
                  <a:lnTo>
                    <a:pt x="223" y="361"/>
                  </a:lnTo>
                  <a:lnTo>
                    <a:pt x="223" y="359"/>
                  </a:lnTo>
                  <a:lnTo>
                    <a:pt x="223" y="359"/>
                  </a:lnTo>
                  <a:lnTo>
                    <a:pt x="221" y="357"/>
                  </a:lnTo>
                  <a:lnTo>
                    <a:pt x="219" y="355"/>
                  </a:lnTo>
                  <a:lnTo>
                    <a:pt x="217" y="355"/>
                  </a:lnTo>
                  <a:lnTo>
                    <a:pt x="217" y="353"/>
                  </a:lnTo>
                  <a:lnTo>
                    <a:pt x="217" y="353"/>
                  </a:lnTo>
                  <a:lnTo>
                    <a:pt x="215" y="351"/>
                  </a:lnTo>
                  <a:lnTo>
                    <a:pt x="211" y="351"/>
                  </a:lnTo>
                  <a:lnTo>
                    <a:pt x="211" y="349"/>
                  </a:lnTo>
                  <a:lnTo>
                    <a:pt x="211" y="349"/>
                  </a:lnTo>
                  <a:lnTo>
                    <a:pt x="209" y="349"/>
                  </a:lnTo>
                  <a:lnTo>
                    <a:pt x="207" y="349"/>
                  </a:lnTo>
                  <a:lnTo>
                    <a:pt x="205" y="349"/>
                  </a:lnTo>
                  <a:lnTo>
                    <a:pt x="204" y="351"/>
                  </a:lnTo>
                  <a:lnTo>
                    <a:pt x="204" y="351"/>
                  </a:lnTo>
                  <a:lnTo>
                    <a:pt x="202" y="353"/>
                  </a:lnTo>
                  <a:lnTo>
                    <a:pt x="200" y="355"/>
                  </a:lnTo>
                  <a:lnTo>
                    <a:pt x="200" y="355"/>
                  </a:lnTo>
                  <a:lnTo>
                    <a:pt x="198" y="357"/>
                  </a:lnTo>
                  <a:lnTo>
                    <a:pt x="196" y="357"/>
                  </a:lnTo>
                  <a:lnTo>
                    <a:pt x="194" y="359"/>
                  </a:lnTo>
                  <a:lnTo>
                    <a:pt x="194" y="359"/>
                  </a:lnTo>
                  <a:lnTo>
                    <a:pt x="192" y="361"/>
                  </a:lnTo>
                  <a:lnTo>
                    <a:pt x="192" y="361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88" y="364"/>
                  </a:lnTo>
                  <a:lnTo>
                    <a:pt x="186" y="364"/>
                  </a:lnTo>
                  <a:lnTo>
                    <a:pt x="186" y="366"/>
                  </a:lnTo>
                  <a:lnTo>
                    <a:pt x="182" y="366"/>
                  </a:lnTo>
                  <a:lnTo>
                    <a:pt x="180" y="366"/>
                  </a:lnTo>
                  <a:lnTo>
                    <a:pt x="179" y="366"/>
                  </a:lnTo>
                  <a:lnTo>
                    <a:pt x="177" y="366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71" y="364"/>
                  </a:lnTo>
                  <a:lnTo>
                    <a:pt x="171" y="362"/>
                  </a:lnTo>
                  <a:lnTo>
                    <a:pt x="167" y="362"/>
                  </a:lnTo>
                  <a:lnTo>
                    <a:pt x="165" y="361"/>
                  </a:lnTo>
                  <a:lnTo>
                    <a:pt x="163" y="361"/>
                  </a:lnTo>
                  <a:lnTo>
                    <a:pt x="161" y="361"/>
                  </a:lnTo>
                  <a:lnTo>
                    <a:pt x="159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6" y="361"/>
                  </a:lnTo>
                  <a:lnTo>
                    <a:pt x="154" y="362"/>
                  </a:lnTo>
                  <a:lnTo>
                    <a:pt x="154" y="362"/>
                  </a:lnTo>
                  <a:lnTo>
                    <a:pt x="152" y="364"/>
                  </a:lnTo>
                  <a:lnTo>
                    <a:pt x="152" y="364"/>
                  </a:lnTo>
                  <a:lnTo>
                    <a:pt x="150" y="366"/>
                  </a:lnTo>
                  <a:lnTo>
                    <a:pt x="150" y="366"/>
                  </a:lnTo>
                  <a:lnTo>
                    <a:pt x="148" y="366"/>
                  </a:lnTo>
                  <a:lnTo>
                    <a:pt x="146" y="368"/>
                  </a:lnTo>
                  <a:lnTo>
                    <a:pt x="144" y="370"/>
                  </a:lnTo>
                  <a:lnTo>
                    <a:pt x="144" y="370"/>
                  </a:lnTo>
                  <a:lnTo>
                    <a:pt x="142" y="372"/>
                  </a:lnTo>
                  <a:lnTo>
                    <a:pt x="142" y="374"/>
                  </a:lnTo>
                  <a:lnTo>
                    <a:pt x="142" y="376"/>
                  </a:lnTo>
                  <a:lnTo>
                    <a:pt x="140" y="376"/>
                  </a:lnTo>
                  <a:lnTo>
                    <a:pt x="138" y="378"/>
                  </a:lnTo>
                  <a:lnTo>
                    <a:pt x="138" y="382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38" y="389"/>
                  </a:lnTo>
                  <a:lnTo>
                    <a:pt x="138" y="391"/>
                  </a:lnTo>
                  <a:lnTo>
                    <a:pt x="136" y="393"/>
                  </a:lnTo>
                  <a:lnTo>
                    <a:pt x="134" y="393"/>
                  </a:lnTo>
                  <a:lnTo>
                    <a:pt x="133" y="395"/>
                  </a:lnTo>
                  <a:lnTo>
                    <a:pt x="133" y="395"/>
                  </a:lnTo>
                  <a:lnTo>
                    <a:pt x="131" y="397"/>
                  </a:lnTo>
                  <a:lnTo>
                    <a:pt x="131" y="399"/>
                  </a:lnTo>
                  <a:lnTo>
                    <a:pt x="129" y="401"/>
                  </a:lnTo>
                  <a:lnTo>
                    <a:pt x="127" y="401"/>
                  </a:lnTo>
                  <a:lnTo>
                    <a:pt x="127" y="405"/>
                  </a:lnTo>
                  <a:lnTo>
                    <a:pt x="125" y="405"/>
                  </a:lnTo>
                  <a:lnTo>
                    <a:pt x="125" y="405"/>
                  </a:lnTo>
                  <a:lnTo>
                    <a:pt x="125" y="407"/>
                  </a:lnTo>
                  <a:lnTo>
                    <a:pt x="123" y="409"/>
                  </a:lnTo>
                  <a:lnTo>
                    <a:pt x="121" y="410"/>
                  </a:lnTo>
                  <a:lnTo>
                    <a:pt x="121" y="414"/>
                  </a:lnTo>
                  <a:lnTo>
                    <a:pt x="121" y="414"/>
                  </a:lnTo>
                  <a:lnTo>
                    <a:pt x="119" y="416"/>
                  </a:lnTo>
                  <a:lnTo>
                    <a:pt x="119" y="418"/>
                  </a:lnTo>
                  <a:lnTo>
                    <a:pt x="119" y="416"/>
                  </a:lnTo>
                  <a:lnTo>
                    <a:pt x="117" y="416"/>
                  </a:lnTo>
                  <a:lnTo>
                    <a:pt x="117" y="418"/>
                  </a:lnTo>
                  <a:lnTo>
                    <a:pt x="115" y="420"/>
                  </a:lnTo>
                  <a:lnTo>
                    <a:pt x="115" y="422"/>
                  </a:lnTo>
                  <a:lnTo>
                    <a:pt x="111" y="422"/>
                  </a:lnTo>
                  <a:lnTo>
                    <a:pt x="110" y="422"/>
                  </a:lnTo>
                  <a:lnTo>
                    <a:pt x="108" y="422"/>
                  </a:lnTo>
                  <a:lnTo>
                    <a:pt x="108" y="420"/>
                  </a:lnTo>
                  <a:lnTo>
                    <a:pt x="106" y="420"/>
                  </a:lnTo>
                  <a:lnTo>
                    <a:pt x="104" y="418"/>
                  </a:lnTo>
                  <a:lnTo>
                    <a:pt x="104" y="418"/>
                  </a:lnTo>
                  <a:lnTo>
                    <a:pt x="102" y="416"/>
                  </a:lnTo>
                  <a:lnTo>
                    <a:pt x="100" y="416"/>
                  </a:lnTo>
                  <a:lnTo>
                    <a:pt x="100" y="414"/>
                  </a:lnTo>
                  <a:lnTo>
                    <a:pt x="100" y="412"/>
                  </a:lnTo>
                  <a:lnTo>
                    <a:pt x="98" y="410"/>
                  </a:lnTo>
                  <a:lnTo>
                    <a:pt x="96" y="410"/>
                  </a:lnTo>
                  <a:lnTo>
                    <a:pt x="94" y="410"/>
                  </a:lnTo>
                  <a:lnTo>
                    <a:pt x="92" y="410"/>
                  </a:lnTo>
                  <a:lnTo>
                    <a:pt x="90" y="410"/>
                  </a:lnTo>
                  <a:lnTo>
                    <a:pt x="90" y="412"/>
                  </a:lnTo>
                  <a:lnTo>
                    <a:pt x="88" y="412"/>
                  </a:lnTo>
                  <a:lnTo>
                    <a:pt x="86" y="414"/>
                  </a:lnTo>
                  <a:lnTo>
                    <a:pt x="86" y="414"/>
                  </a:lnTo>
                  <a:lnTo>
                    <a:pt x="85" y="416"/>
                  </a:lnTo>
                  <a:lnTo>
                    <a:pt x="83" y="418"/>
                  </a:lnTo>
                  <a:lnTo>
                    <a:pt x="83" y="418"/>
                  </a:lnTo>
                  <a:lnTo>
                    <a:pt x="81" y="418"/>
                  </a:lnTo>
                  <a:lnTo>
                    <a:pt x="79" y="418"/>
                  </a:lnTo>
                  <a:lnTo>
                    <a:pt x="77" y="420"/>
                  </a:lnTo>
                  <a:lnTo>
                    <a:pt x="75" y="420"/>
                  </a:lnTo>
                  <a:lnTo>
                    <a:pt x="73" y="420"/>
                  </a:lnTo>
                  <a:lnTo>
                    <a:pt x="71" y="420"/>
                  </a:lnTo>
                  <a:lnTo>
                    <a:pt x="69" y="420"/>
                  </a:lnTo>
                  <a:lnTo>
                    <a:pt x="67" y="420"/>
                  </a:lnTo>
                  <a:lnTo>
                    <a:pt x="67" y="416"/>
                  </a:lnTo>
                  <a:lnTo>
                    <a:pt x="65" y="416"/>
                  </a:lnTo>
                  <a:lnTo>
                    <a:pt x="65" y="414"/>
                  </a:lnTo>
                  <a:lnTo>
                    <a:pt x="63" y="412"/>
                  </a:lnTo>
                  <a:lnTo>
                    <a:pt x="63" y="410"/>
                  </a:lnTo>
                  <a:lnTo>
                    <a:pt x="63" y="410"/>
                  </a:lnTo>
                  <a:lnTo>
                    <a:pt x="65" y="409"/>
                  </a:lnTo>
                  <a:lnTo>
                    <a:pt x="65" y="407"/>
                  </a:lnTo>
                  <a:lnTo>
                    <a:pt x="65" y="405"/>
                  </a:lnTo>
                  <a:lnTo>
                    <a:pt x="67" y="403"/>
                  </a:lnTo>
                  <a:lnTo>
                    <a:pt x="69" y="401"/>
                  </a:lnTo>
                  <a:lnTo>
                    <a:pt x="67" y="401"/>
                  </a:lnTo>
                  <a:lnTo>
                    <a:pt x="67" y="399"/>
                  </a:lnTo>
                  <a:lnTo>
                    <a:pt x="65" y="397"/>
                  </a:lnTo>
                  <a:lnTo>
                    <a:pt x="65" y="395"/>
                  </a:lnTo>
                  <a:lnTo>
                    <a:pt x="65" y="395"/>
                  </a:lnTo>
                  <a:lnTo>
                    <a:pt x="63" y="395"/>
                  </a:lnTo>
                  <a:lnTo>
                    <a:pt x="62" y="395"/>
                  </a:lnTo>
                  <a:lnTo>
                    <a:pt x="60" y="393"/>
                  </a:lnTo>
                  <a:lnTo>
                    <a:pt x="58" y="393"/>
                  </a:lnTo>
                  <a:lnTo>
                    <a:pt x="56" y="393"/>
                  </a:lnTo>
                  <a:lnTo>
                    <a:pt x="56" y="395"/>
                  </a:lnTo>
                  <a:lnTo>
                    <a:pt x="54" y="395"/>
                  </a:lnTo>
                  <a:lnTo>
                    <a:pt x="54" y="395"/>
                  </a:lnTo>
                  <a:lnTo>
                    <a:pt x="54" y="397"/>
                  </a:lnTo>
                  <a:lnTo>
                    <a:pt x="50" y="397"/>
                  </a:lnTo>
                  <a:lnTo>
                    <a:pt x="50" y="397"/>
                  </a:lnTo>
                  <a:lnTo>
                    <a:pt x="48" y="397"/>
                  </a:lnTo>
                  <a:lnTo>
                    <a:pt x="48" y="395"/>
                  </a:lnTo>
                  <a:lnTo>
                    <a:pt x="46" y="395"/>
                  </a:lnTo>
                  <a:lnTo>
                    <a:pt x="44" y="393"/>
                  </a:lnTo>
                  <a:lnTo>
                    <a:pt x="44" y="391"/>
                  </a:lnTo>
                  <a:lnTo>
                    <a:pt x="44" y="389"/>
                  </a:lnTo>
                  <a:lnTo>
                    <a:pt x="42" y="387"/>
                  </a:lnTo>
                  <a:lnTo>
                    <a:pt x="42" y="387"/>
                  </a:lnTo>
                  <a:lnTo>
                    <a:pt x="40" y="385"/>
                  </a:lnTo>
                  <a:lnTo>
                    <a:pt x="39" y="385"/>
                  </a:lnTo>
                  <a:lnTo>
                    <a:pt x="39" y="384"/>
                  </a:lnTo>
                  <a:lnTo>
                    <a:pt x="39" y="382"/>
                  </a:lnTo>
                  <a:lnTo>
                    <a:pt x="37" y="382"/>
                  </a:lnTo>
                  <a:lnTo>
                    <a:pt x="37" y="378"/>
                  </a:lnTo>
                  <a:lnTo>
                    <a:pt x="37" y="376"/>
                  </a:lnTo>
                  <a:lnTo>
                    <a:pt x="37" y="374"/>
                  </a:lnTo>
                  <a:lnTo>
                    <a:pt x="37" y="372"/>
                  </a:lnTo>
                  <a:lnTo>
                    <a:pt x="37" y="370"/>
                  </a:lnTo>
                  <a:lnTo>
                    <a:pt x="37" y="366"/>
                  </a:lnTo>
                  <a:lnTo>
                    <a:pt x="31" y="366"/>
                  </a:lnTo>
                  <a:lnTo>
                    <a:pt x="29" y="366"/>
                  </a:lnTo>
                  <a:lnTo>
                    <a:pt x="29" y="364"/>
                  </a:lnTo>
                  <a:lnTo>
                    <a:pt x="27" y="364"/>
                  </a:lnTo>
                  <a:lnTo>
                    <a:pt x="25" y="364"/>
                  </a:lnTo>
                  <a:lnTo>
                    <a:pt x="23" y="362"/>
                  </a:lnTo>
                  <a:lnTo>
                    <a:pt x="23" y="361"/>
                  </a:lnTo>
                  <a:lnTo>
                    <a:pt x="21" y="361"/>
                  </a:lnTo>
                  <a:lnTo>
                    <a:pt x="19" y="359"/>
                  </a:lnTo>
                  <a:lnTo>
                    <a:pt x="17" y="359"/>
                  </a:lnTo>
                  <a:lnTo>
                    <a:pt x="17" y="355"/>
                  </a:lnTo>
                  <a:lnTo>
                    <a:pt x="15" y="355"/>
                  </a:lnTo>
                  <a:lnTo>
                    <a:pt x="15" y="353"/>
                  </a:lnTo>
                  <a:lnTo>
                    <a:pt x="14" y="353"/>
                  </a:lnTo>
                  <a:lnTo>
                    <a:pt x="14" y="351"/>
                  </a:lnTo>
                  <a:lnTo>
                    <a:pt x="12" y="351"/>
                  </a:lnTo>
                  <a:lnTo>
                    <a:pt x="10" y="349"/>
                  </a:lnTo>
                  <a:lnTo>
                    <a:pt x="8" y="347"/>
                  </a:lnTo>
                  <a:lnTo>
                    <a:pt x="8" y="345"/>
                  </a:lnTo>
                  <a:lnTo>
                    <a:pt x="8" y="343"/>
                  </a:lnTo>
                  <a:lnTo>
                    <a:pt x="6" y="341"/>
                  </a:lnTo>
                  <a:lnTo>
                    <a:pt x="6" y="339"/>
                  </a:lnTo>
                  <a:lnTo>
                    <a:pt x="4" y="338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2" y="328"/>
                  </a:lnTo>
                  <a:lnTo>
                    <a:pt x="2" y="326"/>
                  </a:lnTo>
                  <a:lnTo>
                    <a:pt x="0" y="322"/>
                  </a:lnTo>
                  <a:lnTo>
                    <a:pt x="2" y="322"/>
                  </a:lnTo>
                  <a:lnTo>
                    <a:pt x="2" y="320"/>
                  </a:lnTo>
                  <a:lnTo>
                    <a:pt x="2" y="318"/>
                  </a:lnTo>
                  <a:lnTo>
                    <a:pt x="2" y="316"/>
                  </a:lnTo>
                  <a:lnTo>
                    <a:pt x="4" y="314"/>
                  </a:lnTo>
                  <a:lnTo>
                    <a:pt x="4" y="311"/>
                  </a:lnTo>
                  <a:lnTo>
                    <a:pt x="2" y="311"/>
                  </a:lnTo>
                  <a:lnTo>
                    <a:pt x="4" y="30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19" name="Freeform 95"/>
            <p:cNvSpPr>
              <a:spLocks/>
            </p:cNvSpPr>
            <p:nvPr/>
          </p:nvSpPr>
          <p:spPr bwMode="auto">
            <a:xfrm>
              <a:off x="2058" y="1156"/>
              <a:ext cx="397" cy="368"/>
            </a:xfrm>
            <a:custGeom>
              <a:avLst/>
              <a:gdLst/>
              <a:ahLst/>
              <a:cxnLst>
                <a:cxn ang="0">
                  <a:pos x="340" y="19"/>
                </a:cxn>
                <a:cxn ang="0">
                  <a:pos x="349" y="40"/>
                </a:cxn>
                <a:cxn ang="0">
                  <a:pos x="355" y="55"/>
                </a:cxn>
                <a:cxn ang="0">
                  <a:pos x="361" y="69"/>
                </a:cxn>
                <a:cxn ang="0">
                  <a:pos x="359" y="80"/>
                </a:cxn>
                <a:cxn ang="0">
                  <a:pos x="355" y="92"/>
                </a:cxn>
                <a:cxn ang="0">
                  <a:pos x="351" y="111"/>
                </a:cxn>
                <a:cxn ang="0">
                  <a:pos x="347" y="130"/>
                </a:cxn>
                <a:cxn ang="0">
                  <a:pos x="343" y="144"/>
                </a:cxn>
                <a:cxn ang="0">
                  <a:pos x="326" y="136"/>
                </a:cxn>
                <a:cxn ang="0">
                  <a:pos x="315" y="119"/>
                </a:cxn>
                <a:cxn ang="0">
                  <a:pos x="307" y="105"/>
                </a:cxn>
                <a:cxn ang="0">
                  <a:pos x="295" y="98"/>
                </a:cxn>
                <a:cxn ang="0">
                  <a:pos x="280" y="84"/>
                </a:cxn>
                <a:cxn ang="0">
                  <a:pos x="270" y="84"/>
                </a:cxn>
                <a:cxn ang="0">
                  <a:pos x="272" y="98"/>
                </a:cxn>
                <a:cxn ang="0">
                  <a:pos x="282" y="109"/>
                </a:cxn>
                <a:cxn ang="0">
                  <a:pos x="293" y="122"/>
                </a:cxn>
                <a:cxn ang="0">
                  <a:pos x="305" y="138"/>
                </a:cxn>
                <a:cxn ang="0">
                  <a:pos x="313" y="157"/>
                </a:cxn>
                <a:cxn ang="0">
                  <a:pos x="320" y="172"/>
                </a:cxn>
                <a:cxn ang="0">
                  <a:pos x="330" y="197"/>
                </a:cxn>
                <a:cxn ang="0">
                  <a:pos x="340" y="215"/>
                </a:cxn>
                <a:cxn ang="0">
                  <a:pos x="357" y="236"/>
                </a:cxn>
                <a:cxn ang="0">
                  <a:pos x="374" y="263"/>
                </a:cxn>
                <a:cxn ang="0">
                  <a:pos x="384" y="289"/>
                </a:cxn>
                <a:cxn ang="0">
                  <a:pos x="393" y="307"/>
                </a:cxn>
                <a:cxn ang="0">
                  <a:pos x="395" y="320"/>
                </a:cxn>
                <a:cxn ang="0">
                  <a:pos x="384" y="337"/>
                </a:cxn>
                <a:cxn ang="0">
                  <a:pos x="374" y="351"/>
                </a:cxn>
                <a:cxn ang="0">
                  <a:pos x="359" y="359"/>
                </a:cxn>
                <a:cxn ang="0">
                  <a:pos x="343" y="368"/>
                </a:cxn>
                <a:cxn ang="0">
                  <a:pos x="328" y="364"/>
                </a:cxn>
                <a:cxn ang="0">
                  <a:pos x="317" y="359"/>
                </a:cxn>
                <a:cxn ang="0">
                  <a:pos x="301" y="359"/>
                </a:cxn>
                <a:cxn ang="0">
                  <a:pos x="284" y="359"/>
                </a:cxn>
                <a:cxn ang="0">
                  <a:pos x="265" y="359"/>
                </a:cxn>
                <a:cxn ang="0">
                  <a:pos x="246" y="359"/>
                </a:cxn>
                <a:cxn ang="0">
                  <a:pos x="224" y="359"/>
                </a:cxn>
                <a:cxn ang="0">
                  <a:pos x="203" y="359"/>
                </a:cxn>
                <a:cxn ang="0">
                  <a:pos x="188" y="364"/>
                </a:cxn>
                <a:cxn ang="0">
                  <a:pos x="171" y="366"/>
                </a:cxn>
                <a:cxn ang="0">
                  <a:pos x="152" y="364"/>
                </a:cxn>
                <a:cxn ang="0">
                  <a:pos x="44" y="364"/>
                </a:cxn>
                <a:cxn ang="0">
                  <a:pos x="34" y="366"/>
                </a:cxn>
                <a:cxn ang="0">
                  <a:pos x="23" y="368"/>
                </a:cxn>
                <a:cxn ang="0">
                  <a:pos x="21" y="343"/>
                </a:cxn>
                <a:cxn ang="0">
                  <a:pos x="23" y="226"/>
                </a:cxn>
                <a:cxn ang="0">
                  <a:pos x="15" y="169"/>
                </a:cxn>
                <a:cxn ang="0">
                  <a:pos x="21" y="138"/>
                </a:cxn>
                <a:cxn ang="0">
                  <a:pos x="10" y="92"/>
                </a:cxn>
                <a:cxn ang="0">
                  <a:pos x="0" y="71"/>
                </a:cxn>
                <a:cxn ang="0">
                  <a:pos x="10" y="46"/>
                </a:cxn>
                <a:cxn ang="0">
                  <a:pos x="11" y="13"/>
                </a:cxn>
                <a:cxn ang="0">
                  <a:pos x="77" y="11"/>
                </a:cxn>
                <a:cxn ang="0">
                  <a:pos x="117" y="21"/>
                </a:cxn>
                <a:cxn ang="0">
                  <a:pos x="182" y="28"/>
                </a:cxn>
                <a:cxn ang="0">
                  <a:pos x="201" y="11"/>
                </a:cxn>
                <a:cxn ang="0">
                  <a:pos x="224" y="11"/>
                </a:cxn>
                <a:cxn ang="0">
                  <a:pos x="259" y="7"/>
                </a:cxn>
                <a:cxn ang="0">
                  <a:pos x="276" y="11"/>
                </a:cxn>
                <a:cxn ang="0">
                  <a:pos x="313" y="17"/>
                </a:cxn>
                <a:cxn ang="0">
                  <a:pos x="324" y="7"/>
                </a:cxn>
              </a:cxnLst>
              <a:rect l="0" t="0" r="r" b="b"/>
              <a:pathLst>
                <a:path w="397" h="368">
                  <a:moveTo>
                    <a:pt x="330" y="0"/>
                  </a:moveTo>
                  <a:lnTo>
                    <a:pt x="332" y="4"/>
                  </a:lnTo>
                  <a:lnTo>
                    <a:pt x="334" y="7"/>
                  </a:lnTo>
                  <a:lnTo>
                    <a:pt x="336" y="11"/>
                  </a:lnTo>
                  <a:lnTo>
                    <a:pt x="336" y="13"/>
                  </a:lnTo>
                  <a:lnTo>
                    <a:pt x="338" y="13"/>
                  </a:lnTo>
                  <a:lnTo>
                    <a:pt x="338" y="17"/>
                  </a:lnTo>
                  <a:lnTo>
                    <a:pt x="340" y="19"/>
                  </a:lnTo>
                  <a:lnTo>
                    <a:pt x="340" y="23"/>
                  </a:lnTo>
                  <a:lnTo>
                    <a:pt x="343" y="23"/>
                  </a:lnTo>
                  <a:lnTo>
                    <a:pt x="343" y="27"/>
                  </a:lnTo>
                  <a:lnTo>
                    <a:pt x="343" y="28"/>
                  </a:lnTo>
                  <a:lnTo>
                    <a:pt x="345" y="30"/>
                  </a:lnTo>
                  <a:lnTo>
                    <a:pt x="345" y="34"/>
                  </a:lnTo>
                  <a:lnTo>
                    <a:pt x="347" y="36"/>
                  </a:lnTo>
                  <a:lnTo>
                    <a:pt x="349" y="40"/>
                  </a:lnTo>
                  <a:lnTo>
                    <a:pt x="351" y="44"/>
                  </a:lnTo>
                  <a:lnTo>
                    <a:pt x="351" y="44"/>
                  </a:lnTo>
                  <a:lnTo>
                    <a:pt x="351" y="46"/>
                  </a:lnTo>
                  <a:lnTo>
                    <a:pt x="351" y="50"/>
                  </a:lnTo>
                  <a:lnTo>
                    <a:pt x="353" y="50"/>
                  </a:lnTo>
                  <a:lnTo>
                    <a:pt x="353" y="51"/>
                  </a:lnTo>
                  <a:lnTo>
                    <a:pt x="353" y="53"/>
                  </a:lnTo>
                  <a:lnTo>
                    <a:pt x="355" y="55"/>
                  </a:lnTo>
                  <a:lnTo>
                    <a:pt x="355" y="57"/>
                  </a:lnTo>
                  <a:lnTo>
                    <a:pt x="355" y="59"/>
                  </a:lnTo>
                  <a:lnTo>
                    <a:pt x="357" y="61"/>
                  </a:lnTo>
                  <a:lnTo>
                    <a:pt x="357" y="63"/>
                  </a:lnTo>
                  <a:lnTo>
                    <a:pt x="357" y="65"/>
                  </a:lnTo>
                  <a:lnTo>
                    <a:pt x="359" y="67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3" y="69"/>
                  </a:lnTo>
                  <a:lnTo>
                    <a:pt x="364" y="69"/>
                  </a:lnTo>
                  <a:lnTo>
                    <a:pt x="364" y="73"/>
                  </a:lnTo>
                  <a:lnTo>
                    <a:pt x="363" y="73"/>
                  </a:lnTo>
                  <a:lnTo>
                    <a:pt x="361" y="75"/>
                  </a:lnTo>
                  <a:lnTo>
                    <a:pt x="361" y="76"/>
                  </a:lnTo>
                  <a:lnTo>
                    <a:pt x="361" y="78"/>
                  </a:lnTo>
                  <a:lnTo>
                    <a:pt x="359" y="80"/>
                  </a:lnTo>
                  <a:lnTo>
                    <a:pt x="359" y="80"/>
                  </a:lnTo>
                  <a:lnTo>
                    <a:pt x="357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6"/>
                  </a:lnTo>
                  <a:lnTo>
                    <a:pt x="355" y="90"/>
                  </a:lnTo>
                  <a:lnTo>
                    <a:pt x="355" y="90"/>
                  </a:lnTo>
                  <a:lnTo>
                    <a:pt x="355" y="92"/>
                  </a:lnTo>
                  <a:lnTo>
                    <a:pt x="355" y="96"/>
                  </a:lnTo>
                  <a:lnTo>
                    <a:pt x="355" y="98"/>
                  </a:lnTo>
                  <a:lnTo>
                    <a:pt x="355" y="99"/>
                  </a:lnTo>
                  <a:lnTo>
                    <a:pt x="355" y="101"/>
                  </a:lnTo>
                  <a:lnTo>
                    <a:pt x="355" y="103"/>
                  </a:lnTo>
                  <a:lnTo>
                    <a:pt x="353" y="105"/>
                  </a:lnTo>
                  <a:lnTo>
                    <a:pt x="353" y="107"/>
                  </a:lnTo>
                  <a:lnTo>
                    <a:pt x="351" y="111"/>
                  </a:lnTo>
                  <a:lnTo>
                    <a:pt x="351" y="113"/>
                  </a:lnTo>
                  <a:lnTo>
                    <a:pt x="351" y="115"/>
                  </a:lnTo>
                  <a:lnTo>
                    <a:pt x="351" y="117"/>
                  </a:lnTo>
                  <a:lnTo>
                    <a:pt x="349" y="119"/>
                  </a:lnTo>
                  <a:lnTo>
                    <a:pt x="349" y="122"/>
                  </a:lnTo>
                  <a:lnTo>
                    <a:pt x="349" y="122"/>
                  </a:lnTo>
                  <a:lnTo>
                    <a:pt x="347" y="124"/>
                  </a:lnTo>
                  <a:lnTo>
                    <a:pt x="347" y="130"/>
                  </a:lnTo>
                  <a:lnTo>
                    <a:pt x="345" y="130"/>
                  </a:lnTo>
                  <a:lnTo>
                    <a:pt x="345" y="134"/>
                  </a:lnTo>
                  <a:lnTo>
                    <a:pt x="345" y="136"/>
                  </a:lnTo>
                  <a:lnTo>
                    <a:pt x="345" y="136"/>
                  </a:lnTo>
                  <a:lnTo>
                    <a:pt x="345" y="140"/>
                  </a:lnTo>
                  <a:lnTo>
                    <a:pt x="345" y="142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0" y="144"/>
                  </a:lnTo>
                  <a:lnTo>
                    <a:pt x="338" y="146"/>
                  </a:lnTo>
                  <a:lnTo>
                    <a:pt x="336" y="146"/>
                  </a:lnTo>
                  <a:lnTo>
                    <a:pt x="334" y="146"/>
                  </a:lnTo>
                  <a:lnTo>
                    <a:pt x="330" y="144"/>
                  </a:lnTo>
                  <a:lnTo>
                    <a:pt x="330" y="142"/>
                  </a:lnTo>
                  <a:lnTo>
                    <a:pt x="328" y="140"/>
                  </a:lnTo>
                  <a:lnTo>
                    <a:pt x="326" y="136"/>
                  </a:lnTo>
                  <a:lnTo>
                    <a:pt x="324" y="134"/>
                  </a:lnTo>
                  <a:lnTo>
                    <a:pt x="324" y="130"/>
                  </a:lnTo>
                  <a:lnTo>
                    <a:pt x="320" y="128"/>
                  </a:lnTo>
                  <a:lnTo>
                    <a:pt x="320" y="126"/>
                  </a:lnTo>
                  <a:lnTo>
                    <a:pt x="318" y="124"/>
                  </a:lnTo>
                  <a:lnTo>
                    <a:pt x="317" y="122"/>
                  </a:lnTo>
                  <a:lnTo>
                    <a:pt x="315" y="121"/>
                  </a:lnTo>
                  <a:lnTo>
                    <a:pt x="315" y="119"/>
                  </a:lnTo>
                  <a:lnTo>
                    <a:pt x="313" y="117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1" y="111"/>
                  </a:lnTo>
                  <a:lnTo>
                    <a:pt x="309" y="111"/>
                  </a:lnTo>
                  <a:lnTo>
                    <a:pt x="307" y="111"/>
                  </a:lnTo>
                  <a:lnTo>
                    <a:pt x="307" y="107"/>
                  </a:lnTo>
                  <a:lnTo>
                    <a:pt x="307" y="105"/>
                  </a:lnTo>
                  <a:lnTo>
                    <a:pt x="305" y="105"/>
                  </a:lnTo>
                  <a:lnTo>
                    <a:pt x="305" y="103"/>
                  </a:lnTo>
                  <a:lnTo>
                    <a:pt x="303" y="101"/>
                  </a:lnTo>
                  <a:lnTo>
                    <a:pt x="301" y="101"/>
                  </a:lnTo>
                  <a:lnTo>
                    <a:pt x="299" y="101"/>
                  </a:lnTo>
                  <a:lnTo>
                    <a:pt x="299" y="101"/>
                  </a:lnTo>
                  <a:lnTo>
                    <a:pt x="295" y="99"/>
                  </a:lnTo>
                  <a:lnTo>
                    <a:pt x="295" y="98"/>
                  </a:lnTo>
                  <a:lnTo>
                    <a:pt x="293" y="96"/>
                  </a:lnTo>
                  <a:lnTo>
                    <a:pt x="293" y="96"/>
                  </a:lnTo>
                  <a:lnTo>
                    <a:pt x="290" y="94"/>
                  </a:lnTo>
                  <a:lnTo>
                    <a:pt x="288" y="92"/>
                  </a:lnTo>
                  <a:lnTo>
                    <a:pt x="286" y="90"/>
                  </a:lnTo>
                  <a:lnTo>
                    <a:pt x="284" y="88"/>
                  </a:lnTo>
                  <a:lnTo>
                    <a:pt x="282" y="86"/>
                  </a:lnTo>
                  <a:lnTo>
                    <a:pt x="280" y="84"/>
                  </a:lnTo>
                  <a:lnTo>
                    <a:pt x="278" y="82"/>
                  </a:lnTo>
                  <a:lnTo>
                    <a:pt x="276" y="82"/>
                  </a:lnTo>
                  <a:lnTo>
                    <a:pt x="276" y="82"/>
                  </a:lnTo>
                  <a:lnTo>
                    <a:pt x="274" y="80"/>
                  </a:lnTo>
                  <a:lnTo>
                    <a:pt x="272" y="80"/>
                  </a:lnTo>
                  <a:lnTo>
                    <a:pt x="272" y="78"/>
                  </a:lnTo>
                  <a:lnTo>
                    <a:pt x="270" y="80"/>
                  </a:lnTo>
                  <a:lnTo>
                    <a:pt x="270" y="84"/>
                  </a:lnTo>
                  <a:lnTo>
                    <a:pt x="269" y="84"/>
                  </a:lnTo>
                  <a:lnTo>
                    <a:pt x="269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4"/>
                  </a:lnTo>
                  <a:lnTo>
                    <a:pt x="269" y="96"/>
                  </a:lnTo>
                  <a:lnTo>
                    <a:pt x="272" y="98"/>
                  </a:lnTo>
                  <a:lnTo>
                    <a:pt x="272" y="99"/>
                  </a:lnTo>
                  <a:lnTo>
                    <a:pt x="274" y="101"/>
                  </a:lnTo>
                  <a:lnTo>
                    <a:pt x="274" y="101"/>
                  </a:lnTo>
                  <a:lnTo>
                    <a:pt x="276" y="101"/>
                  </a:lnTo>
                  <a:lnTo>
                    <a:pt x="278" y="105"/>
                  </a:lnTo>
                  <a:lnTo>
                    <a:pt x="278" y="107"/>
                  </a:lnTo>
                  <a:lnTo>
                    <a:pt x="280" y="107"/>
                  </a:lnTo>
                  <a:lnTo>
                    <a:pt x="282" y="109"/>
                  </a:lnTo>
                  <a:lnTo>
                    <a:pt x="284" y="109"/>
                  </a:lnTo>
                  <a:lnTo>
                    <a:pt x="286" y="111"/>
                  </a:lnTo>
                  <a:lnTo>
                    <a:pt x="288" y="111"/>
                  </a:lnTo>
                  <a:lnTo>
                    <a:pt x="290" y="113"/>
                  </a:lnTo>
                  <a:lnTo>
                    <a:pt x="292" y="115"/>
                  </a:lnTo>
                  <a:lnTo>
                    <a:pt x="292" y="117"/>
                  </a:lnTo>
                  <a:lnTo>
                    <a:pt x="293" y="119"/>
                  </a:lnTo>
                  <a:lnTo>
                    <a:pt x="293" y="122"/>
                  </a:lnTo>
                  <a:lnTo>
                    <a:pt x="295" y="122"/>
                  </a:lnTo>
                  <a:lnTo>
                    <a:pt x="295" y="124"/>
                  </a:lnTo>
                  <a:lnTo>
                    <a:pt x="297" y="126"/>
                  </a:lnTo>
                  <a:lnTo>
                    <a:pt x="299" y="128"/>
                  </a:lnTo>
                  <a:lnTo>
                    <a:pt x="301" y="130"/>
                  </a:lnTo>
                  <a:lnTo>
                    <a:pt x="301" y="134"/>
                  </a:lnTo>
                  <a:lnTo>
                    <a:pt x="303" y="136"/>
                  </a:lnTo>
                  <a:lnTo>
                    <a:pt x="305" y="138"/>
                  </a:lnTo>
                  <a:lnTo>
                    <a:pt x="305" y="140"/>
                  </a:lnTo>
                  <a:lnTo>
                    <a:pt x="307" y="142"/>
                  </a:lnTo>
                  <a:lnTo>
                    <a:pt x="307" y="146"/>
                  </a:lnTo>
                  <a:lnTo>
                    <a:pt x="309" y="147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1" y="155"/>
                  </a:lnTo>
                  <a:lnTo>
                    <a:pt x="313" y="157"/>
                  </a:lnTo>
                  <a:lnTo>
                    <a:pt x="315" y="157"/>
                  </a:lnTo>
                  <a:lnTo>
                    <a:pt x="315" y="161"/>
                  </a:lnTo>
                  <a:lnTo>
                    <a:pt x="317" y="163"/>
                  </a:lnTo>
                  <a:lnTo>
                    <a:pt x="317" y="163"/>
                  </a:lnTo>
                  <a:lnTo>
                    <a:pt x="317" y="167"/>
                  </a:lnTo>
                  <a:lnTo>
                    <a:pt x="318" y="169"/>
                  </a:lnTo>
                  <a:lnTo>
                    <a:pt x="320" y="170"/>
                  </a:lnTo>
                  <a:lnTo>
                    <a:pt x="320" y="172"/>
                  </a:lnTo>
                  <a:lnTo>
                    <a:pt x="324" y="178"/>
                  </a:lnTo>
                  <a:lnTo>
                    <a:pt x="324" y="180"/>
                  </a:lnTo>
                  <a:lnTo>
                    <a:pt x="324" y="182"/>
                  </a:lnTo>
                  <a:lnTo>
                    <a:pt x="326" y="184"/>
                  </a:lnTo>
                  <a:lnTo>
                    <a:pt x="326" y="186"/>
                  </a:lnTo>
                  <a:lnTo>
                    <a:pt x="326" y="190"/>
                  </a:lnTo>
                  <a:lnTo>
                    <a:pt x="328" y="192"/>
                  </a:lnTo>
                  <a:lnTo>
                    <a:pt x="330" y="197"/>
                  </a:lnTo>
                  <a:lnTo>
                    <a:pt x="330" y="199"/>
                  </a:lnTo>
                  <a:lnTo>
                    <a:pt x="330" y="203"/>
                  </a:lnTo>
                  <a:lnTo>
                    <a:pt x="332" y="205"/>
                  </a:lnTo>
                  <a:lnTo>
                    <a:pt x="334" y="209"/>
                  </a:lnTo>
                  <a:lnTo>
                    <a:pt x="334" y="211"/>
                  </a:lnTo>
                  <a:lnTo>
                    <a:pt x="336" y="213"/>
                  </a:lnTo>
                  <a:lnTo>
                    <a:pt x="338" y="215"/>
                  </a:lnTo>
                  <a:lnTo>
                    <a:pt x="340" y="215"/>
                  </a:lnTo>
                  <a:lnTo>
                    <a:pt x="343" y="220"/>
                  </a:lnTo>
                  <a:lnTo>
                    <a:pt x="345" y="222"/>
                  </a:lnTo>
                  <a:lnTo>
                    <a:pt x="349" y="224"/>
                  </a:lnTo>
                  <a:lnTo>
                    <a:pt x="349" y="226"/>
                  </a:lnTo>
                  <a:lnTo>
                    <a:pt x="351" y="228"/>
                  </a:lnTo>
                  <a:lnTo>
                    <a:pt x="355" y="230"/>
                  </a:lnTo>
                  <a:lnTo>
                    <a:pt x="355" y="234"/>
                  </a:lnTo>
                  <a:lnTo>
                    <a:pt x="357" y="236"/>
                  </a:lnTo>
                  <a:lnTo>
                    <a:pt x="357" y="238"/>
                  </a:lnTo>
                  <a:lnTo>
                    <a:pt x="361" y="241"/>
                  </a:lnTo>
                  <a:lnTo>
                    <a:pt x="363" y="243"/>
                  </a:lnTo>
                  <a:lnTo>
                    <a:pt x="363" y="247"/>
                  </a:lnTo>
                  <a:lnTo>
                    <a:pt x="366" y="253"/>
                  </a:lnTo>
                  <a:lnTo>
                    <a:pt x="368" y="257"/>
                  </a:lnTo>
                  <a:lnTo>
                    <a:pt x="370" y="259"/>
                  </a:lnTo>
                  <a:lnTo>
                    <a:pt x="374" y="263"/>
                  </a:lnTo>
                  <a:lnTo>
                    <a:pt x="374" y="264"/>
                  </a:lnTo>
                  <a:lnTo>
                    <a:pt x="374" y="268"/>
                  </a:lnTo>
                  <a:lnTo>
                    <a:pt x="376" y="270"/>
                  </a:lnTo>
                  <a:lnTo>
                    <a:pt x="380" y="272"/>
                  </a:lnTo>
                  <a:lnTo>
                    <a:pt x="380" y="276"/>
                  </a:lnTo>
                  <a:lnTo>
                    <a:pt x="382" y="282"/>
                  </a:lnTo>
                  <a:lnTo>
                    <a:pt x="384" y="286"/>
                  </a:lnTo>
                  <a:lnTo>
                    <a:pt x="384" y="289"/>
                  </a:lnTo>
                  <a:lnTo>
                    <a:pt x="386" y="291"/>
                  </a:lnTo>
                  <a:lnTo>
                    <a:pt x="386" y="293"/>
                  </a:lnTo>
                  <a:lnTo>
                    <a:pt x="386" y="295"/>
                  </a:lnTo>
                  <a:lnTo>
                    <a:pt x="388" y="297"/>
                  </a:lnTo>
                  <a:lnTo>
                    <a:pt x="389" y="297"/>
                  </a:lnTo>
                  <a:lnTo>
                    <a:pt x="389" y="301"/>
                  </a:lnTo>
                  <a:lnTo>
                    <a:pt x="389" y="303"/>
                  </a:lnTo>
                  <a:lnTo>
                    <a:pt x="393" y="307"/>
                  </a:lnTo>
                  <a:lnTo>
                    <a:pt x="395" y="309"/>
                  </a:lnTo>
                  <a:lnTo>
                    <a:pt x="395" y="311"/>
                  </a:lnTo>
                  <a:lnTo>
                    <a:pt x="395" y="314"/>
                  </a:lnTo>
                  <a:lnTo>
                    <a:pt x="397" y="314"/>
                  </a:lnTo>
                  <a:lnTo>
                    <a:pt x="397" y="318"/>
                  </a:lnTo>
                  <a:lnTo>
                    <a:pt x="397" y="318"/>
                  </a:lnTo>
                  <a:lnTo>
                    <a:pt x="397" y="320"/>
                  </a:lnTo>
                  <a:lnTo>
                    <a:pt x="395" y="320"/>
                  </a:lnTo>
                  <a:lnTo>
                    <a:pt x="393" y="322"/>
                  </a:lnTo>
                  <a:lnTo>
                    <a:pt x="391" y="324"/>
                  </a:lnTo>
                  <a:lnTo>
                    <a:pt x="391" y="328"/>
                  </a:lnTo>
                  <a:lnTo>
                    <a:pt x="391" y="330"/>
                  </a:lnTo>
                  <a:lnTo>
                    <a:pt x="389" y="332"/>
                  </a:lnTo>
                  <a:lnTo>
                    <a:pt x="388" y="334"/>
                  </a:lnTo>
                  <a:lnTo>
                    <a:pt x="386" y="337"/>
                  </a:lnTo>
                  <a:lnTo>
                    <a:pt x="384" y="337"/>
                  </a:lnTo>
                  <a:lnTo>
                    <a:pt x="384" y="341"/>
                  </a:lnTo>
                  <a:lnTo>
                    <a:pt x="380" y="343"/>
                  </a:lnTo>
                  <a:lnTo>
                    <a:pt x="380" y="345"/>
                  </a:lnTo>
                  <a:lnTo>
                    <a:pt x="380" y="347"/>
                  </a:lnTo>
                  <a:lnTo>
                    <a:pt x="378" y="347"/>
                  </a:lnTo>
                  <a:lnTo>
                    <a:pt x="376" y="349"/>
                  </a:lnTo>
                  <a:lnTo>
                    <a:pt x="374" y="351"/>
                  </a:lnTo>
                  <a:lnTo>
                    <a:pt x="374" y="351"/>
                  </a:lnTo>
                  <a:lnTo>
                    <a:pt x="372" y="353"/>
                  </a:lnTo>
                  <a:lnTo>
                    <a:pt x="370" y="355"/>
                  </a:lnTo>
                  <a:lnTo>
                    <a:pt x="368" y="357"/>
                  </a:lnTo>
                  <a:lnTo>
                    <a:pt x="366" y="357"/>
                  </a:lnTo>
                  <a:lnTo>
                    <a:pt x="364" y="359"/>
                  </a:lnTo>
                  <a:lnTo>
                    <a:pt x="363" y="359"/>
                  </a:lnTo>
                  <a:lnTo>
                    <a:pt x="361" y="359"/>
                  </a:lnTo>
                  <a:lnTo>
                    <a:pt x="359" y="359"/>
                  </a:lnTo>
                  <a:lnTo>
                    <a:pt x="357" y="360"/>
                  </a:lnTo>
                  <a:lnTo>
                    <a:pt x="355" y="360"/>
                  </a:lnTo>
                  <a:lnTo>
                    <a:pt x="355" y="362"/>
                  </a:lnTo>
                  <a:lnTo>
                    <a:pt x="351" y="364"/>
                  </a:lnTo>
                  <a:lnTo>
                    <a:pt x="349" y="364"/>
                  </a:lnTo>
                  <a:lnTo>
                    <a:pt x="349" y="366"/>
                  </a:lnTo>
                  <a:lnTo>
                    <a:pt x="345" y="366"/>
                  </a:lnTo>
                  <a:lnTo>
                    <a:pt x="343" y="368"/>
                  </a:lnTo>
                  <a:lnTo>
                    <a:pt x="341" y="368"/>
                  </a:lnTo>
                  <a:lnTo>
                    <a:pt x="340" y="368"/>
                  </a:lnTo>
                  <a:lnTo>
                    <a:pt x="338" y="366"/>
                  </a:lnTo>
                  <a:lnTo>
                    <a:pt x="336" y="366"/>
                  </a:lnTo>
                  <a:lnTo>
                    <a:pt x="334" y="366"/>
                  </a:lnTo>
                  <a:lnTo>
                    <a:pt x="332" y="366"/>
                  </a:lnTo>
                  <a:lnTo>
                    <a:pt x="330" y="366"/>
                  </a:lnTo>
                  <a:lnTo>
                    <a:pt x="328" y="364"/>
                  </a:lnTo>
                  <a:lnTo>
                    <a:pt x="328" y="364"/>
                  </a:lnTo>
                  <a:lnTo>
                    <a:pt x="328" y="362"/>
                  </a:lnTo>
                  <a:lnTo>
                    <a:pt x="326" y="360"/>
                  </a:lnTo>
                  <a:lnTo>
                    <a:pt x="324" y="359"/>
                  </a:lnTo>
                  <a:lnTo>
                    <a:pt x="324" y="359"/>
                  </a:lnTo>
                  <a:lnTo>
                    <a:pt x="322" y="359"/>
                  </a:lnTo>
                  <a:lnTo>
                    <a:pt x="320" y="359"/>
                  </a:lnTo>
                  <a:lnTo>
                    <a:pt x="317" y="359"/>
                  </a:lnTo>
                  <a:lnTo>
                    <a:pt x="315" y="359"/>
                  </a:lnTo>
                  <a:lnTo>
                    <a:pt x="313" y="359"/>
                  </a:lnTo>
                  <a:lnTo>
                    <a:pt x="311" y="359"/>
                  </a:lnTo>
                  <a:lnTo>
                    <a:pt x="309" y="359"/>
                  </a:lnTo>
                  <a:lnTo>
                    <a:pt x="307" y="357"/>
                  </a:lnTo>
                  <a:lnTo>
                    <a:pt x="305" y="357"/>
                  </a:lnTo>
                  <a:lnTo>
                    <a:pt x="303" y="359"/>
                  </a:lnTo>
                  <a:lnTo>
                    <a:pt x="301" y="359"/>
                  </a:lnTo>
                  <a:lnTo>
                    <a:pt x="299" y="359"/>
                  </a:lnTo>
                  <a:lnTo>
                    <a:pt x="297" y="359"/>
                  </a:lnTo>
                  <a:lnTo>
                    <a:pt x="295" y="360"/>
                  </a:lnTo>
                  <a:lnTo>
                    <a:pt x="293" y="360"/>
                  </a:lnTo>
                  <a:lnTo>
                    <a:pt x="290" y="360"/>
                  </a:lnTo>
                  <a:lnTo>
                    <a:pt x="288" y="360"/>
                  </a:lnTo>
                  <a:lnTo>
                    <a:pt x="288" y="359"/>
                  </a:lnTo>
                  <a:lnTo>
                    <a:pt x="284" y="359"/>
                  </a:lnTo>
                  <a:lnTo>
                    <a:pt x="282" y="359"/>
                  </a:lnTo>
                  <a:lnTo>
                    <a:pt x="280" y="359"/>
                  </a:lnTo>
                  <a:lnTo>
                    <a:pt x="278" y="359"/>
                  </a:lnTo>
                  <a:lnTo>
                    <a:pt x="274" y="359"/>
                  </a:lnTo>
                  <a:lnTo>
                    <a:pt x="272" y="359"/>
                  </a:lnTo>
                  <a:lnTo>
                    <a:pt x="269" y="359"/>
                  </a:lnTo>
                  <a:lnTo>
                    <a:pt x="267" y="359"/>
                  </a:lnTo>
                  <a:lnTo>
                    <a:pt x="265" y="359"/>
                  </a:lnTo>
                  <a:lnTo>
                    <a:pt x="263" y="359"/>
                  </a:lnTo>
                  <a:lnTo>
                    <a:pt x="261" y="359"/>
                  </a:lnTo>
                  <a:lnTo>
                    <a:pt x="257" y="359"/>
                  </a:lnTo>
                  <a:lnTo>
                    <a:pt x="255" y="359"/>
                  </a:lnTo>
                  <a:lnTo>
                    <a:pt x="253" y="359"/>
                  </a:lnTo>
                  <a:lnTo>
                    <a:pt x="251" y="359"/>
                  </a:lnTo>
                  <a:lnTo>
                    <a:pt x="249" y="359"/>
                  </a:lnTo>
                  <a:lnTo>
                    <a:pt x="246" y="359"/>
                  </a:lnTo>
                  <a:lnTo>
                    <a:pt x="244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6" y="359"/>
                  </a:lnTo>
                  <a:lnTo>
                    <a:pt x="234" y="359"/>
                  </a:lnTo>
                  <a:lnTo>
                    <a:pt x="232" y="359"/>
                  </a:lnTo>
                  <a:lnTo>
                    <a:pt x="228" y="359"/>
                  </a:lnTo>
                  <a:lnTo>
                    <a:pt x="224" y="359"/>
                  </a:lnTo>
                  <a:lnTo>
                    <a:pt x="222" y="359"/>
                  </a:lnTo>
                  <a:lnTo>
                    <a:pt x="219" y="359"/>
                  </a:lnTo>
                  <a:lnTo>
                    <a:pt x="217" y="359"/>
                  </a:lnTo>
                  <a:lnTo>
                    <a:pt x="213" y="359"/>
                  </a:lnTo>
                  <a:lnTo>
                    <a:pt x="211" y="359"/>
                  </a:lnTo>
                  <a:lnTo>
                    <a:pt x="207" y="359"/>
                  </a:lnTo>
                  <a:lnTo>
                    <a:pt x="205" y="359"/>
                  </a:lnTo>
                  <a:lnTo>
                    <a:pt x="203" y="359"/>
                  </a:lnTo>
                  <a:lnTo>
                    <a:pt x="201" y="359"/>
                  </a:lnTo>
                  <a:lnTo>
                    <a:pt x="201" y="360"/>
                  </a:lnTo>
                  <a:lnTo>
                    <a:pt x="201" y="362"/>
                  </a:lnTo>
                  <a:lnTo>
                    <a:pt x="199" y="364"/>
                  </a:lnTo>
                  <a:lnTo>
                    <a:pt x="198" y="364"/>
                  </a:lnTo>
                  <a:lnTo>
                    <a:pt x="194" y="364"/>
                  </a:lnTo>
                  <a:lnTo>
                    <a:pt x="190" y="364"/>
                  </a:lnTo>
                  <a:lnTo>
                    <a:pt x="188" y="364"/>
                  </a:lnTo>
                  <a:lnTo>
                    <a:pt x="184" y="364"/>
                  </a:lnTo>
                  <a:lnTo>
                    <a:pt x="182" y="364"/>
                  </a:lnTo>
                  <a:lnTo>
                    <a:pt x="180" y="364"/>
                  </a:lnTo>
                  <a:lnTo>
                    <a:pt x="178" y="364"/>
                  </a:lnTo>
                  <a:lnTo>
                    <a:pt x="176" y="364"/>
                  </a:lnTo>
                  <a:lnTo>
                    <a:pt x="176" y="364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69" y="366"/>
                  </a:lnTo>
                  <a:lnTo>
                    <a:pt x="167" y="366"/>
                  </a:lnTo>
                  <a:lnTo>
                    <a:pt x="163" y="364"/>
                  </a:lnTo>
                  <a:lnTo>
                    <a:pt x="161" y="364"/>
                  </a:lnTo>
                  <a:lnTo>
                    <a:pt x="159" y="364"/>
                  </a:lnTo>
                  <a:lnTo>
                    <a:pt x="157" y="364"/>
                  </a:lnTo>
                  <a:lnTo>
                    <a:pt x="155" y="364"/>
                  </a:lnTo>
                  <a:lnTo>
                    <a:pt x="152" y="364"/>
                  </a:lnTo>
                  <a:lnTo>
                    <a:pt x="150" y="364"/>
                  </a:lnTo>
                  <a:lnTo>
                    <a:pt x="148" y="364"/>
                  </a:lnTo>
                  <a:lnTo>
                    <a:pt x="146" y="366"/>
                  </a:lnTo>
                  <a:lnTo>
                    <a:pt x="50" y="364"/>
                  </a:lnTo>
                  <a:lnTo>
                    <a:pt x="46" y="364"/>
                  </a:lnTo>
                  <a:lnTo>
                    <a:pt x="46" y="364"/>
                  </a:lnTo>
                  <a:lnTo>
                    <a:pt x="44" y="364"/>
                  </a:lnTo>
                  <a:lnTo>
                    <a:pt x="44" y="364"/>
                  </a:lnTo>
                  <a:lnTo>
                    <a:pt x="42" y="364"/>
                  </a:lnTo>
                  <a:lnTo>
                    <a:pt x="42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38" y="364"/>
                  </a:lnTo>
                  <a:lnTo>
                    <a:pt x="34" y="364"/>
                  </a:lnTo>
                  <a:lnTo>
                    <a:pt x="34" y="366"/>
                  </a:lnTo>
                  <a:lnTo>
                    <a:pt x="33" y="366"/>
                  </a:lnTo>
                  <a:lnTo>
                    <a:pt x="31" y="366"/>
                  </a:lnTo>
                  <a:lnTo>
                    <a:pt x="29" y="366"/>
                  </a:lnTo>
                  <a:lnTo>
                    <a:pt x="27" y="366"/>
                  </a:lnTo>
                  <a:lnTo>
                    <a:pt x="27" y="368"/>
                  </a:lnTo>
                  <a:lnTo>
                    <a:pt x="25" y="368"/>
                  </a:lnTo>
                  <a:lnTo>
                    <a:pt x="25" y="368"/>
                  </a:lnTo>
                  <a:lnTo>
                    <a:pt x="23" y="368"/>
                  </a:lnTo>
                  <a:lnTo>
                    <a:pt x="23" y="368"/>
                  </a:lnTo>
                  <a:lnTo>
                    <a:pt x="21" y="368"/>
                  </a:lnTo>
                  <a:lnTo>
                    <a:pt x="17" y="368"/>
                  </a:lnTo>
                  <a:lnTo>
                    <a:pt x="19" y="366"/>
                  </a:lnTo>
                  <a:lnTo>
                    <a:pt x="19" y="362"/>
                  </a:lnTo>
                  <a:lnTo>
                    <a:pt x="21" y="360"/>
                  </a:lnTo>
                  <a:lnTo>
                    <a:pt x="21" y="353"/>
                  </a:lnTo>
                  <a:lnTo>
                    <a:pt x="21" y="343"/>
                  </a:lnTo>
                  <a:lnTo>
                    <a:pt x="21" y="337"/>
                  </a:lnTo>
                  <a:lnTo>
                    <a:pt x="21" y="332"/>
                  </a:lnTo>
                  <a:lnTo>
                    <a:pt x="19" y="324"/>
                  </a:lnTo>
                  <a:lnTo>
                    <a:pt x="17" y="318"/>
                  </a:lnTo>
                  <a:lnTo>
                    <a:pt x="17" y="293"/>
                  </a:lnTo>
                  <a:lnTo>
                    <a:pt x="19" y="270"/>
                  </a:lnTo>
                  <a:lnTo>
                    <a:pt x="21" y="247"/>
                  </a:lnTo>
                  <a:lnTo>
                    <a:pt x="23" y="226"/>
                  </a:lnTo>
                  <a:lnTo>
                    <a:pt x="21" y="224"/>
                  </a:lnTo>
                  <a:lnTo>
                    <a:pt x="21" y="220"/>
                  </a:lnTo>
                  <a:lnTo>
                    <a:pt x="21" y="215"/>
                  </a:lnTo>
                  <a:lnTo>
                    <a:pt x="21" y="209"/>
                  </a:lnTo>
                  <a:lnTo>
                    <a:pt x="19" y="201"/>
                  </a:lnTo>
                  <a:lnTo>
                    <a:pt x="17" y="195"/>
                  </a:lnTo>
                  <a:lnTo>
                    <a:pt x="17" y="188"/>
                  </a:lnTo>
                  <a:lnTo>
                    <a:pt x="15" y="169"/>
                  </a:lnTo>
                  <a:lnTo>
                    <a:pt x="15" y="151"/>
                  </a:lnTo>
                  <a:lnTo>
                    <a:pt x="17" y="149"/>
                  </a:lnTo>
                  <a:lnTo>
                    <a:pt x="19" y="147"/>
                  </a:lnTo>
                  <a:lnTo>
                    <a:pt x="21" y="146"/>
                  </a:lnTo>
                  <a:lnTo>
                    <a:pt x="23" y="146"/>
                  </a:lnTo>
                  <a:lnTo>
                    <a:pt x="23" y="142"/>
                  </a:lnTo>
                  <a:lnTo>
                    <a:pt x="23" y="140"/>
                  </a:lnTo>
                  <a:lnTo>
                    <a:pt x="21" y="138"/>
                  </a:lnTo>
                  <a:lnTo>
                    <a:pt x="21" y="136"/>
                  </a:lnTo>
                  <a:lnTo>
                    <a:pt x="19" y="122"/>
                  </a:lnTo>
                  <a:lnTo>
                    <a:pt x="17" y="111"/>
                  </a:lnTo>
                  <a:lnTo>
                    <a:pt x="15" y="103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4" y="84"/>
                  </a:lnTo>
                  <a:lnTo>
                    <a:pt x="4" y="78"/>
                  </a:lnTo>
                  <a:lnTo>
                    <a:pt x="2" y="76"/>
                  </a:lnTo>
                  <a:lnTo>
                    <a:pt x="2" y="75"/>
                  </a:lnTo>
                  <a:lnTo>
                    <a:pt x="0" y="71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4" y="63"/>
                  </a:lnTo>
                  <a:lnTo>
                    <a:pt x="6" y="59"/>
                  </a:lnTo>
                  <a:lnTo>
                    <a:pt x="8" y="59"/>
                  </a:lnTo>
                  <a:lnTo>
                    <a:pt x="10" y="57"/>
                  </a:lnTo>
                  <a:lnTo>
                    <a:pt x="10" y="51"/>
                  </a:lnTo>
                  <a:lnTo>
                    <a:pt x="10" y="46"/>
                  </a:lnTo>
                  <a:lnTo>
                    <a:pt x="8" y="30"/>
                  </a:lnTo>
                  <a:lnTo>
                    <a:pt x="6" y="27"/>
                  </a:lnTo>
                  <a:lnTo>
                    <a:pt x="6" y="19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3" y="11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29" y="7"/>
                  </a:lnTo>
                  <a:lnTo>
                    <a:pt x="44" y="7"/>
                  </a:lnTo>
                  <a:lnTo>
                    <a:pt x="59" y="9"/>
                  </a:lnTo>
                  <a:lnTo>
                    <a:pt x="73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88" y="13"/>
                  </a:lnTo>
                  <a:lnTo>
                    <a:pt x="96" y="17"/>
                  </a:lnTo>
                  <a:lnTo>
                    <a:pt x="10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7" y="21"/>
                  </a:lnTo>
                  <a:lnTo>
                    <a:pt x="123" y="25"/>
                  </a:lnTo>
                  <a:lnTo>
                    <a:pt x="130" y="30"/>
                  </a:lnTo>
                  <a:lnTo>
                    <a:pt x="138" y="30"/>
                  </a:lnTo>
                  <a:lnTo>
                    <a:pt x="146" y="30"/>
                  </a:lnTo>
                  <a:lnTo>
                    <a:pt x="152" y="30"/>
                  </a:lnTo>
                  <a:lnTo>
                    <a:pt x="159" y="30"/>
                  </a:lnTo>
                  <a:lnTo>
                    <a:pt x="171" y="30"/>
                  </a:lnTo>
                  <a:lnTo>
                    <a:pt x="182" y="28"/>
                  </a:lnTo>
                  <a:lnTo>
                    <a:pt x="182" y="25"/>
                  </a:lnTo>
                  <a:lnTo>
                    <a:pt x="184" y="21"/>
                  </a:lnTo>
                  <a:lnTo>
                    <a:pt x="184" y="19"/>
                  </a:lnTo>
                  <a:lnTo>
                    <a:pt x="188" y="17"/>
                  </a:lnTo>
                  <a:lnTo>
                    <a:pt x="192" y="13"/>
                  </a:lnTo>
                  <a:lnTo>
                    <a:pt x="194" y="13"/>
                  </a:lnTo>
                  <a:lnTo>
                    <a:pt x="196" y="11"/>
                  </a:lnTo>
                  <a:lnTo>
                    <a:pt x="201" y="11"/>
                  </a:lnTo>
                  <a:lnTo>
                    <a:pt x="203" y="13"/>
                  </a:lnTo>
                  <a:lnTo>
                    <a:pt x="207" y="13"/>
                  </a:lnTo>
                  <a:lnTo>
                    <a:pt x="209" y="13"/>
                  </a:lnTo>
                  <a:lnTo>
                    <a:pt x="213" y="13"/>
                  </a:lnTo>
                  <a:lnTo>
                    <a:pt x="217" y="15"/>
                  </a:lnTo>
                  <a:lnTo>
                    <a:pt x="222" y="13"/>
                  </a:lnTo>
                  <a:lnTo>
                    <a:pt x="222" y="13"/>
                  </a:lnTo>
                  <a:lnTo>
                    <a:pt x="224" y="11"/>
                  </a:lnTo>
                  <a:lnTo>
                    <a:pt x="226" y="9"/>
                  </a:lnTo>
                  <a:lnTo>
                    <a:pt x="228" y="7"/>
                  </a:lnTo>
                  <a:lnTo>
                    <a:pt x="230" y="7"/>
                  </a:lnTo>
                  <a:lnTo>
                    <a:pt x="232" y="5"/>
                  </a:lnTo>
                  <a:lnTo>
                    <a:pt x="240" y="5"/>
                  </a:lnTo>
                  <a:lnTo>
                    <a:pt x="246" y="7"/>
                  </a:lnTo>
                  <a:lnTo>
                    <a:pt x="251" y="7"/>
                  </a:lnTo>
                  <a:lnTo>
                    <a:pt x="259" y="7"/>
                  </a:lnTo>
                  <a:lnTo>
                    <a:pt x="261" y="7"/>
                  </a:lnTo>
                  <a:lnTo>
                    <a:pt x="263" y="7"/>
                  </a:lnTo>
                  <a:lnTo>
                    <a:pt x="263" y="5"/>
                  </a:lnTo>
                  <a:lnTo>
                    <a:pt x="265" y="5"/>
                  </a:lnTo>
                  <a:lnTo>
                    <a:pt x="269" y="7"/>
                  </a:lnTo>
                  <a:lnTo>
                    <a:pt x="274" y="9"/>
                  </a:lnTo>
                  <a:lnTo>
                    <a:pt x="274" y="11"/>
                  </a:lnTo>
                  <a:lnTo>
                    <a:pt x="276" y="11"/>
                  </a:lnTo>
                  <a:lnTo>
                    <a:pt x="276" y="13"/>
                  </a:lnTo>
                  <a:lnTo>
                    <a:pt x="278" y="13"/>
                  </a:lnTo>
                  <a:lnTo>
                    <a:pt x="280" y="15"/>
                  </a:lnTo>
                  <a:lnTo>
                    <a:pt x="284" y="17"/>
                  </a:lnTo>
                  <a:lnTo>
                    <a:pt x="292" y="19"/>
                  </a:lnTo>
                  <a:lnTo>
                    <a:pt x="299" y="19"/>
                  </a:lnTo>
                  <a:lnTo>
                    <a:pt x="307" y="17"/>
                  </a:lnTo>
                  <a:lnTo>
                    <a:pt x="313" y="17"/>
                  </a:lnTo>
                  <a:lnTo>
                    <a:pt x="315" y="15"/>
                  </a:lnTo>
                  <a:lnTo>
                    <a:pt x="315" y="13"/>
                  </a:lnTo>
                  <a:lnTo>
                    <a:pt x="317" y="13"/>
                  </a:lnTo>
                  <a:lnTo>
                    <a:pt x="318" y="11"/>
                  </a:lnTo>
                  <a:lnTo>
                    <a:pt x="320" y="9"/>
                  </a:lnTo>
                  <a:lnTo>
                    <a:pt x="322" y="9"/>
                  </a:lnTo>
                  <a:lnTo>
                    <a:pt x="322" y="7"/>
                  </a:lnTo>
                  <a:lnTo>
                    <a:pt x="324" y="7"/>
                  </a:lnTo>
                  <a:lnTo>
                    <a:pt x="326" y="5"/>
                  </a:lnTo>
                  <a:lnTo>
                    <a:pt x="328" y="5"/>
                  </a:lnTo>
                  <a:lnTo>
                    <a:pt x="328" y="4"/>
                  </a:lnTo>
                  <a:lnTo>
                    <a:pt x="330" y="2"/>
                  </a:lnTo>
                  <a:lnTo>
                    <a:pt x="33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20" name="Freeform 96"/>
            <p:cNvSpPr>
              <a:spLocks/>
            </p:cNvSpPr>
            <p:nvPr/>
          </p:nvSpPr>
          <p:spPr bwMode="auto">
            <a:xfrm>
              <a:off x="2058" y="1156"/>
              <a:ext cx="397" cy="368"/>
            </a:xfrm>
            <a:custGeom>
              <a:avLst/>
              <a:gdLst/>
              <a:ahLst/>
              <a:cxnLst>
                <a:cxn ang="0">
                  <a:pos x="340" y="19"/>
                </a:cxn>
                <a:cxn ang="0">
                  <a:pos x="349" y="40"/>
                </a:cxn>
                <a:cxn ang="0">
                  <a:pos x="355" y="55"/>
                </a:cxn>
                <a:cxn ang="0">
                  <a:pos x="361" y="69"/>
                </a:cxn>
                <a:cxn ang="0">
                  <a:pos x="359" y="80"/>
                </a:cxn>
                <a:cxn ang="0">
                  <a:pos x="355" y="92"/>
                </a:cxn>
                <a:cxn ang="0">
                  <a:pos x="351" y="111"/>
                </a:cxn>
                <a:cxn ang="0">
                  <a:pos x="347" y="130"/>
                </a:cxn>
                <a:cxn ang="0">
                  <a:pos x="343" y="144"/>
                </a:cxn>
                <a:cxn ang="0">
                  <a:pos x="326" y="136"/>
                </a:cxn>
                <a:cxn ang="0">
                  <a:pos x="315" y="119"/>
                </a:cxn>
                <a:cxn ang="0">
                  <a:pos x="307" y="105"/>
                </a:cxn>
                <a:cxn ang="0">
                  <a:pos x="295" y="98"/>
                </a:cxn>
                <a:cxn ang="0">
                  <a:pos x="280" y="84"/>
                </a:cxn>
                <a:cxn ang="0">
                  <a:pos x="270" y="84"/>
                </a:cxn>
                <a:cxn ang="0">
                  <a:pos x="272" y="98"/>
                </a:cxn>
                <a:cxn ang="0">
                  <a:pos x="282" y="109"/>
                </a:cxn>
                <a:cxn ang="0">
                  <a:pos x="293" y="122"/>
                </a:cxn>
                <a:cxn ang="0">
                  <a:pos x="305" y="138"/>
                </a:cxn>
                <a:cxn ang="0">
                  <a:pos x="313" y="157"/>
                </a:cxn>
                <a:cxn ang="0">
                  <a:pos x="320" y="172"/>
                </a:cxn>
                <a:cxn ang="0">
                  <a:pos x="330" y="197"/>
                </a:cxn>
                <a:cxn ang="0">
                  <a:pos x="340" y="215"/>
                </a:cxn>
                <a:cxn ang="0">
                  <a:pos x="357" y="236"/>
                </a:cxn>
                <a:cxn ang="0">
                  <a:pos x="374" y="263"/>
                </a:cxn>
                <a:cxn ang="0">
                  <a:pos x="384" y="289"/>
                </a:cxn>
                <a:cxn ang="0">
                  <a:pos x="393" y="307"/>
                </a:cxn>
                <a:cxn ang="0">
                  <a:pos x="395" y="320"/>
                </a:cxn>
                <a:cxn ang="0">
                  <a:pos x="384" y="337"/>
                </a:cxn>
                <a:cxn ang="0">
                  <a:pos x="374" y="351"/>
                </a:cxn>
                <a:cxn ang="0">
                  <a:pos x="359" y="359"/>
                </a:cxn>
                <a:cxn ang="0">
                  <a:pos x="343" y="368"/>
                </a:cxn>
                <a:cxn ang="0">
                  <a:pos x="328" y="364"/>
                </a:cxn>
                <a:cxn ang="0">
                  <a:pos x="317" y="359"/>
                </a:cxn>
                <a:cxn ang="0">
                  <a:pos x="301" y="359"/>
                </a:cxn>
                <a:cxn ang="0">
                  <a:pos x="284" y="359"/>
                </a:cxn>
                <a:cxn ang="0">
                  <a:pos x="265" y="359"/>
                </a:cxn>
                <a:cxn ang="0">
                  <a:pos x="246" y="359"/>
                </a:cxn>
                <a:cxn ang="0">
                  <a:pos x="224" y="359"/>
                </a:cxn>
                <a:cxn ang="0">
                  <a:pos x="203" y="359"/>
                </a:cxn>
                <a:cxn ang="0">
                  <a:pos x="188" y="364"/>
                </a:cxn>
                <a:cxn ang="0">
                  <a:pos x="171" y="366"/>
                </a:cxn>
                <a:cxn ang="0">
                  <a:pos x="152" y="364"/>
                </a:cxn>
                <a:cxn ang="0">
                  <a:pos x="44" y="364"/>
                </a:cxn>
                <a:cxn ang="0">
                  <a:pos x="34" y="366"/>
                </a:cxn>
                <a:cxn ang="0">
                  <a:pos x="23" y="368"/>
                </a:cxn>
                <a:cxn ang="0">
                  <a:pos x="21" y="343"/>
                </a:cxn>
                <a:cxn ang="0">
                  <a:pos x="23" y="226"/>
                </a:cxn>
                <a:cxn ang="0">
                  <a:pos x="15" y="169"/>
                </a:cxn>
                <a:cxn ang="0">
                  <a:pos x="21" y="138"/>
                </a:cxn>
                <a:cxn ang="0">
                  <a:pos x="10" y="92"/>
                </a:cxn>
                <a:cxn ang="0">
                  <a:pos x="0" y="71"/>
                </a:cxn>
                <a:cxn ang="0">
                  <a:pos x="10" y="46"/>
                </a:cxn>
                <a:cxn ang="0">
                  <a:pos x="11" y="13"/>
                </a:cxn>
                <a:cxn ang="0">
                  <a:pos x="77" y="11"/>
                </a:cxn>
                <a:cxn ang="0">
                  <a:pos x="117" y="21"/>
                </a:cxn>
                <a:cxn ang="0">
                  <a:pos x="182" y="28"/>
                </a:cxn>
                <a:cxn ang="0">
                  <a:pos x="201" y="11"/>
                </a:cxn>
                <a:cxn ang="0">
                  <a:pos x="224" y="11"/>
                </a:cxn>
                <a:cxn ang="0">
                  <a:pos x="259" y="7"/>
                </a:cxn>
                <a:cxn ang="0">
                  <a:pos x="276" y="11"/>
                </a:cxn>
                <a:cxn ang="0">
                  <a:pos x="313" y="17"/>
                </a:cxn>
                <a:cxn ang="0">
                  <a:pos x="324" y="7"/>
                </a:cxn>
              </a:cxnLst>
              <a:rect l="0" t="0" r="r" b="b"/>
              <a:pathLst>
                <a:path w="397" h="368">
                  <a:moveTo>
                    <a:pt x="330" y="0"/>
                  </a:moveTo>
                  <a:lnTo>
                    <a:pt x="332" y="4"/>
                  </a:lnTo>
                  <a:lnTo>
                    <a:pt x="334" y="7"/>
                  </a:lnTo>
                  <a:lnTo>
                    <a:pt x="336" y="11"/>
                  </a:lnTo>
                  <a:lnTo>
                    <a:pt x="336" y="13"/>
                  </a:lnTo>
                  <a:lnTo>
                    <a:pt x="338" y="13"/>
                  </a:lnTo>
                  <a:lnTo>
                    <a:pt x="338" y="17"/>
                  </a:lnTo>
                  <a:lnTo>
                    <a:pt x="340" y="19"/>
                  </a:lnTo>
                  <a:lnTo>
                    <a:pt x="340" y="23"/>
                  </a:lnTo>
                  <a:lnTo>
                    <a:pt x="343" y="23"/>
                  </a:lnTo>
                  <a:lnTo>
                    <a:pt x="343" y="27"/>
                  </a:lnTo>
                  <a:lnTo>
                    <a:pt x="343" y="28"/>
                  </a:lnTo>
                  <a:lnTo>
                    <a:pt x="345" y="30"/>
                  </a:lnTo>
                  <a:lnTo>
                    <a:pt x="345" y="34"/>
                  </a:lnTo>
                  <a:lnTo>
                    <a:pt x="347" y="36"/>
                  </a:lnTo>
                  <a:lnTo>
                    <a:pt x="349" y="40"/>
                  </a:lnTo>
                  <a:lnTo>
                    <a:pt x="351" y="44"/>
                  </a:lnTo>
                  <a:lnTo>
                    <a:pt x="351" y="44"/>
                  </a:lnTo>
                  <a:lnTo>
                    <a:pt x="351" y="46"/>
                  </a:lnTo>
                  <a:lnTo>
                    <a:pt x="351" y="50"/>
                  </a:lnTo>
                  <a:lnTo>
                    <a:pt x="353" y="50"/>
                  </a:lnTo>
                  <a:lnTo>
                    <a:pt x="353" y="51"/>
                  </a:lnTo>
                  <a:lnTo>
                    <a:pt x="353" y="53"/>
                  </a:lnTo>
                  <a:lnTo>
                    <a:pt x="355" y="55"/>
                  </a:lnTo>
                  <a:lnTo>
                    <a:pt x="355" y="57"/>
                  </a:lnTo>
                  <a:lnTo>
                    <a:pt x="355" y="59"/>
                  </a:lnTo>
                  <a:lnTo>
                    <a:pt x="357" y="61"/>
                  </a:lnTo>
                  <a:lnTo>
                    <a:pt x="357" y="63"/>
                  </a:lnTo>
                  <a:lnTo>
                    <a:pt x="357" y="65"/>
                  </a:lnTo>
                  <a:lnTo>
                    <a:pt x="359" y="67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3" y="69"/>
                  </a:lnTo>
                  <a:lnTo>
                    <a:pt x="364" y="69"/>
                  </a:lnTo>
                  <a:lnTo>
                    <a:pt x="364" y="73"/>
                  </a:lnTo>
                  <a:lnTo>
                    <a:pt x="363" y="73"/>
                  </a:lnTo>
                  <a:lnTo>
                    <a:pt x="361" y="75"/>
                  </a:lnTo>
                  <a:lnTo>
                    <a:pt x="361" y="76"/>
                  </a:lnTo>
                  <a:lnTo>
                    <a:pt x="361" y="78"/>
                  </a:lnTo>
                  <a:lnTo>
                    <a:pt x="359" y="80"/>
                  </a:lnTo>
                  <a:lnTo>
                    <a:pt x="359" y="80"/>
                  </a:lnTo>
                  <a:lnTo>
                    <a:pt x="357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6"/>
                  </a:lnTo>
                  <a:lnTo>
                    <a:pt x="355" y="90"/>
                  </a:lnTo>
                  <a:lnTo>
                    <a:pt x="355" y="90"/>
                  </a:lnTo>
                  <a:lnTo>
                    <a:pt x="355" y="92"/>
                  </a:lnTo>
                  <a:lnTo>
                    <a:pt x="355" y="96"/>
                  </a:lnTo>
                  <a:lnTo>
                    <a:pt x="355" y="98"/>
                  </a:lnTo>
                  <a:lnTo>
                    <a:pt x="355" y="99"/>
                  </a:lnTo>
                  <a:lnTo>
                    <a:pt x="355" y="101"/>
                  </a:lnTo>
                  <a:lnTo>
                    <a:pt x="355" y="103"/>
                  </a:lnTo>
                  <a:lnTo>
                    <a:pt x="353" y="105"/>
                  </a:lnTo>
                  <a:lnTo>
                    <a:pt x="353" y="107"/>
                  </a:lnTo>
                  <a:lnTo>
                    <a:pt x="351" y="111"/>
                  </a:lnTo>
                  <a:lnTo>
                    <a:pt x="351" y="113"/>
                  </a:lnTo>
                  <a:lnTo>
                    <a:pt x="351" y="115"/>
                  </a:lnTo>
                  <a:lnTo>
                    <a:pt x="351" y="117"/>
                  </a:lnTo>
                  <a:lnTo>
                    <a:pt x="349" y="119"/>
                  </a:lnTo>
                  <a:lnTo>
                    <a:pt x="349" y="122"/>
                  </a:lnTo>
                  <a:lnTo>
                    <a:pt x="349" y="122"/>
                  </a:lnTo>
                  <a:lnTo>
                    <a:pt x="347" y="124"/>
                  </a:lnTo>
                  <a:lnTo>
                    <a:pt x="347" y="130"/>
                  </a:lnTo>
                  <a:lnTo>
                    <a:pt x="345" y="130"/>
                  </a:lnTo>
                  <a:lnTo>
                    <a:pt x="345" y="134"/>
                  </a:lnTo>
                  <a:lnTo>
                    <a:pt x="345" y="136"/>
                  </a:lnTo>
                  <a:lnTo>
                    <a:pt x="345" y="136"/>
                  </a:lnTo>
                  <a:lnTo>
                    <a:pt x="345" y="140"/>
                  </a:lnTo>
                  <a:lnTo>
                    <a:pt x="345" y="142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0" y="144"/>
                  </a:lnTo>
                  <a:lnTo>
                    <a:pt x="338" y="146"/>
                  </a:lnTo>
                  <a:lnTo>
                    <a:pt x="336" y="146"/>
                  </a:lnTo>
                  <a:lnTo>
                    <a:pt x="334" y="146"/>
                  </a:lnTo>
                  <a:lnTo>
                    <a:pt x="330" y="144"/>
                  </a:lnTo>
                  <a:lnTo>
                    <a:pt x="330" y="142"/>
                  </a:lnTo>
                  <a:lnTo>
                    <a:pt x="328" y="140"/>
                  </a:lnTo>
                  <a:lnTo>
                    <a:pt x="326" y="136"/>
                  </a:lnTo>
                  <a:lnTo>
                    <a:pt x="324" y="134"/>
                  </a:lnTo>
                  <a:lnTo>
                    <a:pt x="324" y="130"/>
                  </a:lnTo>
                  <a:lnTo>
                    <a:pt x="320" y="128"/>
                  </a:lnTo>
                  <a:lnTo>
                    <a:pt x="320" y="126"/>
                  </a:lnTo>
                  <a:lnTo>
                    <a:pt x="318" y="124"/>
                  </a:lnTo>
                  <a:lnTo>
                    <a:pt x="317" y="122"/>
                  </a:lnTo>
                  <a:lnTo>
                    <a:pt x="315" y="121"/>
                  </a:lnTo>
                  <a:lnTo>
                    <a:pt x="315" y="119"/>
                  </a:lnTo>
                  <a:lnTo>
                    <a:pt x="313" y="117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1" y="111"/>
                  </a:lnTo>
                  <a:lnTo>
                    <a:pt x="309" y="111"/>
                  </a:lnTo>
                  <a:lnTo>
                    <a:pt x="307" y="111"/>
                  </a:lnTo>
                  <a:lnTo>
                    <a:pt x="307" y="107"/>
                  </a:lnTo>
                  <a:lnTo>
                    <a:pt x="307" y="105"/>
                  </a:lnTo>
                  <a:lnTo>
                    <a:pt x="305" y="105"/>
                  </a:lnTo>
                  <a:lnTo>
                    <a:pt x="305" y="103"/>
                  </a:lnTo>
                  <a:lnTo>
                    <a:pt x="303" y="101"/>
                  </a:lnTo>
                  <a:lnTo>
                    <a:pt x="301" y="101"/>
                  </a:lnTo>
                  <a:lnTo>
                    <a:pt x="299" y="101"/>
                  </a:lnTo>
                  <a:lnTo>
                    <a:pt x="299" y="101"/>
                  </a:lnTo>
                  <a:lnTo>
                    <a:pt x="295" y="99"/>
                  </a:lnTo>
                  <a:lnTo>
                    <a:pt x="295" y="98"/>
                  </a:lnTo>
                  <a:lnTo>
                    <a:pt x="293" y="96"/>
                  </a:lnTo>
                  <a:lnTo>
                    <a:pt x="293" y="96"/>
                  </a:lnTo>
                  <a:lnTo>
                    <a:pt x="290" y="94"/>
                  </a:lnTo>
                  <a:lnTo>
                    <a:pt x="288" y="92"/>
                  </a:lnTo>
                  <a:lnTo>
                    <a:pt x="286" y="90"/>
                  </a:lnTo>
                  <a:lnTo>
                    <a:pt x="284" y="88"/>
                  </a:lnTo>
                  <a:lnTo>
                    <a:pt x="282" y="86"/>
                  </a:lnTo>
                  <a:lnTo>
                    <a:pt x="280" y="84"/>
                  </a:lnTo>
                  <a:lnTo>
                    <a:pt x="278" y="82"/>
                  </a:lnTo>
                  <a:lnTo>
                    <a:pt x="276" y="82"/>
                  </a:lnTo>
                  <a:lnTo>
                    <a:pt x="276" y="82"/>
                  </a:lnTo>
                  <a:lnTo>
                    <a:pt x="274" y="80"/>
                  </a:lnTo>
                  <a:lnTo>
                    <a:pt x="272" y="80"/>
                  </a:lnTo>
                  <a:lnTo>
                    <a:pt x="272" y="78"/>
                  </a:lnTo>
                  <a:lnTo>
                    <a:pt x="270" y="80"/>
                  </a:lnTo>
                  <a:lnTo>
                    <a:pt x="270" y="84"/>
                  </a:lnTo>
                  <a:lnTo>
                    <a:pt x="269" y="84"/>
                  </a:lnTo>
                  <a:lnTo>
                    <a:pt x="269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4"/>
                  </a:lnTo>
                  <a:lnTo>
                    <a:pt x="269" y="96"/>
                  </a:lnTo>
                  <a:lnTo>
                    <a:pt x="272" y="98"/>
                  </a:lnTo>
                  <a:lnTo>
                    <a:pt x="272" y="99"/>
                  </a:lnTo>
                  <a:lnTo>
                    <a:pt x="274" y="101"/>
                  </a:lnTo>
                  <a:lnTo>
                    <a:pt x="274" y="101"/>
                  </a:lnTo>
                  <a:lnTo>
                    <a:pt x="276" y="101"/>
                  </a:lnTo>
                  <a:lnTo>
                    <a:pt x="278" y="105"/>
                  </a:lnTo>
                  <a:lnTo>
                    <a:pt x="278" y="107"/>
                  </a:lnTo>
                  <a:lnTo>
                    <a:pt x="280" y="107"/>
                  </a:lnTo>
                  <a:lnTo>
                    <a:pt x="282" y="109"/>
                  </a:lnTo>
                  <a:lnTo>
                    <a:pt x="284" y="109"/>
                  </a:lnTo>
                  <a:lnTo>
                    <a:pt x="286" y="111"/>
                  </a:lnTo>
                  <a:lnTo>
                    <a:pt x="288" y="111"/>
                  </a:lnTo>
                  <a:lnTo>
                    <a:pt x="290" y="113"/>
                  </a:lnTo>
                  <a:lnTo>
                    <a:pt x="292" y="115"/>
                  </a:lnTo>
                  <a:lnTo>
                    <a:pt x="292" y="117"/>
                  </a:lnTo>
                  <a:lnTo>
                    <a:pt x="293" y="119"/>
                  </a:lnTo>
                  <a:lnTo>
                    <a:pt x="293" y="122"/>
                  </a:lnTo>
                  <a:lnTo>
                    <a:pt x="295" y="122"/>
                  </a:lnTo>
                  <a:lnTo>
                    <a:pt x="295" y="124"/>
                  </a:lnTo>
                  <a:lnTo>
                    <a:pt x="297" y="126"/>
                  </a:lnTo>
                  <a:lnTo>
                    <a:pt x="299" y="128"/>
                  </a:lnTo>
                  <a:lnTo>
                    <a:pt x="301" y="130"/>
                  </a:lnTo>
                  <a:lnTo>
                    <a:pt x="301" y="134"/>
                  </a:lnTo>
                  <a:lnTo>
                    <a:pt x="303" y="136"/>
                  </a:lnTo>
                  <a:lnTo>
                    <a:pt x="305" y="138"/>
                  </a:lnTo>
                  <a:lnTo>
                    <a:pt x="305" y="140"/>
                  </a:lnTo>
                  <a:lnTo>
                    <a:pt x="307" y="142"/>
                  </a:lnTo>
                  <a:lnTo>
                    <a:pt x="307" y="146"/>
                  </a:lnTo>
                  <a:lnTo>
                    <a:pt x="309" y="147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1" y="155"/>
                  </a:lnTo>
                  <a:lnTo>
                    <a:pt x="313" y="157"/>
                  </a:lnTo>
                  <a:lnTo>
                    <a:pt x="315" y="157"/>
                  </a:lnTo>
                  <a:lnTo>
                    <a:pt x="315" y="161"/>
                  </a:lnTo>
                  <a:lnTo>
                    <a:pt x="317" y="163"/>
                  </a:lnTo>
                  <a:lnTo>
                    <a:pt x="317" y="163"/>
                  </a:lnTo>
                  <a:lnTo>
                    <a:pt x="317" y="167"/>
                  </a:lnTo>
                  <a:lnTo>
                    <a:pt x="318" y="169"/>
                  </a:lnTo>
                  <a:lnTo>
                    <a:pt x="320" y="170"/>
                  </a:lnTo>
                  <a:lnTo>
                    <a:pt x="320" y="172"/>
                  </a:lnTo>
                  <a:lnTo>
                    <a:pt x="324" y="178"/>
                  </a:lnTo>
                  <a:lnTo>
                    <a:pt x="324" y="180"/>
                  </a:lnTo>
                  <a:lnTo>
                    <a:pt x="324" y="182"/>
                  </a:lnTo>
                  <a:lnTo>
                    <a:pt x="326" y="184"/>
                  </a:lnTo>
                  <a:lnTo>
                    <a:pt x="326" y="186"/>
                  </a:lnTo>
                  <a:lnTo>
                    <a:pt x="326" y="190"/>
                  </a:lnTo>
                  <a:lnTo>
                    <a:pt x="328" y="192"/>
                  </a:lnTo>
                  <a:lnTo>
                    <a:pt x="330" y="197"/>
                  </a:lnTo>
                  <a:lnTo>
                    <a:pt x="330" y="199"/>
                  </a:lnTo>
                  <a:lnTo>
                    <a:pt x="330" y="203"/>
                  </a:lnTo>
                  <a:lnTo>
                    <a:pt x="332" y="205"/>
                  </a:lnTo>
                  <a:lnTo>
                    <a:pt x="334" y="209"/>
                  </a:lnTo>
                  <a:lnTo>
                    <a:pt x="334" y="211"/>
                  </a:lnTo>
                  <a:lnTo>
                    <a:pt x="336" y="213"/>
                  </a:lnTo>
                  <a:lnTo>
                    <a:pt x="338" y="215"/>
                  </a:lnTo>
                  <a:lnTo>
                    <a:pt x="340" y="215"/>
                  </a:lnTo>
                  <a:lnTo>
                    <a:pt x="343" y="220"/>
                  </a:lnTo>
                  <a:lnTo>
                    <a:pt x="345" y="222"/>
                  </a:lnTo>
                  <a:lnTo>
                    <a:pt x="349" y="224"/>
                  </a:lnTo>
                  <a:lnTo>
                    <a:pt x="349" y="226"/>
                  </a:lnTo>
                  <a:lnTo>
                    <a:pt x="351" y="228"/>
                  </a:lnTo>
                  <a:lnTo>
                    <a:pt x="355" y="230"/>
                  </a:lnTo>
                  <a:lnTo>
                    <a:pt x="355" y="234"/>
                  </a:lnTo>
                  <a:lnTo>
                    <a:pt x="357" y="236"/>
                  </a:lnTo>
                  <a:lnTo>
                    <a:pt x="357" y="238"/>
                  </a:lnTo>
                  <a:lnTo>
                    <a:pt x="361" y="241"/>
                  </a:lnTo>
                  <a:lnTo>
                    <a:pt x="363" y="243"/>
                  </a:lnTo>
                  <a:lnTo>
                    <a:pt x="363" y="247"/>
                  </a:lnTo>
                  <a:lnTo>
                    <a:pt x="366" y="253"/>
                  </a:lnTo>
                  <a:lnTo>
                    <a:pt x="368" y="257"/>
                  </a:lnTo>
                  <a:lnTo>
                    <a:pt x="370" y="259"/>
                  </a:lnTo>
                  <a:lnTo>
                    <a:pt x="374" y="263"/>
                  </a:lnTo>
                  <a:lnTo>
                    <a:pt x="374" y="264"/>
                  </a:lnTo>
                  <a:lnTo>
                    <a:pt x="374" y="268"/>
                  </a:lnTo>
                  <a:lnTo>
                    <a:pt x="376" y="270"/>
                  </a:lnTo>
                  <a:lnTo>
                    <a:pt x="380" y="272"/>
                  </a:lnTo>
                  <a:lnTo>
                    <a:pt x="380" y="276"/>
                  </a:lnTo>
                  <a:lnTo>
                    <a:pt x="382" y="282"/>
                  </a:lnTo>
                  <a:lnTo>
                    <a:pt x="384" y="286"/>
                  </a:lnTo>
                  <a:lnTo>
                    <a:pt x="384" y="289"/>
                  </a:lnTo>
                  <a:lnTo>
                    <a:pt x="386" y="291"/>
                  </a:lnTo>
                  <a:lnTo>
                    <a:pt x="386" y="293"/>
                  </a:lnTo>
                  <a:lnTo>
                    <a:pt x="386" y="295"/>
                  </a:lnTo>
                  <a:lnTo>
                    <a:pt x="388" y="297"/>
                  </a:lnTo>
                  <a:lnTo>
                    <a:pt x="389" y="297"/>
                  </a:lnTo>
                  <a:lnTo>
                    <a:pt x="389" y="301"/>
                  </a:lnTo>
                  <a:lnTo>
                    <a:pt x="389" y="303"/>
                  </a:lnTo>
                  <a:lnTo>
                    <a:pt x="393" y="307"/>
                  </a:lnTo>
                  <a:lnTo>
                    <a:pt x="395" y="309"/>
                  </a:lnTo>
                  <a:lnTo>
                    <a:pt x="395" y="311"/>
                  </a:lnTo>
                  <a:lnTo>
                    <a:pt x="395" y="314"/>
                  </a:lnTo>
                  <a:lnTo>
                    <a:pt x="397" y="314"/>
                  </a:lnTo>
                  <a:lnTo>
                    <a:pt x="397" y="318"/>
                  </a:lnTo>
                  <a:lnTo>
                    <a:pt x="397" y="318"/>
                  </a:lnTo>
                  <a:lnTo>
                    <a:pt x="397" y="320"/>
                  </a:lnTo>
                  <a:lnTo>
                    <a:pt x="395" y="320"/>
                  </a:lnTo>
                  <a:lnTo>
                    <a:pt x="393" y="322"/>
                  </a:lnTo>
                  <a:lnTo>
                    <a:pt x="391" y="324"/>
                  </a:lnTo>
                  <a:lnTo>
                    <a:pt x="391" y="328"/>
                  </a:lnTo>
                  <a:lnTo>
                    <a:pt x="391" y="330"/>
                  </a:lnTo>
                  <a:lnTo>
                    <a:pt x="389" y="332"/>
                  </a:lnTo>
                  <a:lnTo>
                    <a:pt x="388" y="334"/>
                  </a:lnTo>
                  <a:lnTo>
                    <a:pt x="386" y="337"/>
                  </a:lnTo>
                  <a:lnTo>
                    <a:pt x="384" y="337"/>
                  </a:lnTo>
                  <a:lnTo>
                    <a:pt x="384" y="341"/>
                  </a:lnTo>
                  <a:lnTo>
                    <a:pt x="380" y="343"/>
                  </a:lnTo>
                  <a:lnTo>
                    <a:pt x="380" y="345"/>
                  </a:lnTo>
                  <a:lnTo>
                    <a:pt x="380" y="347"/>
                  </a:lnTo>
                  <a:lnTo>
                    <a:pt x="378" y="347"/>
                  </a:lnTo>
                  <a:lnTo>
                    <a:pt x="376" y="349"/>
                  </a:lnTo>
                  <a:lnTo>
                    <a:pt x="374" y="351"/>
                  </a:lnTo>
                  <a:lnTo>
                    <a:pt x="374" y="351"/>
                  </a:lnTo>
                  <a:lnTo>
                    <a:pt x="372" y="353"/>
                  </a:lnTo>
                  <a:lnTo>
                    <a:pt x="370" y="355"/>
                  </a:lnTo>
                  <a:lnTo>
                    <a:pt x="368" y="357"/>
                  </a:lnTo>
                  <a:lnTo>
                    <a:pt x="366" y="357"/>
                  </a:lnTo>
                  <a:lnTo>
                    <a:pt x="364" y="359"/>
                  </a:lnTo>
                  <a:lnTo>
                    <a:pt x="363" y="359"/>
                  </a:lnTo>
                  <a:lnTo>
                    <a:pt x="361" y="359"/>
                  </a:lnTo>
                  <a:lnTo>
                    <a:pt x="359" y="359"/>
                  </a:lnTo>
                  <a:lnTo>
                    <a:pt x="357" y="360"/>
                  </a:lnTo>
                  <a:lnTo>
                    <a:pt x="355" y="360"/>
                  </a:lnTo>
                  <a:lnTo>
                    <a:pt x="355" y="362"/>
                  </a:lnTo>
                  <a:lnTo>
                    <a:pt x="351" y="364"/>
                  </a:lnTo>
                  <a:lnTo>
                    <a:pt x="349" y="364"/>
                  </a:lnTo>
                  <a:lnTo>
                    <a:pt x="349" y="366"/>
                  </a:lnTo>
                  <a:lnTo>
                    <a:pt x="345" y="366"/>
                  </a:lnTo>
                  <a:lnTo>
                    <a:pt x="343" y="368"/>
                  </a:lnTo>
                  <a:lnTo>
                    <a:pt x="341" y="368"/>
                  </a:lnTo>
                  <a:lnTo>
                    <a:pt x="340" y="368"/>
                  </a:lnTo>
                  <a:lnTo>
                    <a:pt x="338" y="366"/>
                  </a:lnTo>
                  <a:lnTo>
                    <a:pt x="336" y="366"/>
                  </a:lnTo>
                  <a:lnTo>
                    <a:pt x="334" y="366"/>
                  </a:lnTo>
                  <a:lnTo>
                    <a:pt x="332" y="366"/>
                  </a:lnTo>
                  <a:lnTo>
                    <a:pt x="330" y="366"/>
                  </a:lnTo>
                  <a:lnTo>
                    <a:pt x="328" y="364"/>
                  </a:lnTo>
                  <a:lnTo>
                    <a:pt x="328" y="364"/>
                  </a:lnTo>
                  <a:lnTo>
                    <a:pt x="328" y="362"/>
                  </a:lnTo>
                  <a:lnTo>
                    <a:pt x="326" y="360"/>
                  </a:lnTo>
                  <a:lnTo>
                    <a:pt x="324" y="359"/>
                  </a:lnTo>
                  <a:lnTo>
                    <a:pt x="324" y="359"/>
                  </a:lnTo>
                  <a:lnTo>
                    <a:pt x="322" y="359"/>
                  </a:lnTo>
                  <a:lnTo>
                    <a:pt x="320" y="359"/>
                  </a:lnTo>
                  <a:lnTo>
                    <a:pt x="317" y="359"/>
                  </a:lnTo>
                  <a:lnTo>
                    <a:pt x="315" y="359"/>
                  </a:lnTo>
                  <a:lnTo>
                    <a:pt x="313" y="359"/>
                  </a:lnTo>
                  <a:lnTo>
                    <a:pt x="311" y="359"/>
                  </a:lnTo>
                  <a:lnTo>
                    <a:pt x="309" y="359"/>
                  </a:lnTo>
                  <a:lnTo>
                    <a:pt x="307" y="357"/>
                  </a:lnTo>
                  <a:lnTo>
                    <a:pt x="305" y="357"/>
                  </a:lnTo>
                  <a:lnTo>
                    <a:pt x="303" y="359"/>
                  </a:lnTo>
                  <a:lnTo>
                    <a:pt x="301" y="359"/>
                  </a:lnTo>
                  <a:lnTo>
                    <a:pt x="299" y="359"/>
                  </a:lnTo>
                  <a:lnTo>
                    <a:pt x="297" y="359"/>
                  </a:lnTo>
                  <a:lnTo>
                    <a:pt x="295" y="360"/>
                  </a:lnTo>
                  <a:lnTo>
                    <a:pt x="293" y="360"/>
                  </a:lnTo>
                  <a:lnTo>
                    <a:pt x="290" y="360"/>
                  </a:lnTo>
                  <a:lnTo>
                    <a:pt x="288" y="360"/>
                  </a:lnTo>
                  <a:lnTo>
                    <a:pt x="288" y="359"/>
                  </a:lnTo>
                  <a:lnTo>
                    <a:pt x="284" y="359"/>
                  </a:lnTo>
                  <a:lnTo>
                    <a:pt x="282" y="359"/>
                  </a:lnTo>
                  <a:lnTo>
                    <a:pt x="280" y="359"/>
                  </a:lnTo>
                  <a:lnTo>
                    <a:pt x="278" y="359"/>
                  </a:lnTo>
                  <a:lnTo>
                    <a:pt x="274" y="359"/>
                  </a:lnTo>
                  <a:lnTo>
                    <a:pt x="272" y="359"/>
                  </a:lnTo>
                  <a:lnTo>
                    <a:pt x="269" y="359"/>
                  </a:lnTo>
                  <a:lnTo>
                    <a:pt x="267" y="359"/>
                  </a:lnTo>
                  <a:lnTo>
                    <a:pt x="265" y="359"/>
                  </a:lnTo>
                  <a:lnTo>
                    <a:pt x="263" y="359"/>
                  </a:lnTo>
                  <a:lnTo>
                    <a:pt x="261" y="359"/>
                  </a:lnTo>
                  <a:lnTo>
                    <a:pt x="257" y="359"/>
                  </a:lnTo>
                  <a:lnTo>
                    <a:pt x="255" y="359"/>
                  </a:lnTo>
                  <a:lnTo>
                    <a:pt x="253" y="359"/>
                  </a:lnTo>
                  <a:lnTo>
                    <a:pt x="251" y="359"/>
                  </a:lnTo>
                  <a:lnTo>
                    <a:pt x="249" y="359"/>
                  </a:lnTo>
                  <a:lnTo>
                    <a:pt x="246" y="359"/>
                  </a:lnTo>
                  <a:lnTo>
                    <a:pt x="244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6" y="359"/>
                  </a:lnTo>
                  <a:lnTo>
                    <a:pt x="234" y="359"/>
                  </a:lnTo>
                  <a:lnTo>
                    <a:pt x="232" y="359"/>
                  </a:lnTo>
                  <a:lnTo>
                    <a:pt x="228" y="359"/>
                  </a:lnTo>
                  <a:lnTo>
                    <a:pt x="224" y="359"/>
                  </a:lnTo>
                  <a:lnTo>
                    <a:pt x="222" y="359"/>
                  </a:lnTo>
                  <a:lnTo>
                    <a:pt x="219" y="359"/>
                  </a:lnTo>
                  <a:lnTo>
                    <a:pt x="217" y="359"/>
                  </a:lnTo>
                  <a:lnTo>
                    <a:pt x="213" y="359"/>
                  </a:lnTo>
                  <a:lnTo>
                    <a:pt x="211" y="359"/>
                  </a:lnTo>
                  <a:lnTo>
                    <a:pt x="207" y="359"/>
                  </a:lnTo>
                  <a:lnTo>
                    <a:pt x="205" y="359"/>
                  </a:lnTo>
                  <a:lnTo>
                    <a:pt x="203" y="359"/>
                  </a:lnTo>
                  <a:lnTo>
                    <a:pt x="201" y="359"/>
                  </a:lnTo>
                  <a:lnTo>
                    <a:pt x="201" y="360"/>
                  </a:lnTo>
                  <a:lnTo>
                    <a:pt x="201" y="362"/>
                  </a:lnTo>
                  <a:lnTo>
                    <a:pt x="199" y="364"/>
                  </a:lnTo>
                  <a:lnTo>
                    <a:pt x="198" y="364"/>
                  </a:lnTo>
                  <a:lnTo>
                    <a:pt x="194" y="364"/>
                  </a:lnTo>
                  <a:lnTo>
                    <a:pt x="190" y="364"/>
                  </a:lnTo>
                  <a:lnTo>
                    <a:pt x="188" y="364"/>
                  </a:lnTo>
                  <a:lnTo>
                    <a:pt x="184" y="364"/>
                  </a:lnTo>
                  <a:lnTo>
                    <a:pt x="182" y="364"/>
                  </a:lnTo>
                  <a:lnTo>
                    <a:pt x="180" y="364"/>
                  </a:lnTo>
                  <a:lnTo>
                    <a:pt x="178" y="364"/>
                  </a:lnTo>
                  <a:lnTo>
                    <a:pt x="176" y="364"/>
                  </a:lnTo>
                  <a:lnTo>
                    <a:pt x="176" y="364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69" y="366"/>
                  </a:lnTo>
                  <a:lnTo>
                    <a:pt x="167" y="366"/>
                  </a:lnTo>
                  <a:lnTo>
                    <a:pt x="163" y="364"/>
                  </a:lnTo>
                  <a:lnTo>
                    <a:pt x="161" y="364"/>
                  </a:lnTo>
                  <a:lnTo>
                    <a:pt x="159" y="364"/>
                  </a:lnTo>
                  <a:lnTo>
                    <a:pt x="157" y="364"/>
                  </a:lnTo>
                  <a:lnTo>
                    <a:pt x="155" y="364"/>
                  </a:lnTo>
                  <a:lnTo>
                    <a:pt x="152" y="364"/>
                  </a:lnTo>
                  <a:lnTo>
                    <a:pt x="150" y="364"/>
                  </a:lnTo>
                  <a:lnTo>
                    <a:pt x="148" y="364"/>
                  </a:lnTo>
                  <a:lnTo>
                    <a:pt x="146" y="366"/>
                  </a:lnTo>
                  <a:lnTo>
                    <a:pt x="50" y="364"/>
                  </a:lnTo>
                  <a:lnTo>
                    <a:pt x="46" y="364"/>
                  </a:lnTo>
                  <a:lnTo>
                    <a:pt x="46" y="364"/>
                  </a:lnTo>
                  <a:lnTo>
                    <a:pt x="44" y="364"/>
                  </a:lnTo>
                  <a:lnTo>
                    <a:pt x="44" y="364"/>
                  </a:lnTo>
                  <a:lnTo>
                    <a:pt x="42" y="364"/>
                  </a:lnTo>
                  <a:lnTo>
                    <a:pt x="42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38" y="364"/>
                  </a:lnTo>
                  <a:lnTo>
                    <a:pt x="34" y="364"/>
                  </a:lnTo>
                  <a:lnTo>
                    <a:pt x="34" y="366"/>
                  </a:lnTo>
                  <a:lnTo>
                    <a:pt x="33" y="366"/>
                  </a:lnTo>
                  <a:lnTo>
                    <a:pt x="31" y="366"/>
                  </a:lnTo>
                  <a:lnTo>
                    <a:pt x="29" y="366"/>
                  </a:lnTo>
                  <a:lnTo>
                    <a:pt x="27" y="366"/>
                  </a:lnTo>
                  <a:lnTo>
                    <a:pt x="27" y="368"/>
                  </a:lnTo>
                  <a:lnTo>
                    <a:pt x="25" y="368"/>
                  </a:lnTo>
                  <a:lnTo>
                    <a:pt x="25" y="368"/>
                  </a:lnTo>
                  <a:lnTo>
                    <a:pt x="23" y="368"/>
                  </a:lnTo>
                  <a:lnTo>
                    <a:pt x="23" y="368"/>
                  </a:lnTo>
                  <a:lnTo>
                    <a:pt x="21" y="368"/>
                  </a:lnTo>
                  <a:lnTo>
                    <a:pt x="17" y="368"/>
                  </a:lnTo>
                  <a:lnTo>
                    <a:pt x="19" y="366"/>
                  </a:lnTo>
                  <a:lnTo>
                    <a:pt x="19" y="362"/>
                  </a:lnTo>
                  <a:lnTo>
                    <a:pt x="21" y="360"/>
                  </a:lnTo>
                  <a:lnTo>
                    <a:pt x="21" y="353"/>
                  </a:lnTo>
                  <a:lnTo>
                    <a:pt x="21" y="343"/>
                  </a:lnTo>
                  <a:lnTo>
                    <a:pt x="21" y="337"/>
                  </a:lnTo>
                  <a:lnTo>
                    <a:pt x="21" y="332"/>
                  </a:lnTo>
                  <a:lnTo>
                    <a:pt x="19" y="324"/>
                  </a:lnTo>
                  <a:lnTo>
                    <a:pt x="17" y="318"/>
                  </a:lnTo>
                  <a:lnTo>
                    <a:pt x="17" y="293"/>
                  </a:lnTo>
                  <a:lnTo>
                    <a:pt x="19" y="270"/>
                  </a:lnTo>
                  <a:lnTo>
                    <a:pt x="21" y="247"/>
                  </a:lnTo>
                  <a:lnTo>
                    <a:pt x="23" y="226"/>
                  </a:lnTo>
                  <a:lnTo>
                    <a:pt x="21" y="224"/>
                  </a:lnTo>
                  <a:lnTo>
                    <a:pt x="21" y="220"/>
                  </a:lnTo>
                  <a:lnTo>
                    <a:pt x="21" y="215"/>
                  </a:lnTo>
                  <a:lnTo>
                    <a:pt x="21" y="209"/>
                  </a:lnTo>
                  <a:lnTo>
                    <a:pt x="19" y="201"/>
                  </a:lnTo>
                  <a:lnTo>
                    <a:pt x="17" y="195"/>
                  </a:lnTo>
                  <a:lnTo>
                    <a:pt x="17" y="188"/>
                  </a:lnTo>
                  <a:lnTo>
                    <a:pt x="15" y="169"/>
                  </a:lnTo>
                  <a:lnTo>
                    <a:pt x="15" y="151"/>
                  </a:lnTo>
                  <a:lnTo>
                    <a:pt x="17" y="149"/>
                  </a:lnTo>
                  <a:lnTo>
                    <a:pt x="19" y="147"/>
                  </a:lnTo>
                  <a:lnTo>
                    <a:pt x="21" y="146"/>
                  </a:lnTo>
                  <a:lnTo>
                    <a:pt x="23" y="146"/>
                  </a:lnTo>
                  <a:lnTo>
                    <a:pt x="23" y="142"/>
                  </a:lnTo>
                  <a:lnTo>
                    <a:pt x="23" y="140"/>
                  </a:lnTo>
                  <a:lnTo>
                    <a:pt x="21" y="138"/>
                  </a:lnTo>
                  <a:lnTo>
                    <a:pt x="21" y="136"/>
                  </a:lnTo>
                  <a:lnTo>
                    <a:pt x="19" y="122"/>
                  </a:lnTo>
                  <a:lnTo>
                    <a:pt x="17" y="111"/>
                  </a:lnTo>
                  <a:lnTo>
                    <a:pt x="15" y="103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4" y="84"/>
                  </a:lnTo>
                  <a:lnTo>
                    <a:pt x="4" y="78"/>
                  </a:lnTo>
                  <a:lnTo>
                    <a:pt x="2" y="76"/>
                  </a:lnTo>
                  <a:lnTo>
                    <a:pt x="2" y="75"/>
                  </a:lnTo>
                  <a:lnTo>
                    <a:pt x="0" y="71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4" y="63"/>
                  </a:lnTo>
                  <a:lnTo>
                    <a:pt x="6" y="59"/>
                  </a:lnTo>
                  <a:lnTo>
                    <a:pt x="8" y="59"/>
                  </a:lnTo>
                  <a:lnTo>
                    <a:pt x="10" y="57"/>
                  </a:lnTo>
                  <a:lnTo>
                    <a:pt x="10" y="51"/>
                  </a:lnTo>
                  <a:lnTo>
                    <a:pt x="10" y="46"/>
                  </a:lnTo>
                  <a:lnTo>
                    <a:pt x="8" y="30"/>
                  </a:lnTo>
                  <a:lnTo>
                    <a:pt x="6" y="27"/>
                  </a:lnTo>
                  <a:lnTo>
                    <a:pt x="6" y="19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3" y="11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29" y="7"/>
                  </a:lnTo>
                  <a:lnTo>
                    <a:pt x="44" y="7"/>
                  </a:lnTo>
                  <a:lnTo>
                    <a:pt x="59" y="9"/>
                  </a:lnTo>
                  <a:lnTo>
                    <a:pt x="73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88" y="13"/>
                  </a:lnTo>
                  <a:lnTo>
                    <a:pt x="96" y="17"/>
                  </a:lnTo>
                  <a:lnTo>
                    <a:pt x="10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7" y="21"/>
                  </a:lnTo>
                  <a:lnTo>
                    <a:pt x="123" y="25"/>
                  </a:lnTo>
                  <a:lnTo>
                    <a:pt x="130" y="30"/>
                  </a:lnTo>
                  <a:lnTo>
                    <a:pt x="138" y="30"/>
                  </a:lnTo>
                  <a:lnTo>
                    <a:pt x="146" y="30"/>
                  </a:lnTo>
                  <a:lnTo>
                    <a:pt x="152" y="30"/>
                  </a:lnTo>
                  <a:lnTo>
                    <a:pt x="159" y="30"/>
                  </a:lnTo>
                  <a:lnTo>
                    <a:pt x="171" y="30"/>
                  </a:lnTo>
                  <a:lnTo>
                    <a:pt x="182" y="28"/>
                  </a:lnTo>
                  <a:lnTo>
                    <a:pt x="182" y="25"/>
                  </a:lnTo>
                  <a:lnTo>
                    <a:pt x="184" y="21"/>
                  </a:lnTo>
                  <a:lnTo>
                    <a:pt x="184" y="19"/>
                  </a:lnTo>
                  <a:lnTo>
                    <a:pt x="188" y="17"/>
                  </a:lnTo>
                  <a:lnTo>
                    <a:pt x="192" y="13"/>
                  </a:lnTo>
                  <a:lnTo>
                    <a:pt x="194" y="13"/>
                  </a:lnTo>
                  <a:lnTo>
                    <a:pt x="196" y="11"/>
                  </a:lnTo>
                  <a:lnTo>
                    <a:pt x="201" y="11"/>
                  </a:lnTo>
                  <a:lnTo>
                    <a:pt x="203" y="13"/>
                  </a:lnTo>
                  <a:lnTo>
                    <a:pt x="207" y="13"/>
                  </a:lnTo>
                  <a:lnTo>
                    <a:pt x="209" y="13"/>
                  </a:lnTo>
                  <a:lnTo>
                    <a:pt x="213" y="13"/>
                  </a:lnTo>
                  <a:lnTo>
                    <a:pt x="217" y="15"/>
                  </a:lnTo>
                  <a:lnTo>
                    <a:pt x="222" y="13"/>
                  </a:lnTo>
                  <a:lnTo>
                    <a:pt x="222" y="13"/>
                  </a:lnTo>
                  <a:lnTo>
                    <a:pt x="224" y="11"/>
                  </a:lnTo>
                  <a:lnTo>
                    <a:pt x="226" y="9"/>
                  </a:lnTo>
                  <a:lnTo>
                    <a:pt x="228" y="7"/>
                  </a:lnTo>
                  <a:lnTo>
                    <a:pt x="230" y="7"/>
                  </a:lnTo>
                  <a:lnTo>
                    <a:pt x="232" y="5"/>
                  </a:lnTo>
                  <a:lnTo>
                    <a:pt x="240" y="5"/>
                  </a:lnTo>
                  <a:lnTo>
                    <a:pt x="246" y="7"/>
                  </a:lnTo>
                  <a:lnTo>
                    <a:pt x="251" y="7"/>
                  </a:lnTo>
                  <a:lnTo>
                    <a:pt x="259" y="7"/>
                  </a:lnTo>
                  <a:lnTo>
                    <a:pt x="261" y="7"/>
                  </a:lnTo>
                  <a:lnTo>
                    <a:pt x="263" y="7"/>
                  </a:lnTo>
                  <a:lnTo>
                    <a:pt x="263" y="5"/>
                  </a:lnTo>
                  <a:lnTo>
                    <a:pt x="265" y="5"/>
                  </a:lnTo>
                  <a:lnTo>
                    <a:pt x="269" y="7"/>
                  </a:lnTo>
                  <a:lnTo>
                    <a:pt x="274" y="9"/>
                  </a:lnTo>
                  <a:lnTo>
                    <a:pt x="274" y="11"/>
                  </a:lnTo>
                  <a:lnTo>
                    <a:pt x="276" y="11"/>
                  </a:lnTo>
                  <a:lnTo>
                    <a:pt x="276" y="13"/>
                  </a:lnTo>
                  <a:lnTo>
                    <a:pt x="278" y="13"/>
                  </a:lnTo>
                  <a:lnTo>
                    <a:pt x="280" y="15"/>
                  </a:lnTo>
                  <a:lnTo>
                    <a:pt x="284" y="17"/>
                  </a:lnTo>
                  <a:lnTo>
                    <a:pt x="292" y="19"/>
                  </a:lnTo>
                  <a:lnTo>
                    <a:pt x="299" y="19"/>
                  </a:lnTo>
                  <a:lnTo>
                    <a:pt x="307" y="17"/>
                  </a:lnTo>
                  <a:lnTo>
                    <a:pt x="313" y="17"/>
                  </a:lnTo>
                  <a:lnTo>
                    <a:pt x="315" y="15"/>
                  </a:lnTo>
                  <a:lnTo>
                    <a:pt x="315" y="13"/>
                  </a:lnTo>
                  <a:lnTo>
                    <a:pt x="317" y="13"/>
                  </a:lnTo>
                  <a:lnTo>
                    <a:pt x="318" y="11"/>
                  </a:lnTo>
                  <a:lnTo>
                    <a:pt x="320" y="9"/>
                  </a:lnTo>
                  <a:lnTo>
                    <a:pt x="322" y="9"/>
                  </a:lnTo>
                  <a:lnTo>
                    <a:pt x="322" y="7"/>
                  </a:lnTo>
                  <a:lnTo>
                    <a:pt x="324" y="7"/>
                  </a:lnTo>
                  <a:lnTo>
                    <a:pt x="326" y="5"/>
                  </a:lnTo>
                  <a:lnTo>
                    <a:pt x="328" y="5"/>
                  </a:lnTo>
                  <a:lnTo>
                    <a:pt x="328" y="4"/>
                  </a:lnTo>
                  <a:lnTo>
                    <a:pt x="330" y="2"/>
                  </a:lnTo>
                  <a:lnTo>
                    <a:pt x="33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21" name="Freeform 97"/>
            <p:cNvSpPr>
              <a:spLocks/>
            </p:cNvSpPr>
            <p:nvPr/>
          </p:nvSpPr>
          <p:spPr bwMode="auto">
            <a:xfrm>
              <a:off x="2716" y="2756"/>
              <a:ext cx="292" cy="510"/>
            </a:xfrm>
            <a:custGeom>
              <a:avLst/>
              <a:gdLst/>
              <a:ahLst/>
              <a:cxnLst>
                <a:cxn ang="0">
                  <a:pos x="48" y="491"/>
                </a:cxn>
                <a:cxn ang="0">
                  <a:pos x="40" y="464"/>
                </a:cxn>
                <a:cxn ang="0">
                  <a:pos x="19" y="441"/>
                </a:cxn>
                <a:cxn ang="0">
                  <a:pos x="6" y="422"/>
                </a:cxn>
                <a:cxn ang="0">
                  <a:pos x="0" y="401"/>
                </a:cxn>
                <a:cxn ang="0">
                  <a:pos x="13" y="380"/>
                </a:cxn>
                <a:cxn ang="0">
                  <a:pos x="27" y="353"/>
                </a:cxn>
                <a:cxn ang="0">
                  <a:pos x="48" y="326"/>
                </a:cxn>
                <a:cxn ang="0">
                  <a:pos x="54" y="311"/>
                </a:cxn>
                <a:cxn ang="0">
                  <a:pos x="60" y="297"/>
                </a:cxn>
                <a:cxn ang="0">
                  <a:pos x="58" y="274"/>
                </a:cxn>
                <a:cxn ang="0">
                  <a:pos x="48" y="257"/>
                </a:cxn>
                <a:cxn ang="0">
                  <a:pos x="48" y="244"/>
                </a:cxn>
                <a:cxn ang="0">
                  <a:pos x="48" y="211"/>
                </a:cxn>
                <a:cxn ang="0">
                  <a:pos x="54" y="184"/>
                </a:cxn>
                <a:cxn ang="0">
                  <a:pos x="75" y="155"/>
                </a:cxn>
                <a:cxn ang="0">
                  <a:pos x="94" y="136"/>
                </a:cxn>
                <a:cxn ang="0">
                  <a:pos x="115" y="136"/>
                </a:cxn>
                <a:cxn ang="0">
                  <a:pos x="129" y="136"/>
                </a:cxn>
                <a:cxn ang="0">
                  <a:pos x="169" y="129"/>
                </a:cxn>
                <a:cxn ang="0">
                  <a:pos x="177" y="102"/>
                </a:cxn>
                <a:cxn ang="0">
                  <a:pos x="182" y="88"/>
                </a:cxn>
                <a:cxn ang="0">
                  <a:pos x="196" y="67"/>
                </a:cxn>
                <a:cxn ang="0">
                  <a:pos x="230" y="67"/>
                </a:cxn>
                <a:cxn ang="0">
                  <a:pos x="238" y="54"/>
                </a:cxn>
                <a:cxn ang="0">
                  <a:pos x="238" y="40"/>
                </a:cxn>
                <a:cxn ang="0">
                  <a:pos x="240" y="23"/>
                </a:cxn>
                <a:cxn ang="0">
                  <a:pos x="251" y="4"/>
                </a:cxn>
                <a:cxn ang="0">
                  <a:pos x="261" y="19"/>
                </a:cxn>
                <a:cxn ang="0">
                  <a:pos x="271" y="40"/>
                </a:cxn>
                <a:cxn ang="0">
                  <a:pos x="282" y="63"/>
                </a:cxn>
                <a:cxn ang="0">
                  <a:pos x="284" y="83"/>
                </a:cxn>
                <a:cxn ang="0">
                  <a:pos x="292" y="102"/>
                </a:cxn>
                <a:cxn ang="0">
                  <a:pos x="292" y="119"/>
                </a:cxn>
                <a:cxn ang="0">
                  <a:pos x="292" y="150"/>
                </a:cxn>
                <a:cxn ang="0">
                  <a:pos x="274" y="155"/>
                </a:cxn>
                <a:cxn ang="0">
                  <a:pos x="265" y="150"/>
                </a:cxn>
                <a:cxn ang="0">
                  <a:pos x="265" y="129"/>
                </a:cxn>
                <a:cxn ang="0">
                  <a:pos x="265" y="129"/>
                </a:cxn>
                <a:cxn ang="0">
                  <a:pos x="257" y="155"/>
                </a:cxn>
                <a:cxn ang="0">
                  <a:pos x="257" y="169"/>
                </a:cxn>
                <a:cxn ang="0">
                  <a:pos x="255" y="188"/>
                </a:cxn>
                <a:cxn ang="0">
                  <a:pos x="244" y="225"/>
                </a:cxn>
                <a:cxn ang="0">
                  <a:pos x="230" y="271"/>
                </a:cxn>
                <a:cxn ang="0">
                  <a:pos x="217" y="278"/>
                </a:cxn>
                <a:cxn ang="0">
                  <a:pos x="196" y="313"/>
                </a:cxn>
                <a:cxn ang="0">
                  <a:pos x="182" y="353"/>
                </a:cxn>
                <a:cxn ang="0">
                  <a:pos x="178" y="382"/>
                </a:cxn>
                <a:cxn ang="0">
                  <a:pos x="177" y="393"/>
                </a:cxn>
                <a:cxn ang="0">
                  <a:pos x="165" y="415"/>
                </a:cxn>
                <a:cxn ang="0">
                  <a:pos x="163" y="428"/>
                </a:cxn>
                <a:cxn ang="0">
                  <a:pos x="150" y="464"/>
                </a:cxn>
                <a:cxn ang="0">
                  <a:pos x="131" y="491"/>
                </a:cxn>
                <a:cxn ang="0">
                  <a:pos x="113" y="505"/>
                </a:cxn>
                <a:cxn ang="0">
                  <a:pos x="92" y="503"/>
                </a:cxn>
                <a:cxn ang="0">
                  <a:pos x="75" y="509"/>
                </a:cxn>
              </a:cxnLst>
              <a:rect l="0" t="0" r="r" b="b"/>
              <a:pathLst>
                <a:path w="292" h="510">
                  <a:moveTo>
                    <a:pt x="61" y="509"/>
                  </a:moveTo>
                  <a:lnTo>
                    <a:pt x="56" y="501"/>
                  </a:lnTo>
                  <a:lnTo>
                    <a:pt x="48" y="491"/>
                  </a:lnTo>
                  <a:lnTo>
                    <a:pt x="42" y="482"/>
                  </a:lnTo>
                  <a:lnTo>
                    <a:pt x="40" y="474"/>
                  </a:lnTo>
                  <a:lnTo>
                    <a:pt x="40" y="464"/>
                  </a:lnTo>
                  <a:lnTo>
                    <a:pt x="40" y="455"/>
                  </a:lnTo>
                  <a:lnTo>
                    <a:pt x="35" y="447"/>
                  </a:lnTo>
                  <a:lnTo>
                    <a:pt x="19" y="441"/>
                  </a:lnTo>
                  <a:lnTo>
                    <a:pt x="17" y="436"/>
                  </a:lnTo>
                  <a:lnTo>
                    <a:pt x="12" y="428"/>
                  </a:lnTo>
                  <a:lnTo>
                    <a:pt x="6" y="422"/>
                  </a:lnTo>
                  <a:lnTo>
                    <a:pt x="0" y="420"/>
                  </a:lnTo>
                  <a:lnTo>
                    <a:pt x="0" y="415"/>
                  </a:lnTo>
                  <a:lnTo>
                    <a:pt x="0" y="401"/>
                  </a:lnTo>
                  <a:lnTo>
                    <a:pt x="0" y="388"/>
                  </a:lnTo>
                  <a:lnTo>
                    <a:pt x="6" y="384"/>
                  </a:lnTo>
                  <a:lnTo>
                    <a:pt x="13" y="380"/>
                  </a:lnTo>
                  <a:lnTo>
                    <a:pt x="17" y="370"/>
                  </a:lnTo>
                  <a:lnTo>
                    <a:pt x="19" y="359"/>
                  </a:lnTo>
                  <a:lnTo>
                    <a:pt x="27" y="353"/>
                  </a:lnTo>
                  <a:lnTo>
                    <a:pt x="40" y="345"/>
                  </a:lnTo>
                  <a:lnTo>
                    <a:pt x="48" y="340"/>
                  </a:lnTo>
                  <a:lnTo>
                    <a:pt x="48" y="326"/>
                  </a:lnTo>
                  <a:lnTo>
                    <a:pt x="52" y="324"/>
                  </a:lnTo>
                  <a:lnTo>
                    <a:pt x="54" y="319"/>
                  </a:lnTo>
                  <a:lnTo>
                    <a:pt x="54" y="311"/>
                  </a:lnTo>
                  <a:lnTo>
                    <a:pt x="54" y="305"/>
                  </a:lnTo>
                  <a:lnTo>
                    <a:pt x="58" y="303"/>
                  </a:lnTo>
                  <a:lnTo>
                    <a:pt x="60" y="297"/>
                  </a:lnTo>
                  <a:lnTo>
                    <a:pt x="61" y="292"/>
                  </a:lnTo>
                  <a:lnTo>
                    <a:pt x="61" y="286"/>
                  </a:lnTo>
                  <a:lnTo>
                    <a:pt x="58" y="274"/>
                  </a:lnTo>
                  <a:lnTo>
                    <a:pt x="54" y="265"/>
                  </a:lnTo>
                  <a:lnTo>
                    <a:pt x="50" y="261"/>
                  </a:lnTo>
                  <a:lnTo>
                    <a:pt x="48" y="257"/>
                  </a:lnTo>
                  <a:lnTo>
                    <a:pt x="48" y="251"/>
                  </a:lnTo>
                  <a:lnTo>
                    <a:pt x="48" y="248"/>
                  </a:lnTo>
                  <a:lnTo>
                    <a:pt x="48" y="244"/>
                  </a:lnTo>
                  <a:lnTo>
                    <a:pt x="48" y="238"/>
                  </a:lnTo>
                  <a:lnTo>
                    <a:pt x="48" y="225"/>
                  </a:lnTo>
                  <a:lnTo>
                    <a:pt x="48" y="211"/>
                  </a:lnTo>
                  <a:lnTo>
                    <a:pt x="54" y="211"/>
                  </a:lnTo>
                  <a:lnTo>
                    <a:pt x="54" y="198"/>
                  </a:lnTo>
                  <a:lnTo>
                    <a:pt x="54" y="184"/>
                  </a:lnTo>
                  <a:lnTo>
                    <a:pt x="61" y="177"/>
                  </a:lnTo>
                  <a:lnTo>
                    <a:pt x="75" y="169"/>
                  </a:lnTo>
                  <a:lnTo>
                    <a:pt x="75" y="155"/>
                  </a:lnTo>
                  <a:lnTo>
                    <a:pt x="75" y="142"/>
                  </a:lnTo>
                  <a:lnTo>
                    <a:pt x="88" y="136"/>
                  </a:lnTo>
                  <a:lnTo>
                    <a:pt x="94" y="136"/>
                  </a:lnTo>
                  <a:lnTo>
                    <a:pt x="102" y="136"/>
                  </a:lnTo>
                  <a:lnTo>
                    <a:pt x="108" y="136"/>
                  </a:lnTo>
                  <a:lnTo>
                    <a:pt x="115" y="136"/>
                  </a:lnTo>
                  <a:lnTo>
                    <a:pt x="121" y="136"/>
                  </a:lnTo>
                  <a:lnTo>
                    <a:pt x="125" y="136"/>
                  </a:lnTo>
                  <a:lnTo>
                    <a:pt x="129" y="136"/>
                  </a:lnTo>
                  <a:lnTo>
                    <a:pt x="142" y="136"/>
                  </a:lnTo>
                  <a:lnTo>
                    <a:pt x="155" y="136"/>
                  </a:lnTo>
                  <a:lnTo>
                    <a:pt x="169" y="129"/>
                  </a:lnTo>
                  <a:lnTo>
                    <a:pt x="177" y="123"/>
                  </a:lnTo>
                  <a:lnTo>
                    <a:pt x="177" y="111"/>
                  </a:lnTo>
                  <a:lnTo>
                    <a:pt x="177" y="102"/>
                  </a:lnTo>
                  <a:lnTo>
                    <a:pt x="182" y="102"/>
                  </a:lnTo>
                  <a:lnTo>
                    <a:pt x="182" y="96"/>
                  </a:lnTo>
                  <a:lnTo>
                    <a:pt x="182" y="88"/>
                  </a:lnTo>
                  <a:lnTo>
                    <a:pt x="182" y="79"/>
                  </a:lnTo>
                  <a:lnTo>
                    <a:pt x="182" y="67"/>
                  </a:lnTo>
                  <a:lnTo>
                    <a:pt x="196" y="67"/>
                  </a:lnTo>
                  <a:lnTo>
                    <a:pt x="207" y="71"/>
                  </a:lnTo>
                  <a:lnTo>
                    <a:pt x="223" y="75"/>
                  </a:lnTo>
                  <a:lnTo>
                    <a:pt x="230" y="67"/>
                  </a:lnTo>
                  <a:lnTo>
                    <a:pt x="238" y="61"/>
                  </a:lnTo>
                  <a:lnTo>
                    <a:pt x="238" y="58"/>
                  </a:lnTo>
                  <a:lnTo>
                    <a:pt x="238" y="54"/>
                  </a:lnTo>
                  <a:lnTo>
                    <a:pt x="238" y="48"/>
                  </a:lnTo>
                  <a:lnTo>
                    <a:pt x="238" y="44"/>
                  </a:lnTo>
                  <a:lnTo>
                    <a:pt x="238" y="40"/>
                  </a:lnTo>
                  <a:lnTo>
                    <a:pt x="238" y="35"/>
                  </a:lnTo>
                  <a:lnTo>
                    <a:pt x="238" y="29"/>
                  </a:lnTo>
                  <a:lnTo>
                    <a:pt x="240" y="23"/>
                  </a:lnTo>
                  <a:lnTo>
                    <a:pt x="244" y="21"/>
                  </a:lnTo>
                  <a:lnTo>
                    <a:pt x="244" y="0"/>
                  </a:lnTo>
                  <a:lnTo>
                    <a:pt x="251" y="4"/>
                  </a:lnTo>
                  <a:lnTo>
                    <a:pt x="257" y="8"/>
                  </a:lnTo>
                  <a:lnTo>
                    <a:pt x="259" y="13"/>
                  </a:lnTo>
                  <a:lnTo>
                    <a:pt x="261" y="19"/>
                  </a:lnTo>
                  <a:lnTo>
                    <a:pt x="267" y="25"/>
                  </a:lnTo>
                  <a:lnTo>
                    <a:pt x="271" y="27"/>
                  </a:lnTo>
                  <a:lnTo>
                    <a:pt x="271" y="40"/>
                  </a:lnTo>
                  <a:lnTo>
                    <a:pt x="274" y="52"/>
                  </a:lnTo>
                  <a:lnTo>
                    <a:pt x="278" y="61"/>
                  </a:lnTo>
                  <a:lnTo>
                    <a:pt x="282" y="63"/>
                  </a:lnTo>
                  <a:lnTo>
                    <a:pt x="284" y="69"/>
                  </a:lnTo>
                  <a:lnTo>
                    <a:pt x="284" y="75"/>
                  </a:lnTo>
                  <a:lnTo>
                    <a:pt x="284" y="83"/>
                  </a:lnTo>
                  <a:lnTo>
                    <a:pt x="288" y="88"/>
                  </a:lnTo>
                  <a:lnTo>
                    <a:pt x="292" y="96"/>
                  </a:lnTo>
                  <a:lnTo>
                    <a:pt x="292" y="102"/>
                  </a:lnTo>
                  <a:lnTo>
                    <a:pt x="292" y="109"/>
                  </a:lnTo>
                  <a:lnTo>
                    <a:pt x="292" y="115"/>
                  </a:lnTo>
                  <a:lnTo>
                    <a:pt x="292" y="119"/>
                  </a:lnTo>
                  <a:lnTo>
                    <a:pt x="292" y="123"/>
                  </a:lnTo>
                  <a:lnTo>
                    <a:pt x="292" y="136"/>
                  </a:lnTo>
                  <a:lnTo>
                    <a:pt x="292" y="150"/>
                  </a:lnTo>
                  <a:lnTo>
                    <a:pt x="278" y="150"/>
                  </a:lnTo>
                  <a:lnTo>
                    <a:pt x="276" y="154"/>
                  </a:lnTo>
                  <a:lnTo>
                    <a:pt x="274" y="155"/>
                  </a:lnTo>
                  <a:lnTo>
                    <a:pt x="269" y="155"/>
                  </a:lnTo>
                  <a:lnTo>
                    <a:pt x="265" y="155"/>
                  </a:lnTo>
                  <a:lnTo>
                    <a:pt x="265" y="150"/>
                  </a:lnTo>
                  <a:lnTo>
                    <a:pt x="265" y="142"/>
                  </a:lnTo>
                  <a:lnTo>
                    <a:pt x="265" y="136"/>
                  </a:lnTo>
                  <a:lnTo>
                    <a:pt x="265" y="129"/>
                  </a:lnTo>
                  <a:lnTo>
                    <a:pt x="265" y="123"/>
                  </a:lnTo>
                  <a:lnTo>
                    <a:pt x="265" y="127"/>
                  </a:lnTo>
                  <a:lnTo>
                    <a:pt x="265" y="129"/>
                  </a:lnTo>
                  <a:lnTo>
                    <a:pt x="265" y="142"/>
                  </a:lnTo>
                  <a:lnTo>
                    <a:pt x="265" y="155"/>
                  </a:lnTo>
                  <a:lnTo>
                    <a:pt x="257" y="155"/>
                  </a:lnTo>
                  <a:lnTo>
                    <a:pt x="257" y="159"/>
                  </a:lnTo>
                  <a:lnTo>
                    <a:pt x="257" y="163"/>
                  </a:lnTo>
                  <a:lnTo>
                    <a:pt x="257" y="169"/>
                  </a:lnTo>
                  <a:lnTo>
                    <a:pt x="257" y="177"/>
                  </a:lnTo>
                  <a:lnTo>
                    <a:pt x="257" y="182"/>
                  </a:lnTo>
                  <a:lnTo>
                    <a:pt x="255" y="188"/>
                  </a:lnTo>
                  <a:lnTo>
                    <a:pt x="251" y="190"/>
                  </a:lnTo>
                  <a:lnTo>
                    <a:pt x="248" y="209"/>
                  </a:lnTo>
                  <a:lnTo>
                    <a:pt x="244" y="225"/>
                  </a:lnTo>
                  <a:lnTo>
                    <a:pt x="244" y="244"/>
                  </a:lnTo>
                  <a:lnTo>
                    <a:pt x="238" y="257"/>
                  </a:lnTo>
                  <a:lnTo>
                    <a:pt x="230" y="271"/>
                  </a:lnTo>
                  <a:lnTo>
                    <a:pt x="223" y="278"/>
                  </a:lnTo>
                  <a:lnTo>
                    <a:pt x="221" y="278"/>
                  </a:lnTo>
                  <a:lnTo>
                    <a:pt x="217" y="278"/>
                  </a:lnTo>
                  <a:lnTo>
                    <a:pt x="207" y="294"/>
                  </a:lnTo>
                  <a:lnTo>
                    <a:pt x="196" y="305"/>
                  </a:lnTo>
                  <a:lnTo>
                    <a:pt x="196" y="313"/>
                  </a:lnTo>
                  <a:lnTo>
                    <a:pt x="196" y="319"/>
                  </a:lnTo>
                  <a:lnTo>
                    <a:pt x="190" y="336"/>
                  </a:lnTo>
                  <a:lnTo>
                    <a:pt x="182" y="353"/>
                  </a:lnTo>
                  <a:lnTo>
                    <a:pt x="182" y="367"/>
                  </a:lnTo>
                  <a:lnTo>
                    <a:pt x="182" y="380"/>
                  </a:lnTo>
                  <a:lnTo>
                    <a:pt x="178" y="382"/>
                  </a:lnTo>
                  <a:lnTo>
                    <a:pt x="177" y="384"/>
                  </a:lnTo>
                  <a:lnTo>
                    <a:pt x="177" y="388"/>
                  </a:lnTo>
                  <a:lnTo>
                    <a:pt x="177" y="393"/>
                  </a:lnTo>
                  <a:lnTo>
                    <a:pt x="173" y="403"/>
                  </a:lnTo>
                  <a:lnTo>
                    <a:pt x="169" y="415"/>
                  </a:lnTo>
                  <a:lnTo>
                    <a:pt x="165" y="415"/>
                  </a:lnTo>
                  <a:lnTo>
                    <a:pt x="163" y="418"/>
                  </a:lnTo>
                  <a:lnTo>
                    <a:pt x="163" y="422"/>
                  </a:lnTo>
                  <a:lnTo>
                    <a:pt x="163" y="428"/>
                  </a:lnTo>
                  <a:lnTo>
                    <a:pt x="159" y="438"/>
                  </a:lnTo>
                  <a:lnTo>
                    <a:pt x="155" y="447"/>
                  </a:lnTo>
                  <a:lnTo>
                    <a:pt x="150" y="464"/>
                  </a:lnTo>
                  <a:lnTo>
                    <a:pt x="144" y="478"/>
                  </a:lnTo>
                  <a:lnTo>
                    <a:pt x="132" y="491"/>
                  </a:lnTo>
                  <a:lnTo>
                    <a:pt x="131" y="491"/>
                  </a:lnTo>
                  <a:lnTo>
                    <a:pt x="123" y="495"/>
                  </a:lnTo>
                  <a:lnTo>
                    <a:pt x="117" y="501"/>
                  </a:lnTo>
                  <a:lnTo>
                    <a:pt x="113" y="505"/>
                  </a:lnTo>
                  <a:lnTo>
                    <a:pt x="111" y="505"/>
                  </a:lnTo>
                  <a:lnTo>
                    <a:pt x="108" y="499"/>
                  </a:lnTo>
                  <a:lnTo>
                    <a:pt x="92" y="503"/>
                  </a:lnTo>
                  <a:lnTo>
                    <a:pt x="81" y="505"/>
                  </a:lnTo>
                  <a:lnTo>
                    <a:pt x="77" y="507"/>
                  </a:lnTo>
                  <a:lnTo>
                    <a:pt x="75" y="509"/>
                  </a:lnTo>
                  <a:lnTo>
                    <a:pt x="69" y="510"/>
                  </a:lnTo>
                  <a:lnTo>
                    <a:pt x="61" y="5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22" name="Freeform 98"/>
            <p:cNvSpPr>
              <a:spLocks/>
            </p:cNvSpPr>
            <p:nvPr/>
          </p:nvSpPr>
          <p:spPr bwMode="auto">
            <a:xfrm>
              <a:off x="2727" y="2739"/>
              <a:ext cx="292" cy="510"/>
            </a:xfrm>
            <a:custGeom>
              <a:avLst/>
              <a:gdLst/>
              <a:ahLst/>
              <a:cxnLst>
                <a:cxn ang="0">
                  <a:pos x="48" y="491"/>
                </a:cxn>
                <a:cxn ang="0">
                  <a:pos x="40" y="464"/>
                </a:cxn>
                <a:cxn ang="0">
                  <a:pos x="19" y="441"/>
                </a:cxn>
                <a:cxn ang="0">
                  <a:pos x="6" y="422"/>
                </a:cxn>
                <a:cxn ang="0">
                  <a:pos x="0" y="401"/>
                </a:cxn>
                <a:cxn ang="0">
                  <a:pos x="13" y="380"/>
                </a:cxn>
                <a:cxn ang="0">
                  <a:pos x="27" y="353"/>
                </a:cxn>
                <a:cxn ang="0">
                  <a:pos x="48" y="326"/>
                </a:cxn>
                <a:cxn ang="0">
                  <a:pos x="54" y="311"/>
                </a:cxn>
                <a:cxn ang="0">
                  <a:pos x="60" y="297"/>
                </a:cxn>
                <a:cxn ang="0">
                  <a:pos x="58" y="274"/>
                </a:cxn>
                <a:cxn ang="0">
                  <a:pos x="48" y="257"/>
                </a:cxn>
                <a:cxn ang="0">
                  <a:pos x="48" y="244"/>
                </a:cxn>
                <a:cxn ang="0">
                  <a:pos x="48" y="211"/>
                </a:cxn>
                <a:cxn ang="0">
                  <a:pos x="54" y="184"/>
                </a:cxn>
                <a:cxn ang="0">
                  <a:pos x="75" y="155"/>
                </a:cxn>
                <a:cxn ang="0">
                  <a:pos x="94" y="136"/>
                </a:cxn>
                <a:cxn ang="0">
                  <a:pos x="115" y="136"/>
                </a:cxn>
                <a:cxn ang="0">
                  <a:pos x="129" y="136"/>
                </a:cxn>
                <a:cxn ang="0">
                  <a:pos x="169" y="129"/>
                </a:cxn>
                <a:cxn ang="0">
                  <a:pos x="177" y="102"/>
                </a:cxn>
                <a:cxn ang="0">
                  <a:pos x="182" y="88"/>
                </a:cxn>
                <a:cxn ang="0">
                  <a:pos x="196" y="67"/>
                </a:cxn>
                <a:cxn ang="0">
                  <a:pos x="230" y="67"/>
                </a:cxn>
                <a:cxn ang="0">
                  <a:pos x="238" y="54"/>
                </a:cxn>
                <a:cxn ang="0">
                  <a:pos x="238" y="40"/>
                </a:cxn>
                <a:cxn ang="0">
                  <a:pos x="240" y="23"/>
                </a:cxn>
                <a:cxn ang="0">
                  <a:pos x="251" y="4"/>
                </a:cxn>
                <a:cxn ang="0">
                  <a:pos x="261" y="19"/>
                </a:cxn>
                <a:cxn ang="0">
                  <a:pos x="271" y="40"/>
                </a:cxn>
                <a:cxn ang="0">
                  <a:pos x="282" y="63"/>
                </a:cxn>
                <a:cxn ang="0">
                  <a:pos x="284" y="83"/>
                </a:cxn>
                <a:cxn ang="0">
                  <a:pos x="292" y="102"/>
                </a:cxn>
                <a:cxn ang="0">
                  <a:pos x="292" y="119"/>
                </a:cxn>
                <a:cxn ang="0">
                  <a:pos x="292" y="150"/>
                </a:cxn>
                <a:cxn ang="0">
                  <a:pos x="274" y="155"/>
                </a:cxn>
                <a:cxn ang="0">
                  <a:pos x="265" y="150"/>
                </a:cxn>
                <a:cxn ang="0">
                  <a:pos x="265" y="129"/>
                </a:cxn>
                <a:cxn ang="0">
                  <a:pos x="265" y="129"/>
                </a:cxn>
                <a:cxn ang="0">
                  <a:pos x="257" y="155"/>
                </a:cxn>
                <a:cxn ang="0">
                  <a:pos x="257" y="169"/>
                </a:cxn>
                <a:cxn ang="0">
                  <a:pos x="255" y="188"/>
                </a:cxn>
                <a:cxn ang="0">
                  <a:pos x="244" y="225"/>
                </a:cxn>
                <a:cxn ang="0">
                  <a:pos x="230" y="271"/>
                </a:cxn>
                <a:cxn ang="0">
                  <a:pos x="217" y="278"/>
                </a:cxn>
                <a:cxn ang="0">
                  <a:pos x="196" y="313"/>
                </a:cxn>
                <a:cxn ang="0">
                  <a:pos x="182" y="353"/>
                </a:cxn>
                <a:cxn ang="0">
                  <a:pos x="178" y="382"/>
                </a:cxn>
                <a:cxn ang="0">
                  <a:pos x="177" y="393"/>
                </a:cxn>
                <a:cxn ang="0">
                  <a:pos x="165" y="415"/>
                </a:cxn>
                <a:cxn ang="0">
                  <a:pos x="163" y="428"/>
                </a:cxn>
                <a:cxn ang="0">
                  <a:pos x="150" y="464"/>
                </a:cxn>
                <a:cxn ang="0">
                  <a:pos x="131" y="491"/>
                </a:cxn>
                <a:cxn ang="0">
                  <a:pos x="113" y="505"/>
                </a:cxn>
                <a:cxn ang="0">
                  <a:pos x="92" y="503"/>
                </a:cxn>
                <a:cxn ang="0">
                  <a:pos x="75" y="509"/>
                </a:cxn>
              </a:cxnLst>
              <a:rect l="0" t="0" r="r" b="b"/>
              <a:pathLst>
                <a:path w="292" h="510">
                  <a:moveTo>
                    <a:pt x="61" y="509"/>
                  </a:moveTo>
                  <a:lnTo>
                    <a:pt x="56" y="501"/>
                  </a:lnTo>
                  <a:lnTo>
                    <a:pt x="48" y="491"/>
                  </a:lnTo>
                  <a:lnTo>
                    <a:pt x="42" y="482"/>
                  </a:lnTo>
                  <a:lnTo>
                    <a:pt x="40" y="474"/>
                  </a:lnTo>
                  <a:lnTo>
                    <a:pt x="40" y="464"/>
                  </a:lnTo>
                  <a:lnTo>
                    <a:pt x="40" y="455"/>
                  </a:lnTo>
                  <a:lnTo>
                    <a:pt x="35" y="447"/>
                  </a:lnTo>
                  <a:lnTo>
                    <a:pt x="19" y="441"/>
                  </a:lnTo>
                  <a:lnTo>
                    <a:pt x="17" y="436"/>
                  </a:lnTo>
                  <a:lnTo>
                    <a:pt x="12" y="428"/>
                  </a:lnTo>
                  <a:lnTo>
                    <a:pt x="6" y="422"/>
                  </a:lnTo>
                  <a:lnTo>
                    <a:pt x="0" y="420"/>
                  </a:lnTo>
                  <a:lnTo>
                    <a:pt x="0" y="415"/>
                  </a:lnTo>
                  <a:lnTo>
                    <a:pt x="0" y="401"/>
                  </a:lnTo>
                  <a:lnTo>
                    <a:pt x="0" y="388"/>
                  </a:lnTo>
                  <a:lnTo>
                    <a:pt x="6" y="384"/>
                  </a:lnTo>
                  <a:lnTo>
                    <a:pt x="13" y="380"/>
                  </a:lnTo>
                  <a:lnTo>
                    <a:pt x="17" y="370"/>
                  </a:lnTo>
                  <a:lnTo>
                    <a:pt x="19" y="359"/>
                  </a:lnTo>
                  <a:lnTo>
                    <a:pt x="27" y="353"/>
                  </a:lnTo>
                  <a:lnTo>
                    <a:pt x="40" y="345"/>
                  </a:lnTo>
                  <a:lnTo>
                    <a:pt x="48" y="340"/>
                  </a:lnTo>
                  <a:lnTo>
                    <a:pt x="48" y="326"/>
                  </a:lnTo>
                  <a:lnTo>
                    <a:pt x="52" y="324"/>
                  </a:lnTo>
                  <a:lnTo>
                    <a:pt x="54" y="319"/>
                  </a:lnTo>
                  <a:lnTo>
                    <a:pt x="54" y="311"/>
                  </a:lnTo>
                  <a:lnTo>
                    <a:pt x="54" y="305"/>
                  </a:lnTo>
                  <a:lnTo>
                    <a:pt x="58" y="303"/>
                  </a:lnTo>
                  <a:lnTo>
                    <a:pt x="60" y="297"/>
                  </a:lnTo>
                  <a:lnTo>
                    <a:pt x="61" y="292"/>
                  </a:lnTo>
                  <a:lnTo>
                    <a:pt x="61" y="286"/>
                  </a:lnTo>
                  <a:lnTo>
                    <a:pt x="58" y="274"/>
                  </a:lnTo>
                  <a:lnTo>
                    <a:pt x="54" y="265"/>
                  </a:lnTo>
                  <a:lnTo>
                    <a:pt x="50" y="261"/>
                  </a:lnTo>
                  <a:lnTo>
                    <a:pt x="48" y="257"/>
                  </a:lnTo>
                  <a:lnTo>
                    <a:pt x="48" y="251"/>
                  </a:lnTo>
                  <a:lnTo>
                    <a:pt x="48" y="248"/>
                  </a:lnTo>
                  <a:lnTo>
                    <a:pt x="48" y="244"/>
                  </a:lnTo>
                  <a:lnTo>
                    <a:pt x="48" y="238"/>
                  </a:lnTo>
                  <a:lnTo>
                    <a:pt x="48" y="225"/>
                  </a:lnTo>
                  <a:lnTo>
                    <a:pt x="48" y="211"/>
                  </a:lnTo>
                  <a:lnTo>
                    <a:pt x="54" y="211"/>
                  </a:lnTo>
                  <a:lnTo>
                    <a:pt x="54" y="198"/>
                  </a:lnTo>
                  <a:lnTo>
                    <a:pt x="54" y="184"/>
                  </a:lnTo>
                  <a:lnTo>
                    <a:pt x="61" y="177"/>
                  </a:lnTo>
                  <a:lnTo>
                    <a:pt x="75" y="169"/>
                  </a:lnTo>
                  <a:lnTo>
                    <a:pt x="75" y="155"/>
                  </a:lnTo>
                  <a:lnTo>
                    <a:pt x="75" y="142"/>
                  </a:lnTo>
                  <a:lnTo>
                    <a:pt x="88" y="136"/>
                  </a:lnTo>
                  <a:lnTo>
                    <a:pt x="94" y="136"/>
                  </a:lnTo>
                  <a:lnTo>
                    <a:pt x="102" y="136"/>
                  </a:lnTo>
                  <a:lnTo>
                    <a:pt x="108" y="136"/>
                  </a:lnTo>
                  <a:lnTo>
                    <a:pt x="115" y="136"/>
                  </a:lnTo>
                  <a:lnTo>
                    <a:pt x="121" y="136"/>
                  </a:lnTo>
                  <a:lnTo>
                    <a:pt x="125" y="136"/>
                  </a:lnTo>
                  <a:lnTo>
                    <a:pt x="129" y="136"/>
                  </a:lnTo>
                  <a:lnTo>
                    <a:pt x="142" y="136"/>
                  </a:lnTo>
                  <a:lnTo>
                    <a:pt x="155" y="136"/>
                  </a:lnTo>
                  <a:lnTo>
                    <a:pt x="169" y="129"/>
                  </a:lnTo>
                  <a:lnTo>
                    <a:pt x="177" y="123"/>
                  </a:lnTo>
                  <a:lnTo>
                    <a:pt x="177" y="111"/>
                  </a:lnTo>
                  <a:lnTo>
                    <a:pt x="177" y="102"/>
                  </a:lnTo>
                  <a:lnTo>
                    <a:pt x="182" y="102"/>
                  </a:lnTo>
                  <a:lnTo>
                    <a:pt x="182" y="96"/>
                  </a:lnTo>
                  <a:lnTo>
                    <a:pt x="182" y="88"/>
                  </a:lnTo>
                  <a:lnTo>
                    <a:pt x="182" y="79"/>
                  </a:lnTo>
                  <a:lnTo>
                    <a:pt x="182" y="67"/>
                  </a:lnTo>
                  <a:lnTo>
                    <a:pt x="196" y="67"/>
                  </a:lnTo>
                  <a:lnTo>
                    <a:pt x="207" y="71"/>
                  </a:lnTo>
                  <a:lnTo>
                    <a:pt x="223" y="75"/>
                  </a:lnTo>
                  <a:lnTo>
                    <a:pt x="230" y="67"/>
                  </a:lnTo>
                  <a:lnTo>
                    <a:pt x="238" y="61"/>
                  </a:lnTo>
                  <a:lnTo>
                    <a:pt x="238" y="58"/>
                  </a:lnTo>
                  <a:lnTo>
                    <a:pt x="238" y="54"/>
                  </a:lnTo>
                  <a:lnTo>
                    <a:pt x="238" y="48"/>
                  </a:lnTo>
                  <a:lnTo>
                    <a:pt x="238" y="44"/>
                  </a:lnTo>
                  <a:lnTo>
                    <a:pt x="238" y="40"/>
                  </a:lnTo>
                  <a:lnTo>
                    <a:pt x="238" y="35"/>
                  </a:lnTo>
                  <a:lnTo>
                    <a:pt x="238" y="29"/>
                  </a:lnTo>
                  <a:lnTo>
                    <a:pt x="240" y="23"/>
                  </a:lnTo>
                  <a:lnTo>
                    <a:pt x="244" y="21"/>
                  </a:lnTo>
                  <a:lnTo>
                    <a:pt x="244" y="0"/>
                  </a:lnTo>
                  <a:lnTo>
                    <a:pt x="251" y="4"/>
                  </a:lnTo>
                  <a:lnTo>
                    <a:pt x="257" y="8"/>
                  </a:lnTo>
                  <a:lnTo>
                    <a:pt x="259" y="13"/>
                  </a:lnTo>
                  <a:lnTo>
                    <a:pt x="261" y="19"/>
                  </a:lnTo>
                  <a:lnTo>
                    <a:pt x="267" y="25"/>
                  </a:lnTo>
                  <a:lnTo>
                    <a:pt x="271" y="27"/>
                  </a:lnTo>
                  <a:lnTo>
                    <a:pt x="271" y="40"/>
                  </a:lnTo>
                  <a:lnTo>
                    <a:pt x="274" y="52"/>
                  </a:lnTo>
                  <a:lnTo>
                    <a:pt x="278" y="61"/>
                  </a:lnTo>
                  <a:lnTo>
                    <a:pt x="282" y="63"/>
                  </a:lnTo>
                  <a:lnTo>
                    <a:pt x="284" y="69"/>
                  </a:lnTo>
                  <a:lnTo>
                    <a:pt x="284" y="75"/>
                  </a:lnTo>
                  <a:lnTo>
                    <a:pt x="284" y="83"/>
                  </a:lnTo>
                  <a:lnTo>
                    <a:pt x="288" y="88"/>
                  </a:lnTo>
                  <a:lnTo>
                    <a:pt x="292" y="96"/>
                  </a:lnTo>
                  <a:lnTo>
                    <a:pt x="292" y="102"/>
                  </a:lnTo>
                  <a:lnTo>
                    <a:pt x="292" y="109"/>
                  </a:lnTo>
                  <a:lnTo>
                    <a:pt x="292" y="115"/>
                  </a:lnTo>
                  <a:lnTo>
                    <a:pt x="292" y="119"/>
                  </a:lnTo>
                  <a:lnTo>
                    <a:pt x="292" y="123"/>
                  </a:lnTo>
                  <a:lnTo>
                    <a:pt x="292" y="136"/>
                  </a:lnTo>
                  <a:lnTo>
                    <a:pt x="292" y="150"/>
                  </a:lnTo>
                  <a:lnTo>
                    <a:pt x="278" y="150"/>
                  </a:lnTo>
                  <a:lnTo>
                    <a:pt x="276" y="154"/>
                  </a:lnTo>
                  <a:lnTo>
                    <a:pt x="274" y="155"/>
                  </a:lnTo>
                  <a:lnTo>
                    <a:pt x="269" y="155"/>
                  </a:lnTo>
                  <a:lnTo>
                    <a:pt x="265" y="155"/>
                  </a:lnTo>
                  <a:lnTo>
                    <a:pt x="265" y="150"/>
                  </a:lnTo>
                  <a:lnTo>
                    <a:pt x="265" y="142"/>
                  </a:lnTo>
                  <a:lnTo>
                    <a:pt x="265" y="136"/>
                  </a:lnTo>
                  <a:lnTo>
                    <a:pt x="265" y="129"/>
                  </a:lnTo>
                  <a:lnTo>
                    <a:pt x="265" y="123"/>
                  </a:lnTo>
                  <a:lnTo>
                    <a:pt x="265" y="127"/>
                  </a:lnTo>
                  <a:lnTo>
                    <a:pt x="265" y="129"/>
                  </a:lnTo>
                  <a:lnTo>
                    <a:pt x="265" y="142"/>
                  </a:lnTo>
                  <a:lnTo>
                    <a:pt x="265" y="155"/>
                  </a:lnTo>
                  <a:lnTo>
                    <a:pt x="257" y="155"/>
                  </a:lnTo>
                  <a:lnTo>
                    <a:pt x="257" y="159"/>
                  </a:lnTo>
                  <a:lnTo>
                    <a:pt x="257" y="163"/>
                  </a:lnTo>
                  <a:lnTo>
                    <a:pt x="257" y="169"/>
                  </a:lnTo>
                  <a:lnTo>
                    <a:pt x="257" y="177"/>
                  </a:lnTo>
                  <a:lnTo>
                    <a:pt x="257" y="182"/>
                  </a:lnTo>
                  <a:lnTo>
                    <a:pt x="255" y="188"/>
                  </a:lnTo>
                  <a:lnTo>
                    <a:pt x="251" y="190"/>
                  </a:lnTo>
                  <a:lnTo>
                    <a:pt x="248" y="209"/>
                  </a:lnTo>
                  <a:lnTo>
                    <a:pt x="244" y="225"/>
                  </a:lnTo>
                  <a:lnTo>
                    <a:pt x="244" y="244"/>
                  </a:lnTo>
                  <a:lnTo>
                    <a:pt x="238" y="257"/>
                  </a:lnTo>
                  <a:lnTo>
                    <a:pt x="230" y="271"/>
                  </a:lnTo>
                  <a:lnTo>
                    <a:pt x="223" y="278"/>
                  </a:lnTo>
                  <a:lnTo>
                    <a:pt x="221" y="278"/>
                  </a:lnTo>
                  <a:lnTo>
                    <a:pt x="217" y="278"/>
                  </a:lnTo>
                  <a:lnTo>
                    <a:pt x="207" y="294"/>
                  </a:lnTo>
                  <a:lnTo>
                    <a:pt x="196" y="305"/>
                  </a:lnTo>
                  <a:lnTo>
                    <a:pt x="196" y="313"/>
                  </a:lnTo>
                  <a:lnTo>
                    <a:pt x="196" y="319"/>
                  </a:lnTo>
                  <a:lnTo>
                    <a:pt x="190" y="336"/>
                  </a:lnTo>
                  <a:lnTo>
                    <a:pt x="182" y="353"/>
                  </a:lnTo>
                  <a:lnTo>
                    <a:pt x="182" y="367"/>
                  </a:lnTo>
                  <a:lnTo>
                    <a:pt x="182" y="380"/>
                  </a:lnTo>
                  <a:lnTo>
                    <a:pt x="178" y="382"/>
                  </a:lnTo>
                  <a:lnTo>
                    <a:pt x="177" y="384"/>
                  </a:lnTo>
                  <a:lnTo>
                    <a:pt x="177" y="388"/>
                  </a:lnTo>
                  <a:lnTo>
                    <a:pt x="177" y="393"/>
                  </a:lnTo>
                  <a:lnTo>
                    <a:pt x="173" y="403"/>
                  </a:lnTo>
                  <a:lnTo>
                    <a:pt x="169" y="415"/>
                  </a:lnTo>
                  <a:lnTo>
                    <a:pt x="165" y="415"/>
                  </a:lnTo>
                  <a:lnTo>
                    <a:pt x="163" y="418"/>
                  </a:lnTo>
                  <a:lnTo>
                    <a:pt x="163" y="422"/>
                  </a:lnTo>
                  <a:lnTo>
                    <a:pt x="163" y="428"/>
                  </a:lnTo>
                  <a:lnTo>
                    <a:pt x="159" y="438"/>
                  </a:lnTo>
                  <a:lnTo>
                    <a:pt x="155" y="447"/>
                  </a:lnTo>
                  <a:lnTo>
                    <a:pt x="150" y="464"/>
                  </a:lnTo>
                  <a:lnTo>
                    <a:pt x="144" y="478"/>
                  </a:lnTo>
                  <a:lnTo>
                    <a:pt x="132" y="491"/>
                  </a:lnTo>
                  <a:lnTo>
                    <a:pt x="131" y="491"/>
                  </a:lnTo>
                  <a:lnTo>
                    <a:pt x="123" y="495"/>
                  </a:lnTo>
                  <a:lnTo>
                    <a:pt x="117" y="501"/>
                  </a:lnTo>
                  <a:lnTo>
                    <a:pt x="113" y="505"/>
                  </a:lnTo>
                  <a:lnTo>
                    <a:pt x="111" y="505"/>
                  </a:lnTo>
                  <a:lnTo>
                    <a:pt x="108" y="499"/>
                  </a:lnTo>
                  <a:lnTo>
                    <a:pt x="92" y="503"/>
                  </a:lnTo>
                  <a:lnTo>
                    <a:pt x="81" y="505"/>
                  </a:lnTo>
                  <a:lnTo>
                    <a:pt x="77" y="507"/>
                  </a:lnTo>
                  <a:lnTo>
                    <a:pt x="75" y="509"/>
                  </a:lnTo>
                  <a:lnTo>
                    <a:pt x="69" y="510"/>
                  </a:lnTo>
                  <a:lnTo>
                    <a:pt x="61" y="50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23" name="Freeform 99"/>
            <p:cNvSpPr>
              <a:spLocks/>
            </p:cNvSpPr>
            <p:nvPr/>
          </p:nvSpPr>
          <p:spPr bwMode="auto">
            <a:xfrm>
              <a:off x="2081" y="2890"/>
              <a:ext cx="301" cy="252"/>
            </a:xfrm>
            <a:custGeom>
              <a:avLst/>
              <a:gdLst/>
              <a:ahLst/>
              <a:cxnLst>
                <a:cxn ang="0">
                  <a:pos x="173" y="6"/>
                </a:cxn>
                <a:cxn ang="0">
                  <a:pos x="161" y="2"/>
                </a:cxn>
                <a:cxn ang="0">
                  <a:pos x="150" y="0"/>
                </a:cxn>
                <a:cxn ang="0">
                  <a:pos x="138" y="6"/>
                </a:cxn>
                <a:cxn ang="0">
                  <a:pos x="127" y="21"/>
                </a:cxn>
                <a:cxn ang="0">
                  <a:pos x="123" y="35"/>
                </a:cxn>
                <a:cxn ang="0">
                  <a:pos x="115" y="43"/>
                </a:cxn>
                <a:cxn ang="0">
                  <a:pos x="105" y="48"/>
                </a:cxn>
                <a:cxn ang="0">
                  <a:pos x="82" y="48"/>
                </a:cxn>
                <a:cxn ang="0">
                  <a:pos x="75" y="58"/>
                </a:cxn>
                <a:cxn ang="0">
                  <a:pos x="71" y="69"/>
                </a:cxn>
                <a:cxn ang="0">
                  <a:pos x="63" y="73"/>
                </a:cxn>
                <a:cxn ang="0">
                  <a:pos x="48" y="77"/>
                </a:cxn>
                <a:cxn ang="0">
                  <a:pos x="21" y="77"/>
                </a:cxn>
                <a:cxn ang="0">
                  <a:pos x="6" y="83"/>
                </a:cxn>
                <a:cxn ang="0">
                  <a:pos x="2" y="89"/>
                </a:cxn>
                <a:cxn ang="0">
                  <a:pos x="0" y="98"/>
                </a:cxn>
                <a:cxn ang="0">
                  <a:pos x="2" y="106"/>
                </a:cxn>
                <a:cxn ang="0">
                  <a:pos x="10" y="110"/>
                </a:cxn>
                <a:cxn ang="0">
                  <a:pos x="17" y="131"/>
                </a:cxn>
                <a:cxn ang="0">
                  <a:pos x="50" y="150"/>
                </a:cxn>
                <a:cxn ang="0">
                  <a:pos x="65" y="154"/>
                </a:cxn>
                <a:cxn ang="0">
                  <a:pos x="73" y="165"/>
                </a:cxn>
                <a:cxn ang="0">
                  <a:pos x="75" y="171"/>
                </a:cxn>
                <a:cxn ang="0">
                  <a:pos x="73" y="177"/>
                </a:cxn>
                <a:cxn ang="0">
                  <a:pos x="79" y="186"/>
                </a:cxn>
                <a:cxn ang="0">
                  <a:pos x="90" y="192"/>
                </a:cxn>
                <a:cxn ang="0">
                  <a:pos x="100" y="200"/>
                </a:cxn>
                <a:cxn ang="0">
                  <a:pos x="100" y="213"/>
                </a:cxn>
                <a:cxn ang="0">
                  <a:pos x="104" y="221"/>
                </a:cxn>
                <a:cxn ang="0">
                  <a:pos x="125" y="229"/>
                </a:cxn>
                <a:cxn ang="0">
                  <a:pos x="132" y="234"/>
                </a:cxn>
                <a:cxn ang="0">
                  <a:pos x="140" y="242"/>
                </a:cxn>
                <a:cxn ang="0">
                  <a:pos x="140" y="246"/>
                </a:cxn>
                <a:cxn ang="0">
                  <a:pos x="152" y="248"/>
                </a:cxn>
                <a:cxn ang="0">
                  <a:pos x="161" y="250"/>
                </a:cxn>
                <a:cxn ang="0">
                  <a:pos x="180" y="250"/>
                </a:cxn>
                <a:cxn ang="0">
                  <a:pos x="234" y="250"/>
                </a:cxn>
                <a:cxn ang="0">
                  <a:pos x="251" y="242"/>
                </a:cxn>
                <a:cxn ang="0">
                  <a:pos x="259" y="231"/>
                </a:cxn>
                <a:cxn ang="0">
                  <a:pos x="265" y="223"/>
                </a:cxn>
                <a:cxn ang="0">
                  <a:pos x="272" y="211"/>
                </a:cxn>
                <a:cxn ang="0">
                  <a:pos x="278" y="196"/>
                </a:cxn>
                <a:cxn ang="0">
                  <a:pos x="282" y="177"/>
                </a:cxn>
                <a:cxn ang="0">
                  <a:pos x="284" y="156"/>
                </a:cxn>
                <a:cxn ang="0">
                  <a:pos x="286" y="142"/>
                </a:cxn>
                <a:cxn ang="0">
                  <a:pos x="294" y="127"/>
                </a:cxn>
                <a:cxn ang="0">
                  <a:pos x="301" y="112"/>
                </a:cxn>
                <a:cxn ang="0">
                  <a:pos x="301" y="98"/>
                </a:cxn>
                <a:cxn ang="0">
                  <a:pos x="297" y="85"/>
                </a:cxn>
                <a:cxn ang="0">
                  <a:pos x="299" y="69"/>
                </a:cxn>
                <a:cxn ang="0">
                  <a:pos x="295" y="62"/>
                </a:cxn>
                <a:cxn ang="0">
                  <a:pos x="280" y="52"/>
                </a:cxn>
                <a:cxn ang="0">
                  <a:pos x="263" y="41"/>
                </a:cxn>
                <a:cxn ang="0">
                  <a:pos x="240" y="35"/>
                </a:cxn>
                <a:cxn ang="0">
                  <a:pos x="221" y="27"/>
                </a:cxn>
                <a:cxn ang="0">
                  <a:pos x="207" y="23"/>
                </a:cxn>
                <a:cxn ang="0">
                  <a:pos x="199" y="16"/>
                </a:cxn>
              </a:cxnLst>
              <a:rect l="0" t="0" r="r" b="b"/>
              <a:pathLst>
                <a:path w="301" h="252">
                  <a:moveTo>
                    <a:pt x="199" y="6"/>
                  </a:moveTo>
                  <a:lnTo>
                    <a:pt x="173" y="6"/>
                  </a:lnTo>
                  <a:lnTo>
                    <a:pt x="167" y="4"/>
                  </a:lnTo>
                  <a:lnTo>
                    <a:pt x="161" y="2"/>
                  </a:lnTo>
                  <a:lnTo>
                    <a:pt x="155" y="2"/>
                  </a:lnTo>
                  <a:lnTo>
                    <a:pt x="150" y="0"/>
                  </a:lnTo>
                  <a:lnTo>
                    <a:pt x="144" y="4"/>
                  </a:lnTo>
                  <a:lnTo>
                    <a:pt x="138" y="6"/>
                  </a:lnTo>
                  <a:lnTo>
                    <a:pt x="132" y="14"/>
                  </a:lnTo>
                  <a:lnTo>
                    <a:pt x="127" y="21"/>
                  </a:lnTo>
                  <a:lnTo>
                    <a:pt x="125" y="27"/>
                  </a:lnTo>
                  <a:lnTo>
                    <a:pt x="123" y="35"/>
                  </a:lnTo>
                  <a:lnTo>
                    <a:pt x="119" y="41"/>
                  </a:lnTo>
                  <a:lnTo>
                    <a:pt x="115" y="43"/>
                  </a:lnTo>
                  <a:lnTo>
                    <a:pt x="111" y="46"/>
                  </a:lnTo>
                  <a:lnTo>
                    <a:pt x="105" y="48"/>
                  </a:lnTo>
                  <a:lnTo>
                    <a:pt x="94" y="48"/>
                  </a:lnTo>
                  <a:lnTo>
                    <a:pt x="82" y="48"/>
                  </a:lnTo>
                  <a:lnTo>
                    <a:pt x="79" y="54"/>
                  </a:lnTo>
                  <a:lnTo>
                    <a:pt x="75" y="58"/>
                  </a:lnTo>
                  <a:lnTo>
                    <a:pt x="73" y="64"/>
                  </a:lnTo>
                  <a:lnTo>
                    <a:pt x="71" y="69"/>
                  </a:lnTo>
                  <a:lnTo>
                    <a:pt x="69" y="71"/>
                  </a:lnTo>
                  <a:lnTo>
                    <a:pt x="63" y="73"/>
                  </a:lnTo>
                  <a:lnTo>
                    <a:pt x="56" y="75"/>
                  </a:lnTo>
                  <a:lnTo>
                    <a:pt x="48" y="77"/>
                  </a:lnTo>
                  <a:lnTo>
                    <a:pt x="31" y="77"/>
                  </a:lnTo>
                  <a:lnTo>
                    <a:pt x="21" y="77"/>
                  </a:lnTo>
                  <a:lnTo>
                    <a:pt x="13" y="79"/>
                  </a:lnTo>
                  <a:lnTo>
                    <a:pt x="6" y="83"/>
                  </a:lnTo>
                  <a:lnTo>
                    <a:pt x="4" y="85"/>
                  </a:lnTo>
                  <a:lnTo>
                    <a:pt x="2" y="89"/>
                  </a:lnTo>
                  <a:lnTo>
                    <a:pt x="0" y="92"/>
                  </a:lnTo>
                  <a:lnTo>
                    <a:pt x="0" y="98"/>
                  </a:lnTo>
                  <a:lnTo>
                    <a:pt x="0" y="102"/>
                  </a:lnTo>
                  <a:lnTo>
                    <a:pt x="2" y="106"/>
                  </a:lnTo>
                  <a:lnTo>
                    <a:pt x="6" y="108"/>
                  </a:lnTo>
                  <a:lnTo>
                    <a:pt x="10" y="110"/>
                  </a:lnTo>
                  <a:lnTo>
                    <a:pt x="13" y="119"/>
                  </a:lnTo>
                  <a:lnTo>
                    <a:pt x="17" y="131"/>
                  </a:lnTo>
                  <a:lnTo>
                    <a:pt x="33" y="140"/>
                  </a:lnTo>
                  <a:lnTo>
                    <a:pt x="50" y="150"/>
                  </a:lnTo>
                  <a:lnTo>
                    <a:pt x="58" y="154"/>
                  </a:lnTo>
                  <a:lnTo>
                    <a:pt x="65" y="154"/>
                  </a:lnTo>
                  <a:lnTo>
                    <a:pt x="71" y="158"/>
                  </a:lnTo>
                  <a:lnTo>
                    <a:pt x="73" y="165"/>
                  </a:lnTo>
                  <a:lnTo>
                    <a:pt x="79" y="171"/>
                  </a:lnTo>
                  <a:lnTo>
                    <a:pt x="75" y="171"/>
                  </a:lnTo>
                  <a:lnTo>
                    <a:pt x="73" y="173"/>
                  </a:lnTo>
                  <a:lnTo>
                    <a:pt x="73" y="177"/>
                  </a:lnTo>
                  <a:lnTo>
                    <a:pt x="75" y="179"/>
                  </a:lnTo>
                  <a:lnTo>
                    <a:pt x="79" y="186"/>
                  </a:lnTo>
                  <a:lnTo>
                    <a:pt x="81" y="190"/>
                  </a:lnTo>
                  <a:lnTo>
                    <a:pt x="90" y="192"/>
                  </a:lnTo>
                  <a:lnTo>
                    <a:pt x="100" y="194"/>
                  </a:lnTo>
                  <a:lnTo>
                    <a:pt x="100" y="200"/>
                  </a:lnTo>
                  <a:lnTo>
                    <a:pt x="100" y="206"/>
                  </a:lnTo>
                  <a:lnTo>
                    <a:pt x="100" y="213"/>
                  </a:lnTo>
                  <a:lnTo>
                    <a:pt x="102" y="217"/>
                  </a:lnTo>
                  <a:lnTo>
                    <a:pt x="104" y="221"/>
                  </a:lnTo>
                  <a:lnTo>
                    <a:pt x="113" y="225"/>
                  </a:lnTo>
                  <a:lnTo>
                    <a:pt x="125" y="229"/>
                  </a:lnTo>
                  <a:lnTo>
                    <a:pt x="129" y="231"/>
                  </a:lnTo>
                  <a:lnTo>
                    <a:pt x="132" y="234"/>
                  </a:lnTo>
                  <a:lnTo>
                    <a:pt x="136" y="238"/>
                  </a:lnTo>
                  <a:lnTo>
                    <a:pt x="140" y="242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6" y="248"/>
                  </a:lnTo>
                  <a:lnTo>
                    <a:pt x="152" y="248"/>
                  </a:lnTo>
                  <a:lnTo>
                    <a:pt x="155" y="248"/>
                  </a:lnTo>
                  <a:lnTo>
                    <a:pt x="161" y="250"/>
                  </a:lnTo>
                  <a:lnTo>
                    <a:pt x="169" y="252"/>
                  </a:lnTo>
                  <a:lnTo>
                    <a:pt x="180" y="250"/>
                  </a:lnTo>
                  <a:lnTo>
                    <a:pt x="226" y="252"/>
                  </a:lnTo>
                  <a:lnTo>
                    <a:pt x="234" y="250"/>
                  </a:lnTo>
                  <a:lnTo>
                    <a:pt x="242" y="246"/>
                  </a:lnTo>
                  <a:lnTo>
                    <a:pt x="251" y="242"/>
                  </a:lnTo>
                  <a:lnTo>
                    <a:pt x="257" y="236"/>
                  </a:lnTo>
                  <a:lnTo>
                    <a:pt x="259" y="231"/>
                  </a:lnTo>
                  <a:lnTo>
                    <a:pt x="261" y="227"/>
                  </a:lnTo>
                  <a:lnTo>
                    <a:pt x="265" y="223"/>
                  </a:lnTo>
                  <a:lnTo>
                    <a:pt x="269" y="219"/>
                  </a:lnTo>
                  <a:lnTo>
                    <a:pt x="272" y="211"/>
                  </a:lnTo>
                  <a:lnTo>
                    <a:pt x="276" y="204"/>
                  </a:lnTo>
                  <a:lnTo>
                    <a:pt x="278" y="196"/>
                  </a:lnTo>
                  <a:lnTo>
                    <a:pt x="280" y="186"/>
                  </a:lnTo>
                  <a:lnTo>
                    <a:pt x="282" y="177"/>
                  </a:lnTo>
                  <a:lnTo>
                    <a:pt x="284" y="167"/>
                  </a:lnTo>
                  <a:lnTo>
                    <a:pt x="284" y="156"/>
                  </a:lnTo>
                  <a:lnTo>
                    <a:pt x="280" y="146"/>
                  </a:lnTo>
                  <a:lnTo>
                    <a:pt x="286" y="142"/>
                  </a:lnTo>
                  <a:lnTo>
                    <a:pt x="290" y="137"/>
                  </a:lnTo>
                  <a:lnTo>
                    <a:pt x="294" y="127"/>
                  </a:lnTo>
                  <a:lnTo>
                    <a:pt x="297" y="117"/>
                  </a:lnTo>
                  <a:lnTo>
                    <a:pt x="301" y="112"/>
                  </a:lnTo>
                  <a:lnTo>
                    <a:pt x="301" y="106"/>
                  </a:lnTo>
                  <a:lnTo>
                    <a:pt x="301" y="98"/>
                  </a:lnTo>
                  <a:lnTo>
                    <a:pt x="299" y="92"/>
                  </a:lnTo>
                  <a:lnTo>
                    <a:pt x="297" y="85"/>
                  </a:lnTo>
                  <a:lnTo>
                    <a:pt x="299" y="75"/>
                  </a:lnTo>
                  <a:lnTo>
                    <a:pt x="299" y="69"/>
                  </a:lnTo>
                  <a:lnTo>
                    <a:pt x="297" y="66"/>
                  </a:lnTo>
                  <a:lnTo>
                    <a:pt x="295" y="62"/>
                  </a:lnTo>
                  <a:lnTo>
                    <a:pt x="292" y="60"/>
                  </a:lnTo>
                  <a:lnTo>
                    <a:pt x="280" y="52"/>
                  </a:lnTo>
                  <a:lnTo>
                    <a:pt x="272" y="44"/>
                  </a:lnTo>
                  <a:lnTo>
                    <a:pt x="263" y="41"/>
                  </a:lnTo>
                  <a:lnTo>
                    <a:pt x="253" y="41"/>
                  </a:lnTo>
                  <a:lnTo>
                    <a:pt x="240" y="35"/>
                  </a:lnTo>
                  <a:lnTo>
                    <a:pt x="226" y="31"/>
                  </a:lnTo>
                  <a:lnTo>
                    <a:pt x="221" y="27"/>
                  </a:lnTo>
                  <a:lnTo>
                    <a:pt x="215" y="25"/>
                  </a:lnTo>
                  <a:lnTo>
                    <a:pt x="207" y="23"/>
                  </a:lnTo>
                  <a:lnTo>
                    <a:pt x="201" y="23"/>
                  </a:lnTo>
                  <a:lnTo>
                    <a:pt x="199" y="16"/>
                  </a:lnTo>
                  <a:lnTo>
                    <a:pt x="199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24" name="Freeform 100"/>
            <p:cNvSpPr>
              <a:spLocks/>
            </p:cNvSpPr>
            <p:nvPr/>
          </p:nvSpPr>
          <p:spPr bwMode="auto">
            <a:xfrm>
              <a:off x="2081" y="2890"/>
              <a:ext cx="301" cy="252"/>
            </a:xfrm>
            <a:custGeom>
              <a:avLst/>
              <a:gdLst/>
              <a:ahLst/>
              <a:cxnLst>
                <a:cxn ang="0">
                  <a:pos x="173" y="6"/>
                </a:cxn>
                <a:cxn ang="0">
                  <a:pos x="161" y="2"/>
                </a:cxn>
                <a:cxn ang="0">
                  <a:pos x="150" y="0"/>
                </a:cxn>
                <a:cxn ang="0">
                  <a:pos x="138" y="6"/>
                </a:cxn>
                <a:cxn ang="0">
                  <a:pos x="127" y="21"/>
                </a:cxn>
                <a:cxn ang="0">
                  <a:pos x="123" y="35"/>
                </a:cxn>
                <a:cxn ang="0">
                  <a:pos x="115" y="43"/>
                </a:cxn>
                <a:cxn ang="0">
                  <a:pos x="105" y="48"/>
                </a:cxn>
                <a:cxn ang="0">
                  <a:pos x="82" y="48"/>
                </a:cxn>
                <a:cxn ang="0">
                  <a:pos x="75" y="58"/>
                </a:cxn>
                <a:cxn ang="0">
                  <a:pos x="71" y="69"/>
                </a:cxn>
                <a:cxn ang="0">
                  <a:pos x="63" y="73"/>
                </a:cxn>
                <a:cxn ang="0">
                  <a:pos x="48" y="77"/>
                </a:cxn>
                <a:cxn ang="0">
                  <a:pos x="21" y="77"/>
                </a:cxn>
                <a:cxn ang="0">
                  <a:pos x="6" y="83"/>
                </a:cxn>
                <a:cxn ang="0">
                  <a:pos x="2" y="89"/>
                </a:cxn>
                <a:cxn ang="0">
                  <a:pos x="0" y="98"/>
                </a:cxn>
                <a:cxn ang="0">
                  <a:pos x="2" y="106"/>
                </a:cxn>
                <a:cxn ang="0">
                  <a:pos x="10" y="110"/>
                </a:cxn>
                <a:cxn ang="0">
                  <a:pos x="17" y="131"/>
                </a:cxn>
                <a:cxn ang="0">
                  <a:pos x="50" y="150"/>
                </a:cxn>
                <a:cxn ang="0">
                  <a:pos x="65" y="154"/>
                </a:cxn>
                <a:cxn ang="0">
                  <a:pos x="73" y="165"/>
                </a:cxn>
                <a:cxn ang="0">
                  <a:pos x="75" y="171"/>
                </a:cxn>
                <a:cxn ang="0">
                  <a:pos x="73" y="177"/>
                </a:cxn>
                <a:cxn ang="0">
                  <a:pos x="79" y="186"/>
                </a:cxn>
                <a:cxn ang="0">
                  <a:pos x="90" y="192"/>
                </a:cxn>
                <a:cxn ang="0">
                  <a:pos x="100" y="200"/>
                </a:cxn>
                <a:cxn ang="0">
                  <a:pos x="100" y="213"/>
                </a:cxn>
                <a:cxn ang="0">
                  <a:pos x="104" y="221"/>
                </a:cxn>
                <a:cxn ang="0">
                  <a:pos x="125" y="229"/>
                </a:cxn>
                <a:cxn ang="0">
                  <a:pos x="132" y="234"/>
                </a:cxn>
                <a:cxn ang="0">
                  <a:pos x="140" y="242"/>
                </a:cxn>
                <a:cxn ang="0">
                  <a:pos x="140" y="246"/>
                </a:cxn>
                <a:cxn ang="0">
                  <a:pos x="152" y="248"/>
                </a:cxn>
                <a:cxn ang="0">
                  <a:pos x="161" y="250"/>
                </a:cxn>
                <a:cxn ang="0">
                  <a:pos x="180" y="250"/>
                </a:cxn>
                <a:cxn ang="0">
                  <a:pos x="234" y="250"/>
                </a:cxn>
                <a:cxn ang="0">
                  <a:pos x="251" y="242"/>
                </a:cxn>
                <a:cxn ang="0">
                  <a:pos x="259" y="231"/>
                </a:cxn>
                <a:cxn ang="0">
                  <a:pos x="265" y="223"/>
                </a:cxn>
                <a:cxn ang="0">
                  <a:pos x="272" y="211"/>
                </a:cxn>
                <a:cxn ang="0">
                  <a:pos x="278" y="196"/>
                </a:cxn>
                <a:cxn ang="0">
                  <a:pos x="282" y="177"/>
                </a:cxn>
                <a:cxn ang="0">
                  <a:pos x="284" y="156"/>
                </a:cxn>
                <a:cxn ang="0">
                  <a:pos x="286" y="142"/>
                </a:cxn>
                <a:cxn ang="0">
                  <a:pos x="294" y="127"/>
                </a:cxn>
                <a:cxn ang="0">
                  <a:pos x="301" y="112"/>
                </a:cxn>
                <a:cxn ang="0">
                  <a:pos x="301" y="98"/>
                </a:cxn>
                <a:cxn ang="0">
                  <a:pos x="297" y="85"/>
                </a:cxn>
                <a:cxn ang="0">
                  <a:pos x="299" y="69"/>
                </a:cxn>
                <a:cxn ang="0">
                  <a:pos x="295" y="62"/>
                </a:cxn>
                <a:cxn ang="0">
                  <a:pos x="280" y="52"/>
                </a:cxn>
                <a:cxn ang="0">
                  <a:pos x="263" y="41"/>
                </a:cxn>
                <a:cxn ang="0">
                  <a:pos x="240" y="35"/>
                </a:cxn>
                <a:cxn ang="0">
                  <a:pos x="221" y="27"/>
                </a:cxn>
                <a:cxn ang="0">
                  <a:pos x="207" y="23"/>
                </a:cxn>
                <a:cxn ang="0">
                  <a:pos x="199" y="16"/>
                </a:cxn>
              </a:cxnLst>
              <a:rect l="0" t="0" r="r" b="b"/>
              <a:pathLst>
                <a:path w="301" h="252">
                  <a:moveTo>
                    <a:pt x="199" y="6"/>
                  </a:moveTo>
                  <a:lnTo>
                    <a:pt x="173" y="6"/>
                  </a:lnTo>
                  <a:lnTo>
                    <a:pt x="167" y="4"/>
                  </a:lnTo>
                  <a:lnTo>
                    <a:pt x="161" y="2"/>
                  </a:lnTo>
                  <a:lnTo>
                    <a:pt x="155" y="2"/>
                  </a:lnTo>
                  <a:lnTo>
                    <a:pt x="150" y="0"/>
                  </a:lnTo>
                  <a:lnTo>
                    <a:pt x="144" y="4"/>
                  </a:lnTo>
                  <a:lnTo>
                    <a:pt x="138" y="6"/>
                  </a:lnTo>
                  <a:lnTo>
                    <a:pt x="132" y="14"/>
                  </a:lnTo>
                  <a:lnTo>
                    <a:pt x="127" y="21"/>
                  </a:lnTo>
                  <a:lnTo>
                    <a:pt x="125" y="27"/>
                  </a:lnTo>
                  <a:lnTo>
                    <a:pt x="123" y="35"/>
                  </a:lnTo>
                  <a:lnTo>
                    <a:pt x="119" y="41"/>
                  </a:lnTo>
                  <a:lnTo>
                    <a:pt x="115" y="43"/>
                  </a:lnTo>
                  <a:lnTo>
                    <a:pt x="111" y="46"/>
                  </a:lnTo>
                  <a:lnTo>
                    <a:pt x="105" y="48"/>
                  </a:lnTo>
                  <a:lnTo>
                    <a:pt x="94" y="48"/>
                  </a:lnTo>
                  <a:lnTo>
                    <a:pt x="82" y="48"/>
                  </a:lnTo>
                  <a:lnTo>
                    <a:pt x="79" y="54"/>
                  </a:lnTo>
                  <a:lnTo>
                    <a:pt x="75" y="58"/>
                  </a:lnTo>
                  <a:lnTo>
                    <a:pt x="73" y="64"/>
                  </a:lnTo>
                  <a:lnTo>
                    <a:pt x="71" y="69"/>
                  </a:lnTo>
                  <a:lnTo>
                    <a:pt x="69" y="71"/>
                  </a:lnTo>
                  <a:lnTo>
                    <a:pt x="63" y="73"/>
                  </a:lnTo>
                  <a:lnTo>
                    <a:pt x="56" y="75"/>
                  </a:lnTo>
                  <a:lnTo>
                    <a:pt x="48" y="77"/>
                  </a:lnTo>
                  <a:lnTo>
                    <a:pt x="31" y="77"/>
                  </a:lnTo>
                  <a:lnTo>
                    <a:pt x="21" y="77"/>
                  </a:lnTo>
                  <a:lnTo>
                    <a:pt x="13" y="79"/>
                  </a:lnTo>
                  <a:lnTo>
                    <a:pt x="6" y="83"/>
                  </a:lnTo>
                  <a:lnTo>
                    <a:pt x="4" y="85"/>
                  </a:lnTo>
                  <a:lnTo>
                    <a:pt x="2" y="89"/>
                  </a:lnTo>
                  <a:lnTo>
                    <a:pt x="0" y="92"/>
                  </a:lnTo>
                  <a:lnTo>
                    <a:pt x="0" y="98"/>
                  </a:lnTo>
                  <a:lnTo>
                    <a:pt x="0" y="102"/>
                  </a:lnTo>
                  <a:lnTo>
                    <a:pt x="2" y="106"/>
                  </a:lnTo>
                  <a:lnTo>
                    <a:pt x="6" y="108"/>
                  </a:lnTo>
                  <a:lnTo>
                    <a:pt x="10" y="110"/>
                  </a:lnTo>
                  <a:lnTo>
                    <a:pt x="13" y="119"/>
                  </a:lnTo>
                  <a:lnTo>
                    <a:pt x="17" y="131"/>
                  </a:lnTo>
                  <a:lnTo>
                    <a:pt x="33" y="140"/>
                  </a:lnTo>
                  <a:lnTo>
                    <a:pt x="50" y="150"/>
                  </a:lnTo>
                  <a:lnTo>
                    <a:pt x="58" y="154"/>
                  </a:lnTo>
                  <a:lnTo>
                    <a:pt x="65" y="154"/>
                  </a:lnTo>
                  <a:lnTo>
                    <a:pt x="71" y="158"/>
                  </a:lnTo>
                  <a:lnTo>
                    <a:pt x="73" y="165"/>
                  </a:lnTo>
                  <a:lnTo>
                    <a:pt x="79" y="171"/>
                  </a:lnTo>
                  <a:lnTo>
                    <a:pt x="75" y="171"/>
                  </a:lnTo>
                  <a:lnTo>
                    <a:pt x="73" y="173"/>
                  </a:lnTo>
                  <a:lnTo>
                    <a:pt x="73" y="177"/>
                  </a:lnTo>
                  <a:lnTo>
                    <a:pt x="75" y="179"/>
                  </a:lnTo>
                  <a:lnTo>
                    <a:pt x="79" y="186"/>
                  </a:lnTo>
                  <a:lnTo>
                    <a:pt x="81" y="190"/>
                  </a:lnTo>
                  <a:lnTo>
                    <a:pt x="90" y="192"/>
                  </a:lnTo>
                  <a:lnTo>
                    <a:pt x="100" y="194"/>
                  </a:lnTo>
                  <a:lnTo>
                    <a:pt x="100" y="200"/>
                  </a:lnTo>
                  <a:lnTo>
                    <a:pt x="100" y="206"/>
                  </a:lnTo>
                  <a:lnTo>
                    <a:pt x="100" y="213"/>
                  </a:lnTo>
                  <a:lnTo>
                    <a:pt x="102" y="217"/>
                  </a:lnTo>
                  <a:lnTo>
                    <a:pt x="104" y="221"/>
                  </a:lnTo>
                  <a:lnTo>
                    <a:pt x="113" y="225"/>
                  </a:lnTo>
                  <a:lnTo>
                    <a:pt x="125" y="229"/>
                  </a:lnTo>
                  <a:lnTo>
                    <a:pt x="129" y="231"/>
                  </a:lnTo>
                  <a:lnTo>
                    <a:pt x="132" y="234"/>
                  </a:lnTo>
                  <a:lnTo>
                    <a:pt x="136" y="238"/>
                  </a:lnTo>
                  <a:lnTo>
                    <a:pt x="140" y="242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6" y="248"/>
                  </a:lnTo>
                  <a:lnTo>
                    <a:pt x="152" y="248"/>
                  </a:lnTo>
                  <a:lnTo>
                    <a:pt x="155" y="248"/>
                  </a:lnTo>
                  <a:lnTo>
                    <a:pt x="161" y="250"/>
                  </a:lnTo>
                  <a:lnTo>
                    <a:pt x="169" y="252"/>
                  </a:lnTo>
                  <a:lnTo>
                    <a:pt x="180" y="250"/>
                  </a:lnTo>
                  <a:lnTo>
                    <a:pt x="226" y="252"/>
                  </a:lnTo>
                  <a:lnTo>
                    <a:pt x="234" y="250"/>
                  </a:lnTo>
                  <a:lnTo>
                    <a:pt x="242" y="246"/>
                  </a:lnTo>
                  <a:lnTo>
                    <a:pt x="251" y="242"/>
                  </a:lnTo>
                  <a:lnTo>
                    <a:pt x="257" y="236"/>
                  </a:lnTo>
                  <a:lnTo>
                    <a:pt x="259" y="231"/>
                  </a:lnTo>
                  <a:lnTo>
                    <a:pt x="261" y="227"/>
                  </a:lnTo>
                  <a:lnTo>
                    <a:pt x="265" y="223"/>
                  </a:lnTo>
                  <a:lnTo>
                    <a:pt x="269" y="219"/>
                  </a:lnTo>
                  <a:lnTo>
                    <a:pt x="272" y="211"/>
                  </a:lnTo>
                  <a:lnTo>
                    <a:pt x="276" y="204"/>
                  </a:lnTo>
                  <a:lnTo>
                    <a:pt x="278" y="196"/>
                  </a:lnTo>
                  <a:lnTo>
                    <a:pt x="280" y="186"/>
                  </a:lnTo>
                  <a:lnTo>
                    <a:pt x="282" y="177"/>
                  </a:lnTo>
                  <a:lnTo>
                    <a:pt x="284" y="167"/>
                  </a:lnTo>
                  <a:lnTo>
                    <a:pt x="284" y="156"/>
                  </a:lnTo>
                  <a:lnTo>
                    <a:pt x="280" y="146"/>
                  </a:lnTo>
                  <a:lnTo>
                    <a:pt x="286" y="142"/>
                  </a:lnTo>
                  <a:lnTo>
                    <a:pt x="290" y="137"/>
                  </a:lnTo>
                  <a:lnTo>
                    <a:pt x="294" y="127"/>
                  </a:lnTo>
                  <a:lnTo>
                    <a:pt x="297" y="117"/>
                  </a:lnTo>
                  <a:lnTo>
                    <a:pt x="301" y="112"/>
                  </a:lnTo>
                  <a:lnTo>
                    <a:pt x="301" y="106"/>
                  </a:lnTo>
                  <a:lnTo>
                    <a:pt x="301" y="98"/>
                  </a:lnTo>
                  <a:lnTo>
                    <a:pt x="299" y="92"/>
                  </a:lnTo>
                  <a:lnTo>
                    <a:pt x="297" y="85"/>
                  </a:lnTo>
                  <a:lnTo>
                    <a:pt x="299" y="75"/>
                  </a:lnTo>
                  <a:lnTo>
                    <a:pt x="299" y="69"/>
                  </a:lnTo>
                  <a:lnTo>
                    <a:pt x="297" y="66"/>
                  </a:lnTo>
                  <a:lnTo>
                    <a:pt x="295" y="62"/>
                  </a:lnTo>
                  <a:lnTo>
                    <a:pt x="292" y="60"/>
                  </a:lnTo>
                  <a:lnTo>
                    <a:pt x="280" y="52"/>
                  </a:lnTo>
                  <a:lnTo>
                    <a:pt x="272" y="44"/>
                  </a:lnTo>
                  <a:lnTo>
                    <a:pt x="263" y="41"/>
                  </a:lnTo>
                  <a:lnTo>
                    <a:pt x="253" y="41"/>
                  </a:lnTo>
                  <a:lnTo>
                    <a:pt x="240" y="35"/>
                  </a:lnTo>
                  <a:lnTo>
                    <a:pt x="226" y="31"/>
                  </a:lnTo>
                  <a:lnTo>
                    <a:pt x="221" y="27"/>
                  </a:lnTo>
                  <a:lnTo>
                    <a:pt x="215" y="25"/>
                  </a:lnTo>
                  <a:lnTo>
                    <a:pt x="207" y="23"/>
                  </a:lnTo>
                  <a:lnTo>
                    <a:pt x="201" y="23"/>
                  </a:lnTo>
                  <a:lnTo>
                    <a:pt x="199" y="16"/>
                  </a:lnTo>
                  <a:lnTo>
                    <a:pt x="199" y="6"/>
                  </a:lnTo>
                </a:path>
              </a:pathLst>
            </a:custGeom>
            <a:no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25" name="Freeform 101"/>
            <p:cNvSpPr>
              <a:spLocks/>
            </p:cNvSpPr>
            <p:nvPr/>
          </p:nvSpPr>
          <p:spPr bwMode="auto">
            <a:xfrm>
              <a:off x="722" y="1403"/>
              <a:ext cx="613" cy="551"/>
            </a:xfrm>
            <a:custGeom>
              <a:avLst/>
              <a:gdLst/>
              <a:ahLst/>
              <a:cxnLst>
                <a:cxn ang="0">
                  <a:pos x="277" y="2"/>
                </a:cxn>
                <a:cxn ang="0">
                  <a:pos x="265" y="2"/>
                </a:cxn>
                <a:cxn ang="0">
                  <a:pos x="248" y="0"/>
                </a:cxn>
                <a:cxn ang="0">
                  <a:pos x="256" y="315"/>
                </a:cxn>
                <a:cxn ang="0">
                  <a:pos x="71" y="349"/>
                </a:cxn>
                <a:cxn ang="0">
                  <a:pos x="62" y="338"/>
                </a:cxn>
                <a:cxn ang="0">
                  <a:pos x="41" y="344"/>
                </a:cxn>
                <a:cxn ang="0">
                  <a:pos x="31" y="365"/>
                </a:cxn>
                <a:cxn ang="0">
                  <a:pos x="12" y="374"/>
                </a:cxn>
                <a:cxn ang="0">
                  <a:pos x="4" y="392"/>
                </a:cxn>
                <a:cxn ang="0">
                  <a:pos x="10" y="409"/>
                </a:cxn>
                <a:cxn ang="0">
                  <a:pos x="12" y="430"/>
                </a:cxn>
                <a:cxn ang="0">
                  <a:pos x="25" y="442"/>
                </a:cxn>
                <a:cxn ang="0">
                  <a:pos x="29" y="465"/>
                </a:cxn>
                <a:cxn ang="0">
                  <a:pos x="41" y="474"/>
                </a:cxn>
                <a:cxn ang="0">
                  <a:pos x="56" y="482"/>
                </a:cxn>
                <a:cxn ang="0">
                  <a:pos x="77" y="472"/>
                </a:cxn>
                <a:cxn ang="0">
                  <a:pos x="98" y="470"/>
                </a:cxn>
                <a:cxn ang="0">
                  <a:pos x="114" y="463"/>
                </a:cxn>
                <a:cxn ang="0">
                  <a:pos x="125" y="476"/>
                </a:cxn>
                <a:cxn ang="0">
                  <a:pos x="133" y="499"/>
                </a:cxn>
                <a:cxn ang="0">
                  <a:pos x="135" y="518"/>
                </a:cxn>
                <a:cxn ang="0">
                  <a:pos x="144" y="532"/>
                </a:cxn>
                <a:cxn ang="0">
                  <a:pos x="152" y="549"/>
                </a:cxn>
                <a:cxn ang="0">
                  <a:pos x="169" y="547"/>
                </a:cxn>
                <a:cxn ang="0">
                  <a:pos x="187" y="545"/>
                </a:cxn>
                <a:cxn ang="0">
                  <a:pos x="202" y="538"/>
                </a:cxn>
                <a:cxn ang="0">
                  <a:pos x="219" y="528"/>
                </a:cxn>
                <a:cxn ang="0">
                  <a:pos x="233" y="539"/>
                </a:cxn>
                <a:cxn ang="0">
                  <a:pos x="246" y="530"/>
                </a:cxn>
                <a:cxn ang="0">
                  <a:pos x="246" y="513"/>
                </a:cxn>
                <a:cxn ang="0">
                  <a:pos x="246" y="495"/>
                </a:cxn>
                <a:cxn ang="0">
                  <a:pos x="263" y="488"/>
                </a:cxn>
                <a:cxn ang="0">
                  <a:pos x="279" y="482"/>
                </a:cxn>
                <a:cxn ang="0">
                  <a:pos x="288" y="465"/>
                </a:cxn>
                <a:cxn ang="0">
                  <a:pos x="298" y="442"/>
                </a:cxn>
                <a:cxn ang="0">
                  <a:pos x="321" y="443"/>
                </a:cxn>
                <a:cxn ang="0">
                  <a:pos x="338" y="417"/>
                </a:cxn>
                <a:cxn ang="0">
                  <a:pos x="361" y="409"/>
                </a:cxn>
                <a:cxn ang="0">
                  <a:pos x="377" y="401"/>
                </a:cxn>
                <a:cxn ang="0">
                  <a:pos x="390" y="390"/>
                </a:cxn>
                <a:cxn ang="0">
                  <a:pos x="413" y="365"/>
                </a:cxn>
                <a:cxn ang="0">
                  <a:pos x="438" y="371"/>
                </a:cxn>
                <a:cxn ang="0">
                  <a:pos x="463" y="367"/>
                </a:cxn>
                <a:cxn ang="0">
                  <a:pos x="494" y="363"/>
                </a:cxn>
                <a:cxn ang="0">
                  <a:pos x="520" y="357"/>
                </a:cxn>
                <a:cxn ang="0">
                  <a:pos x="547" y="353"/>
                </a:cxn>
                <a:cxn ang="0">
                  <a:pos x="574" y="348"/>
                </a:cxn>
                <a:cxn ang="0">
                  <a:pos x="601" y="348"/>
                </a:cxn>
                <a:cxn ang="0">
                  <a:pos x="611" y="317"/>
                </a:cxn>
                <a:cxn ang="0">
                  <a:pos x="609" y="290"/>
                </a:cxn>
                <a:cxn ang="0">
                  <a:pos x="609" y="259"/>
                </a:cxn>
                <a:cxn ang="0">
                  <a:pos x="607" y="230"/>
                </a:cxn>
                <a:cxn ang="0">
                  <a:pos x="595" y="223"/>
                </a:cxn>
                <a:cxn ang="0">
                  <a:pos x="570" y="221"/>
                </a:cxn>
                <a:cxn ang="0">
                  <a:pos x="567" y="202"/>
                </a:cxn>
                <a:cxn ang="0">
                  <a:pos x="553" y="190"/>
                </a:cxn>
                <a:cxn ang="0">
                  <a:pos x="534" y="181"/>
                </a:cxn>
                <a:cxn ang="0">
                  <a:pos x="522" y="165"/>
                </a:cxn>
              </a:cxnLst>
              <a:rect l="0" t="0" r="r" b="b"/>
              <a:pathLst>
                <a:path w="613" h="551">
                  <a:moveTo>
                    <a:pt x="298" y="0"/>
                  </a:moveTo>
                  <a:lnTo>
                    <a:pt x="292" y="2"/>
                  </a:lnTo>
                  <a:lnTo>
                    <a:pt x="290" y="2"/>
                  </a:lnTo>
                  <a:lnTo>
                    <a:pt x="288" y="2"/>
                  </a:lnTo>
                  <a:lnTo>
                    <a:pt x="284" y="2"/>
                  </a:lnTo>
                  <a:lnTo>
                    <a:pt x="283" y="2"/>
                  </a:lnTo>
                  <a:lnTo>
                    <a:pt x="279" y="2"/>
                  </a:lnTo>
                  <a:lnTo>
                    <a:pt x="277" y="2"/>
                  </a:lnTo>
                  <a:lnTo>
                    <a:pt x="275" y="2"/>
                  </a:lnTo>
                  <a:lnTo>
                    <a:pt x="273" y="2"/>
                  </a:lnTo>
                  <a:lnTo>
                    <a:pt x="271" y="2"/>
                  </a:lnTo>
                  <a:lnTo>
                    <a:pt x="269" y="2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5" y="2"/>
                  </a:lnTo>
                  <a:lnTo>
                    <a:pt x="261" y="2"/>
                  </a:lnTo>
                  <a:lnTo>
                    <a:pt x="260" y="2"/>
                  </a:lnTo>
                  <a:lnTo>
                    <a:pt x="258" y="0"/>
                  </a:lnTo>
                  <a:lnTo>
                    <a:pt x="256" y="0"/>
                  </a:lnTo>
                  <a:lnTo>
                    <a:pt x="254" y="0"/>
                  </a:lnTo>
                  <a:lnTo>
                    <a:pt x="252" y="0"/>
                  </a:lnTo>
                  <a:lnTo>
                    <a:pt x="250" y="0"/>
                  </a:lnTo>
                  <a:lnTo>
                    <a:pt x="248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4" y="0"/>
                  </a:lnTo>
                  <a:lnTo>
                    <a:pt x="240" y="0"/>
                  </a:lnTo>
                  <a:lnTo>
                    <a:pt x="238" y="0"/>
                  </a:lnTo>
                  <a:lnTo>
                    <a:pt x="246" y="298"/>
                  </a:lnTo>
                  <a:lnTo>
                    <a:pt x="256" y="315"/>
                  </a:lnTo>
                  <a:lnTo>
                    <a:pt x="248" y="353"/>
                  </a:lnTo>
                  <a:lnTo>
                    <a:pt x="116" y="351"/>
                  </a:lnTo>
                  <a:lnTo>
                    <a:pt x="98" y="340"/>
                  </a:lnTo>
                  <a:lnTo>
                    <a:pt x="85" y="342"/>
                  </a:lnTo>
                  <a:lnTo>
                    <a:pt x="83" y="342"/>
                  </a:lnTo>
                  <a:lnTo>
                    <a:pt x="79" y="346"/>
                  </a:lnTo>
                  <a:lnTo>
                    <a:pt x="75" y="349"/>
                  </a:lnTo>
                  <a:lnTo>
                    <a:pt x="71" y="349"/>
                  </a:lnTo>
                  <a:lnTo>
                    <a:pt x="71" y="351"/>
                  </a:lnTo>
                  <a:lnTo>
                    <a:pt x="70" y="353"/>
                  </a:lnTo>
                  <a:lnTo>
                    <a:pt x="68" y="353"/>
                  </a:lnTo>
                  <a:lnTo>
                    <a:pt x="66" y="349"/>
                  </a:lnTo>
                  <a:lnTo>
                    <a:pt x="66" y="344"/>
                  </a:lnTo>
                  <a:lnTo>
                    <a:pt x="66" y="340"/>
                  </a:lnTo>
                  <a:lnTo>
                    <a:pt x="64" y="338"/>
                  </a:lnTo>
                  <a:lnTo>
                    <a:pt x="62" y="338"/>
                  </a:lnTo>
                  <a:lnTo>
                    <a:pt x="58" y="338"/>
                  </a:lnTo>
                  <a:lnTo>
                    <a:pt x="56" y="338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48" y="338"/>
                  </a:lnTo>
                  <a:lnTo>
                    <a:pt x="45" y="340"/>
                  </a:lnTo>
                  <a:lnTo>
                    <a:pt x="41" y="342"/>
                  </a:lnTo>
                  <a:lnTo>
                    <a:pt x="41" y="344"/>
                  </a:lnTo>
                  <a:lnTo>
                    <a:pt x="39" y="346"/>
                  </a:lnTo>
                  <a:lnTo>
                    <a:pt x="37" y="349"/>
                  </a:lnTo>
                  <a:lnTo>
                    <a:pt x="37" y="353"/>
                  </a:lnTo>
                  <a:lnTo>
                    <a:pt x="37" y="355"/>
                  </a:lnTo>
                  <a:lnTo>
                    <a:pt x="35" y="359"/>
                  </a:lnTo>
                  <a:lnTo>
                    <a:pt x="33" y="361"/>
                  </a:lnTo>
                  <a:lnTo>
                    <a:pt x="33" y="365"/>
                  </a:lnTo>
                  <a:lnTo>
                    <a:pt x="31" y="365"/>
                  </a:lnTo>
                  <a:lnTo>
                    <a:pt x="29" y="367"/>
                  </a:lnTo>
                  <a:lnTo>
                    <a:pt x="25" y="367"/>
                  </a:lnTo>
                  <a:lnTo>
                    <a:pt x="25" y="369"/>
                  </a:lnTo>
                  <a:lnTo>
                    <a:pt x="23" y="371"/>
                  </a:lnTo>
                  <a:lnTo>
                    <a:pt x="20" y="372"/>
                  </a:lnTo>
                  <a:lnTo>
                    <a:pt x="18" y="372"/>
                  </a:lnTo>
                  <a:lnTo>
                    <a:pt x="16" y="372"/>
                  </a:lnTo>
                  <a:lnTo>
                    <a:pt x="12" y="374"/>
                  </a:lnTo>
                  <a:lnTo>
                    <a:pt x="12" y="378"/>
                  </a:lnTo>
                  <a:lnTo>
                    <a:pt x="8" y="378"/>
                  </a:lnTo>
                  <a:lnTo>
                    <a:pt x="4" y="378"/>
                  </a:lnTo>
                  <a:lnTo>
                    <a:pt x="2" y="382"/>
                  </a:lnTo>
                  <a:lnTo>
                    <a:pt x="0" y="382"/>
                  </a:lnTo>
                  <a:lnTo>
                    <a:pt x="0" y="388"/>
                  </a:lnTo>
                  <a:lnTo>
                    <a:pt x="2" y="390"/>
                  </a:lnTo>
                  <a:lnTo>
                    <a:pt x="4" y="392"/>
                  </a:lnTo>
                  <a:lnTo>
                    <a:pt x="4" y="394"/>
                  </a:lnTo>
                  <a:lnTo>
                    <a:pt x="4" y="397"/>
                  </a:lnTo>
                  <a:lnTo>
                    <a:pt x="4" y="399"/>
                  </a:lnTo>
                  <a:lnTo>
                    <a:pt x="4" y="399"/>
                  </a:lnTo>
                  <a:lnTo>
                    <a:pt x="6" y="401"/>
                  </a:lnTo>
                  <a:lnTo>
                    <a:pt x="10" y="401"/>
                  </a:lnTo>
                  <a:lnTo>
                    <a:pt x="10" y="407"/>
                  </a:lnTo>
                  <a:lnTo>
                    <a:pt x="10" y="409"/>
                  </a:lnTo>
                  <a:lnTo>
                    <a:pt x="10" y="415"/>
                  </a:lnTo>
                  <a:lnTo>
                    <a:pt x="10" y="417"/>
                  </a:lnTo>
                  <a:lnTo>
                    <a:pt x="10" y="420"/>
                  </a:lnTo>
                  <a:lnTo>
                    <a:pt x="12" y="420"/>
                  </a:lnTo>
                  <a:lnTo>
                    <a:pt x="12" y="422"/>
                  </a:lnTo>
                  <a:lnTo>
                    <a:pt x="12" y="426"/>
                  </a:lnTo>
                  <a:lnTo>
                    <a:pt x="12" y="428"/>
                  </a:lnTo>
                  <a:lnTo>
                    <a:pt x="12" y="430"/>
                  </a:lnTo>
                  <a:lnTo>
                    <a:pt x="18" y="430"/>
                  </a:lnTo>
                  <a:lnTo>
                    <a:pt x="18" y="432"/>
                  </a:lnTo>
                  <a:lnTo>
                    <a:pt x="20" y="434"/>
                  </a:lnTo>
                  <a:lnTo>
                    <a:pt x="22" y="434"/>
                  </a:lnTo>
                  <a:lnTo>
                    <a:pt x="22" y="438"/>
                  </a:lnTo>
                  <a:lnTo>
                    <a:pt x="23" y="440"/>
                  </a:lnTo>
                  <a:lnTo>
                    <a:pt x="25" y="440"/>
                  </a:lnTo>
                  <a:lnTo>
                    <a:pt x="25" y="442"/>
                  </a:lnTo>
                  <a:lnTo>
                    <a:pt x="27" y="443"/>
                  </a:lnTo>
                  <a:lnTo>
                    <a:pt x="29" y="445"/>
                  </a:lnTo>
                  <a:lnTo>
                    <a:pt x="29" y="449"/>
                  </a:lnTo>
                  <a:lnTo>
                    <a:pt x="29" y="451"/>
                  </a:lnTo>
                  <a:lnTo>
                    <a:pt x="29" y="455"/>
                  </a:lnTo>
                  <a:lnTo>
                    <a:pt x="29" y="459"/>
                  </a:lnTo>
                  <a:lnTo>
                    <a:pt x="29" y="461"/>
                  </a:lnTo>
                  <a:lnTo>
                    <a:pt x="29" y="465"/>
                  </a:lnTo>
                  <a:lnTo>
                    <a:pt x="33" y="467"/>
                  </a:lnTo>
                  <a:lnTo>
                    <a:pt x="33" y="470"/>
                  </a:lnTo>
                  <a:lnTo>
                    <a:pt x="35" y="470"/>
                  </a:lnTo>
                  <a:lnTo>
                    <a:pt x="35" y="472"/>
                  </a:lnTo>
                  <a:lnTo>
                    <a:pt x="35" y="474"/>
                  </a:lnTo>
                  <a:lnTo>
                    <a:pt x="37" y="476"/>
                  </a:lnTo>
                  <a:lnTo>
                    <a:pt x="39" y="476"/>
                  </a:lnTo>
                  <a:lnTo>
                    <a:pt x="41" y="474"/>
                  </a:lnTo>
                  <a:lnTo>
                    <a:pt x="45" y="474"/>
                  </a:lnTo>
                  <a:lnTo>
                    <a:pt x="48" y="474"/>
                  </a:lnTo>
                  <a:lnTo>
                    <a:pt x="50" y="478"/>
                  </a:lnTo>
                  <a:lnTo>
                    <a:pt x="54" y="482"/>
                  </a:lnTo>
                  <a:lnTo>
                    <a:pt x="54" y="484"/>
                  </a:lnTo>
                  <a:lnTo>
                    <a:pt x="54" y="484"/>
                  </a:lnTo>
                  <a:lnTo>
                    <a:pt x="56" y="482"/>
                  </a:lnTo>
                  <a:lnTo>
                    <a:pt x="56" y="482"/>
                  </a:lnTo>
                  <a:lnTo>
                    <a:pt x="58" y="482"/>
                  </a:lnTo>
                  <a:lnTo>
                    <a:pt x="62" y="480"/>
                  </a:lnTo>
                  <a:lnTo>
                    <a:pt x="64" y="480"/>
                  </a:lnTo>
                  <a:lnTo>
                    <a:pt x="68" y="476"/>
                  </a:lnTo>
                  <a:lnTo>
                    <a:pt x="70" y="476"/>
                  </a:lnTo>
                  <a:lnTo>
                    <a:pt x="73" y="474"/>
                  </a:lnTo>
                  <a:lnTo>
                    <a:pt x="75" y="472"/>
                  </a:lnTo>
                  <a:lnTo>
                    <a:pt x="77" y="472"/>
                  </a:lnTo>
                  <a:lnTo>
                    <a:pt x="79" y="472"/>
                  </a:lnTo>
                  <a:lnTo>
                    <a:pt x="83" y="472"/>
                  </a:lnTo>
                  <a:lnTo>
                    <a:pt x="85" y="474"/>
                  </a:lnTo>
                  <a:lnTo>
                    <a:pt x="89" y="474"/>
                  </a:lnTo>
                  <a:lnTo>
                    <a:pt x="93" y="474"/>
                  </a:lnTo>
                  <a:lnTo>
                    <a:pt x="94" y="474"/>
                  </a:lnTo>
                  <a:lnTo>
                    <a:pt x="98" y="472"/>
                  </a:lnTo>
                  <a:lnTo>
                    <a:pt x="98" y="470"/>
                  </a:lnTo>
                  <a:lnTo>
                    <a:pt x="100" y="468"/>
                  </a:lnTo>
                  <a:lnTo>
                    <a:pt x="102" y="465"/>
                  </a:lnTo>
                  <a:lnTo>
                    <a:pt x="100" y="463"/>
                  </a:lnTo>
                  <a:lnTo>
                    <a:pt x="104" y="461"/>
                  </a:lnTo>
                  <a:lnTo>
                    <a:pt x="106" y="461"/>
                  </a:lnTo>
                  <a:lnTo>
                    <a:pt x="110" y="461"/>
                  </a:lnTo>
                  <a:lnTo>
                    <a:pt x="114" y="461"/>
                  </a:lnTo>
                  <a:lnTo>
                    <a:pt x="114" y="463"/>
                  </a:lnTo>
                  <a:lnTo>
                    <a:pt x="116" y="465"/>
                  </a:lnTo>
                  <a:lnTo>
                    <a:pt x="118" y="467"/>
                  </a:lnTo>
                  <a:lnTo>
                    <a:pt x="118" y="468"/>
                  </a:lnTo>
                  <a:lnTo>
                    <a:pt x="119" y="470"/>
                  </a:lnTo>
                  <a:lnTo>
                    <a:pt x="121" y="472"/>
                  </a:lnTo>
                  <a:lnTo>
                    <a:pt x="121" y="474"/>
                  </a:lnTo>
                  <a:lnTo>
                    <a:pt x="123" y="476"/>
                  </a:lnTo>
                  <a:lnTo>
                    <a:pt x="125" y="476"/>
                  </a:lnTo>
                  <a:lnTo>
                    <a:pt x="127" y="480"/>
                  </a:lnTo>
                  <a:lnTo>
                    <a:pt x="129" y="484"/>
                  </a:lnTo>
                  <a:lnTo>
                    <a:pt x="131" y="486"/>
                  </a:lnTo>
                  <a:lnTo>
                    <a:pt x="131" y="488"/>
                  </a:lnTo>
                  <a:lnTo>
                    <a:pt x="131" y="490"/>
                  </a:lnTo>
                  <a:lnTo>
                    <a:pt x="133" y="493"/>
                  </a:lnTo>
                  <a:lnTo>
                    <a:pt x="133" y="495"/>
                  </a:lnTo>
                  <a:lnTo>
                    <a:pt x="133" y="499"/>
                  </a:lnTo>
                  <a:lnTo>
                    <a:pt x="133" y="501"/>
                  </a:lnTo>
                  <a:lnTo>
                    <a:pt x="133" y="503"/>
                  </a:lnTo>
                  <a:lnTo>
                    <a:pt x="131" y="505"/>
                  </a:lnTo>
                  <a:lnTo>
                    <a:pt x="131" y="507"/>
                  </a:lnTo>
                  <a:lnTo>
                    <a:pt x="129" y="509"/>
                  </a:lnTo>
                  <a:lnTo>
                    <a:pt x="129" y="514"/>
                  </a:lnTo>
                  <a:lnTo>
                    <a:pt x="131" y="518"/>
                  </a:lnTo>
                  <a:lnTo>
                    <a:pt x="135" y="518"/>
                  </a:lnTo>
                  <a:lnTo>
                    <a:pt x="135" y="518"/>
                  </a:lnTo>
                  <a:lnTo>
                    <a:pt x="137" y="518"/>
                  </a:lnTo>
                  <a:lnTo>
                    <a:pt x="137" y="524"/>
                  </a:lnTo>
                  <a:lnTo>
                    <a:pt x="139" y="526"/>
                  </a:lnTo>
                  <a:lnTo>
                    <a:pt x="139" y="528"/>
                  </a:lnTo>
                  <a:lnTo>
                    <a:pt x="142" y="528"/>
                  </a:lnTo>
                  <a:lnTo>
                    <a:pt x="142" y="530"/>
                  </a:lnTo>
                  <a:lnTo>
                    <a:pt x="144" y="532"/>
                  </a:lnTo>
                  <a:lnTo>
                    <a:pt x="144" y="534"/>
                  </a:lnTo>
                  <a:lnTo>
                    <a:pt x="144" y="536"/>
                  </a:lnTo>
                  <a:lnTo>
                    <a:pt x="144" y="539"/>
                  </a:lnTo>
                  <a:lnTo>
                    <a:pt x="146" y="539"/>
                  </a:lnTo>
                  <a:lnTo>
                    <a:pt x="148" y="543"/>
                  </a:lnTo>
                  <a:lnTo>
                    <a:pt x="150" y="545"/>
                  </a:lnTo>
                  <a:lnTo>
                    <a:pt x="150" y="547"/>
                  </a:lnTo>
                  <a:lnTo>
                    <a:pt x="152" y="549"/>
                  </a:lnTo>
                  <a:lnTo>
                    <a:pt x="154" y="551"/>
                  </a:lnTo>
                  <a:lnTo>
                    <a:pt x="158" y="551"/>
                  </a:lnTo>
                  <a:lnTo>
                    <a:pt x="156" y="549"/>
                  </a:lnTo>
                  <a:lnTo>
                    <a:pt x="158" y="547"/>
                  </a:lnTo>
                  <a:lnTo>
                    <a:pt x="160" y="547"/>
                  </a:lnTo>
                  <a:lnTo>
                    <a:pt x="164" y="547"/>
                  </a:lnTo>
                  <a:lnTo>
                    <a:pt x="165" y="547"/>
                  </a:lnTo>
                  <a:lnTo>
                    <a:pt x="169" y="547"/>
                  </a:lnTo>
                  <a:lnTo>
                    <a:pt x="171" y="547"/>
                  </a:lnTo>
                  <a:lnTo>
                    <a:pt x="175" y="545"/>
                  </a:lnTo>
                  <a:lnTo>
                    <a:pt x="173" y="543"/>
                  </a:lnTo>
                  <a:lnTo>
                    <a:pt x="177" y="543"/>
                  </a:lnTo>
                  <a:lnTo>
                    <a:pt x="179" y="543"/>
                  </a:lnTo>
                  <a:lnTo>
                    <a:pt x="183" y="543"/>
                  </a:lnTo>
                  <a:lnTo>
                    <a:pt x="185" y="545"/>
                  </a:lnTo>
                  <a:lnTo>
                    <a:pt x="187" y="545"/>
                  </a:lnTo>
                  <a:lnTo>
                    <a:pt x="190" y="545"/>
                  </a:lnTo>
                  <a:lnTo>
                    <a:pt x="194" y="545"/>
                  </a:lnTo>
                  <a:lnTo>
                    <a:pt x="196" y="547"/>
                  </a:lnTo>
                  <a:lnTo>
                    <a:pt x="200" y="547"/>
                  </a:lnTo>
                  <a:lnTo>
                    <a:pt x="202" y="547"/>
                  </a:lnTo>
                  <a:lnTo>
                    <a:pt x="202" y="545"/>
                  </a:lnTo>
                  <a:lnTo>
                    <a:pt x="202" y="539"/>
                  </a:lnTo>
                  <a:lnTo>
                    <a:pt x="202" y="538"/>
                  </a:lnTo>
                  <a:lnTo>
                    <a:pt x="202" y="534"/>
                  </a:lnTo>
                  <a:lnTo>
                    <a:pt x="204" y="532"/>
                  </a:lnTo>
                  <a:lnTo>
                    <a:pt x="206" y="530"/>
                  </a:lnTo>
                  <a:lnTo>
                    <a:pt x="208" y="528"/>
                  </a:lnTo>
                  <a:lnTo>
                    <a:pt x="210" y="528"/>
                  </a:lnTo>
                  <a:lnTo>
                    <a:pt x="213" y="528"/>
                  </a:lnTo>
                  <a:lnTo>
                    <a:pt x="215" y="528"/>
                  </a:lnTo>
                  <a:lnTo>
                    <a:pt x="219" y="528"/>
                  </a:lnTo>
                  <a:lnTo>
                    <a:pt x="221" y="528"/>
                  </a:lnTo>
                  <a:lnTo>
                    <a:pt x="223" y="530"/>
                  </a:lnTo>
                  <a:lnTo>
                    <a:pt x="223" y="532"/>
                  </a:lnTo>
                  <a:lnTo>
                    <a:pt x="223" y="536"/>
                  </a:lnTo>
                  <a:lnTo>
                    <a:pt x="223" y="538"/>
                  </a:lnTo>
                  <a:lnTo>
                    <a:pt x="227" y="539"/>
                  </a:lnTo>
                  <a:lnTo>
                    <a:pt x="231" y="539"/>
                  </a:lnTo>
                  <a:lnTo>
                    <a:pt x="233" y="539"/>
                  </a:lnTo>
                  <a:lnTo>
                    <a:pt x="236" y="539"/>
                  </a:lnTo>
                  <a:lnTo>
                    <a:pt x="236" y="536"/>
                  </a:lnTo>
                  <a:lnTo>
                    <a:pt x="238" y="534"/>
                  </a:lnTo>
                  <a:lnTo>
                    <a:pt x="240" y="534"/>
                  </a:lnTo>
                  <a:lnTo>
                    <a:pt x="242" y="534"/>
                  </a:lnTo>
                  <a:lnTo>
                    <a:pt x="244" y="532"/>
                  </a:lnTo>
                  <a:lnTo>
                    <a:pt x="246" y="532"/>
                  </a:lnTo>
                  <a:lnTo>
                    <a:pt x="246" y="530"/>
                  </a:lnTo>
                  <a:lnTo>
                    <a:pt x="246" y="526"/>
                  </a:lnTo>
                  <a:lnTo>
                    <a:pt x="248" y="524"/>
                  </a:lnTo>
                  <a:lnTo>
                    <a:pt x="246" y="522"/>
                  </a:lnTo>
                  <a:lnTo>
                    <a:pt x="246" y="522"/>
                  </a:lnTo>
                  <a:lnTo>
                    <a:pt x="246" y="518"/>
                  </a:lnTo>
                  <a:lnTo>
                    <a:pt x="246" y="516"/>
                  </a:lnTo>
                  <a:lnTo>
                    <a:pt x="246" y="514"/>
                  </a:lnTo>
                  <a:lnTo>
                    <a:pt x="246" y="513"/>
                  </a:lnTo>
                  <a:lnTo>
                    <a:pt x="246" y="511"/>
                  </a:lnTo>
                  <a:lnTo>
                    <a:pt x="250" y="511"/>
                  </a:lnTo>
                  <a:lnTo>
                    <a:pt x="250" y="507"/>
                  </a:lnTo>
                  <a:lnTo>
                    <a:pt x="250" y="503"/>
                  </a:lnTo>
                  <a:lnTo>
                    <a:pt x="250" y="501"/>
                  </a:lnTo>
                  <a:lnTo>
                    <a:pt x="246" y="501"/>
                  </a:lnTo>
                  <a:lnTo>
                    <a:pt x="246" y="497"/>
                  </a:lnTo>
                  <a:lnTo>
                    <a:pt x="246" y="495"/>
                  </a:lnTo>
                  <a:lnTo>
                    <a:pt x="248" y="495"/>
                  </a:lnTo>
                  <a:lnTo>
                    <a:pt x="250" y="493"/>
                  </a:lnTo>
                  <a:lnTo>
                    <a:pt x="252" y="491"/>
                  </a:lnTo>
                  <a:lnTo>
                    <a:pt x="254" y="490"/>
                  </a:lnTo>
                  <a:lnTo>
                    <a:pt x="254" y="488"/>
                  </a:lnTo>
                  <a:lnTo>
                    <a:pt x="258" y="488"/>
                  </a:lnTo>
                  <a:lnTo>
                    <a:pt x="260" y="488"/>
                  </a:lnTo>
                  <a:lnTo>
                    <a:pt x="263" y="488"/>
                  </a:lnTo>
                  <a:lnTo>
                    <a:pt x="265" y="488"/>
                  </a:lnTo>
                  <a:lnTo>
                    <a:pt x="267" y="488"/>
                  </a:lnTo>
                  <a:lnTo>
                    <a:pt x="271" y="488"/>
                  </a:lnTo>
                  <a:lnTo>
                    <a:pt x="273" y="488"/>
                  </a:lnTo>
                  <a:lnTo>
                    <a:pt x="275" y="486"/>
                  </a:lnTo>
                  <a:lnTo>
                    <a:pt x="277" y="486"/>
                  </a:lnTo>
                  <a:lnTo>
                    <a:pt x="279" y="484"/>
                  </a:lnTo>
                  <a:lnTo>
                    <a:pt x="279" y="482"/>
                  </a:lnTo>
                  <a:lnTo>
                    <a:pt x="281" y="480"/>
                  </a:lnTo>
                  <a:lnTo>
                    <a:pt x="283" y="480"/>
                  </a:lnTo>
                  <a:lnTo>
                    <a:pt x="283" y="476"/>
                  </a:lnTo>
                  <a:lnTo>
                    <a:pt x="283" y="474"/>
                  </a:lnTo>
                  <a:lnTo>
                    <a:pt x="283" y="470"/>
                  </a:lnTo>
                  <a:lnTo>
                    <a:pt x="283" y="467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90" y="463"/>
                  </a:lnTo>
                  <a:lnTo>
                    <a:pt x="290" y="459"/>
                  </a:lnTo>
                  <a:lnTo>
                    <a:pt x="290" y="455"/>
                  </a:lnTo>
                  <a:lnTo>
                    <a:pt x="290" y="451"/>
                  </a:lnTo>
                  <a:lnTo>
                    <a:pt x="290" y="447"/>
                  </a:lnTo>
                  <a:lnTo>
                    <a:pt x="292" y="445"/>
                  </a:lnTo>
                  <a:lnTo>
                    <a:pt x="296" y="445"/>
                  </a:lnTo>
                  <a:lnTo>
                    <a:pt x="298" y="442"/>
                  </a:lnTo>
                  <a:lnTo>
                    <a:pt x="302" y="442"/>
                  </a:lnTo>
                  <a:lnTo>
                    <a:pt x="304" y="440"/>
                  </a:lnTo>
                  <a:lnTo>
                    <a:pt x="306" y="440"/>
                  </a:lnTo>
                  <a:lnTo>
                    <a:pt x="309" y="440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21" y="443"/>
                  </a:lnTo>
                  <a:lnTo>
                    <a:pt x="325" y="438"/>
                  </a:lnTo>
                  <a:lnTo>
                    <a:pt x="330" y="438"/>
                  </a:lnTo>
                  <a:lnTo>
                    <a:pt x="330" y="434"/>
                  </a:lnTo>
                  <a:lnTo>
                    <a:pt x="332" y="432"/>
                  </a:lnTo>
                  <a:lnTo>
                    <a:pt x="332" y="428"/>
                  </a:lnTo>
                  <a:lnTo>
                    <a:pt x="334" y="424"/>
                  </a:lnTo>
                  <a:lnTo>
                    <a:pt x="338" y="420"/>
                  </a:lnTo>
                  <a:lnTo>
                    <a:pt x="338" y="417"/>
                  </a:lnTo>
                  <a:lnTo>
                    <a:pt x="340" y="415"/>
                  </a:lnTo>
                  <a:lnTo>
                    <a:pt x="342" y="415"/>
                  </a:lnTo>
                  <a:lnTo>
                    <a:pt x="346" y="413"/>
                  </a:lnTo>
                  <a:lnTo>
                    <a:pt x="348" y="409"/>
                  </a:lnTo>
                  <a:lnTo>
                    <a:pt x="350" y="409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61" y="409"/>
                  </a:lnTo>
                  <a:lnTo>
                    <a:pt x="361" y="411"/>
                  </a:lnTo>
                  <a:lnTo>
                    <a:pt x="365" y="415"/>
                  </a:lnTo>
                  <a:lnTo>
                    <a:pt x="369" y="415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5" y="411"/>
                  </a:lnTo>
                  <a:lnTo>
                    <a:pt x="377" y="405"/>
                  </a:lnTo>
                  <a:lnTo>
                    <a:pt x="377" y="401"/>
                  </a:lnTo>
                  <a:lnTo>
                    <a:pt x="377" y="397"/>
                  </a:lnTo>
                  <a:lnTo>
                    <a:pt x="377" y="394"/>
                  </a:lnTo>
                  <a:lnTo>
                    <a:pt x="377" y="394"/>
                  </a:lnTo>
                  <a:lnTo>
                    <a:pt x="377" y="392"/>
                  </a:lnTo>
                  <a:lnTo>
                    <a:pt x="380" y="390"/>
                  </a:lnTo>
                  <a:lnTo>
                    <a:pt x="384" y="390"/>
                  </a:lnTo>
                  <a:lnTo>
                    <a:pt x="386" y="390"/>
                  </a:lnTo>
                  <a:lnTo>
                    <a:pt x="390" y="390"/>
                  </a:lnTo>
                  <a:lnTo>
                    <a:pt x="392" y="386"/>
                  </a:lnTo>
                  <a:lnTo>
                    <a:pt x="396" y="382"/>
                  </a:lnTo>
                  <a:lnTo>
                    <a:pt x="398" y="378"/>
                  </a:lnTo>
                  <a:lnTo>
                    <a:pt x="401" y="374"/>
                  </a:lnTo>
                  <a:lnTo>
                    <a:pt x="405" y="372"/>
                  </a:lnTo>
                  <a:lnTo>
                    <a:pt x="409" y="371"/>
                  </a:lnTo>
                  <a:lnTo>
                    <a:pt x="411" y="369"/>
                  </a:lnTo>
                  <a:lnTo>
                    <a:pt x="413" y="365"/>
                  </a:lnTo>
                  <a:lnTo>
                    <a:pt x="415" y="367"/>
                  </a:lnTo>
                  <a:lnTo>
                    <a:pt x="421" y="369"/>
                  </a:lnTo>
                  <a:lnTo>
                    <a:pt x="423" y="369"/>
                  </a:lnTo>
                  <a:lnTo>
                    <a:pt x="426" y="369"/>
                  </a:lnTo>
                  <a:lnTo>
                    <a:pt x="428" y="371"/>
                  </a:lnTo>
                  <a:lnTo>
                    <a:pt x="432" y="371"/>
                  </a:lnTo>
                  <a:lnTo>
                    <a:pt x="434" y="371"/>
                  </a:lnTo>
                  <a:lnTo>
                    <a:pt x="438" y="371"/>
                  </a:lnTo>
                  <a:lnTo>
                    <a:pt x="442" y="371"/>
                  </a:lnTo>
                  <a:lnTo>
                    <a:pt x="446" y="371"/>
                  </a:lnTo>
                  <a:lnTo>
                    <a:pt x="449" y="371"/>
                  </a:lnTo>
                  <a:lnTo>
                    <a:pt x="453" y="371"/>
                  </a:lnTo>
                  <a:lnTo>
                    <a:pt x="455" y="369"/>
                  </a:lnTo>
                  <a:lnTo>
                    <a:pt x="459" y="369"/>
                  </a:lnTo>
                  <a:lnTo>
                    <a:pt x="459" y="367"/>
                  </a:lnTo>
                  <a:lnTo>
                    <a:pt x="463" y="367"/>
                  </a:lnTo>
                  <a:lnTo>
                    <a:pt x="467" y="367"/>
                  </a:lnTo>
                  <a:lnTo>
                    <a:pt x="471" y="367"/>
                  </a:lnTo>
                  <a:lnTo>
                    <a:pt x="474" y="367"/>
                  </a:lnTo>
                  <a:lnTo>
                    <a:pt x="478" y="372"/>
                  </a:lnTo>
                  <a:lnTo>
                    <a:pt x="484" y="367"/>
                  </a:lnTo>
                  <a:lnTo>
                    <a:pt x="486" y="365"/>
                  </a:lnTo>
                  <a:lnTo>
                    <a:pt x="492" y="365"/>
                  </a:lnTo>
                  <a:lnTo>
                    <a:pt x="494" y="363"/>
                  </a:lnTo>
                  <a:lnTo>
                    <a:pt x="497" y="363"/>
                  </a:lnTo>
                  <a:lnTo>
                    <a:pt x="501" y="363"/>
                  </a:lnTo>
                  <a:lnTo>
                    <a:pt x="505" y="363"/>
                  </a:lnTo>
                  <a:lnTo>
                    <a:pt x="509" y="359"/>
                  </a:lnTo>
                  <a:lnTo>
                    <a:pt x="511" y="359"/>
                  </a:lnTo>
                  <a:lnTo>
                    <a:pt x="513" y="357"/>
                  </a:lnTo>
                  <a:lnTo>
                    <a:pt x="517" y="357"/>
                  </a:lnTo>
                  <a:lnTo>
                    <a:pt x="520" y="357"/>
                  </a:lnTo>
                  <a:lnTo>
                    <a:pt x="524" y="357"/>
                  </a:lnTo>
                  <a:lnTo>
                    <a:pt x="528" y="357"/>
                  </a:lnTo>
                  <a:lnTo>
                    <a:pt x="532" y="357"/>
                  </a:lnTo>
                  <a:lnTo>
                    <a:pt x="536" y="357"/>
                  </a:lnTo>
                  <a:lnTo>
                    <a:pt x="538" y="357"/>
                  </a:lnTo>
                  <a:lnTo>
                    <a:pt x="542" y="355"/>
                  </a:lnTo>
                  <a:lnTo>
                    <a:pt x="545" y="355"/>
                  </a:lnTo>
                  <a:lnTo>
                    <a:pt x="547" y="353"/>
                  </a:lnTo>
                  <a:lnTo>
                    <a:pt x="551" y="353"/>
                  </a:lnTo>
                  <a:lnTo>
                    <a:pt x="553" y="349"/>
                  </a:lnTo>
                  <a:lnTo>
                    <a:pt x="557" y="349"/>
                  </a:lnTo>
                  <a:lnTo>
                    <a:pt x="561" y="348"/>
                  </a:lnTo>
                  <a:lnTo>
                    <a:pt x="565" y="346"/>
                  </a:lnTo>
                  <a:lnTo>
                    <a:pt x="568" y="346"/>
                  </a:lnTo>
                  <a:lnTo>
                    <a:pt x="570" y="348"/>
                  </a:lnTo>
                  <a:lnTo>
                    <a:pt x="574" y="348"/>
                  </a:lnTo>
                  <a:lnTo>
                    <a:pt x="578" y="349"/>
                  </a:lnTo>
                  <a:lnTo>
                    <a:pt x="582" y="349"/>
                  </a:lnTo>
                  <a:lnTo>
                    <a:pt x="584" y="349"/>
                  </a:lnTo>
                  <a:lnTo>
                    <a:pt x="588" y="349"/>
                  </a:lnTo>
                  <a:lnTo>
                    <a:pt x="590" y="349"/>
                  </a:lnTo>
                  <a:lnTo>
                    <a:pt x="593" y="349"/>
                  </a:lnTo>
                  <a:lnTo>
                    <a:pt x="595" y="349"/>
                  </a:lnTo>
                  <a:lnTo>
                    <a:pt x="601" y="348"/>
                  </a:lnTo>
                  <a:lnTo>
                    <a:pt x="603" y="344"/>
                  </a:lnTo>
                  <a:lnTo>
                    <a:pt x="605" y="340"/>
                  </a:lnTo>
                  <a:lnTo>
                    <a:pt x="607" y="336"/>
                  </a:lnTo>
                  <a:lnTo>
                    <a:pt x="609" y="334"/>
                  </a:lnTo>
                  <a:lnTo>
                    <a:pt x="611" y="328"/>
                  </a:lnTo>
                  <a:lnTo>
                    <a:pt x="613" y="326"/>
                  </a:lnTo>
                  <a:lnTo>
                    <a:pt x="613" y="321"/>
                  </a:lnTo>
                  <a:lnTo>
                    <a:pt x="611" y="317"/>
                  </a:lnTo>
                  <a:lnTo>
                    <a:pt x="611" y="313"/>
                  </a:lnTo>
                  <a:lnTo>
                    <a:pt x="611" y="309"/>
                  </a:lnTo>
                  <a:lnTo>
                    <a:pt x="611" y="305"/>
                  </a:lnTo>
                  <a:lnTo>
                    <a:pt x="611" y="303"/>
                  </a:lnTo>
                  <a:lnTo>
                    <a:pt x="611" y="300"/>
                  </a:lnTo>
                  <a:lnTo>
                    <a:pt x="611" y="298"/>
                  </a:lnTo>
                  <a:lnTo>
                    <a:pt x="609" y="292"/>
                  </a:lnTo>
                  <a:lnTo>
                    <a:pt x="609" y="290"/>
                  </a:lnTo>
                  <a:lnTo>
                    <a:pt x="609" y="284"/>
                  </a:lnTo>
                  <a:lnTo>
                    <a:pt x="609" y="280"/>
                  </a:lnTo>
                  <a:lnTo>
                    <a:pt x="609" y="277"/>
                  </a:lnTo>
                  <a:lnTo>
                    <a:pt x="609" y="275"/>
                  </a:lnTo>
                  <a:lnTo>
                    <a:pt x="609" y="269"/>
                  </a:lnTo>
                  <a:lnTo>
                    <a:pt x="609" y="267"/>
                  </a:lnTo>
                  <a:lnTo>
                    <a:pt x="609" y="263"/>
                  </a:lnTo>
                  <a:lnTo>
                    <a:pt x="609" y="259"/>
                  </a:lnTo>
                  <a:lnTo>
                    <a:pt x="609" y="255"/>
                  </a:lnTo>
                  <a:lnTo>
                    <a:pt x="611" y="252"/>
                  </a:lnTo>
                  <a:lnTo>
                    <a:pt x="609" y="248"/>
                  </a:lnTo>
                  <a:lnTo>
                    <a:pt x="609" y="244"/>
                  </a:lnTo>
                  <a:lnTo>
                    <a:pt x="609" y="240"/>
                  </a:lnTo>
                  <a:lnTo>
                    <a:pt x="607" y="236"/>
                  </a:lnTo>
                  <a:lnTo>
                    <a:pt x="607" y="232"/>
                  </a:lnTo>
                  <a:lnTo>
                    <a:pt x="607" y="230"/>
                  </a:lnTo>
                  <a:lnTo>
                    <a:pt x="607" y="227"/>
                  </a:lnTo>
                  <a:lnTo>
                    <a:pt x="607" y="223"/>
                  </a:lnTo>
                  <a:lnTo>
                    <a:pt x="607" y="221"/>
                  </a:lnTo>
                  <a:lnTo>
                    <a:pt x="603" y="221"/>
                  </a:lnTo>
                  <a:lnTo>
                    <a:pt x="601" y="221"/>
                  </a:lnTo>
                  <a:lnTo>
                    <a:pt x="599" y="221"/>
                  </a:lnTo>
                  <a:lnTo>
                    <a:pt x="595" y="221"/>
                  </a:lnTo>
                  <a:lnTo>
                    <a:pt x="595" y="223"/>
                  </a:lnTo>
                  <a:lnTo>
                    <a:pt x="591" y="223"/>
                  </a:lnTo>
                  <a:lnTo>
                    <a:pt x="588" y="223"/>
                  </a:lnTo>
                  <a:lnTo>
                    <a:pt x="586" y="223"/>
                  </a:lnTo>
                  <a:lnTo>
                    <a:pt x="582" y="223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2" y="223"/>
                  </a:lnTo>
                  <a:lnTo>
                    <a:pt x="570" y="221"/>
                  </a:lnTo>
                  <a:lnTo>
                    <a:pt x="568" y="219"/>
                  </a:lnTo>
                  <a:lnTo>
                    <a:pt x="568" y="217"/>
                  </a:lnTo>
                  <a:lnTo>
                    <a:pt x="567" y="217"/>
                  </a:lnTo>
                  <a:lnTo>
                    <a:pt x="568" y="211"/>
                  </a:lnTo>
                  <a:lnTo>
                    <a:pt x="568" y="209"/>
                  </a:lnTo>
                  <a:lnTo>
                    <a:pt x="568" y="206"/>
                  </a:lnTo>
                  <a:lnTo>
                    <a:pt x="567" y="204"/>
                  </a:lnTo>
                  <a:lnTo>
                    <a:pt x="567" y="202"/>
                  </a:lnTo>
                  <a:lnTo>
                    <a:pt x="565" y="202"/>
                  </a:lnTo>
                  <a:lnTo>
                    <a:pt x="565" y="198"/>
                  </a:lnTo>
                  <a:lnTo>
                    <a:pt x="563" y="198"/>
                  </a:lnTo>
                  <a:lnTo>
                    <a:pt x="559" y="198"/>
                  </a:lnTo>
                  <a:lnTo>
                    <a:pt x="559" y="196"/>
                  </a:lnTo>
                  <a:lnTo>
                    <a:pt x="557" y="194"/>
                  </a:lnTo>
                  <a:lnTo>
                    <a:pt x="555" y="192"/>
                  </a:lnTo>
                  <a:lnTo>
                    <a:pt x="553" y="190"/>
                  </a:lnTo>
                  <a:lnTo>
                    <a:pt x="551" y="190"/>
                  </a:lnTo>
                  <a:lnTo>
                    <a:pt x="549" y="188"/>
                  </a:lnTo>
                  <a:lnTo>
                    <a:pt x="547" y="186"/>
                  </a:lnTo>
                  <a:lnTo>
                    <a:pt x="545" y="184"/>
                  </a:lnTo>
                  <a:lnTo>
                    <a:pt x="543" y="183"/>
                  </a:lnTo>
                  <a:lnTo>
                    <a:pt x="540" y="183"/>
                  </a:lnTo>
                  <a:lnTo>
                    <a:pt x="538" y="183"/>
                  </a:lnTo>
                  <a:lnTo>
                    <a:pt x="534" y="181"/>
                  </a:lnTo>
                  <a:lnTo>
                    <a:pt x="532" y="179"/>
                  </a:lnTo>
                  <a:lnTo>
                    <a:pt x="530" y="177"/>
                  </a:lnTo>
                  <a:lnTo>
                    <a:pt x="526" y="177"/>
                  </a:lnTo>
                  <a:lnTo>
                    <a:pt x="526" y="175"/>
                  </a:lnTo>
                  <a:lnTo>
                    <a:pt x="524" y="175"/>
                  </a:lnTo>
                  <a:lnTo>
                    <a:pt x="526" y="173"/>
                  </a:lnTo>
                  <a:lnTo>
                    <a:pt x="524" y="167"/>
                  </a:lnTo>
                  <a:lnTo>
                    <a:pt x="522" y="165"/>
                  </a:lnTo>
                  <a:lnTo>
                    <a:pt x="520" y="163"/>
                  </a:lnTo>
                  <a:lnTo>
                    <a:pt x="519" y="159"/>
                  </a:lnTo>
                  <a:lnTo>
                    <a:pt x="29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526" name="Freeform 102"/>
            <p:cNvSpPr>
              <a:spLocks/>
            </p:cNvSpPr>
            <p:nvPr/>
          </p:nvSpPr>
          <p:spPr bwMode="auto">
            <a:xfrm>
              <a:off x="722" y="1403"/>
              <a:ext cx="613" cy="551"/>
            </a:xfrm>
            <a:custGeom>
              <a:avLst/>
              <a:gdLst/>
              <a:ahLst/>
              <a:cxnLst>
                <a:cxn ang="0">
                  <a:pos x="277" y="2"/>
                </a:cxn>
                <a:cxn ang="0">
                  <a:pos x="265" y="2"/>
                </a:cxn>
                <a:cxn ang="0">
                  <a:pos x="248" y="0"/>
                </a:cxn>
                <a:cxn ang="0">
                  <a:pos x="256" y="315"/>
                </a:cxn>
                <a:cxn ang="0">
                  <a:pos x="71" y="349"/>
                </a:cxn>
                <a:cxn ang="0">
                  <a:pos x="62" y="338"/>
                </a:cxn>
                <a:cxn ang="0">
                  <a:pos x="41" y="344"/>
                </a:cxn>
                <a:cxn ang="0">
                  <a:pos x="31" y="365"/>
                </a:cxn>
                <a:cxn ang="0">
                  <a:pos x="12" y="374"/>
                </a:cxn>
                <a:cxn ang="0">
                  <a:pos x="4" y="392"/>
                </a:cxn>
                <a:cxn ang="0">
                  <a:pos x="10" y="409"/>
                </a:cxn>
                <a:cxn ang="0">
                  <a:pos x="12" y="430"/>
                </a:cxn>
                <a:cxn ang="0">
                  <a:pos x="25" y="442"/>
                </a:cxn>
                <a:cxn ang="0">
                  <a:pos x="29" y="465"/>
                </a:cxn>
                <a:cxn ang="0">
                  <a:pos x="41" y="474"/>
                </a:cxn>
                <a:cxn ang="0">
                  <a:pos x="56" y="482"/>
                </a:cxn>
                <a:cxn ang="0">
                  <a:pos x="77" y="472"/>
                </a:cxn>
                <a:cxn ang="0">
                  <a:pos x="98" y="470"/>
                </a:cxn>
                <a:cxn ang="0">
                  <a:pos x="114" y="463"/>
                </a:cxn>
                <a:cxn ang="0">
                  <a:pos x="125" y="476"/>
                </a:cxn>
                <a:cxn ang="0">
                  <a:pos x="133" y="499"/>
                </a:cxn>
                <a:cxn ang="0">
                  <a:pos x="135" y="518"/>
                </a:cxn>
                <a:cxn ang="0">
                  <a:pos x="144" y="532"/>
                </a:cxn>
                <a:cxn ang="0">
                  <a:pos x="152" y="549"/>
                </a:cxn>
                <a:cxn ang="0">
                  <a:pos x="169" y="547"/>
                </a:cxn>
                <a:cxn ang="0">
                  <a:pos x="187" y="545"/>
                </a:cxn>
                <a:cxn ang="0">
                  <a:pos x="202" y="538"/>
                </a:cxn>
                <a:cxn ang="0">
                  <a:pos x="219" y="528"/>
                </a:cxn>
                <a:cxn ang="0">
                  <a:pos x="233" y="539"/>
                </a:cxn>
                <a:cxn ang="0">
                  <a:pos x="246" y="530"/>
                </a:cxn>
                <a:cxn ang="0">
                  <a:pos x="246" y="513"/>
                </a:cxn>
                <a:cxn ang="0">
                  <a:pos x="246" y="495"/>
                </a:cxn>
                <a:cxn ang="0">
                  <a:pos x="263" y="488"/>
                </a:cxn>
                <a:cxn ang="0">
                  <a:pos x="279" y="482"/>
                </a:cxn>
                <a:cxn ang="0">
                  <a:pos x="288" y="465"/>
                </a:cxn>
                <a:cxn ang="0">
                  <a:pos x="298" y="442"/>
                </a:cxn>
                <a:cxn ang="0">
                  <a:pos x="321" y="443"/>
                </a:cxn>
                <a:cxn ang="0">
                  <a:pos x="338" y="417"/>
                </a:cxn>
                <a:cxn ang="0">
                  <a:pos x="361" y="409"/>
                </a:cxn>
                <a:cxn ang="0">
                  <a:pos x="377" y="401"/>
                </a:cxn>
                <a:cxn ang="0">
                  <a:pos x="390" y="390"/>
                </a:cxn>
                <a:cxn ang="0">
                  <a:pos x="413" y="365"/>
                </a:cxn>
                <a:cxn ang="0">
                  <a:pos x="438" y="371"/>
                </a:cxn>
                <a:cxn ang="0">
                  <a:pos x="463" y="367"/>
                </a:cxn>
                <a:cxn ang="0">
                  <a:pos x="494" y="363"/>
                </a:cxn>
                <a:cxn ang="0">
                  <a:pos x="520" y="357"/>
                </a:cxn>
                <a:cxn ang="0">
                  <a:pos x="547" y="353"/>
                </a:cxn>
                <a:cxn ang="0">
                  <a:pos x="574" y="348"/>
                </a:cxn>
                <a:cxn ang="0">
                  <a:pos x="601" y="348"/>
                </a:cxn>
                <a:cxn ang="0">
                  <a:pos x="611" y="317"/>
                </a:cxn>
                <a:cxn ang="0">
                  <a:pos x="609" y="290"/>
                </a:cxn>
                <a:cxn ang="0">
                  <a:pos x="609" y="259"/>
                </a:cxn>
                <a:cxn ang="0">
                  <a:pos x="607" y="230"/>
                </a:cxn>
                <a:cxn ang="0">
                  <a:pos x="595" y="223"/>
                </a:cxn>
                <a:cxn ang="0">
                  <a:pos x="570" y="221"/>
                </a:cxn>
                <a:cxn ang="0">
                  <a:pos x="567" y="202"/>
                </a:cxn>
                <a:cxn ang="0">
                  <a:pos x="553" y="190"/>
                </a:cxn>
                <a:cxn ang="0">
                  <a:pos x="534" y="181"/>
                </a:cxn>
                <a:cxn ang="0">
                  <a:pos x="522" y="165"/>
                </a:cxn>
              </a:cxnLst>
              <a:rect l="0" t="0" r="r" b="b"/>
              <a:pathLst>
                <a:path w="613" h="551">
                  <a:moveTo>
                    <a:pt x="298" y="0"/>
                  </a:moveTo>
                  <a:lnTo>
                    <a:pt x="292" y="2"/>
                  </a:lnTo>
                  <a:lnTo>
                    <a:pt x="290" y="2"/>
                  </a:lnTo>
                  <a:lnTo>
                    <a:pt x="288" y="2"/>
                  </a:lnTo>
                  <a:lnTo>
                    <a:pt x="284" y="2"/>
                  </a:lnTo>
                  <a:lnTo>
                    <a:pt x="283" y="2"/>
                  </a:lnTo>
                  <a:lnTo>
                    <a:pt x="279" y="2"/>
                  </a:lnTo>
                  <a:lnTo>
                    <a:pt x="277" y="2"/>
                  </a:lnTo>
                  <a:lnTo>
                    <a:pt x="275" y="2"/>
                  </a:lnTo>
                  <a:lnTo>
                    <a:pt x="273" y="2"/>
                  </a:lnTo>
                  <a:lnTo>
                    <a:pt x="271" y="2"/>
                  </a:lnTo>
                  <a:lnTo>
                    <a:pt x="269" y="2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5" y="2"/>
                  </a:lnTo>
                  <a:lnTo>
                    <a:pt x="261" y="2"/>
                  </a:lnTo>
                  <a:lnTo>
                    <a:pt x="260" y="2"/>
                  </a:lnTo>
                  <a:lnTo>
                    <a:pt x="258" y="0"/>
                  </a:lnTo>
                  <a:lnTo>
                    <a:pt x="256" y="0"/>
                  </a:lnTo>
                  <a:lnTo>
                    <a:pt x="254" y="0"/>
                  </a:lnTo>
                  <a:lnTo>
                    <a:pt x="252" y="0"/>
                  </a:lnTo>
                  <a:lnTo>
                    <a:pt x="250" y="0"/>
                  </a:lnTo>
                  <a:lnTo>
                    <a:pt x="248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4" y="0"/>
                  </a:lnTo>
                  <a:lnTo>
                    <a:pt x="240" y="0"/>
                  </a:lnTo>
                  <a:lnTo>
                    <a:pt x="238" y="0"/>
                  </a:lnTo>
                  <a:lnTo>
                    <a:pt x="246" y="298"/>
                  </a:lnTo>
                  <a:lnTo>
                    <a:pt x="256" y="315"/>
                  </a:lnTo>
                  <a:lnTo>
                    <a:pt x="248" y="353"/>
                  </a:lnTo>
                  <a:lnTo>
                    <a:pt x="116" y="351"/>
                  </a:lnTo>
                  <a:lnTo>
                    <a:pt x="98" y="340"/>
                  </a:lnTo>
                  <a:lnTo>
                    <a:pt x="85" y="342"/>
                  </a:lnTo>
                  <a:lnTo>
                    <a:pt x="83" y="342"/>
                  </a:lnTo>
                  <a:lnTo>
                    <a:pt x="79" y="346"/>
                  </a:lnTo>
                  <a:lnTo>
                    <a:pt x="75" y="349"/>
                  </a:lnTo>
                  <a:lnTo>
                    <a:pt x="71" y="349"/>
                  </a:lnTo>
                  <a:lnTo>
                    <a:pt x="71" y="351"/>
                  </a:lnTo>
                  <a:lnTo>
                    <a:pt x="70" y="353"/>
                  </a:lnTo>
                  <a:lnTo>
                    <a:pt x="68" y="353"/>
                  </a:lnTo>
                  <a:lnTo>
                    <a:pt x="66" y="349"/>
                  </a:lnTo>
                  <a:lnTo>
                    <a:pt x="66" y="344"/>
                  </a:lnTo>
                  <a:lnTo>
                    <a:pt x="66" y="340"/>
                  </a:lnTo>
                  <a:lnTo>
                    <a:pt x="64" y="338"/>
                  </a:lnTo>
                  <a:lnTo>
                    <a:pt x="62" y="338"/>
                  </a:lnTo>
                  <a:lnTo>
                    <a:pt x="58" y="338"/>
                  </a:lnTo>
                  <a:lnTo>
                    <a:pt x="56" y="338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48" y="338"/>
                  </a:lnTo>
                  <a:lnTo>
                    <a:pt x="45" y="340"/>
                  </a:lnTo>
                  <a:lnTo>
                    <a:pt x="41" y="342"/>
                  </a:lnTo>
                  <a:lnTo>
                    <a:pt x="41" y="344"/>
                  </a:lnTo>
                  <a:lnTo>
                    <a:pt x="39" y="346"/>
                  </a:lnTo>
                  <a:lnTo>
                    <a:pt x="37" y="349"/>
                  </a:lnTo>
                  <a:lnTo>
                    <a:pt x="37" y="353"/>
                  </a:lnTo>
                  <a:lnTo>
                    <a:pt x="37" y="355"/>
                  </a:lnTo>
                  <a:lnTo>
                    <a:pt x="35" y="359"/>
                  </a:lnTo>
                  <a:lnTo>
                    <a:pt x="33" y="361"/>
                  </a:lnTo>
                  <a:lnTo>
                    <a:pt x="33" y="365"/>
                  </a:lnTo>
                  <a:lnTo>
                    <a:pt x="31" y="365"/>
                  </a:lnTo>
                  <a:lnTo>
                    <a:pt x="29" y="367"/>
                  </a:lnTo>
                  <a:lnTo>
                    <a:pt x="25" y="367"/>
                  </a:lnTo>
                  <a:lnTo>
                    <a:pt x="25" y="369"/>
                  </a:lnTo>
                  <a:lnTo>
                    <a:pt x="23" y="371"/>
                  </a:lnTo>
                  <a:lnTo>
                    <a:pt x="20" y="372"/>
                  </a:lnTo>
                  <a:lnTo>
                    <a:pt x="18" y="372"/>
                  </a:lnTo>
                  <a:lnTo>
                    <a:pt x="16" y="372"/>
                  </a:lnTo>
                  <a:lnTo>
                    <a:pt x="12" y="374"/>
                  </a:lnTo>
                  <a:lnTo>
                    <a:pt x="12" y="378"/>
                  </a:lnTo>
                  <a:lnTo>
                    <a:pt x="8" y="378"/>
                  </a:lnTo>
                  <a:lnTo>
                    <a:pt x="4" y="378"/>
                  </a:lnTo>
                  <a:lnTo>
                    <a:pt x="2" y="382"/>
                  </a:lnTo>
                  <a:lnTo>
                    <a:pt x="0" y="382"/>
                  </a:lnTo>
                  <a:lnTo>
                    <a:pt x="0" y="388"/>
                  </a:lnTo>
                  <a:lnTo>
                    <a:pt x="2" y="390"/>
                  </a:lnTo>
                  <a:lnTo>
                    <a:pt x="4" y="392"/>
                  </a:lnTo>
                  <a:lnTo>
                    <a:pt x="4" y="394"/>
                  </a:lnTo>
                  <a:lnTo>
                    <a:pt x="4" y="397"/>
                  </a:lnTo>
                  <a:lnTo>
                    <a:pt x="4" y="399"/>
                  </a:lnTo>
                  <a:lnTo>
                    <a:pt x="4" y="399"/>
                  </a:lnTo>
                  <a:lnTo>
                    <a:pt x="6" y="401"/>
                  </a:lnTo>
                  <a:lnTo>
                    <a:pt x="10" y="401"/>
                  </a:lnTo>
                  <a:lnTo>
                    <a:pt x="10" y="407"/>
                  </a:lnTo>
                  <a:lnTo>
                    <a:pt x="10" y="409"/>
                  </a:lnTo>
                  <a:lnTo>
                    <a:pt x="10" y="415"/>
                  </a:lnTo>
                  <a:lnTo>
                    <a:pt x="10" y="417"/>
                  </a:lnTo>
                  <a:lnTo>
                    <a:pt x="10" y="420"/>
                  </a:lnTo>
                  <a:lnTo>
                    <a:pt x="12" y="420"/>
                  </a:lnTo>
                  <a:lnTo>
                    <a:pt x="12" y="422"/>
                  </a:lnTo>
                  <a:lnTo>
                    <a:pt x="12" y="426"/>
                  </a:lnTo>
                  <a:lnTo>
                    <a:pt x="12" y="428"/>
                  </a:lnTo>
                  <a:lnTo>
                    <a:pt x="12" y="430"/>
                  </a:lnTo>
                  <a:lnTo>
                    <a:pt x="18" y="430"/>
                  </a:lnTo>
                  <a:lnTo>
                    <a:pt x="18" y="432"/>
                  </a:lnTo>
                  <a:lnTo>
                    <a:pt x="20" y="434"/>
                  </a:lnTo>
                  <a:lnTo>
                    <a:pt x="22" y="434"/>
                  </a:lnTo>
                  <a:lnTo>
                    <a:pt x="22" y="438"/>
                  </a:lnTo>
                  <a:lnTo>
                    <a:pt x="23" y="440"/>
                  </a:lnTo>
                  <a:lnTo>
                    <a:pt x="25" y="440"/>
                  </a:lnTo>
                  <a:lnTo>
                    <a:pt x="25" y="442"/>
                  </a:lnTo>
                  <a:lnTo>
                    <a:pt x="27" y="443"/>
                  </a:lnTo>
                  <a:lnTo>
                    <a:pt x="29" y="445"/>
                  </a:lnTo>
                  <a:lnTo>
                    <a:pt x="29" y="449"/>
                  </a:lnTo>
                  <a:lnTo>
                    <a:pt x="29" y="451"/>
                  </a:lnTo>
                  <a:lnTo>
                    <a:pt x="29" y="455"/>
                  </a:lnTo>
                  <a:lnTo>
                    <a:pt x="29" y="459"/>
                  </a:lnTo>
                  <a:lnTo>
                    <a:pt x="29" y="461"/>
                  </a:lnTo>
                  <a:lnTo>
                    <a:pt x="29" y="465"/>
                  </a:lnTo>
                  <a:lnTo>
                    <a:pt x="33" y="467"/>
                  </a:lnTo>
                  <a:lnTo>
                    <a:pt x="33" y="470"/>
                  </a:lnTo>
                  <a:lnTo>
                    <a:pt x="35" y="470"/>
                  </a:lnTo>
                  <a:lnTo>
                    <a:pt x="35" y="472"/>
                  </a:lnTo>
                  <a:lnTo>
                    <a:pt x="35" y="474"/>
                  </a:lnTo>
                  <a:lnTo>
                    <a:pt x="37" y="476"/>
                  </a:lnTo>
                  <a:lnTo>
                    <a:pt x="39" y="476"/>
                  </a:lnTo>
                  <a:lnTo>
                    <a:pt x="41" y="474"/>
                  </a:lnTo>
                  <a:lnTo>
                    <a:pt x="45" y="474"/>
                  </a:lnTo>
                  <a:lnTo>
                    <a:pt x="48" y="474"/>
                  </a:lnTo>
                  <a:lnTo>
                    <a:pt x="50" y="478"/>
                  </a:lnTo>
                  <a:lnTo>
                    <a:pt x="54" y="482"/>
                  </a:lnTo>
                  <a:lnTo>
                    <a:pt x="54" y="484"/>
                  </a:lnTo>
                  <a:lnTo>
                    <a:pt x="54" y="484"/>
                  </a:lnTo>
                  <a:lnTo>
                    <a:pt x="56" y="482"/>
                  </a:lnTo>
                  <a:lnTo>
                    <a:pt x="56" y="482"/>
                  </a:lnTo>
                  <a:lnTo>
                    <a:pt x="58" y="482"/>
                  </a:lnTo>
                  <a:lnTo>
                    <a:pt x="62" y="480"/>
                  </a:lnTo>
                  <a:lnTo>
                    <a:pt x="64" y="480"/>
                  </a:lnTo>
                  <a:lnTo>
                    <a:pt x="68" y="476"/>
                  </a:lnTo>
                  <a:lnTo>
                    <a:pt x="70" y="476"/>
                  </a:lnTo>
                  <a:lnTo>
                    <a:pt x="73" y="474"/>
                  </a:lnTo>
                  <a:lnTo>
                    <a:pt x="75" y="472"/>
                  </a:lnTo>
                  <a:lnTo>
                    <a:pt x="77" y="472"/>
                  </a:lnTo>
                  <a:lnTo>
                    <a:pt x="79" y="472"/>
                  </a:lnTo>
                  <a:lnTo>
                    <a:pt x="83" y="472"/>
                  </a:lnTo>
                  <a:lnTo>
                    <a:pt x="85" y="474"/>
                  </a:lnTo>
                  <a:lnTo>
                    <a:pt x="89" y="474"/>
                  </a:lnTo>
                  <a:lnTo>
                    <a:pt x="93" y="474"/>
                  </a:lnTo>
                  <a:lnTo>
                    <a:pt x="94" y="474"/>
                  </a:lnTo>
                  <a:lnTo>
                    <a:pt x="98" y="472"/>
                  </a:lnTo>
                  <a:lnTo>
                    <a:pt x="98" y="470"/>
                  </a:lnTo>
                  <a:lnTo>
                    <a:pt x="100" y="468"/>
                  </a:lnTo>
                  <a:lnTo>
                    <a:pt x="102" y="465"/>
                  </a:lnTo>
                  <a:lnTo>
                    <a:pt x="100" y="463"/>
                  </a:lnTo>
                  <a:lnTo>
                    <a:pt x="104" y="461"/>
                  </a:lnTo>
                  <a:lnTo>
                    <a:pt x="106" y="461"/>
                  </a:lnTo>
                  <a:lnTo>
                    <a:pt x="110" y="461"/>
                  </a:lnTo>
                  <a:lnTo>
                    <a:pt x="114" y="461"/>
                  </a:lnTo>
                  <a:lnTo>
                    <a:pt x="114" y="463"/>
                  </a:lnTo>
                  <a:lnTo>
                    <a:pt x="116" y="465"/>
                  </a:lnTo>
                  <a:lnTo>
                    <a:pt x="118" y="467"/>
                  </a:lnTo>
                  <a:lnTo>
                    <a:pt x="118" y="468"/>
                  </a:lnTo>
                  <a:lnTo>
                    <a:pt x="119" y="470"/>
                  </a:lnTo>
                  <a:lnTo>
                    <a:pt x="121" y="472"/>
                  </a:lnTo>
                  <a:lnTo>
                    <a:pt x="121" y="474"/>
                  </a:lnTo>
                  <a:lnTo>
                    <a:pt x="123" y="476"/>
                  </a:lnTo>
                  <a:lnTo>
                    <a:pt x="125" y="476"/>
                  </a:lnTo>
                  <a:lnTo>
                    <a:pt x="127" y="480"/>
                  </a:lnTo>
                  <a:lnTo>
                    <a:pt x="129" y="484"/>
                  </a:lnTo>
                  <a:lnTo>
                    <a:pt x="131" y="486"/>
                  </a:lnTo>
                  <a:lnTo>
                    <a:pt x="131" y="488"/>
                  </a:lnTo>
                  <a:lnTo>
                    <a:pt x="131" y="490"/>
                  </a:lnTo>
                  <a:lnTo>
                    <a:pt x="133" y="493"/>
                  </a:lnTo>
                  <a:lnTo>
                    <a:pt x="133" y="495"/>
                  </a:lnTo>
                  <a:lnTo>
                    <a:pt x="133" y="499"/>
                  </a:lnTo>
                  <a:lnTo>
                    <a:pt x="133" y="501"/>
                  </a:lnTo>
                  <a:lnTo>
                    <a:pt x="133" y="503"/>
                  </a:lnTo>
                  <a:lnTo>
                    <a:pt x="131" y="505"/>
                  </a:lnTo>
                  <a:lnTo>
                    <a:pt x="131" y="507"/>
                  </a:lnTo>
                  <a:lnTo>
                    <a:pt x="129" y="509"/>
                  </a:lnTo>
                  <a:lnTo>
                    <a:pt x="129" y="514"/>
                  </a:lnTo>
                  <a:lnTo>
                    <a:pt x="131" y="518"/>
                  </a:lnTo>
                  <a:lnTo>
                    <a:pt x="135" y="518"/>
                  </a:lnTo>
                  <a:lnTo>
                    <a:pt x="135" y="518"/>
                  </a:lnTo>
                  <a:lnTo>
                    <a:pt x="137" y="518"/>
                  </a:lnTo>
                  <a:lnTo>
                    <a:pt x="137" y="524"/>
                  </a:lnTo>
                  <a:lnTo>
                    <a:pt x="139" y="526"/>
                  </a:lnTo>
                  <a:lnTo>
                    <a:pt x="139" y="528"/>
                  </a:lnTo>
                  <a:lnTo>
                    <a:pt x="142" y="528"/>
                  </a:lnTo>
                  <a:lnTo>
                    <a:pt x="142" y="530"/>
                  </a:lnTo>
                  <a:lnTo>
                    <a:pt x="144" y="532"/>
                  </a:lnTo>
                  <a:lnTo>
                    <a:pt x="144" y="534"/>
                  </a:lnTo>
                  <a:lnTo>
                    <a:pt x="144" y="536"/>
                  </a:lnTo>
                  <a:lnTo>
                    <a:pt x="144" y="539"/>
                  </a:lnTo>
                  <a:lnTo>
                    <a:pt x="146" y="539"/>
                  </a:lnTo>
                  <a:lnTo>
                    <a:pt x="148" y="543"/>
                  </a:lnTo>
                  <a:lnTo>
                    <a:pt x="150" y="545"/>
                  </a:lnTo>
                  <a:lnTo>
                    <a:pt x="150" y="547"/>
                  </a:lnTo>
                  <a:lnTo>
                    <a:pt x="152" y="549"/>
                  </a:lnTo>
                  <a:lnTo>
                    <a:pt x="154" y="551"/>
                  </a:lnTo>
                  <a:lnTo>
                    <a:pt x="158" y="551"/>
                  </a:lnTo>
                  <a:lnTo>
                    <a:pt x="156" y="549"/>
                  </a:lnTo>
                  <a:lnTo>
                    <a:pt x="158" y="547"/>
                  </a:lnTo>
                  <a:lnTo>
                    <a:pt x="160" y="547"/>
                  </a:lnTo>
                  <a:lnTo>
                    <a:pt x="164" y="547"/>
                  </a:lnTo>
                  <a:lnTo>
                    <a:pt x="165" y="547"/>
                  </a:lnTo>
                  <a:lnTo>
                    <a:pt x="169" y="547"/>
                  </a:lnTo>
                  <a:lnTo>
                    <a:pt x="171" y="547"/>
                  </a:lnTo>
                  <a:lnTo>
                    <a:pt x="175" y="545"/>
                  </a:lnTo>
                  <a:lnTo>
                    <a:pt x="173" y="543"/>
                  </a:lnTo>
                  <a:lnTo>
                    <a:pt x="177" y="543"/>
                  </a:lnTo>
                  <a:lnTo>
                    <a:pt x="179" y="543"/>
                  </a:lnTo>
                  <a:lnTo>
                    <a:pt x="183" y="543"/>
                  </a:lnTo>
                  <a:lnTo>
                    <a:pt x="185" y="545"/>
                  </a:lnTo>
                  <a:lnTo>
                    <a:pt x="187" y="545"/>
                  </a:lnTo>
                  <a:lnTo>
                    <a:pt x="190" y="545"/>
                  </a:lnTo>
                  <a:lnTo>
                    <a:pt x="194" y="545"/>
                  </a:lnTo>
                  <a:lnTo>
                    <a:pt x="196" y="547"/>
                  </a:lnTo>
                  <a:lnTo>
                    <a:pt x="200" y="547"/>
                  </a:lnTo>
                  <a:lnTo>
                    <a:pt x="202" y="547"/>
                  </a:lnTo>
                  <a:lnTo>
                    <a:pt x="202" y="545"/>
                  </a:lnTo>
                  <a:lnTo>
                    <a:pt x="202" y="539"/>
                  </a:lnTo>
                  <a:lnTo>
                    <a:pt x="202" y="538"/>
                  </a:lnTo>
                  <a:lnTo>
                    <a:pt x="202" y="534"/>
                  </a:lnTo>
                  <a:lnTo>
                    <a:pt x="204" y="532"/>
                  </a:lnTo>
                  <a:lnTo>
                    <a:pt x="206" y="530"/>
                  </a:lnTo>
                  <a:lnTo>
                    <a:pt x="208" y="528"/>
                  </a:lnTo>
                  <a:lnTo>
                    <a:pt x="210" y="528"/>
                  </a:lnTo>
                  <a:lnTo>
                    <a:pt x="213" y="528"/>
                  </a:lnTo>
                  <a:lnTo>
                    <a:pt x="215" y="528"/>
                  </a:lnTo>
                  <a:lnTo>
                    <a:pt x="219" y="528"/>
                  </a:lnTo>
                  <a:lnTo>
                    <a:pt x="221" y="528"/>
                  </a:lnTo>
                  <a:lnTo>
                    <a:pt x="223" y="530"/>
                  </a:lnTo>
                  <a:lnTo>
                    <a:pt x="223" y="532"/>
                  </a:lnTo>
                  <a:lnTo>
                    <a:pt x="223" y="536"/>
                  </a:lnTo>
                  <a:lnTo>
                    <a:pt x="223" y="538"/>
                  </a:lnTo>
                  <a:lnTo>
                    <a:pt x="227" y="539"/>
                  </a:lnTo>
                  <a:lnTo>
                    <a:pt x="231" y="539"/>
                  </a:lnTo>
                  <a:lnTo>
                    <a:pt x="233" y="539"/>
                  </a:lnTo>
                  <a:lnTo>
                    <a:pt x="236" y="539"/>
                  </a:lnTo>
                  <a:lnTo>
                    <a:pt x="236" y="536"/>
                  </a:lnTo>
                  <a:lnTo>
                    <a:pt x="238" y="534"/>
                  </a:lnTo>
                  <a:lnTo>
                    <a:pt x="240" y="534"/>
                  </a:lnTo>
                  <a:lnTo>
                    <a:pt x="242" y="534"/>
                  </a:lnTo>
                  <a:lnTo>
                    <a:pt x="244" y="532"/>
                  </a:lnTo>
                  <a:lnTo>
                    <a:pt x="246" y="532"/>
                  </a:lnTo>
                  <a:lnTo>
                    <a:pt x="246" y="530"/>
                  </a:lnTo>
                  <a:lnTo>
                    <a:pt x="246" y="526"/>
                  </a:lnTo>
                  <a:lnTo>
                    <a:pt x="248" y="524"/>
                  </a:lnTo>
                  <a:lnTo>
                    <a:pt x="246" y="522"/>
                  </a:lnTo>
                  <a:lnTo>
                    <a:pt x="246" y="522"/>
                  </a:lnTo>
                  <a:lnTo>
                    <a:pt x="246" y="518"/>
                  </a:lnTo>
                  <a:lnTo>
                    <a:pt x="246" y="516"/>
                  </a:lnTo>
                  <a:lnTo>
                    <a:pt x="246" y="514"/>
                  </a:lnTo>
                  <a:lnTo>
                    <a:pt x="246" y="513"/>
                  </a:lnTo>
                  <a:lnTo>
                    <a:pt x="246" y="511"/>
                  </a:lnTo>
                  <a:lnTo>
                    <a:pt x="250" y="511"/>
                  </a:lnTo>
                  <a:lnTo>
                    <a:pt x="250" y="507"/>
                  </a:lnTo>
                  <a:lnTo>
                    <a:pt x="250" y="503"/>
                  </a:lnTo>
                  <a:lnTo>
                    <a:pt x="250" y="501"/>
                  </a:lnTo>
                  <a:lnTo>
                    <a:pt x="246" y="501"/>
                  </a:lnTo>
                  <a:lnTo>
                    <a:pt x="246" y="497"/>
                  </a:lnTo>
                  <a:lnTo>
                    <a:pt x="246" y="495"/>
                  </a:lnTo>
                  <a:lnTo>
                    <a:pt x="248" y="495"/>
                  </a:lnTo>
                  <a:lnTo>
                    <a:pt x="250" y="493"/>
                  </a:lnTo>
                  <a:lnTo>
                    <a:pt x="252" y="491"/>
                  </a:lnTo>
                  <a:lnTo>
                    <a:pt x="254" y="490"/>
                  </a:lnTo>
                  <a:lnTo>
                    <a:pt x="254" y="488"/>
                  </a:lnTo>
                  <a:lnTo>
                    <a:pt x="258" y="488"/>
                  </a:lnTo>
                  <a:lnTo>
                    <a:pt x="260" y="488"/>
                  </a:lnTo>
                  <a:lnTo>
                    <a:pt x="263" y="488"/>
                  </a:lnTo>
                  <a:lnTo>
                    <a:pt x="265" y="488"/>
                  </a:lnTo>
                  <a:lnTo>
                    <a:pt x="267" y="488"/>
                  </a:lnTo>
                  <a:lnTo>
                    <a:pt x="271" y="488"/>
                  </a:lnTo>
                  <a:lnTo>
                    <a:pt x="273" y="488"/>
                  </a:lnTo>
                  <a:lnTo>
                    <a:pt x="275" y="486"/>
                  </a:lnTo>
                  <a:lnTo>
                    <a:pt x="277" y="486"/>
                  </a:lnTo>
                  <a:lnTo>
                    <a:pt x="279" y="484"/>
                  </a:lnTo>
                  <a:lnTo>
                    <a:pt x="279" y="482"/>
                  </a:lnTo>
                  <a:lnTo>
                    <a:pt x="281" y="480"/>
                  </a:lnTo>
                  <a:lnTo>
                    <a:pt x="283" y="480"/>
                  </a:lnTo>
                  <a:lnTo>
                    <a:pt x="283" y="476"/>
                  </a:lnTo>
                  <a:lnTo>
                    <a:pt x="283" y="474"/>
                  </a:lnTo>
                  <a:lnTo>
                    <a:pt x="283" y="470"/>
                  </a:lnTo>
                  <a:lnTo>
                    <a:pt x="283" y="467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90" y="463"/>
                  </a:lnTo>
                  <a:lnTo>
                    <a:pt x="290" y="459"/>
                  </a:lnTo>
                  <a:lnTo>
                    <a:pt x="290" y="455"/>
                  </a:lnTo>
                  <a:lnTo>
                    <a:pt x="290" y="451"/>
                  </a:lnTo>
                  <a:lnTo>
                    <a:pt x="290" y="447"/>
                  </a:lnTo>
                  <a:lnTo>
                    <a:pt x="292" y="445"/>
                  </a:lnTo>
                  <a:lnTo>
                    <a:pt x="296" y="445"/>
                  </a:lnTo>
                  <a:lnTo>
                    <a:pt x="298" y="442"/>
                  </a:lnTo>
                  <a:lnTo>
                    <a:pt x="302" y="442"/>
                  </a:lnTo>
                  <a:lnTo>
                    <a:pt x="304" y="440"/>
                  </a:lnTo>
                  <a:lnTo>
                    <a:pt x="306" y="440"/>
                  </a:lnTo>
                  <a:lnTo>
                    <a:pt x="309" y="440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21" y="443"/>
                  </a:lnTo>
                  <a:lnTo>
                    <a:pt x="325" y="438"/>
                  </a:lnTo>
                  <a:lnTo>
                    <a:pt x="330" y="438"/>
                  </a:lnTo>
                  <a:lnTo>
                    <a:pt x="330" y="434"/>
                  </a:lnTo>
                  <a:lnTo>
                    <a:pt x="332" y="432"/>
                  </a:lnTo>
                  <a:lnTo>
                    <a:pt x="332" y="428"/>
                  </a:lnTo>
                  <a:lnTo>
                    <a:pt x="334" y="424"/>
                  </a:lnTo>
                  <a:lnTo>
                    <a:pt x="338" y="420"/>
                  </a:lnTo>
                  <a:lnTo>
                    <a:pt x="338" y="417"/>
                  </a:lnTo>
                  <a:lnTo>
                    <a:pt x="340" y="415"/>
                  </a:lnTo>
                  <a:lnTo>
                    <a:pt x="342" y="415"/>
                  </a:lnTo>
                  <a:lnTo>
                    <a:pt x="346" y="413"/>
                  </a:lnTo>
                  <a:lnTo>
                    <a:pt x="348" y="409"/>
                  </a:lnTo>
                  <a:lnTo>
                    <a:pt x="350" y="409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61" y="409"/>
                  </a:lnTo>
                  <a:lnTo>
                    <a:pt x="361" y="411"/>
                  </a:lnTo>
                  <a:lnTo>
                    <a:pt x="365" y="415"/>
                  </a:lnTo>
                  <a:lnTo>
                    <a:pt x="369" y="415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5" y="411"/>
                  </a:lnTo>
                  <a:lnTo>
                    <a:pt x="377" y="405"/>
                  </a:lnTo>
                  <a:lnTo>
                    <a:pt x="377" y="401"/>
                  </a:lnTo>
                  <a:lnTo>
                    <a:pt x="377" y="397"/>
                  </a:lnTo>
                  <a:lnTo>
                    <a:pt x="377" y="394"/>
                  </a:lnTo>
                  <a:lnTo>
                    <a:pt x="377" y="394"/>
                  </a:lnTo>
                  <a:lnTo>
                    <a:pt x="377" y="392"/>
                  </a:lnTo>
                  <a:lnTo>
                    <a:pt x="380" y="390"/>
                  </a:lnTo>
                  <a:lnTo>
                    <a:pt x="384" y="390"/>
                  </a:lnTo>
                  <a:lnTo>
                    <a:pt x="386" y="390"/>
                  </a:lnTo>
                  <a:lnTo>
                    <a:pt x="390" y="390"/>
                  </a:lnTo>
                  <a:lnTo>
                    <a:pt x="392" y="386"/>
                  </a:lnTo>
                  <a:lnTo>
                    <a:pt x="396" y="382"/>
                  </a:lnTo>
                  <a:lnTo>
                    <a:pt x="398" y="378"/>
                  </a:lnTo>
                  <a:lnTo>
                    <a:pt x="401" y="374"/>
                  </a:lnTo>
                  <a:lnTo>
                    <a:pt x="405" y="372"/>
                  </a:lnTo>
                  <a:lnTo>
                    <a:pt x="409" y="371"/>
                  </a:lnTo>
                  <a:lnTo>
                    <a:pt x="411" y="369"/>
                  </a:lnTo>
                  <a:lnTo>
                    <a:pt x="413" y="365"/>
                  </a:lnTo>
                  <a:lnTo>
                    <a:pt x="415" y="367"/>
                  </a:lnTo>
                  <a:lnTo>
                    <a:pt x="421" y="369"/>
                  </a:lnTo>
                  <a:lnTo>
                    <a:pt x="423" y="369"/>
                  </a:lnTo>
                  <a:lnTo>
                    <a:pt x="426" y="369"/>
                  </a:lnTo>
                  <a:lnTo>
                    <a:pt x="428" y="371"/>
                  </a:lnTo>
                  <a:lnTo>
                    <a:pt x="432" y="371"/>
                  </a:lnTo>
                  <a:lnTo>
                    <a:pt x="434" y="371"/>
                  </a:lnTo>
                  <a:lnTo>
                    <a:pt x="438" y="371"/>
                  </a:lnTo>
                  <a:lnTo>
                    <a:pt x="442" y="371"/>
                  </a:lnTo>
                  <a:lnTo>
                    <a:pt x="446" y="371"/>
                  </a:lnTo>
                  <a:lnTo>
                    <a:pt x="449" y="371"/>
                  </a:lnTo>
                  <a:lnTo>
                    <a:pt x="453" y="371"/>
                  </a:lnTo>
                  <a:lnTo>
                    <a:pt x="455" y="369"/>
                  </a:lnTo>
                  <a:lnTo>
                    <a:pt x="459" y="369"/>
                  </a:lnTo>
                  <a:lnTo>
                    <a:pt x="459" y="367"/>
                  </a:lnTo>
                  <a:lnTo>
                    <a:pt x="463" y="367"/>
                  </a:lnTo>
                  <a:lnTo>
                    <a:pt x="467" y="367"/>
                  </a:lnTo>
                  <a:lnTo>
                    <a:pt x="471" y="367"/>
                  </a:lnTo>
                  <a:lnTo>
                    <a:pt x="474" y="367"/>
                  </a:lnTo>
                  <a:lnTo>
                    <a:pt x="478" y="372"/>
                  </a:lnTo>
                  <a:lnTo>
                    <a:pt x="484" y="367"/>
                  </a:lnTo>
                  <a:lnTo>
                    <a:pt x="486" y="365"/>
                  </a:lnTo>
                  <a:lnTo>
                    <a:pt x="492" y="365"/>
                  </a:lnTo>
                  <a:lnTo>
                    <a:pt x="494" y="363"/>
                  </a:lnTo>
                  <a:lnTo>
                    <a:pt x="497" y="363"/>
                  </a:lnTo>
                  <a:lnTo>
                    <a:pt x="501" y="363"/>
                  </a:lnTo>
                  <a:lnTo>
                    <a:pt x="505" y="363"/>
                  </a:lnTo>
                  <a:lnTo>
                    <a:pt x="509" y="359"/>
                  </a:lnTo>
                  <a:lnTo>
                    <a:pt x="511" y="359"/>
                  </a:lnTo>
                  <a:lnTo>
                    <a:pt x="513" y="357"/>
                  </a:lnTo>
                  <a:lnTo>
                    <a:pt x="517" y="357"/>
                  </a:lnTo>
                  <a:lnTo>
                    <a:pt x="520" y="357"/>
                  </a:lnTo>
                  <a:lnTo>
                    <a:pt x="524" y="357"/>
                  </a:lnTo>
                  <a:lnTo>
                    <a:pt x="528" y="357"/>
                  </a:lnTo>
                  <a:lnTo>
                    <a:pt x="532" y="357"/>
                  </a:lnTo>
                  <a:lnTo>
                    <a:pt x="536" y="357"/>
                  </a:lnTo>
                  <a:lnTo>
                    <a:pt x="538" y="357"/>
                  </a:lnTo>
                  <a:lnTo>
                    <a:pt x="542" y="355"/>
                  </a:lnTo>
                  <a:lnTo>
                    <a:pt x="545" y="355"/>
                  </a:lnTo>
                  <a:lnTo>
                    <a:pt x="547" y="353"/>
                  </a:lnTo>
                  <a:lnTo>
                    <a:pt x="551" y="353"/>
                  </a:lnTo>
                  <a:lnTo>
                    <a:pt x="553" y="349"/>
                  </a:lnTo>
                  <a:lnTo>
                    <a:pt x="557" y="349"/>
                  </a:lnTo>
                  <a:lnTo>
                    <a:pt x="561" y="348"/>
                  </a:lnTo>
                  <a:lnTo>
                    <a:pt x="565" y="346"/>
                  </a:lnTo>
                  <a:lnTo>
                    <a:pt x="568" y="346"/>
                  </a:lnTo>
                  <a:lnTo>
                    <a:pt x="570" y="348"/>
                  </a:lnTo>
                  <a:lnTo>
                    <a:pt x="574" y="348"/>
                  </a:lnTo>
                  <a:lnTo>
                    <a:pt x="578" y="349"/>
                  </a:lnTo>
                  <a:lnTo>
                    <a:pt x="582" y="349"/>
                  </a:lnTo>
                  <a:lnTo>
                    <a:pt x="584" y="349"/>
                  </a:lnTo>
                  <a:lnTo>
                    <a:pt x="588" y="349"/>
                  </a:lnTo>
                  <a:lnTo>
                    <a:pt x="590" y="349"/>
                  </a:lnTo>
                  <a:lnTo>
                    <a:pt x="593" y="349"/>
                  </a:lnTo>
                  <a:lnTo>
                    <a:pt x="595" y="349"/>
                  </a:lnTo>
                  <a:lnTo>
                    <a:pt x="601" y="348"/>
                  </a:lnTo>
                  <a:lnTo>
                    <a:pt x="603" y="344"/>
                  </a:lnTo>
                  <a:lnTo>
                    <a:pt x="605" y="340"/>
                  </a:lnTo>
                  <a:lnTo>
                    <a:pt x="607" y="336"/>
                  </a:lnTo>
                  <a:lnTo>
                    <a:pt x="609" y="334"/>
                  </a:lnTo>
                  <a:lnTo>
                    <a:pt x="611" y="328"/>
                  </a:lnTo>
                  <a:lnTo>
                    <a:pt x="613" y="326"/>
                  </a:lnTo>
                  <a:lnTo>
                    <a:pt x="613" y="321"/>
                  </a:lnTo>
                  <a:lnTo>
                    <a:pt x="611" y="317"/>
                  </a:lnTo>
                  <a:lnTo>
                    <a:pt x="611" y="313"/>
                  </a:lnTo>
                  <a:lnTo>
                    <a:pt x="611" y="309"/>
                  </a:lnTo>
                  <a:lnTo>
                    <a:pt x="611" y="305"/>
                  </a:lnTo>
                  <a:lnTo>
                    <a:pt x="611" y="303"/>
                  </a:lnTo>
                  <a:lnTo>
                    <a:pt x="611" y="300"/>
                  </a:lnTo>
                  <a:lnTo>
                    <a:pt x="611" y="298"/>
                  </a:lnTo>
                  <a:lnTo>
                    <a:pt x="609" y="292"/>
                  </a:lnTo>
                  <a:lnTo>
                    <a:pt x="609" y="290"/>
                  </a:lnTo>
                  <a:lnTo>
                    <a:pt x="609" y="284"/>
                  </a:lnTo>
                  <a:lnTo>
                    <a:pt x="609" y="280"/>
                  </a:lnTo>
                  <a:lnTo>
                    <a:pt x="609" y="277"/>
                  </a:lnTo>
                  <a:lnTo>
                    <a:pt x="609" y="275"/>
                  </a:lnTo>
                  <a:lnTo>
                    <a:pt x="609" y="269"/>
                  </a:lnTo>
                  <a:lnTo>
                    <a:pt x="609" y="267"/>
                  </a:lnTo>
                  <a:lnTo>
                    <a:pt x="609" y="263"/>
                  </a:lnTo>
                  <a:lnTo>
                    <a:pt x="609" y="259"/>
                  </a:lnTo>
                  <a:lnTo>
                    <a:pt x="609" y="255"/>
                  </a:lnTo>
                  <a:lnTo>
                    <a:pt x="611" y="252"/>
                  </a:lnTo>
                  <a:lnTo>
                    <a:pt x="609" y="248"/>
                  </a:lnTo>
                  <a:lnTo>
                    <a:pt x="609" y="244"/>
                  </a:lnTo>
                  <a:lnTo>
                    <a:pt x="609" y="240"/>
                  </a:lnTo>
                  <a:lnTo>
                    <a:pt x="607" y="236"/>
                  </a:lnTo>
                  <a:lnTo>
                    <a:pt x="607" y="232"/>
                  </a:lnTo>
                  <a:lnTo>
                    <a:pt x="607" y="230"/>
                  </a:lnTo>
                  <a:lnTo>
                    <a:pt x="607" y="227"/>
                  </a:lnTo>
                  <a:lnTo>
                    <a:pt x="607" y="223"/>
                  </a:lnTo>
                  <a:lnTo>
                    <a:pt x="607" y="221"/>
                  </a:lnTo>
                  <a:lnTo>
                    <a:pt x="603" y="221"/>
                  </a:lnTo>
                  <a:lnTo>
                    <a:pt x="601" y="221"/>
                  </a:lnTo>
                  <a:lnTo>
                    <a:pt x="599" y="221"/>
                  </a:lnTo>
                  <a:lnTo>
                    <a:pt x="595" y="221"/>
                  </a:lnTo>
                  <a:lnTo>
                    <a:pt x="595" y="223"/>
                  </a:lnTo>
                  <a:lnTo>
                    <a:pt x="591" y="223"/>
                  </a:lnTo>
                  <a:lnTo>
                    <a:pt x="588" y="223"/>
                  </a:lnTo>
                  <a:lnTo>
                    <a:pt x="586" y="223"/>
                  </a:lnTo>
                  <a:lnTo>
                    <a:pt x="582" y="223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2" y="223"/>
                  </a:lnTo>
                  <a:lnTo>
                    <a:pt x="570" y="221"/>
                  </a:lnTo>
                  <a:lnTo>
                    <a:pt x="568" y="219"/>
                  </a:lnTo>
                  <a:lnTo>
                    <a:pt x="568" y="217"/>
                  </a:lnTo>
                  <a:lnTo>
                    <a:pt x="567" y="217"/>
                  </a:lnTo>
                  <a:lnTo>
                    <a:pt x="568" y="211"/>
                  </a:lnTo>
                  <a:lnTo>
                    <a:pt x="568" y="209"/>
                  </a:lnTo>
                  <a:lnTo>
                    <a:pt x="568" y="206"/>
                  </a:lnTo>
                  <a:lnTo>
                    <a:pt x="567" y="204"/>
                  </a:lnTo>
                  <a:lnTo>
                    <a:pt x="567" y="202"/>
                  </a:lnTo>
                  <a:lnTo>
                    <a:pt x="565" y="202"/>
                  </a:lnTo>
                  <a:lnTo>
                    <a:pt x="565" y="198"/>
                  </a:lnTo>
                  <a:lnTo>
                    <a:pt x="563" y="198"/>
                  </a:lnTo>
                  <a:lnTo>
                    <a:pt x="559" y="198"/>
                  </a:lnTo>
                  <a:lnTo>
                    <a:pt x="559" y="196"/>
                  </a:lnTo>
                  <a:lnTo>
                    <a:pt x="557" y="194"/>
                  </a:lnTo>
                  <a:lnTo>
                    <a:pt x="555" y="192"/>
                  </a:lnTo>
                  <a:lnTo>
                    <a:pt x="553" y="190"/>
                  </a:lnTo>
                  <a:lnTo>
                    <a:pt x="551" y="190"/>
                  </a:lnTo>
                  <a:lnTo>
                    <a:pt x="549" y="188"/>
                  </a:lnTo>
                  <a:lnTo>
                    <a:pt x="547" y="186"/>
                  </a:lnTo>
                  <a:lnTo>
                    <a:pt x="545" y="184"/>
                  </a:lnTo>
                  <a:lnTo>
                    <a:pt x="543" y="183"/>
                  </a:lnTo>
                  <a:lnTo>
                    <a:pt x="540" y="183"/>
                  </a:lnTo>
                  <a:lnTo>
                    <a:pt x="538" y="183"/>
                  </a:lnTo>
                  <a:lnTo>
                    <a:pt x="534" y="181"/>
                  </a:lnTo>
                  <a:lnTo>
                    <a:pt x="532" y="179"/>
                  </a:lnTo>
                  <a:lnTo>
                    <a:pt x="530" y="177"/>
                  </a:lnTo>
                  <a:lnTo>
                    <a:pt x="526" y="177"/>
                  </a:lnTo>
                  <a:lnTo>
                    <a:pt x="526" y="175"/>
                  </a:lnTo>
                  <a:lnTo>
                    <a:pt x="524" y="175"/>
                  </a:lnTo>
                  <a:lnTo>
                    <a:pt x="526" y="173"/>
                  </a:lnTo>
                  <a:lnTo>
                    <a:pt x="524" y="167"/>
                  </a:lnTo>
                  <a:lnTo>
                    <a:pt x="522" y="165"/>
                  </a:lnTo>
                  <a:lnTo>
                    <a:pt x="520" y="163"/>
                  </a:lnTo>
                  <a:lnTo>
                    <a:pt x="519" y="159"/>
                  </a:lnTo>
                  <a:lnTo>
                    <a:pt x="298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</p:grpSp>
      <p:pic>
        <p:nvPicPr>
          <p:cNvPr id="527" name="Picture 6" descr="http://www.gifs.net/Animation11/Geography_and_History/International_Flags/morocco.gif"/>
          <p:cNvPicPr>
            <a:picLocks noChangeAspect="1" noChangeArrowheads="1" noCrop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3122" y="1628800"/>
            <a:ext cx="2059358" cy="148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2"/>
          <p:cNvSpPr>
            <a:spLocks noGrp="1"/>
          </p:cNvSpPr>
          <p:nvPr>
            <p:ph type="title" idx="4294967295"/>
          </p:nvPr>
        </p:nvSpPr>
        <p:spPr>
          <a:xfrm>
            <a:off x="0" y="53752"/>
            <a:ext cx="9144000" cy="1143000"/>
          </a:xfrm>
        </p:spPr>
        <p:txBody>
          <a:bodyPr/>
          <a:lstStyle/>
          <a:p>
            <a:pPr eaLnBrk="1" hangingPunct="1"/>
            <a:r>
              <a:rPr lang="tr-TR" sz="3800" b="1" dirty="0" smtClean="0">
                <a:solidFill>
                  <a:schemeClr val="bg1"/>
                </a:solidFill>
              </a:rPr>
              <a:t>BAŞLICA İSTİHDAM ALANLARI</a:t>
            </a:r>
            <a:endParaRPr lang="fr-FR" sz="3800" b="1" dirty="0" smtClean="0">
              <a:solidFill>
                <a:schemeClr val="bg1"/>
              </a:solidFill>
            </a:endParaRP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1243931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7410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2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auto">
          <a:xfrm>
            <a:off x="539552" y="1394967"/>
            <a:ext cx="7992888" cy="4431983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just"/>
            <a:endParaRPr lang="tr-TR" sz="1000" b="1" dirty="0">
              <a:solidFill>
                <a:srgbClr val="FFFF66"/>
              </a:solidFill>
              <a:latin typeface="Arial Unicode MS" pitchFamily="34" charset="-128"/>
            </a:endParaRPr>
          </a:p>
          <a:p>
            <a:r>
              <a:rPr lang="tr-TR" sz="2600" b="1" dirty="0" smtClean="0">
                <a:solidFill>
                  <a:srgbClr val="FFFF00"/>
                </a:solidFill>
                <a:latin typeface="+mj-lt"/>
              </a:rPr>
              <a:t>      </a:t>
            </a:r>
            <a:endParaRPr lang="tr-TR" sz="2600" b="1" dirty="0">
              <a:solidFill>
                <a:schemeClr val="bg1"/>
              </a:solidFill>
              <a:latin typeface="+mj-lt"/>
            </a:endParaRPr>
          </a:p>
          <a:p>
            <a:pPr marL="457200" indent="-457200">
              <a:buBlip>
                <a:blip r:embed="rId3"/>
              </a:buBlip>
            </a:pPr>
            <a:r>
              <a:rPr lang="tr-TR" sz="3200" b="1" dirty="0" smtClean="0">
                <a:solidFill>
                  <a:schemeClr val="bg1"/>
                </a:solidFill>
                <a:latin typeface="+mj-lt"/>
              </a:rPr>
              <a:t>Tarım </a:t>
            </a:r>
            <a:r>
              <a:rPr lang="tr-TR" sz="3200" b="1" dirty="0">
                <a:solidFill>
                  <a:schemeClr val="bg1"/>
                </a:solidFill>
                <a:latin typeface="+mj-lt"/>
              </a:rPr>
              <a:t>ve Balıkçılık	</a:t>
            </a:r>
            <a:r>
              <a:rPr lang="tr-TR" sz="3200" dirty="0">
                <a:solidFill>
                  <a:srgbClr val="FFFF00"/>
                </a:solidFill>
                <a:latin typeface="+mj-lt"/>
              </a:rPr>
              <a:t>  </a:t>
            </a:r>
            <a:r>
              <a:rPr lang="tr-TR" sz="3200" b="1" dirty="0">
                <a:solidFill>
                  <a:schemeClr val="bg1"/>
                </a:solidFill>
                <a:latin typeface="+mj-lt"/>
              </a:rPr>
              <a:t>	</a:t>
            </a:r>
            <a:r>
              <a:rPr lang="tr-TR" sz="3200" b="1" dirty="0" smtClean="0">
                <a:solidFill>
                  <a:schemeClr val="bg1"/>
                </a:solidFill>
                <a:latin typeface="+mj-lt"/>
              </a:rPr>
              <a:t>4,1 Milyon</a:t>
            </a:r>
          </a:p>
          <a:p>
            <a:pPr marL="457200" indent="-457200">
              <a:buBlip>
                <a:blip r:embed="rId3"/>
              </a:buBlip>
            </a:pPr>
            <a:r>
              <a:rPr lang="tr-TR" sz="3200" b="1" dirty="0" smtClean="0">
                <a:solidFill>
                  <a:schemeClr val="bg1"/>
                </a:solidFill>
                <a:latin typeface="+mj-lt"/>
              </a:rPr>
              <a:t>Sanayi 		                1,2 Milyon</a:t>
            </a:r>
          </a:p>
          <a:p>
            <a:r>
              <a:rPr lang="tr-TR" sz="32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tr-TR" sz="3200" b="1" dirty="0" smtClean="0">
                <a:solidFill>
                  <a:schemeClr val="bg1"/>
                </a:solidFill>
                <a:latin typeface="+mj-lt"/>
              </a:rPr>
              <a:t> 	</a:t>
            </a:r>
            <a:r>
              <a:rPr lang="tr-TR" sz="2200" b="1" i="1" dirty="0" smtClean="0">
                <a:solidFill>
                  <a:schemeClr val="bg1"/>
                </a:solidFill>
                <a:latin typeface="+mj-lt"/>
              </a:rPr>
              <a:t>Gıda, Tekstil, Konfeksiyon, Kimya,</a:t>
            </a:r>
          </a:p>
          <a:p>
            <a:r>
              <a:rPr lang="tr-TR" sz="2200" b="1" i="1" dirty="0" smtClean="0">
                <a:solidFill>
                  <a:schemeClr val="bg1"/>
                </a:solidFill>
                <a:latin typeface="+mj-lt"/>
              </a:rPr>
              <a:t>	Mekanik-Metalürji, Elektrik-Elektronik</a:t>
            </a:r>
          </a:p>
          <a:p>
            <a:pPr marL="457200" indent="-457200">
              <a:buBlip>
                <a:blip r:embed="rId3"/>
              </a:buBlip>
            </a:pPr>
            <a:r>
              <a:rPr lang="tr-TR" sz="3200" b="1" dirty="0">
                <a:solidFill>
                  <a:schemeClr val="bg1"/>
                </a:solidFill>
                <a:latin typeface="+mj-lt"/>
              </a:rPr>
              <a:t>İnşaat		 </a:t>
            </a:r>
            <a:r>
              <a:rPr lang="tr-TR" sz="3200" b="1" dirty="0" smtClean="0">
                <a:solidFill>
                  <a:schemeClr val="bg1"/>
                </a:solidFill>
                <a:latin typeface="+mj-lt"/>
              </a:rPr>
              <a:t>                       1,0 </a:t>
            </a:r>
            <a:r>
              <a:rPr lang="tr-TR" sz="3200" b="1" dirty="0">
                <a:solidFill>
                  <a:schemeClr val="bg1"/>
                </a:solidFill>
                <a:latin typeface="+mj-lt"/>
              </a:rPr>
              <a:t>Milyon</a:t>
            </a:r>
          </a:p>
          <a:p>
            <a:pPr marL="457200" indent="-457200">
              <a:buBlip>
                <a:blip r:embed="rId3"/>
              </a:buBlip>
            </a:pPr>
            <a:r>
              <a:rPr lang="tr-TR" sz="3200" b="1" dirty="0" smtClean="0">
                <a:solidFill>
                  <a:schemeClr val="bg1"/>
                </a:solidFill>
                <a:latin typeface="+mj-lt"/>
              </a:rPr>
              <a:t>Turizm 				550 Bin</a:t>
            </a:r>
          </a:p>
          <a:p>
            <a:pPr marL="457200" indent="-457200">
              <a:buBlip>
                <a:blip r:embed="rId3"/>
              </a:buBlip>
            </a:pPr>
            <a:r>
              <a:rPr lang="tr-TR" sz="3200" b="1" dirty="0">
                <a:solidFill>
                  <a:schemeClr val="bg1"/>
                </a:solidFill>
                <a:latin typeface="+mj-lt"/>
              </a:rPr>
              <a:t>Ulaştırma 			</a:t>
            </a:r>
            <a:r>
              <a:rPr lang="tr-TR" sz="3200" b="1" dirty="0" smtClean="0">
                <a:solidFill>
                  <a:schemeClr val="bg1"/>
                </a:solidFill>
                <a:latin typeface="+mj-lt"/>
              </a:rPr>
              <a:t>        500 </a:t>
            </a:r>
            <a:r>
              <a:rPr lang="tr-TR" sz="3200" b="1" dirty="0">
                <a:solidFill>
                  <a:schemeClr val="bg1"/>
                </a:solidFill>
                <a:latin typeface="+mj-lt"/>
              </a:rPr>
              <a:t>Bin</a:t>
            </a:r>
          </a:p>
          <a:p>
            <a:pPr marL="457200" indent="-457200">
              <a:buBlip>
                <a:blip r:embed="rId3"/>
              </a:buBlip>
            </a:pPr>
            <a:r>
              <a:rPr lang="tr-TR" sz="3200" b="1" dirty="0" smtClean="0">
                <a:solidFill>
                  <a:schemeClr val="bg1"/>
                </a:solidFill>
                <a:latin typeface="+mj-lt"/>
              </a:rPr>
              <a:t>Esnaf-Zan.                          400 Bin</a:t>
            </a:r>
          </a:p>
        </p:txBody>
      </p:sp>
    </p:spTree>
    <p:extLst>
      <p:ext uri="{BB962C8B-B14F-4D97-AF65-F5344CB8AC3E}">
        <p14:creationId xmlns:p14="http://schemas.microsoft.com/office/powerpoint/2010/main" val="283962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000"/>
                            </p:stCondLst>
                            <p:childTnLst>
                              <p:par>
                                <p:cTn id="64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500"/>
                            </p:stCondLst>
                            <p:childTnLst>
                              <p:par>
                                <p:cTn id="7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1" grpId="0"/>
      <p:bldP spid="586757" grpId="0" animBg="1"/>
      <p:bldP spid="11" grpId="0" build="p" autoUpdateAnimBg="0" advAuto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248" name="Picture 8" descr="http://www.marocmondial.com/images/agricultur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44825"/>
            <a:ext cx="9036495" cy="1603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2"/>
          <p:cNvSpPr txBox="1">
            <a:spLocks/>
          </p:cNvSpPr>
          <p:nvPr/>
        </p:nvSpPr>
        <p:spPr bwMode="auto">
          <a:xfrm>
            <a:off x="0" y="0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200" b="1" kern="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KONOMİNİN TEMEL DİNAMİKLERİ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2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ARIM</a:t>
            </a:r>
            <a:endParaRPr kumimoji="0" lang="fr-FR" sz="3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5120605"/>
            <a:ext cx="932351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Char char="•"/>
            </a:pPr>
            <a:endParaRPr lang="tr-TR" sz="2400" dirty="0">
              <a:solidFill>
                <a:schemeClr val="bg1"/>
              </a:solidFill>
              <a:latin typeface="+mn-lt"/>
            </a:endParaRPr>
          </a:p>
          <a:p>
            <a:pPr algn="ctr">
              <a:buFont typeface="Arial" charset="0"/>
              <a:buChar char="•"/>
            </a:pPr>
            <a:r>
              <a:rPr lang="tr-TR" sz="2400" dirty="0" smtClean="0">
                <a:solidFill>
                  <a:schemeClr val="bg1"/>
                </a:solidFill>
                <a:latin typeface="+mn-lt"/>
              </a:rPr>
              <a:t> Sebze, meyve ve et ürünlerinde %100</a:t>
            </a:r>
          </a:p>
          <a:p>
            <a:pPr algn="ctr">
              <a:buFont typeface="Arial" charset="0"/>
              <a:buChar char="•"/>
            </a:pPr>
            <a:r>
              <a:rPr lang="tr-TR" sz="2400" dirty="0">
                <a:solidFill>
                  <a:schemeClr val="bg1"/>
                </a:solidFill>
                <a:latin typeface="+mn-lt"/>
              </a:rPr>
              <a:t> </a:t>
            </a:r>
            <a:r>
              <a:rPr lang="tr-TR" sz="2400" dirty="0" smtClean="0">
                <a:solidFill>
                  <a:schemeClr val="bg1"/>
                </a:solidFill>
                <a:latin typeface="+mn-lt"/>
              </a:rPr>
              <a:t>Süt ürünlerinde %82</a:t>
            </a:r>
          </a:p>
          <a:p>
            <a:pPr algn="ctr">
              <a:buFont typeface="Arial" charset="0"/>
              <a:buChar char="•"/>
            </a:pPr>
            <a:r>
              <a:rPr lang="tr-TR" sz="2400" dirty="0">
                <a:solidFill>
                  <a:schemeClr val="bg1"/>
                </a:solidFill>
                <a:latin typeface="+mn-lt"/>
              </a:rPr>
              <a:t> </a:t>
            </a:r>
            <a:r>
              <a:rPr lang="tr-TR" sz="2400" dirty="0" smtClean="0">
                <a:solidFill>
                  <a:schemeClr val="bg1"/>
                </a:solidFill>
                <a:latin typeface="+mn-lt"/>
              </a:rPr>
              <a:t>Şeker %50, Tahıl %20, Yağ %20</a:t>
            </a:r>
            <a:endParaRPr lang="tr-TR" sz="2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02790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 dirty="0">
              <a:cs typeface="+mn-cs"/>
            </a:endParaRPr>
          </a:p>
        </p:txBody>
      </p:sp>
      <p:sp>
        <p:nvSpPr>
          <p:cNvPr id="15362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5364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5366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5368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5370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5372" name="AutoShape 1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5376" name="AutoShape 16" descr="data:image/jpeg;base64,/9j/4AAQSkZJRgABAQAAAQABAAD/2wCEAAkGBxQTEhUUEhQVFhUXGB8bGRgYGBwfHBscGiAgHBwbHhsfHCggGyElHRgdIjEhJSkrLi4uHCAzODMsNygtLiwBCgoKDg0OGxAQGywkHyQsLCwsLCwsLCwsLCwsLCwsLCwsLCw0LCwsLCwsLCwsLCwsLCwsLCwsLCwsLCwsLCwsLP/AABEIANUA7AMBIgACEQEDEQH/xAAbAAACAwEBAQAAAAAAAAAAAAAEBQIDBgABB//EAEoQAAIBAgQDBQQFCAcIAgMBAAECEQMhAAQSMQVBUQYTImFxMoGRoSNCUrHBFDNicpLR4fAHFUNTgpPSJGNzg6KywvE04kRU0xb/xAAYAQADAQEAAAAAAAAAAAAAAAAAAQIDBP/EACURAQEAAgEEAgICAwAAAAAAAAABAhEhAxIxQRNRQmEiMnGBwf/aAAwDAQACEQMRAD8ACzYNN3pkaXUlSBeCDBvEcv5tgajnWUqHXfmCSIHPcX8vLAlTMqOu+wH/AKxbxHNxSosikSXB2uFKi/8APM4zmF+k5ZT7Psxn6ThTSV1b66yIEW1AzIm5I+G+KstmyGDDSwmwYSCByIIvhZwpq2YfuqFMF4LXaLDczHph1Xqp4AoaNHMid2N+WMc8bj/KwplKIzVaSe7QgQLahpFh9YkTf19+JNSVakiai2J+qTNyBuBBnHlWkW0HkEE+oLD7hiGYzDJpKkqQ5gjpC7+/C6ePfn2nbpfnkX6moqRI1ASNxFjfbfGay77xtynH03tDSR8nSqPpDsY1WEyCSCelsfOOK5E0zNOSpXVYg2FmNuUsPnjp6fTuOxckwtoE/HEM6WUx6fzODeF5RmYBVYmJgDl1/jiys1HR4lpSAJZjUBuCbw0THlyxUm+DJS5Am8+uCqGYJ6iOWADTknRcDePiI+HyxQ+b0gx1i9+U+vPGdwtGzqrWt7X89PlhdXfYxHi/A4vy6Bln774HzKkaQftE/I/vxE1sV2XgM0kmQPx+7HPmNP1rAe84pYqCZttEnyuN+uIrlSxN9sOzneRSpnMMQQqkyOuL8rUKnczAj/3+7HqZHwkliAOQAjad8C0abAuGNxT1D3MQfXE3mAxzZEeKRebEg23HXBTX2PhG0H44WZ+oVDDcbbRus4jkuKjSimFEAFrkDzgKT8Ma9PDiUGI574GqZg/k1cXGp6h3t4ETce+wwPms/oZl325xv7sVvUnLzYS1fnPKn8ca9qT3uzpphZMUEJEEwAiyT5YXdoG+gtvKxf8ASAxPiOZpIU3L91TNQmIUd2sKo6ncn0HWfeKmn+SaiWLuyaQQQEXUCSZ3J28hjPt5Oj6Zh3nk7D5nCvtVmJoMkxJH3jB2cqRVrjkKhj3xhJx0FqDnSYkAmDAPScZa3mpoOM1SKjC9tIEfqjCwV262wTxXUaxQAsSEgC5PgW0DAGYYgkMCCLEEQfSOWJ1yNi0eW9RaMXUa5AG+FVN2iNNoIH34MpEgDxaecTgsEU8YyoSOvp58/jGObLF6VGxsH+bfuGBn4vUYHVB8UCw6+nnhs/EnGXoMyqdfedfqmw32g47ZLI5uzdN/6PcsKebLH+7cf9v7sWVUUorhRqED3G4Mct4wkynaJqb+BQGg36dRBHPBeb4oEZUIN6VNrRuVDfdjHrYZ2a01w7cTurTCqojken225+uAOJiyW+sfjC4i3FU7ukxDDUGOwn2288e5zP0zTRmYLqdgNXh+ql7xbfGXS6eWHU7rOF2yzTZ8TzCrkKDO4QTuRPJot54xudqimfzlMkm4BNgTzJaAesE4u4/21y35LSoJqqFPaI9mQCI1cxffb1xjsx2jLi1OmQdi3iI6xyxvcO6jhsa1YUiGVkad9JB+UjANbtQFXQMsxmLAKVI/ZO0nrjKo9esZSkXH6pjyGqYHocOuHCqukVBSS2yElmBMbhtIvbe0bYXx4zyet+Cvj+c77+zNPSQBCfrHkBG+M+9gYPug43440ABFKobcgx+Ywur8Wyr+3l5PKWYEge+caziJsD8FzGqmYHs2t54lxig4UaWAj4j3++MToZyiB9BSamCZMvI/fjs3mAyiCCYO0+mMccb8n6LLL+LPdx1ucX5ZnUwG8PQ/h0xIL1B3/kY97pidKgltox2WYuXHPLcE0l8E/p9fLFei/Pz9MU1a5UaKbBgCdTC8sPs+QEffbDTKUAQbhmBghdusyT64ncnp02ULX9i8n6Tnv7OPezz+NfRx6QD+GGfc6HUKVI0szCfFYCLX8sBcEzTqWVqbD840xaCrGPXGd0culHETNRoPMfcMVtTIy6M2kqWraeuqAJPL6tsM6OZPNHP+E/jgfNjVkaYCHeo0iIHj54Nzfkb3F/Fqal6RmWCUmIIsAEWBvBnfa1sC58syAsZJcSffh9nKAYIQL91T6ckXCniVLToHI1Ft78Y3KXKTZruLNGZrxt3p+WCc2+rhdUhhC10kcjI/eBgDtO0ZnMBftk/Mz92FeZ4gy0Wor7DFWaeq7HF9OatpXk07SV3/AChhTJWNBZ1aCPCoUAgzuJI8hgGrxE1CGqVWd4AJdpaALSeeFmcRg57yzMNU9dQkN7wRfocCEEGNXzMYfxyxTQJVWPzgk3gEYnRq2HjUepE/fhEXMDxodp9k+vLFuXVivL9n/wCuJ+GfYOv/APKZsTHdG8xr/hg3inDMwMrlkWnrKd5r0nYluQ52OJZrt8gDaKThoOnUUInlIDSRjO5vtbmatFkZ6ek76V0tc3g6uovGF0/m/LSO1bXpvSdGrxSDA6dUzYCTABO5GJcX4ujvKeKEporzC+BApOlhN4PPnjOvWYm7T6uf9eGFLgeabTpo1DIkXO3ImW8I8zGNrftWlw4/UJXS4TuwQsQNySYvBMkm+KKXEHZgqsSTsAFmfLS2G+T7P01cJmKzFyR4aRMeIgCahMHfkDscM8rWCUqoop3OhlBYMxczqBlzc8rWGJuUXMaUUOD1Sx7+aYXeSms+QXUTz5wMOxwunT/sVf6NagapeZExAgWk/DEKVD2XMS1Ak3v9aD8sM61ZQkC7fky6hGwgCZ9DiMsmmGMDli9UXsrU4UbDUFJhRYCTOJUwFMdAQPdWP4DAdRwCx2vS+Sgn7sUU60jTIFtzPUvyEncb4R70hUUSTNVdQklVm2xIkXHpjstWG1HMTA2anEDncnGs4fSCjRp1kWAKzI3kL+JwWOCqZNWmviHsQNt5bre/PC+Se2VxZs5ircp9IsQCKgVyBtEgzvyPXAVOz6mytcnrq1c/P+GNBxDgWXK6mlUp8w0aRzhdrxtHIYXZXIwkl6qm+iG8Rk+EMPZ1RE23kcsKWedC4zYLKZ9Gq6XV1DGdDCCpFy2ogCOs2wv4rxJXZ6dANBHiZrE+SyBafeYtbBPaPizUZoCrrYmCxADUxCkXFi08wLdZwgy1I2X6UtY6RpA9TI2joZxrjjztN0M4fRZmAiTtEzufW+wxoKBKDUFAYkSplSASCxAK2PkbQDgPIUiAZQMxg+E8ryb+UG218HZlyEuSRHgZJaTvvc7TyxdS9US1dy5hQFDR1N29Zi3IYoyOUqsxYVabeCpAJIayNeIsMEZPIPWy1RVYk1m1qWiwBAkwq9OYxLL8Gqo4bWoJRw/0jDxMrXUC3Pc4yy1vyq47AsuZEHSH03MPq+WvAWfrFcrQW3ipObre7tMHljqwzlEEs9XTtqV9XvIgnFnE8yy5WggdgpoE6e7lSWd/rz4THkcOT/CdaM+J50UiuooJp0x4p/u1PIHCmpmhUqUgGU/SqYBPUciowz41WOqPoh9FTgsD/dobkT15jCyiZeh+Zk1VM02n622mBAnBNW71yNCe0FWl+UVyRqOtx7UXDH054ytWq5JVxuPj6Yd8e4TWbM5hkWow76pOkAx4ieTDkQcJ2yZRwXV1NpDKRzHXfFyYycUp5HduK+nPVlAgAUwPTult88I6WZlgOpw/7d5cHPVzb6k3P90l9oHL4Yz1GjBB5i4giDt/HDx/qq3lZUVZt1xVSFseVtSwWUgHqN8RptbDAyhlaz/m0rNq2hJBgxvERJF/PDih2ZqBQ1dmSWhqa6NYBIUNzX2mUQeRnD38uNVZquwqrGgCx0sWFRbD2YCyMVdnaZZqggNCI0Nt7VK/neMZ3KrmKfDDTFF2ytIIVCkO0M/incmw25DBCuXoF2JLd+onnGkyJ3jywPwgBqVYEAABDawvIv8AL546lWjLf88X9FxGTTGKVgVMttJVSf8AMYe7bFuZrKrZtRJBdQL9Gbn6jFBQiplZ2KpB/wCY0jFFasFatyDOT7lLG/KMBi+/IKAkAdxYDzDb+888e1M5Mm8d2KY9BBPr7J+7AWXcs+gDUShUWsIED1MiQcOuGcIaoy6z3jrIMRpgkm7dbzC8+eFlZEy0upqXjQLR7RFtgIj32m9hjTcI4ABNRmCgiS7C8bWB29n/ANYMzNTLZRVapD1AIWmOXWB9X1xjuO9oK2YbxRp2FMCVXmN1mcTO7PwVsjQcW47oGjKeEH2qzQHbrAYz7yMZV+IVVNncA8i0nqSbjAIzLXmJHtFgIjlEqY9Nzhfmc5qsLJ0iCx/SEER0XG+OGozt2PzvGatTwCoxBsbmPcvM+cenXDarnmyKd3mHY12pqyUz4lRWJuWmdUA29MAZaMlRp5plDvVtSUyNAg+Kdp25YSZWsarqs16nUF1kgXPiNhh+R4EZFqVrkMSRBBcARv4jefFNrAYZ8KjX7UFwIEbjbVtG3xviGYycEFKmmmxIUkyADJI1wJIA3i8iN8O2KVCGfRrBUBFpLBhQuq8hp+cTzxSRnD6LAhg3sXLEwTsSI5i0xvbfAnEq4aiSAEKsNahTJnfwiQpPtDrfnfEkotF4BLSRqbSyiToPTyPSNoxn+Ld4tWmC1akKrALcNTPiAMNM2PLCD6R2eymkogAPgOwIHUWJsY5euBO09Ct3Z7qASYvYkcxM9MO+B1Kah9Z02ib++/K/XGd45xWiqhWYsurZXBJ+BmMcuVvc3vEVa3bL1GqFAVUkhgZFrAEEA/PCTi2c05WjT0yDl1gyogksTu0taNhzx6tIESpADXiDsbwb4H4pRIpsZG3Q+Vt8dGPS1N7Yd+/TR5mmhdTDfmaWoeDS/gXkRPQThdVo0++ymhNE10+zYEgx4d4OL+KKdawQPoqXI/3a+eA6bt+UZWWJHfLG/UeeJ+K/22ff60M4jTyrtUarUCstWoLVNJWah3CkzPU4S8Yy1CNVLMNVMgaWcMQPvj9+GvFlY1qnit3j9ftG2+FPEKZCrJMah188afFrnae/d8H3abNV6depor0NHh8FQAR4FtMX674y+a44G8NXL5dz9pZHzBM42Pa/JVK9WJVVDCHVYKqFBZm0iXjkPMYw+TylWvJpOjRutQAEdPWfXETDH2d8k2eYO4iVp2ABIJUR5BQb3wPTBxo8xk+6JFaiI+2GOk+W848ThtIgHWom4gMbeuNJ+hsaxl2N5ho85Mi/qcFcJqEd8VG1JPk9KNvMDAr1RpqVGPiLqAJ2Uyzf+Pwx2QzRRK5XcU1j3PT/AHYxraCMm0UMzrsCEiN97W8xzxSahNPTIgVAfP2SBinhsuXUsFUkKznkCYFufT+GPKNUfSKE8YDCZkECYZehIjCpypVsyGKEN7CBSejamPvIJ+OL8nk2Zix/NMoA6kkSbbtMi3rizh3Bj7DAVGBixkRGkaiNjABgX3nGmp5ejlaYqVnvECBJj7KibYm5fQ/decE4Eqodbd3TuSCROmS3jPvsowLxjtWB9Hk1KKJBqFfa6EWttjO8a41UzBh5WkPZpzYeZ6nzwrpX8Ki3XVHuvisen7yRcvoRWzDOSSpLHd/GT82jFaQQxHhVBLMyg77CJkseQG99hfHIUCtrVVUW1lmkGCQovDN5eUm2F2ZrGpplGRE9hfXdmMQWPX3C2NpEPc5mg4j2aYMrTYGZNizEbsfkLDz8yuVL3+opUPBP1jAQdWa8AefIYso0WqNpUsIGos5hUUbsx5AT9w3OKs5VaoF0KRSp+wTuzH2qjfpGLD6oAHWWDHtXUZ8zUOo040DuyVkQojZiPnzGE5pmTqc9RpZd/jh52loo7U6rTpqIAKqWDMLHUhnSwmYm8YQmlRidbz9mB8Z2xMOmGS4poChlL6dtTSN52nr088NcvxdmD1FpMwdtJqIp0g7hYAAsvL1OEGWzVKmPB3kk3ki/u/m04I/rx4ITfqLX6wOfL0wyarJ8fgFqlMnwkElJBn617com/PrjP8YIBXuatVSjfmn9lfFMLJkDaxxIdrTpKuimQAYEfrD0NreuKM5xfK1KIQ0qpYSQ5dSRqMm4AJEbTMYQb/gPaF2ptV7/ALoLKkIpdWbfaDyPPGG4nmT3jVCCCxJk236bRblhbwji4oMSAzobNTOzDnN7HzjB2e4SHHeUGL0jHIl0J+qw/HbC1rdO3bTZVZRfQc/IYo4sv0Lx0xdQkKBtYcvLA3F2Pct6D78a+ka5OuKg6xb+zp8/92uAcoP9ryn/ABR94wfxc/SC/wDZ0+X6C4XZUn8tyv8AxF+8Yn8B+QriNP6WoZ+u33nCjiqwq/rYtzvEG7yp9HUjW3IdT54Azmb16RpYQ3MD8DitzRScvqNEzmXVSs6RMwdwnLltjBceyRynEQDAWqIgCB4th+0B8cPeI8Tq0c3Xaggdg1MEFtI06L3kc4+GFH9IYzWYWnVqZXuzTU+NTqFyCCSJiPPGM/t/r/jT00C8PSvSIK+E2O+5+sLxI3nHzytWrZR3o7wxMsBeeY8jv7zh9wftVVVF+hNVXWZUmxuCpgH6wPuIx2f4sKranyZJiJJM9fs+eDGZY0XVJmErV8JIABLRIABuWOy78+p6YHz1Xu3NI/VUsxB3K/Unyg+/lgynTqmpUpqraakkAX8CsFg7xDBh5x0OHeX4KhqeFBWcMxDX7tNQVbxBc+ERFpJknGdyaaLsvwlu81kqtNX0sDzKlSNIiWJ8Q6COV8aHgvBNRHh0jmx/OPJJgn6o8UQOu+HdHhVOiO/zNQSB7Tx8FXl6DGa7SdsO9Hc5ZXSls7Tpdx0BjwjE85HuYmuc4omWJpZWiKtUWMEaFPnfxG+23njKcVNZ2NXM0izbA6oA6AAGBhUypfQjk87gx6nR88eZrNIQoNISP0jJtHTyxpMdeGdy2nr3LU1Ecix/1Yj3g0lqioFJ8KqIdzMaUvtJuxt6nFWYrU6aq7oZI8FIn2/02sCqeW7crAnAPeo7F62rUR9WCBGwCmIAFgBjXSVmaqO5He0SAoIRFDKqCZnbxHqTc88QytJncIqmSJu0BQBJZiRZQLzidCWYLT1s7GFWN+n1o2v0Hzx5ns2gBoIdSmO9qqfbI+qv+7U/tETtEASzVUsO6pKWohvE8GazLzMbKPqry3NzbwIQrTStFrN4fPf78SoLSHsmqVAuYVT95xN6lOHipUXwmPCDNtjDc+uAJcBrB6dajULEadVMXKhrySoMHleNgcLHzfI01BHlgZahW6kgjmPPGvpU2zHD6fcpqrirpc2BIYnTcn9Jd+hxG9L1tm6FUsYFLUeQVSfw2wT3TSkrGr7Jbwg3uBAG87z6Y5MhX8YLKkatSs4E6bMLTcGQZjnjsvlyzqrVGvIBmAb6RpLbi/wxaBOT0U28ctLEQyqRax52ta++HdHL5d1hkUsDNwoZoB1CQOvu22wryWWVSLKVkamZQ1uYAYgTEfPFuVzZDjUFUAzqj1O4O+wgRz6YAMzXZ1Zml3JU1NMEDwg85jxQOsYSV8zUylX2ClxcSoZegIgGca/gmeVvEKYqabMj6p8f1yLSJsCLWF8e5zNqqHvFYg+wzDUkGZBtOkmLg2O+EFGXzaVlL0STHtKZ1L6z984B4zUPdN0/jghuGUdQekz5cEAF6Laom11v8PD7sBU37stRzeqtReNOZRbqfcSCJsZ88PYjQcYqHvf8Cf8AYuF2Sac7lZ5VB9+D+ML4gwHgZV0sNjAi1yOWAuEXz+VH6X78H4DXIjNZcXMndifv/HCniNMBhE3bDOtmlkgsLkzJGFmdqh3WI9qLHz/jjLG3dRj5a3inCxXzVdWbSFamZ/wRgni/Ysdw3c1qpaJ0NGlvKRAGBOM8TGXzGacjUNdNYBAPsefpieU/pBTRpGXbSOr8v2cPee/4/ppO32xPZyiC1SizOjKdSspIIkhTaRMNpPxxtst2cqMoIztWD1B9Pt4wPGOIoub/ACiihRJ8STNmsw9DjXZXtjTojRUpljuGtBUgFSL7EGfjh5TLzBO32b5HgLFe7eVUMfApkCSSS5EajJ9nYXscEZjtDl8p9GoV36EmAOQJCmP/AF0wj492uWoGpZYvSSbvplj1htQIk84nGTZEEnvST5qST88ZY9Pflpcvo041ma2ZqGpVqUj0VXUBfQEg+/CjvHmFYDz1/jiNPQfbd48gOvmce1zRgkVHUAfWX8Q34Y3k0zSerUQeGqD1ipHqCJnEM7mWQaXPeVvq0mJISROp53bmEO0gnpiNasMvG/5SwBUR+YBiGIP9oVJIH1RFpNlwyMSe9VpNyZBM8/EPxwyWLk6ompUVmJ3JEzO24OIKxZgAi6iQANAkk2FgLz6Y87ojxalEcgRJ+GCnr9xTUyRXrLKHnSpGwf8AWcTB5Lf6wwBDOv3atRo+Ks0is630ifzSRyt4mG5tsLjZWi4EgG250zHvjEMlQ0g+JQPOb+Ytg13qlfDUYgzZX26+GZjAFbcQYWIVh0ZQfwBwPXcEWAFuRP4nF+YzNY+GqzHydRPlcifngXTM87dMAC8jhlwvitSlKIxCVCA4gGV5iCCJIwuTY+75YspiWN43/wDWIWf9oKS5aoNKKadVA9NhEMDAMrpsRJ+IwLwx6tVu7y9Iu5hoVQW8POYkAeuGOTr0s3l6OXqEirSJFM/bDA+EmPDEC5tYemB87wsZdzTTMJTYqNVzJBsQbRAgmJvOKmiu08lkqsGrpFNYJZngCNiSNyPUYIXJadIapTFNmgnVpfSPCTABaJYW5x78C5niT1aRpVHpsYP0hcSWv9XWFWZiw5e/FfdqsKjqSBEs6RHKQGudjty54CWpxZFqAA1QlwDHi3jbYzc3nDXvWpfTM2ukphS8COcQt9W5G/yjCXLZesbzTKG2kNq0x9m5E+nXDjJ5OogKQzKzCVdgVkg6j7X4SMBI5PtOhrqqNTFNm2anpJ6LriwnnHPBvGqNWiWAPdkmAhBdgLzJCggSLEAi+45qW7M0KtQIrd2SfaB8IG9wZ+Xxw6T8opqqVCahAAV2gMUn2iS14IsZ254AXZV61FYRGr0N4SCjQPFpJJZTM2tBthj2Wpd7nMtWpkMgPjH1kMH2hz6SME0qfdrD09LhzqKkhWBMg6TBQiwk7grO+Mznsu1CqK+VcTMlBIaCZuJhheOW3vwaG68r8OqEse+O5MQOZx5lcoyMup9UsIttfDmnXp1lJI7qpHsSsE8tJm1+RwposxqKGUqQy2Ig79MO2FN7ajtE6DN5gVKL1V1KYSZB0gX9xOPMlm1AlOHSBeWUiw2mx9+E/buvWXP5juy6+MXUxI0r0PlhEc9Xgg1q0Hca2gx774zn3Bs47UmtWVdWWWmFkeCmVmb3J6fjhJw3jJpJ3bU1qaSQC3Ibx6ST8cca1UiGeqecamI+E4roMVEKLT0xrIPJm9OkoJ71v8v/AO+AXqITMuetgP8AyOGWaytGTGZUj/h1B+BxQ2VpQdOYpH9YOp+aR88Z7VoM9WmRAZx6qDf3Ec4/kYlw6olNTmqgDLTOmksTrrRqkg7rTBDEcyUHXAefosrBF0szEBdBkEsYAB9cE9oKa94mXpOpXLL3dyAGqTNVwWsdVSYv7IXFkCo0AxZ2qAsZZi06iSZM2uSeePXozJ1JA5ar/CMT/IXA9k+4g/ccU1cuyQGEHz88AE8Ky4qVYqfmkVqlUj+7S7AebWUfrDA1Z/yio1VnAd2JIYEADYAEAiAIAHIDBOWhcnmnJgu9Kgp8r1anu8CA4pyfDahHhCkddax/3ffhBemVTbvUnzDgW89OKKmUcyVAZRzBB99jMYJGRqRIUt+rDem04XkQYPLryxQesDzxZlcozTAY8rYji5bgC7dBvgBZVQqSpsQYOJ02hp33+447O0yrQwI8iCMeUnGqfX5g4zXB/Z+nqzVG4HjBk9F8RPwU4P7eL/tjEbMiGeR8I290YS5eqVOpZkQQRyuPnth7xnOpUdGr0XWoFAa4UN56ZkXn7uWHJsUm4dw2pWJFMAxcyY0gfWPQX38jgzgvBO+LanK6VdiBFlpjUxY/VH1QYNyMDvXMt3ehA1rQCBawvbblidDMPdTUIR/zgRhLxJGrxeLxdT88VpGzGhwZ17qKgQuoeNQLDowAMwehjbywcOKsganUeWGgL4tXUsSxCxAFhO5F8L81n1ZlcK5ZREloJULpElWnU27MZwvoViCuoJP1iYk/dNjzwaG2t7sK0mDULR4fEB6gGBe2D6rMT4mMCwE+zubQRz5R13xjamaQfm20XH2STpgSTq5jlyjB9HN0n0SzNVUNBG95t7V7Xt18sLVDTd8KZWq4CkMxpltvCSJ8Xkbg89id8KeJ8NRtVRTRA0yHaxgDa3hbUAREg33BEYIRqiU1ZgzIAssyjVO0AgkifMETOAqmdy6nTUlGBgsywWm8VFkCR1G8YOQVcQ7N6gKmTlxpUtTmWUkx4TA1ix38Q5zvh1wHOrm2RKpivTiH+2FN1YdRfbzx7ke0aLJFVRpFgpYayxJMEWWLeEwJuDhDxnMUjUFag7iqzFnOoRJMyLAhp35b4NDZj29aeJZqCCO8t+yuFmVc8z8BOGFbjBr0wV1CsoHed2sq3RmgEg+eF6Z6qD4arid4Y3+BwY7hXRrSQt9VoNrgjHvcG8jn5fvwtpVpNySepJPyw3y4Mc8by7RQ1DhNdvEtGowO0KY5j8MA53LOs66dRRz1If3YlXYiR/NvfgPN559OkswB3BJiPMe7GXLUT2aBNapWAtlqbVVEW12WnPSGYPP6B6YSopB8VjznDSp9Hw4dczmCf+Xl1gf9dZv2cB5fP1FgBzA2BggegO2ESDDYRiLG9v564MHEamqZWwj2E/04EzdcsSW38gB6bYYH56kRkcqFBOurXqkehSkp/wChvngOipIsDOCuKuVo8PgkRRdgRvJr1ZI+GJJxGqReo5nfxET8PTEzYU5ikygSCp5SCD6jyxE5p9OkmQNgYPzifnhhT4xVWPpWj7L+JfPwtIwLnc4KlzSRW+1TlV/YuOu0YYDrWiPCpvsRg8Z+pFm0fqAL/wBt8Lwq2kkCek4YZapTU3ps4ge02kH3CTHvwGV8Squ5Bd2cxEsxYx6k4Hp7j0P3HDyrmUYhRlaEmwINQG/+PCAcsQqGXA8oKuYpU2MBnQT5FgD8saf+lNdeapBFLP3N9MknxMYgdIJ95wP/AEd8DavUer7KoIV4BipuCAbeEHVJtMYpfjVTK52sWV65R2QVWkNpgrIgROxHpHPAKyYPni3L0HeQoJgEnbYb743Gb43kqlSnU7llk/SK9LUepcAblidgYGMvmcuBVJpllpkjTqU6iBzK30zBME8xhpe1OClVplmIZ5lNLSADyIBBtv0kYuzHBVWktRampi7KaRs6qDZjuPF7sMaBITSjK1MExqpxy3K6pJi03HnilkqLUtUJ8IEkta4sBY/wJxXBJ5PhyQgGmDPiKjUCgkiYk+Qj5HBZzFUd3opKEnoVLAGOkfvnC3UwSEBNw0gQQTIgTEA9Zm+JO+YE6KjFFBUHeFsSpF43uNvPAGqyeXQqkNVJuRrWCDyi5jzVptc4v7xKiQq6mMFFESxBMwCZYFbyvOwG0p8pmtNNahUlgVDaSIJEwdPmTNrCDhotBmp0czSoa6aHSdBKlAjQTMRGq5UEzPTaQ94p2YoMz6irl1LIaUK2sCNLbgEG5EeIXtJOMdxPspVpgFDqtdTCvqvYJ6DaZmd8fQHeiihwGTWTLKsLMloOpiH3EyOYgggjFL12c02esgMEaoks0RBG4YXIO5gC/ID532Y4s2UzAeD9l1MiRzBHUb41HabLU8s47ujTanUXUCS3vAg2ixtyOMhx2q71WZwwmIkEWAAmD1iffjW9mM0M3lmytX85TE0mI5bQesbeh8sFxl4oKEzyg/mKPoQ3+rGiyHE10CaFAH0a/n7WKMv2LzDRqCITspZZ5efn9+HGV7C5lV9umJv7U7+gOHOyDWTKZirQJ9isLnZ1bmLkGmNhPrbbCPizJJ7ssV5awA3qYt1wxrAT5T/PLCbiRj78O8A248VWlkKTaoGW7wkbzWqPUsLDaOfTphbToISPpI9Ub8Jwx7WIRmadM/2eVy6e8UUJ+bHC9U54JAm+WTxRWXy8L3/6cBMIBwQOc4g9KxwGZcUIOU4ezSfBWSREjTVYwBts+I5ehSgTXI6ju2LD3Tp+eOzSluGZZh/Z5msh8ta03H3H54BoCfhhQjl8lQbbM7/bpOBPWV1wD5xgTM8MddRGl0Xd6bBlvt5jfmMVBbcvXEKtO8xitB42C8rk6jDwoxvGx36YEmNpxcuYYiGZiBsCbDABVXhTiPpKKH/jJqHzthZxjLimwukMJGhgwEWuQSJti+oBjYdhOyxqFa9ceBTqpKx5ndyvTaOpA5Yzy45VEOBdkwmVOYzJdIBdlDFYUbBgNzHij08xjJV86uo6FqBZsDVc25Tj612uechmyNlpgftMo/8AKcfHlybnlHrz57C/PEY3arwI/rFfsN/nVf8AVjv6zXnTJ/59X/ViNDJLPidBbmZgjlAN5xpOH5KnTTVrbrAhZ5zEG0X92NEbKMsC8Rlng8zWqgfxwYvDHO1EbwPp6vK+HSuk2EmJkeZnfyB2+eLe8nYkmRMDbzv1A/DrgGyVeDHe23s97V5eYMm+LH4FUABVaZFv/wAmqCCdhc4fNMiVINj0sRItvy/nlND4QIAPWLz8564AxucptSE1MtU0/aXMORfzvHvwJ/W6D2EqgHcflD3+Ax9FUyAGgxa48M8j8owl412WStdAKdTmwupjckeY54AyI4xGyv8A59T9+Pa3GtShSpgGfztSZ9ZxTxLglaiTqXUv2luL7TzG3MYWAYAZtxJeav8A59T9+DOCZnvczRpy6qzwT3z+oE8pIA9+EBGDOB5cvmaKLu1RR87n4DCNrO0NOpRzBTvqgVVSNdQ/ZA5b3Bv1nE8hxOoFj8oYXvFRv340/afgtOu9NnYjwMLAGxaR52I6c8CZXstltIlyD0C+fP8AnpiZ1cZxR2Uiz/aQ1ARVy2Xdp9sLpYH3fGYjGM4lUm0Qfffl1wyqmDbra/8AN8VcDyvfZzLUjfXWQH0LCfkDjSyTwWzXtfnI4lmV0q6I+gKZAGhVSxG3sxjynm8oQuqhWU89NQEeUalv8fjOE/Ecz3uZzFWPbqu8frMTjg3SLYehszX8j8X/AMje/wCb29Ov7sLs9UUse7DBYtq398WF+WKlNzeMVMD1PwwtA34ZUP8AVubAj6PMUKl9vGKlNh904rymfo7nLiSItVcLPWLkX5TGPez6lstxGmP7hKn+VWQ/cxwpy5sMKQHy8TSf/jUovIJckg/pBgZ8wBgl89k21a8rUQmINKqTo9FceKb7nphBqHOMe1akixEHFag2vqU1nwtI66Y+/EaaiRLQPQn5YqB2x6lNdS6yQkjWRvp5/LAGy7J9mkrkO2pkBsNMKxG4uZgc9umN7m8zTordgBf3kDkPdAGMxk/6QMktLSutALQEsAPZFjYWmMI+0/aXL5lUFOoylSxJKHmANr9D8cZWXKrmoX8Y7TNUdhLaZ9kMQLRA6cvO84SZ7Ns5kkei7fxxKpQpkk9+v+W/3Ripsuk/nl/Yqf6MaTUZ1SlXTcR8AfvGGmW4g8hdcgmD8rkxMCLx0wvOXUH86n7FT/Ri2nSpR4qv7Kvt6lfww9gbV45UFiZItHK0fAW2GGfD8xUaYQz1PhgxBj1/DzwBk81QQEAqLghtDk+GYMR5iwjDbK9oMvtUqsRAjwNb3lSdoH8nCBxlta3hm66WDDa8npaYsPjix6sT02ncevl05c+WA8nx+mYjWxIgfR1Dz+rCjE87xekJLh1Fh4qVQR/0fLzOEY4VgCATeJmZkb3vazR1tfriVOsGMrdb3BBkgRtfxAzsOonCb+vMqG1Cqb/oPsfOPIYqftBTvprx0OhpB/Zv/HAD+oouJgT9Vrg7z0je+Mj20ytNSGCeJoOtPYIvvyLHyva+HS9qKBgmrsLDS8W2tFsZjjOfNdiTWQJyT6SB5nwXPnhwqQuuH/8AR7lNeep/7sM/wED0u2FgyaH+3pg9Iqf/AM8aDsdxejkmqM5FXXA8CtKhZP1lEgzy6DCy/Rxre1vaH8lrKoQNKAyWi+0WHXC9O3NhFGAP0yf/ABEemFfbmp3lVH+0hItO7NhPl6LRufljPHp43mw7btZxZqGn6Hvg31g4XSLbAgyb8yBivse2nMvW/wD16FSr79Pdp6eOouF2Yc31EXwwy/0PDqjmzZuqEXr3dDxOfQ1HQf8ALONfZUJkTl3J1M1G9oXWsRafEDPUwcMF4bQMxnKcRPiSoDJixGm2/njPUFtggLaYwtXQ2a5fh1MsQc1SWx3WpG21kjywDn6SqYSprHNgCAfSb++BvgZVicRZuUYYOOyjR+XdPyKpP7dPAeRXL1ANZek03hdSffqGCezh00eI1OQyuj31KtMfgcJMthBpM1k8msEVnqWuAlgefiMBufLFoXh7AeLOKT5UmC+t5a/IDn5YQox2t8/5GLBJ5A/GT75vh6GzX+q6LmKOZDk7KaTqx6ACDJxruzvZRaQ11wGfcyAVQchB3b+RzxV2L4TTojvHqU+9YfbU92vSxPiPOPTGhzHEV0wrD2hF9p5mN/wxFulSPm/a3jlQZuqlJ6lNEIUKDGwEm2873wozXE6lQguwYgQCyKTF7SRJ3O+DuOcMqVM3XKoSpc+I2HJZnmJ6YrTgMQXeFJiVBI2v5222w8SoH8rvsn+Wn+nHpzTGRoTbcUln3GP5jD3J8DUTNMm49pvFE76Y2IO8fwc08loIB0H6ygbqBcGBYQSbA/MYomapLVkK9BNIufo1BAa0g7CTG45dcXUOH1msEobTIVT8IF/xxrADpKjSAfSxiLTAiGI/kxeHIJIsdpIG5ibgmbcxvAvMYQZGt2fqkSSiwT7KQIUBiQRc7xt13jAFXg1a2lgwPRyD8GgjG0puR7LWkkyOYElRbwxbbniSgkgs3PYEH5bi25wBhX7N5lGIagxPOIbofqk4rWuUU0zSQAkTKMrSLiSCD7sfRkB6rKkFYMEzznlFwZv8cWjLK8h18D8pBRotF56fGd4wcB8v/KBPsJ/1/i+Jvmwd6ST1l7+7V88arO9lKLQabMhJ+0IMzsrSeVr+tr4RZ3svWT2SKg/RN49Dv7icPgi5qw+wo97/AOvHDMD7CH3v/rxU2UcW01P2T+7ETlH+zU/ZP7sBiE4gUDaAomPqhoj9cN543HY3IJXy4bMLTc1HIANJB4bDdVB3k8sfPRlXJA0vfqpF/WLY+udluFmlTC9/qFMctMB2sALTGra+JtVIH4hwZKrqSGIUQCDbTqaLQfK84vy3ZzL6boxP65H3A4y/aGqyvRAJH0Cfe2AaWYaPaPunETDK+zuU+iR6b1qop01l6jhVUcyxgD44adumHfU6NLV3OXprRpkiNWnxNUA6VHcuDzBHTHvCf9no1c4bOxajluuoj6asP1EbSD9qoOmENCu2rVJMADxQwgRAhpEAAADlGNKhJVxIbYvTMKfapJ/hLr8gSPkMXPXoiJoA9fpnn3W/A4YBA2xA4KzFSmfZplf+YT96fu2wHUaAcIH2Up6eFV2E6sxmUpqI3WgpdvTxVF+GEGWW2HvaotQp5PKSQadDvKgB/tK57wgx0UUx7sR4HXeq6Ue5o1iftrDAcyaiwwA6mcIBMlk3qsqU1lzsPLmSeQHXH0Xs32Tp5c95VbVUAsR7Kk2hQZ1N5mPdgjh9Clk6TOKDqheGOoatp2Yk6R68+uFmb7Wli3d09gQCYOnlZQevOb/HDttOHPFc4lFdTC02BALH187GByxjq+bao0OGYNeEUGBcyvLnB+E4nm+Jlr1NMjm0WkQbGw25fcBgPL5wzMgQLT9YnlBEmQYvPpzCmOha6nlGdfAiWmdZEKQCZGm8R/MxB2Uyug6QVDAmRAtq3A5wIG535WwGMyAASAJAnYEESIuR1293KcSbMGPDp3JgNEEcySJJM89otFiaI7QACWYDYmR4Rtfe0avL0xZRYeAC8QJ6dTBIkiLSbx5TgA5tgLCQ0FgI9qIEAbHlEffiGWqn11aS0EmyTBgDVIsQReST5lA1UA/ZU84uTzNzC8+m2+IoRHiCED6wJg/u2532sDYgU6wi5Zbg2m202knfkIucX5t3EwRrkydlkyAbCOQNgRN+hwAZSfdreY5bRaxPw/eMFKl5MEk+3BIsoNrzzE/jfCoa1c+EQIggwGMeyehHmLgSSZOLQ53UsCoFi1iOm0NtsfI3wAxor9okc5m0cthfYn4zyxFaYY3RWG1xJ3JIuLHp688DtXXZiolhsYJ8gQRt13/AmjWtEA29ktsTuYiATHpt0GEFbcPpwSqU4i40iDAvaBHuHnyx7+Sp4taU79AGAmByWdoB+8zOL1qC24IvMjf0ABgjl/7xHO1VRXL6F8J8UhhHUE2XyiCCd7YATdoTTpUyQUNoXUln6HTy87wI92PntRcMuMcVfMVNb2tCgEwANgL/AM+eAqNJqjKiAszGABzONNTSTvsLwoVaxqNdaQBAtdjMb7gQT8Mb3jGZFLuaaFQSweoo32LJ7pX5DHvZTgaUaYWZA8VRrQzdJiYGwvsMJmzS1s4tUbPVQgReNBAMeg28sY5X02wnsp4+SWpH/cJ85P44X063kflh/X4PVrd0yaNJo0/aaPq9PfiKdla32qP+Yv7sXMsdeUWXbPdtbVzQW1PLTQpjypk6mP6TuWc+scsKKdCwv8sdjsO/2TPC9KNj6TtiKUJPLbp/HHY7AatqV8H8A4YK+by1Fz4KlVVa3KbjfmLY7HYBQ3aLMtXzdeq1i9VrdADAHoAAPdj6P2PytGllxFLUag8ZYglvL2YC+UfE3x2OwjkG8d4c2Y0/SaEQeFFW3Mm8jkI+O+MbSyWoghoINtzBncXty26Y7HYmHVdfgjMD9NCSTo0kgbdX8h8BiKcJ9o6zFzEchaJn59LRjsdirRqL8rlvCoJmFZ9o2YEC1o35c/caMmS7BZIPX/DPr8COfu7HYRaC8TzlSmAKbR4mBLKrEwdzK+c/HE8p2iq0ws6W1CSQiBplhuUI25RzOOx2FTgvK9pwANVNmKmQ2pF3gAQtIC0TtzwdwbiAzPeAKyCmoI8f2iRyVTj3HYm8KnJnUp6QBYjTr2v4uRPO46R5bzGrkyNTKwG9tNgbXsw85G349jsXEaWU8qTIdy8HmBzkX5WixEbmZwRS4dZfEJHlaNouZ6c+WOx2EqSLzlrXIP8AhEe/y8rbY8FLa9t4tzP3zf3Y7HYY1Gd4x2apVGApgUmuSVFiOXhkAHzG+COA9ke4qioauskECEKkTznWcdjsG6UkGdrar0Vo0UY6atUFzeSFI8Mk7E7/AA6yoyiQykG4ZY/Yqfux2OxFaY+AHGqXip3t3FK3+EYFo07Y7HY0nhjfL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2"/>
          <p:cNvSpPr txBox="1">
            <a:spLocks/>
          </p:cNvSpPr>
          <p:nvPr/>
        </p:nvSpPr>
        <p:spPr bwMode="auto">
          <a:xfrm>
            <a:off x="152400" y="980728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2800" b="1" kern="0" noProof="0" dirty="0" err="1" smtClean="0">
                <a:solidFill>
                  <a:srgbClr val="FFFF00"/>
                </a:solidFill>
                <a:latin typeface="+mj-lt"/>
                <a:ea typeface="+mj-ea"/>
                <a:cs typeface="+mj-cs"/>
              </a:rPr>
              <a:t>GSMH’nın</a:t>
            </a:r>
            <a:r>
              <a:rPr lang="tr-TR" sz="2800" b="1" kern="0" noProof="0" dirty="0" smtClean="0">
                <a:solidFill>
                  <a:srgbClr val="FFFF00"/>
                </a:solidFill>
                <a:latin typeface="+mj-lt"/>
                <a:ea typeface="+mj-ea"/>
                <a:cs typeface="+mj-cs"/>
              </a:rPr>
              <a:t> %15’i, İstihdamın %40’ı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İhracatın %15-20’si</a:t>
            </a:r>
            <a:endParaRPr kumimoji="0" lang="fr-FR" sz="2800" b="1" i="0" u="none" strike="noStrike" kern="0" cap="none" spc="0" normalizeH="0" baseline="0" noProof="0" dirty="0" smtClean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38260" name="Picture 20" descr="http://guillaumebuffet.typepad.com/photos/casablanca/fruits_et_legume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364111"/>
            <a:ext cx="2987823" cy="1931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266" name="Picture 26" descr="olive au maroc ile ilgili görsel sonucu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3364111"/>
            <a:ext cx="1872208" cy="1931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268" name="Picture 28" descr="http://www.aujourdhui.ma/timthumb.php?src=http://image.aujourdhui.ma/1694758015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3333570"/>
            <a:ext cx="2520280" cy="1962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272" name="Picture 32" descr="http://s3.e-monsite.com/2011/01/13/11/resize_550_550/image_3899155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3333571"/>
            <a:ext cx="1952600" cy="19625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Click="0">
        <p:split orient="vert"/>
      </p:transition>
    </mc:Choice>
    <mc:Fallback xmlns="">
      <p:transition spd="slow" advClick="0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3" presetClass="exit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25" dur="1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8" grpId="1" animBg="1"/>
      <p:bldP spid="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AŞLICA SANAYİ DALLAR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OSFAT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5448126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charset="0"/>
              <a:buChar char="•"/>
            </a:pP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 Dünyanın 1. rezervleri, 2. üreticisi ve 1.  ihracatçısı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38794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38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pic>
        <p:nvPicPr>
          <p:cNvPr id="139266" name="Picture 2" descr="http://www.senat.fr/rap/r13-108/r13-10822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30866"/>
            <a:ext cx="3120281" cy="2814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270" name="Picture 6" descr="http://www.atlasinfo.fr/photo/art/default/7354209-11321359.jpg?v=142127714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280" y="2630866"/>
            <a:ext cx="3323927" cy="2814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272" name="Picture 8" descr="http://i-cms.journaldunet.com/image_cms/300/539636-le-maroc-dernier-eldorado-du-phosphat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0400" y="2564904"/>
            <a:ext cx="2857500" cy="286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5"/>
          <p:cNvSpPr/>
          <p:nvPr/>
        </p:nvSpPr>
        <p:spPr>
          <a:xfrm>
            <a:off x="152400" y="1412776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err="1" smtClean="0">
                <a:solidFill>
                  <a:srgbClr val="FFFF00"/>
                </a:solidFill>
                <a:latin typeface="+mn-lt"/>
              </a:rPr>
              <a:t>GSMH’nın</a:t>
            </a:r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 %3,5’i</a:t>
            </a:r>
          </a:p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İhracat 3,7 Milyar $</a:t>
            </a:r>
          </a:p>
          <a:p>
            <a:pPr algn="ctr"/>
            <a:endParaRPr lang="tr-TR" sz="3200" b="1" dirty="0" smtClean="0">
              <a:solidFill>
                <a:schemeClr val="bg1"/>
              </a:solidFill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AŞLICA SANAYİ DALLAR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GIDA SANAYİ 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15232" y="5376118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Et, süt, balık, içecek, un, şeker, zeytin yağı, konserve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Gıda işleme sanayi 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38794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5"/>
          <p:cNvSpPr/>
          <p:nvPr/>
        </p:nvSpPr>
        <p:spPr>
          <a:xfrm>
            <a:off x="152400" y="1412776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err="1" smtClean="0">
                <a:solidFill>
                  <a:srgbClr val="FFFF00"/>
                </a:solidFill>
                <a:latin typeface="+mn-lt"/>
              </a:rPr>
              <a:t>GSMH’nın</a:t>
            </a:r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 %6’sı</a:t>
            </a:r>
          </a:p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300 Bin İstihdam</a:t>
            </a:r>
          </a:p>
        </p:txBody>
      </p:sp>
      <p:sp>
        <p:nvSpPr>
          <p:cNvPr id="4" name="AutoShape 20" descr="data:image/jpeg;base64,/9j/4AAQSkZJRgABAQAAAQABAAD/2wCEAAkGBxQQEhUUEBQVFRUVFxYWGRgXGBcXGBUXGBcWFhUWGBYYHSggGBslHRcUITEhJSkrLi4uGB8zODMsNygtLisBCgoKDg0OGhAQGiwmHiQsNyw3LC0sNywsLy8sLCwvLCwvLCswNywsLCssLCwsLCwsLCwsLCwsLCwsLCwsLCwsLP/AABEIAMIBAwMBIgACEQEDEQH/xAAcAAEAAgMBAQEAAAAAAAAAAAAABgcEBQgBAwL/xABKEAABAwICAwkMBgkEAwEAAAABAAIDBBEFIQYSMQcTIkFRYXGBkRQyMzRCUnOhsbLB0RZUYnKSohcjNVN0gpOzwhXS4fBDo/Fj/8QAGQEBAQEBAQEAAAAAAAAAAAAAAAEDBAIF/8QALBEBAAICAQIFAgYDAQAAAAAAAAECAwQREjETITJBUTPwFBUkNGHhccHxBf/aAAwDAQACEQMRAD8AvFERAREQEREBERAREQEREBERAREQEREBERAREQEREBERAREQEREBERAREQEREBERAREQEREBERARF45wGZyQeosZ1dGPKBPI27j2NuvO7L97HIeoN94goMpFi7/JxRHrc0ey6b5L5jOt5+DUGUixdeXzGfjP+1eb9L+7B6Hj4hBlosTupw2xP6iw/wCSf6gwd9rN+8xwH4rW9aDLRfKGpY/vHNd0EFfVAREQEREBERAREQEREBERAREQEREBERARFjS1OeqwazuPzW9J5eYZoMhzrZnYsfuvW8G0v59jfxHb1XUZ0i0tpqM2ldv8w/8AGy1mnn8lvXcqO934tingG9ywnj724++RrO/lAQTjE8VjpxeqqI4fsgjW6r3LuoKJ4hujUUZ/VRyTu5XZDtkzA6Av3hm5bCDrVcr5nnbbgg9Jzce1Syg0fpKYXihjZbPWsCenWOaor2p3Ra1w/UUrY2nIEte/PiF+CFnYTNilU4b7Ub0D5LGMBtx3JBI7VvcSrd+dyMb3o/yI5T6lkyDuaG//AJJMvuj/AL7VeHnlrsdrXuG9RyP1WDVLtYhzzxkuGahMWgVfVP1o6l7IjsdJJJ+VoNyOdTnBsP36SzhwW5u5+RvX7AVMQFJWFRfopreLEP7v+5fv9HWJs8HiB/qTN+KttFFVKNH8fh8HVa9v/wBGuv8A1Gr9jHMepvC04lA+wHeuNytdEFVx7pbb6tdQlp4yNv4XgH1qR4XpbRzWENS6Jx8mW9v/AGXHY5SuopWSC0jGvHI4A+1QjSrRagAOrHqSnYIzYDnc3YAqiXMqpALua2RvnRnP8Dj7HFZFNWMk705jaDcOHS05hV9ovgzopAKeSUDjGtwLc7bWW6x3SCGF365rt7abb625LDy5cIC/GE4OUuRaOgxW7A9jxPEdj22LwOgZP6rHmK3EEzZGhzCCDxhRX0REQEREBERAREQEREBERARFhYnUajQ0Gzn5dA8o/wDeMhB86ysHC4QaxoOu+9rW2gHitxnsz2QHENIaivk7lwtpZGMnS7CRxm/kN9ZXmkVS+unbQ02TAbPI2Ejbf7LfWVP8CwaOjiEcQt5zuN54ySr2Tu0WjOgVPSWfIBNLt1nC7QfstPtOaloC9RRRRvSTEs96admb/aG/E9S2uNYgKeIv49jRyuOzq4+pQSAukeAM3PPaScyrCSkWAUu+O1j3rfWeIL54vPvkp5G8EdW09q30cQp4LDyW7eV3L2qN7ySDbbY+xVEgwCm1IgTtfwj0HvR2W9a2S+cFtVurssLdFsl9F5ehF4StdVY3DH5WueRmfr2DtQbJfCqrGRC8jg3p2noG0qM1ukUjsmARjl753ach2LEpcNmnOtY5+W8n2nM9SvCcs7EdI3Ou2Eag8498egbG/wDdixMNweSc3N2tOZcdp6L7elb7D8Ajjzfw3c+wdA+a2ycnDTYg5lHDaMWLsgeMnjJUepKEVTt6dm1wOt93j68wOtfHSLFN+mOqeCzgj4lSTRKj1Yt8dtk2czRs7cz2IiB4jotVYQ8z0D3SQbXsOdh9po74faGYW9wPSVswMsHBeLb5ETk7n+T+oqdkKuNMdHTSSCrpBqtvw2jYCebzTsISJWYWBQ1jZmB7DkeLjB42kcRCyFXej+ObzOwnKKewIPku2A9IPBPKCDxKxFFEREBERAREQEREBERAUQ0jxAtneBtZHl02LvaWqXqutJpNXESx2yVgt1tt7Wqwks7c1w0NbLM7NznatztsLOd2kqbrQ6JN1I3s4w7W6iAPgVvlFERabSvFO54CR37+A3pO09Q+CCKaVYtv0xa08CO7RznynfDqWz0PpALzP6GfF3w7VEKGLfHhvb0camLKoNAAyAFgvTykNXIHsLRtPwzXyoaO2ZWj7u51lxY85u0B3qPqUVtpIzGOA/VHmkawHRmCO1airxeQZB4HOGi/rJWrxjTOCPwhF/NDi49gCh9fuhHPueFjftP4R7Cgmb98m267+m+r8l73E1vhZWM5gQT8gqvn0krKk2MsjvssBHVZqxp8LqSNZ8M9ttyx59ZCqLlopqVh4BY53KXBx6uILZnEOdc/UlG6Q5C3PyKdaMVro/1Rc5wAuCTex5LqKsU4hzrVaQ44YojY8J3BHxPYtd3Yq/x/HzNOS08BnBbz8p6yqJRgNIaiZsY2HNx5Gjb8utWoxoAAGQGQ6FF9z/CzFAJZBZ8oB+6zyR17VKlJIF8aunErHMcLhwIPWvsvHOsLnYFFVDpDTalO62RjcD0XOo7/AB7FaGA1m/00Mh2vjY49JaL+u6rTS2e1PKTlruFv5n6/sCsPRKAx0VO120RMvzXF7etWUht0RFFEREBERAREQEREBQTdTwtzo46qLv4DwreaSCD1H2lTtfmWMOBa4Agggg7CDkQUEW0VxEVMTZ4u+A1ZGDbzi3Lxj/lSmN4cAWm4OwqqcUoZ8Cqd/pwX0shsW8QB8h3IeRynmB4vHVs36lcDfv4ybEHjy8l3qPrVRvFV2mmK7/UFoPAi4A6fKPbl1Kc49i4hp5Ht78Cwae+DjlmObbfmVUUUeu71lIJbfDzqNvxn2LJ7qWpxPEY6cXkOZ2NHfHq4hzqKz4jUVr96ha7hbI2Akn7xH/xVEoxPSqOG4B13cjdg6XbFGqjHKqrdqR62exkYJJ6SMyplo1uUF1n1z9Ubd6jOfQ5/F1KysJwWCkbq08TYxzDM9LtpU5XhUGC7mVXPZ02rA0+dwnn+UfEqd4Rua0cNjIHTO5Xng/hGSmiKKx6SijiFomMYORrQPYshEQV1ug4Wxssb2AN3wO1gMrlts+u/qWnoYdW9uRbrTes3yp1BsjaG/wAxzPwXzghbBSPqZjZg2cptkAOclenlGdJsSMUeoDw5Ljob5R+HasLc+0e7tqRrD9VFZ7+Q+azrPqC0c8slZPkC58jg1rRxcTWjmHzV96IYA2gp2xCxeeFI7znnb1DYFJWG6AtsXqLwlRXq1uLTawMbePvjyN5Ok+y6+7py/KPIcbzsH3fOPPs6dirnTDTLXf3BhQMs7yWukbnqk99Z3G7ldsCsJLBrov8AUa+OkizjidrSuGzLvuwcEc7irea2wsNgyUb0G0Vbh0FjZ0z7GR/KeJo+yPXtUlSVgREUBERAREQEREBERAREQfOogbI0se0Oa4WIIuCOQgqs8c0HqKKQ1OEvdlmYr525G3yeOY5q0EQVlg+6TBODT4kzeJO9LiDq3575sWHisQpIi6mG/PmJMZbm0MGQeTyXvZTzSPRKlxAWqIgXcT28F46HD4quarc1r8PcZMKqddu3e32B6LHgO9SqNFhGiNTWzgTHew7Nz3nO3I0cZ5Arp0d0bgoI9SBlj5Tzm955S74bFWcW6XV0f6vFsPIGwva3Vvz2PBPUVJMI3RMLntqVDqc+a+7B0WN2diCfotZSVolF4aiKQdR90/BZe+SDaxp+675gKKyEWN3Q7jjd1Fp+Kd1H93J2D5oMlYmK1wp4nSO8kZDlPEO1fruonZG/rAHrJWk0gw+SYAuIsNjRsbz8551UQmjhfUSgbXSOJJ6c3H2rR7omkYne2mgP6in4Itse8ZF3OB81IMQjmjYYaNjn1E4tduyKE7XF2xpdxcy+ujO5gIi2WtkaXNIcGCxYCM+ET3yoydyvRHeWirqG/rHj9W0+Q0+UR5x9isWSVrRdxA6TZRzE9J6Om8YrWC3ktc0HoszhdiiGIbr1HGdWigkqJDsNi2/WbvPYoqzO6S7wbSec8FvrzPUFH9JdKKShF62cOdxQszJ/kGZ6XZKDGbH8Wya0UMLuPvCR0m7z1ALe6N7ktLA7fatzqqXaS/vL/d2u/mJQR2bGMT0hO90bDSUex0huC5vO4bfut6yrD0M0Lp8Lj1YRrSOHDldbXdzfZbzBSGKMNAa0AAZAAWAHIAF+1AREQEREBERAREQEREBERAREQEREBERB+JoWvFntDgeIgEdhUWxbc4w6puX0zWOPlRkxn8uXqUsRBVNXuJQA3pamaE7cwHesWKxTudYvB4tiRI4gXSD23CuBFeRTowrSWLZO2T+aM3/E0Lzf9KG+Sx3VT/MK40TkU6a3Sj91H+GD/evJINJphZxYwH0I6iBe/QrjRORT0WiWkEt98rmx3OeqWj+3GF9GbkNRMb1mIyP5Q3Xdfre74K3UTkV5he47h0Ob2yTH7brA9LWWUywvAqalFqeCOP7rQD27StiigIiICIiAiIgIiICIiAiIgIiFBoa3TKihkdHLUMa9hs5p1rg8mxbijqWysbJG7WY8BzSNhBzBXPG6B+0ar0n+LVeWhPiFJ6CP3QuvPr1x462ie7mw55ve1Z9m1q6hsTHPkOqxjS5xPE0C5PYtLS6a0Mr2sjqWOc8hrQNbMk2A2LJ0u8Rqv4eb+25UBoh49S+ni98Jr69clLWmeyZ8847REe6+8S0so6aQxTztY8Wu1wdexzB2ZrKwfG4KwOdTStkDTZ2rxHaLgqJ7q+i/dUHdETbzQAk22vi2ub0jaOvlVYaDaSHD6lshJ3p/AlHK0+Vblac+0cauPWrkxdVZ8/hL7FseTptHl8ujFpMS0to6aQxT1DGPFrtN7i4uL2HIvNJ9I46KkdUXDrgb2L+Ec4cADm4zzArnyKOatqABd8079p43OOZPIBt5gFNfW8SJtbyiF2Njw5iK+cy6Io9JaWaKSaKZro4QTI8B1m2Gsbm3Jmsek00oZXtjjqWOe8hrQNa5J2DYtfiOCsocHqII/JppdZ3nvLDrOPSfVZU5oT+0KX0zPavWLXpkra0TPkmTPek1iY7uklrsYxuCjDXVMjYw42BN8yBe2QWxVZ7uXgKf0rvcXPhpF7xWW+a80pNoTjB9IaasLhTStkLAC7Vvle9to5ivzi+ktLSODKmZsbnDWAN8xe18gq43C/CVf3YfbIsTdv8AG4fQ/wCZW8a1fH8Pny/phOxbwfE481h/T3D/AK1H+b5J9PcP+tR/m+SpjRzQ2pr43SU4YWtdqHWdqm9gdluQhbX9Flf5sX9T/hazrYKzxN2UbOaY5ii3cN0ro6l4jhqI3POxt7E9ANr9S3Ekga0ucbAAknkAzJXLUrXwSEd7JE8jI5tew8RHIQukzOZKLXdtdT6x6THcrHY1oxccT5S219icnPMecNcNPcP+tR/m+SfT3D/rUf5vkueqSEyOYxu1xa0dJNh7VM/0WV/JF/U/4XRfUw09VuGFdrLb015Wl9PcP+tR/m+S3mH4hFUMEkEjZGHymkEdGWw8y580i0LqqCMSVDWahdqXa7WsSCRcW5ipNuI1ThUzRX4Dotcji1muaAemzis8mrSMc3pbnh7x7N5yRS8cLfraxkLDJK9rGN2ucQAOsrQ/TzD/AK1H+b5KFbuNU7WpornUIe8jiLgWgE9Av2qE6N6I1OINe6nDCGEAlztXMi9hy5KYtWk4+u9uFy7N4ydFI5XX9PcP+tR/m+SfT3D/AK1H+b5Krf0WV/JF/U/4UPr6R0Ej4n21o3OY62Yu0kGx48wta6mG/ptyzttZa+qvDqGlqGysa+M6zHtDmkcbSLg9i0L9OsPBINUwEEgjhbRkRsWbol4jS+gi9xq5yr/DSekf7xWGvr1yWtEz2bZ9icdazEd3UYK9X4i70dAX7XG6xERAQohQc5boH7RqvSf4tWZh+6JXQRMijewMjaGNvG0mwFhnxrD3QP2jVek/xarV0V0OoZaOnkkpo3PfDG5xN7kloJJzX2cl6UxVm8c/8fJpS9stuieFb126NXTRvjkfGWyNcx1o2g6rgQc+LIrU6IePUvp4vfCuHSXQyhipKh8dNG1zIZXNIvcODCQRnyqntEPHqX08XvhMWSl6W6I4TLS9b1655dKlUHul6Mdw1OvGLQTEuZyMdtfH8RzHmV+qO7oFAyegnEgvqMMjTxtewEgj2dBK+drZZx3/AIl37OKMlP5hQNZi0s0UUMjy6OAODByaxuenkHIFam4/ovvbDWSjhyAiIHyY+N/S72DnVX6N0bZ6uCKS+pJIxrrZXBOYuumYmBoAaAAAAANgAyAC7d3J0V6K+7k08fVbrt7NPpt+z6v+Hm9wqh9Cf2hS+mZ7VfGm/wCz6v8Ah5vcKobQx4bX0pcQAJmEk5AZ8ZXjT+lf79nvb+rT793SirPdy8BT+ld7isH/AFOH99F+NvzVb7tdbHJDTtZIxx3xxs1wJA1bXy6QubVifFq6NmY8KzF3C/CVf3YfbIsTdv8AG4fQ/wCbll7hfhKv7sPtkWJu3+Nw+h/zcuuP3c/4/wBOWf2sffuke4j4nN6c/wBuNWKq63EfE5vTn+3GrFXFtfVs69b6VXMOkfjVT6eb33Loan/Z7f4Yf2lzzpH41U+mm99y6Gp/2e3+GH9pdm56aOXU9V3OuB+Hg9LF77V1EuXMENp4CchvkfvhdMf6nD++i/G35rz/AOhHnVdGfKyGbtHiDfTM916iO4n47L6B3vxqTbsdfE+iY1kjHOMzSA1wJsGvubDi2KM7ifjsvoHe/Grjj9LZMk/qaszdy8NTejk95qxdzHS6mw+KZtSXgveHDVaXZBtuJZW7l4am9HJ7zVG9ENCZcSY98UjGCNwaQ4ON7i9xZaY4pOtEXny/t4vN42J6I8/6Wd+lHD/Pk/puVL6QVTZqqeWO+rJLI9txY6rnEi44sipz+h+p+sQ9j1AMUozBNJE4gmJ7mEjYS0lpI7F71q4YmfDnl42LZZiOuOHRuiXiNL6CL3GrnKv8NJ6R/vFdG6JeI0voIvcaucq/w0npH+8Vlpeu/wB/LXb9FHUMXejoC/a/EXejoC/a+W+kIiICIiCidNdFqyWuqJIqaVzHSXa4NuCLDMK39EoHR0VMyRpa5sMbXNO0ENAIK26LfLsTkrFZjsxx4IpabR7tZpPC6SjqWMBc50MrWgbSSwgAc91SujGilbHV07300rWtmjLiW5ABwJJV+ori2Jx1msR3TLgjJaJmewtXpTA6SjqGMBc50Tw0DaSWmwC2iLCJ4nltMcxwoTRPRWtiraZ8lNK1rZWFzi3IAHMlX2iLXPnnLMTMMsOGMUcQ1GlsDpaKpZG0ue6GVrWja4lhAA51Q30Nr/qk34V0gi94Nm2KJiIec2vXLMTMubvoXXfU5vwL1uhdfxUk34bLpBFt+YX+IZfgafMoNuX6JyUEcj6iwlm1btBvqNbewJGRNydi0W65gNTU1MTqeGSRoisS0XAOsTZWtZFz12LRk8T3bTgrOPw/ZBdyPC5qallbURujcZi4BwsSNRgv2gqdIizyXm9ptPu0x0ilYrDnvHdEq19RO5tLMWullIIbkQXuII6leEEDhRNYQdbucN1ePW3u1um62iLXLsWyRETHZniwRjmZie7m5uhtfbxSb8KfQuu+qTfhXSKLf8wv8Qx/A0+Zc3jQyu+qTfhVmblmh0tEZJ6kBr3tDGsvctbcOcXEZXJAy5lYiLPLuXyV6eHvHqUpbqVduv4HUVUtOaeF8oax4JaL2Jc2wK2W5DhU1LDO2oifGXSNIDha41bXCn6LOdiZxeHx5PcYIjJ4nuKgdJtE62SsqXsppXNdNK5pDciC8kEc1lfyJgzzimZiFzYYyxxLWaMwujo6djwWubDG1wO0EMAIKomt0QrjK8ilmIL3EHV2guJBXRFl7ZXFsWxzMxHdMuvGSIiZ7PzGMh0BfpEXO3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2" name="Dikdörtgen 1"/>
          <p:cNvSpPr/>
          <p:nvPr/>
        </p:nvSpPr>
        <p:spPr>
          <a:xfrm>
            <a:off x="5232936" y="2693825"/>
            <a:ext cx="3587536" cy="2463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Agropole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 </a:t>
            </a: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knès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tr-TR" sz="2400" dirty="0">
              <a:solidFill>
                <a:srgbClr val="FFFF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Agropole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u </a:t>
            </a: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ous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tr-TR" sz="2400" dirty="0">
              <a:solidFill>
                <a:srgbClr val="FFFF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Agropole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e </a:t>
            </a: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Oriental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tr-TR" sz="2400" dirty="0">
              <a:solidFill>
                <a:srgbClr val="FFFF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Agropole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u </a:t>
            </a: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harb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tr-TR" sz="2400" dirty="0">
              <a:solidFill>
                <a:srgbClr val="FFFF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Agropole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u </a:t>
            </a: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ouz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tr-TR" sz="2400" dirty="0">
              <a:solidFill>
                <a:srgbClr val="FFFF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’Agropole</a:t>
            </a:r>
            <a:r>
              <a:rPr lang="tr-TR" sz="2400" dirty="0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u </a:t>
            </a:r>
            <a:r>
              <a:rPr lang="tr-TR" sz="2400" dirty="0" err="1">
                <a:solidFill>
                  <a:srgbClr val="FFFF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dla</a:t>
            </a:r>
            <a:endParaRPr lang="tr-TR" sz="2400" dirty="0">
              <a:solidFill>
                <a:srgbClr val="FFFF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41314" name="Picture 2" descr="http://www.usinenouvelle.com/mediatheque/2/1/2/000145212_5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006" y="2514823"/>
            <a:ext cx="4872058" cy="2949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638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AŞLICA SANAYİ DALLAR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EKSTİL-KONFEKSİYON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15232" y="5661248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err="1" smtClean="0">
                <a:solidFill>
                  <a:schemeClr val="bg1"/>
                </a:solidFill>
                <a:latin typeface="+mn-lt"/>
              </a:rPr>
              <a:t>Tanger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 ve </a:t>
            </a:r>
            <a:r>
              <a:rPr lang="tr-TR" sz="3200" b="1" dirty="0" err="1" smtClean="0">
                <a:solidFill>
                  <a:schemeClr val="bg1"/>
                </a:solidFill>
                <a:latin typeface="+mn-lt"/>
              </a:rPr>
              <a:t>Kazablanka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 merkezli 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Konfeksiyon ağırlıklı 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38794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5"/>
          <p:cNvSpPr/>
          <p:nvPr/>
        </p:nvSpPr>
        <p:spPr>
          <a:xfrm>
            <a:off x="152400" y="1412776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err="1" smtClean="0">
                <a:solidFill>
                  <a:srgbClr val="FFFF00"/>
                </a:solidFill>
                <a:latin typeface="+mn-lt"/>
              </a:rPr>
              <a:t>GSMH’nın</a:t>
            </a:r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 %3’ü</a:t>
            </a:r>
          </a:p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İhracat </a:t>
            </a:r>
            <a:r>
              <a:rPr lang="tr-TR" sz="3200" b="1" dirty="0">
                <a:solidFill>
                  <a:srgbClr val="FFFF00"/>
                </a:solidFill>
                <a:latin typeface="+mn-lt"/>
              </a:rPr>
              <a:t>4</a:t>
            </a:r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 Milyar $</a:t>
            </a:r>
          </a:p>
        </p:txBody>
      </p:sp>
      <p:sp>
        <p:nvSpPr>
          <p:cNvPr id="4" name="AutoShape 20" descr="data:image/jpeg;base64,/9j/4AAQSkZJRgABAQAAAQABAAD/2wCEAAkGBxQQEhUUEBQVFRUVFxYWGRgXGBcXGBUXGBcWFhUWGBYYHSggGBslHRcUITEhJSkrLi4uGB8zODMsNygtLisBCgoKDg0OGhAQGiwmHiQsNyw3LC0sNywsLy8sLCwvLCwvLCswNywsLCssLCwsLCwsLCwsLCwsLCwsLCwsLCwsLP/AABEIAMIBAwMBIgACEQEDEQH/xAAcAAEAAgMBAQEAAAAAAAAAAAAABgcEBQgBAwL/xABKEAABAwICAwkMBgkEAwEAAAABAAIDBBEFIQYSMQcTIkFRYXGBkRQyMzRCUnOhsbLB0RZUYnKSohcjNVN0gpOzwhXS4fBDo/Fj/8QAGQEBAQEBAQEAAAAAAAAAAAAAAAEDBAIF/8QALBEBAAICAQIFAgYDAQAAAAAAAAECAwQREjETITJBUTPwFBUkNGHhccHxBf/aAAwDAQACEQMRAD8AvFERAREQEREBERAREQEREBERAREQEREBERAREQEREBERAREQEREBERAREQEREBERAREQEREBERARF45wGZyQeosZ1dGPKBPI27j2NuvO7L97HIeoN94goMpFi7/JxRHrc0ey6b5L5jOt5+DUGUixdeXzGfjP+1eb9L+7B6Hj4hBlosTupw2xP6iw/wCSf6gwd9rN+8xwH4rW9aDLRfKGpY/vHNd0EFfVAREQEREBERAREQEREBERAREQEREBERARFjS1OeqwazuPzW9J5eYZoMhzrZnYsfuvW8G0v59jfxHb1XUZ0i0tpqM2ldv8w/8AGy1mnn8lvXcqO934tingG9ywnj724++RrO/lAQTjE8VjpxeqqI4fsgjW6r3LuoKJ4hujUUZ/VRyTu5XZDtkzA6Av3hm5bCDrVcr5nnbbgg9Jzce1Syg0fpKYXihjZbPWsCenWOaor2p3Ra1w/UUrY2nIEte/PiF+CFnYTNilU4b7Ub0D5LGMBtx3JBI7VvcSrd+dyMb3o/yI5T6lkyDuaG//AJJMvuj/AL7VeHnlrsdrXuG9RyP1WDVLtYhzzxkuGahMWgVfVP1o6l7IjsdJJJ+VoNyOdTnBsP36SzhwW5u5+RvX7AVMQFJWFRfopreLEP7v+5fv9HWJs8HiB/qTN+KttFFVKNH8fh8HVa9v/wBGuv8A1Gr9jHMepvC04lA+wHeuNytdEFVx7pbb6tdQlp4yNv4XgH1qR4XpbRzWENS6Jx8mW9v/AGXHY5SuopWSC0jGvHI4A+1QjSrRagAOrHqSnYIzYDnc3YAqiXMqpALua2RvnRnP8Dj7HFZFNWMk705jaDcOHS05hV9ovgzopAKeSUDjGtwLc7bWW6x3SCGF365rt7abb625LDy5cIC/GE4OUuRaOgxW7A9jxPEdj22LwOgZP6rHmK3EEzZGhzCCDxhRX0REQEREBERAREQEREBERARFhYnUajQ0Gzn5dA8o/wDeMhB86ysHC4QaxoOu+9rW2gHitxnsz2QHENIaivk7lwtpZGMnS7CRxm/kN9ZXmkVS+unbQ02TAbPI2Ejbf7LfWVP8CwaOjiEcQt5zuN54ySr2Tu0WjOgVPSWfIBNLt1nC7QfstPtOaloC9RRRRvSTEs96admb/aG/E9S2uNYgKeIv49jRyuOzq4+pQSAukeAM3PPaScyrCSkWAUu+O1j3rfWeIL54vPvkp5G8EdW09q30cQp4LDyW7eV3L2qN7ySDbbY+xVEgwCm1IgTtfwj0HvR2W9a2S+cFtVurssLdFsl9F5ehF4StdVY3DH5WueRmfr2DtQbJfCqrGRC8jg3p2noG0qM1ukUjsmARjl753ach2LEpcNmnOtY5+W8n2nM9SvCcs7EdI3Ou2Eag8498egbG/wDdixMNweSc3N2tOZcdp6L7elb7D8Ajjzfw3c+wdA+a2ycnDTYg5lHDaMWLsgeMnjJUepKEVTt6dm1wOt93j68wOtfHSLFN+mOqeCzgj4lSTRKj1Yt8dtk2czRs7cz2IiB4jotVYQ8z0D3SQbXsOdh9po74faGYW9wPSVswMsHBeLb5ETk7n+T+oqdkKuNMdHTSSCrpBqtvw2jYCebzTsISJWYWBQ1jZmB7DkeLjB42kcRCyFXej+ObzOwnKKewIPku2A9IPBPKCDxKxFFEREBERAREQEREBERAUQ0jxAtneBtZHl02LvaWqXqutJpNXESx2yVgt1tt7Wqwks7c1w0NbLM7NznatztsLOd2kqbrQ6JN1I3s4w7W6iAPgVvlFERabSvFO54CR37+A3pO09Q+CCKaVYtv0xa08CO7RznynfDqWz0PpALzP6GfF3w7VEKGLfHhvb0camLKoNAAyAFgvTykNXIHsLRtPwzXyoaO2ZWj7u51lxY85u0B3qPqUVtpIzGOA/VHmkawHRmCO1airxeQZB4HOGi/rJWrxjTOCPwhF/NDi49gCh9fuhHPueFjftP4R7Cgmb98m267+m+r8l73E1vhZWM5gQT8gqvn0krKk2MsjvssBHVZqxp8LqSNZ8M9ttyx59ZCqLlopqVh4BY53KXBx6uILZnEOdc/UlG6Q5C3PyKdaMVro/1Rc5wAuCTex5LqKsU4hzrVaQ44YojY8J3BHxPYtd3Yq/x/HzNOS08BnBbz8p6yqJRgNIaiZsY2HNx5Gjb8utWoxoAAGQGQ6FF9z/CzFAJZBZ8oB+6zyR17VKlJIF8aunErHMcLhwIPWvsvHOsLnYFFVDpDTalO62RjcD0XOo7/AB7FaGA1m/00Mh2vjY49JaL+u6rTS2e1PKTlruFv5n6/sCsPRKAx0VO120RMvzXF7etWUht0RFFEREBERAREQEREBQTdTwtzo46qLv4DwreaSCD1H2lTtfmWMOBa4Agggg7CDkQUEW0VxEVMTZ4u+A1ZGDbzi3Lxj/lSmN4cAWm4OwqqcUoZ8Cqd/pwX0shsW8QB8h3IeRynmB4vHVs36lcDfv4ybEHjy8l3qPrVRvFV2mmK7/UFoPAi4A6fKPbl1Kc49i4hp5Ht78Cwae+DjlmObbfmVUUUeu71lIJbfDzqNvxn2LJ7qWpxPEY6cXkOZ2NHfHq4hzqKz4jUVr96ha7hbI2Akn7xH/xVEoxPSqOG4B13cjdg6XbFGqjHKqrdqR62exkYJJ6SMyplo1uUF1n1z9Ubd6jOfQ5/F1KysJwWCkbq08TYxzDM9LtpU5XhUGC7mVXPZ02rA0+dwnn+UfEqd4Rua0cNjIHTO5Xng/hGSmiKKx6SijiFomMYORrQPYshEQV1ug4Wxssb2AN3wO1gMrlts+u/qWnoYdW9uRbrTes3yp1BsjaG/wAxzPwXzghbBSPqZjZg2cptkAOclenlGdJsSMUeoDw5Ljob5R+HasLc+0e7tqRrD9VFZ7+Q+azrPqC0c8slZPkC58jg1rRxcTWjmHzV96IYA2gp2xCxeeFI7znnb1DYFJWG6AtsXqLwlRXq1uLTawMbePvjyN5Ok+y6+7py/KPIcbzsH3fOPPs6dirnTDTLXf3BhQMs7yWukbnqk99Z3G7ldsCsJLBrov8AUa+OkizjidrSuGzLvuwcEc7irea2wsNgyUb0G0Vbh0FjZ0z7GR/KeJo+yPXtUlSVgREUBERAREQEREBERAREQfOogbI0se0Oa4WIIuCOQgqs8c0HqKKQ1OEvdlmYr525G3yeOY5q0EQVlg+6TBODT4kzeJO9LiDq3575sWHisQpIi6mG/PmJMZbm0MGQeTyXvZTzSPRKlxAWqIgXcT28F46HD4quarc1r8PcZMKqddu3e32B6LHgO9SqNFhGiNTWzgTHew7Nz3nO3I0cZ5Arp0d0bgoI9SBlj5Tzm955S74bFWcW6XV0f6vFsPIGwva3Vvz2PBPUVJMI3RMLntqVDqc+a+7B0WN2diCfotZSVolF4aiKQdR90/BZe+SDaxp+675gKKyEWN3Q7jjd1Fp+Kd1H93J2D5oMlYmK1wp4nSO8kZDlPEO1fruonZG/rAHrJWk0gw+SYAuIsNjRsbz8551UQmjhfUSgbXSOJJ6c3H2rR7omkYne2mgP6in4Itse8ZF3OB81IMQjmjYYaNjn1E4tduyKE7XF2xpdxcy+ujO5gIi2WtkaXNIcGCxYCM+ET3yoydyvRHeWirqG/rHj9W0+Q0+UR5x9isWSVrRdxA6TZRzE9J6Om8YrWC3ktc0HoszhdiiGIbr1HGdWigkqJDsNi2/WbvPYoqzO6S7wbSec8FvrzPUFH9JdKKShF62cOdxQszJ/kGZ6XZKDGbH8Wya0UMLuPvCR0m7z1ALe6N7ktLA7fatzqqXaS/vL/d2u/mJQR2bGMT0hO90bDSUex0huC5vO4bfut6yrD0M0Lp8Lj1YRrSOHDldbXdzfZbzBSGKMNAa0AAZAAWAHIAF+1AREQEREBERAREQEREBERAREQEREBERB+JoWvFntDgeIgEdhUWxbc4w6puX0zWOPlRkxn8uXqUsRBVNXuJQA3pamaE7cwHesWKxTudYvB4tiRI4gXSD23CuBFeRTowrSWLZO2T+aM3/E0Lzf9KG+Sx3VT/MK40TkU6a3Sj91H+GD/evJINJphZxYwH0I6iBe/QrjRORT0WiWkEt98rmx3OeqWj+3GF9GbkNRMb1mIyP5Q3Xdfre74K3UTkV5he47h0Ob2yTH7brA9LWWUywvAqalFqeCOP7rQD27StiigIiICIiAiIgIiICIiAiIgIiFBoa3TKihkdHLUMa9hs5p1rg8mxbijqWysbJG7WY8BzSNhBzBXPG6B+0ar0n+LVeWhPiFJ6CP3QuvPr1x462ie7mw55ve1Z9m1q6hsTHPkOqxjS5xPE0C5PYtLS6a0Mr2sjqWOc8hrQNbMk2A2LJ0u8Rqv4eb+25UBoh49S+ni98Jr69clLWmeyZ8847REe6+8S0so6aQxTztY8Wu1wdexzB2ZrKwfG4KwOdTStkDTZ2rxHaLgqJ7q+i/dUHdETbzQAk22vi2ub0jaOvlVYaDaSHD6lshJ3p/AlHK0+Vblac+0cauPWrkxdVZ8/hL7FseTptHl8ujFpMS0to6aQxT1DGPFrtN7i4uL2HIvNJ9I46KkdUXDrgb2L+Ec4cADm4zzArnyKOatqABd8079p43OOZPIBt5gFNfW8SJtbyiF2Njw5iK+cy6Io9JaWaKSaKZro4QTI8B1m2Gsbm3Jmsek00oZXtjjqWOe8hrQNa5J2DYtfiOCsocHqII/JppdZ3nvLDrOPSfVZU5oT+0KX0zPavWLXpkra0TPkmTPek1iY7uklrsYxuCjDXVMjYw42BN8yBe2QWxVZ7uXgKf0rvcXPhpF7xWW+a80pNoTjB9IaasLhTStkLAC7Vvle9to5ivzi+ktLSODKmZsbnDWAN8xe18gq43C/CVf3YfbIsTdv8AG4fQ/wCZW8a1fH8Pny/phOxbwfE481h/T3D/AK1H+b5J9PcP+tR/m+SpjRzQ2pr43SU4YWtdqHWdqm9gdluQhbX9Flf5sX9T/hazrYKzxN2UbOaY5ii3cN0ro6l4jhqI3POxt7E9ANr9S3Ekga0ucbAAknkAzJXLUrXwSEd7JE8jI5tew8RHIQukzOZKLXdtdT6x6THcrHY1oxccT5S219icnPMecNcNPcP+tR/m+SfT3D/rUf5vkueqSEyOYxu1xa0dJNh7VM/0WV/JF/U/4XRfUw09VuGFdrLb015Wl9PcP+tR/m+S3mH4hFUMEkEjZGHymkEdGWw8y580i0LqqCMSVDWahdqXa7WsSCRcW5ipNuI1ThUzRX4Dotcji1muaAemzis8mrSMc3pbnh7x7N5yRS8cLfraxkLDJK9rGN2ucQAOsrQ/TzD/AK1H+b5KFbuNU7WpornUIe8jiLgWgE9Av2qE6N6I1OINe6nDCGEAlztXMi9hy5KYtWk4+u9uFy7N4ydFI5XX9PcP+tR/m+SfT3D/AK1H+b5Krf0WV/JF/U/4UPr6R0Ej4n21o3OY62Yu0kGx48wta6mG/ptyzttZa+qvDqGlqGysa+M6zHtDmkcbSLg9i0L9OsPBINUwEEgjhbRkRsWbol4jS+gi9xq5yr/DSekf7xWGvr1yWtEz2bZ9icdazEd3UYK9X4i70dAX7XG6xERAQohQc5boH7RqvSf4tWZh+6JXQRMijewMjaGNvG0mwFhnxrD3QP2jVek/xarV0V0OoZaOnkkpo3PfDG5xN7kloJJzX2cl6UxVm8c/8fJpS9stuieFb126NXTRvjkfGWyNcx1o2g6rgQc+LIrU6IePUvp4vfCuHSXQyhipKh8dNG1zIZXNIvcODCQRnyqntEPHqX08XvhMWSl6W6I4TLS9b1655dKlUHul6Mdw1OvGLQTEuZyMdtfH8RzHmV+qO7oFAyegnEgvqMMjTxtewEgj2dBK+drZZx3/AIl37OKMlP5hQNZi0s0UUMjy6OAODByaxuenkHIFam4/ovvbDWSjhyAiIHyY+N/S72DnVX6N0bZ6uCKS+pJIxrrZXBOYuumYmBoAaAAAAANgAyAC7d3J0V6K+7k08fVbrt7NPpt+z6v+Hm9wqh9Cf2hS+mZ7VfGm/wCz6v8Ah5vcKobQx4bX0pcQAJmEk5AZ8ZXjT+lf79nvb+rT793SirPdy8BT+ld7isH/AFOH99F+NvzVb7tdbHJDTtZIxx3xxs1wJA1bXy6QubVifFq6NmY8KzF3C/CVf3YfbIsTdv8AG4fQ/wCbll7hfhKv7sPtkWJu3+Nw+h/zcuuP3c/4/wBOWf2sffuke4j4nN6c/wBuNWKq63EfE5vTn+3GrFXFtfVs69b6VXMOkfjVT6eb33Loan/Z7f4Yf2lzzpH41U+mm99y6Gp/2e3+GH9pdm56aOXU9V3OuB+Hg9LF77V1EuXMENp4CchvkfvhdMf6nD++i/G35rz/AOhHnVdGfKyGbtHiDfTM916iO4n47L6B3vxqTbsdfE+iY1kjHOMzSA1wJsGvubDi2KM7ifjsvoHe/Grjj9LZMk/qaszdy8NTejk95qxdzHS6mw+KZtSXgveHDVaXZBtuJZW7l4am9HJ7zVG9ENCZcSY98UjGCNwaQ4ON7i9xZaY4pOtEXny/t4vN42J6I8/6Wd+lHD/Pk/puVL6QVTZqqeWO+rJLI9txY6rnEi44sipz+h+p+sQ9j1AMUozBNJE4gmJ7mEjYS0lpI7F71q4YmfDnl42LZZiOuOHRuiXiNL6CL3GrnKv8NJ6R/vFdG6JeI0voIvcaucq/w0npH+8Vlpeu/wB/LXb9FHUMXejoC/a/EXejoC/a+W+kIiICIiCidNdFqyWuqJIqaVzHSXa4NuCLDMK39EoHR0VMyRpa5sMbXNO0ENAIK26LfLsTkrFZjsxx4IpabR7tZpPC6SjqWMBc50MrWgbSSwgAc91SujGilbHV07300rWtmjLiW5ABwJJV+ori2Jx1msR3TLgjJaJmewtXpTA6SjqGMBc50Tw0DaSWmwC2iLCJ4nltMcxwoTRPRWtiraZ8lNK1rZWFzi3IAHMlX2iLXPnnLMTMMsOGMUcQ1GlsDpaKpZG0ue6GVrWja4lhAA51Q30Nr/qk34V0gi94Nm2KJiIec2vXLMTMubvoXXfU5vwL1uhdfxUk34bLpBFt+YX+IZfgafMoNuX6JyUEcj6iwlm1btBvqNbewJGRNydi0W65gNTU1MTqeGSRoisS0XAOsTZWtZFz12LRk8T3bTgrOPw/ZBdyPC5qallbURujcZi4BwsSNRgv2gqdIizyXm9ptPu0x0ilYrDnvHdEq19RO5tLMWullIIbkQXuII6leEEDhRNYQdbucN1ePW3u1um62iLXLsWyRETHZniwRjmZie7m5uhtfbxSb8KfQuu+qTfhXSKLf8wv8Qx/A0+Zc3jQyu+qTfhVmblmh0tEZJ6kBr3tDGsvctbcOcXEZXJAy5lYiLPLuXyV6eHvHqUpbqVduv4HUVUtOaeF8oax4JaL2Jc2wK2W5DhU1LDO2oifGXSNIDha41bXCn6LOdiZxeHx5PcYIjJ4nuKgdJtE62SsqXsppXNdNK5pDciC8kEc1lfyJgzzimZiFzYYyxxLWaMwujo6djwWubDG1wO0EMAIKomt0QrjK8ilmIL3EHV2guJBXRFl7ZXFsWxzMxHdMuvGSIiZ7PzGMh0BfpEXO3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pic>
        <p:nvPicPr>
          <p:cNvPr id="142338" name="Picture 2" descr="http://www.english.globalarabnetwork.com/images/stories/2011/Feb/Morocco_Textiles_Lindustrie_marocaine_du_textil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2492896"/>
            <a:ext cx="4048001" cy="3208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340" name="Picture 4" descr="Usine de  Soft Group  Le textile de A à Z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928" y="2514822"/>
            <a:ext cx="4749247" cy="3186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740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AŞLICA SANAYİ DALLAR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TOMOTİV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5013176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Renault </a:t>
            </a:r>
            <a:r>
              <a:rPr lang="tr-TR" sz="3200" b="1" dirty="0" err="1" smtClean="0">
                <a:solidFill>
                  <a:schemeClr val="bg1"/>
                </a:solidFill>
                <a:latin typeface="+mn-lt"/>
              </a:rPr>
              <a:t>Tanger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 ve </a:t>
            </a:r>
            <a:r>
              <a:rPr lang="tr-TR" sz="3200" b="1" dirty="0" err="1" smtClean="0">
                <a:solidFill>
                  <a:schemeClr val="bg1"/>
                </a:solidFill>
                <a:latin typeface="+mn-lt"/>
              </a:rPr>
              <a:t>Kenitra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 Fabrikası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Somaca Fabrikası </a:t>
            </a:r>
          </a:p>
          <a:p>
            <a:pPr algn="ctr"/>
            <a:r>
              <a:rPr lang="tr-TR" sz="3200" b="1" dirty="0" err="1" smtClean="0">
                <a:solidFill>
                  <a:schemeClr val="bg1"/>
                </a:solidFill>
                <a:latin typeface="+mn-lt"/>
              </a:rPr>
              <a:t>Kenitra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 Otomotiv Serbest Bölgesi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38794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5"/>
          <p:cNvSpPr/>
          <p:nvPr/>
        </p:nvSpPr>
        <p:spPr>
          <a:xfrm>
            <a:off x="152400" y="1412776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err="1" smtClean="0">
                <a:solidFill>
                  <a:srgbClr val="FFFF00"/>
                </a:solidFill>
                <a:latin typeface="+mn-lt"/>
              </a:rPr>
              <a:t>GSMH’nın</a:t>
            </a:r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 %4’ü</a:t>
            </a:r>
          </a:p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İhracat 3,4 Milyar $</a:t>
            </a:r>
          </a:p>
        </p:txBody>
      </p:sp>
      <p:pic>
        <p:nvPicPr>
          <p:cNvPr id="140294" name="Picture 6" descr="http://img.lavieeco.com/Renault-Nissan-(2015-05-06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93" y="2591397"/>
            <a:ext cx="4495777" cy="2247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296" name="Picture 8" descr="http://emaroc.info/wp-content/uploads/2010/04/logo-renaul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0784" y="2591397"/>
            <a:ext cx="2122682" cy="2205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20" descr="data:image/jpeg;base64,/9j/4AAQSkZJRgABAQAAAQABAAD/2wCEAAkGBxQQEhUUEBQVFRUVFxYWGRgXGBcXGBUXGBcWFhUWGBYYHSggGBslHRcUITEhJSkrLi4uGB8zODMsNygtLisBCgoKDg0OGhAQGiwmHiQsNyw3LC0sNywsLy8sLCwvLCwvLCswNywsLCssLCwsLCwsLCwsLCwsLCwsLCwsLCwsLP/AABEIAMIBAwMBIgACEQEDEQH/xAAcAAEAAgMBAQEAAAAAAAAAAAAABgcEBQgBAwL/xABKEAABAwICAwkMBgkEAwEAAAABAAIDBBEFIQYSMQcTIkFRYXGBkRQyMzRCUnOhsbLB0RZUYnKSohcjNVN0gpOzwhXS4fBDo/Fj/8QAGQEBAQEBAQEAAAAAAAAAAAAAAAEDBAIF/8QALBEBAAICAQIFAgYDAQAAAAAAAAECAwQREjETITJBUTPwFBUkNGHhccHxBf/aAAwDAQACEQMRAD8AvFERAREQEREBERAREQEREBERAREQEREBERAREQEREBERAREQEREBERAREQEREBERAREQEREBERARF45wGZyQeosZ1dGPKBPI27j2NuvO7L97HIeoN94goMpFi7/JxRHrc0ey6b5L5jOt5+DUGUixdeXzGfjP+1eb9L+7B6Hj4hBlosTupw2xP6iw/wCSf6gwd9rN+8xwH4rW9aDLRfKGpY/vHNd0EFfVAREQEREBERAREQEREBERAREQEREBERARFjS1OeqwazuPzW9J5eYZoMhzrZnYsfuvW8G0v59jfxHb1XUZ0i0tpqM2ldv8w/8AGy1mnn8lvXcqO934tingG9ywnj724++RrO/lAQTjE8VjpxeqqI4fsgjW6r3LuoKJ4hujUUZ/VRyTu5XZDtkzA6Av3hm5bCDrVcr5nnbbgg9Jzce1Syg0fpKYXihjZbPWsCenWOaor2p3Ra1w/UUrY2nIEte/PiF+CFnYTNilU4b7Ub0D5LGMBtx3JBI7VvcSrd+dyMb3o/yI5T6lkyDuaG//AJJMvuj/AL7VeHnlrsdrXuG9RyP1WDVLtYhzzxkuGahMWgVfVP1o6l7IjsdJJJ+VoNyOdTnBsP36SzhwW5u5+RvX7AVMQFJWFRfopreLEP7v+5fv9HWJs8HiB/qTN+KttFFVKNH8fh8HVa9v/wBGuv8A1Gr9jHMepvC04lA+wHeuNytdEFVx7pbb6tdQlp4yNv4XgH1qR4XpbRzWENS6Jx8mW9v/AGXHY5SuopWSC0jGvHI4A+1QjSrRagAOrHqSnYIzYDnc3YAqiXMqpALua2RvnRnP8Dj7HFZFNWMk705jaDcOHS05hV9ovgzopAKeSUDjGtwLc7bWW6x3SCGF365rt7abb625LDy5cIC/GE4OUuRaOgxW7A9jxPEdj22LwOgZP6rHmK3EEzZGhzCCDxhRX0REQEREBERAREQEREBERARFhYnUajQ0Gzn5dA8o/wDeMhB86ysHC4QaxoOu+9rW2gHitxnsz2QHENIaivk7lwtpZGMnS7CRxm/kN9ZXmkVS+unbQ02TAbPI2Ejbf7LfWVP8CwaOjiEcQt5zuN54ySr2Tu0WjOgVPSWfIBNLt1nC7QfstPtOaloC9RRRRvSTEs96admb/aG/E9S2uNYgKeIv49jRyuOzq4+pQSAukeAM3PPaScyrCSkWAUu+O1j3rfWeIL54vPvkp5G8EdW09q30cQp4LDyW7eV3L2qN7ySDbbY+xVEgwCm1IgTtfwj0HvR2W9a2S+cFtVurssLdFsl9F5ehF4StdVY3DH5WueRmfr2DtQbJfCqrGRC8jg3p2noG0qM1ukUjsmARjl753ach2LEpcNmnOtY5+W8n2nM9SvCcs7EdI3Ou2Eag8498egbG/wDdixMNweSc3N2tOZcdp6L7elb7D8Ajjzfw3c+wdA+a2ycnDTYg5lHDaMWLsgeMnjJUepKEVTt6dm1wOt93j68wOtfHSLFN+mOqeCzgj4lSTRKj1Yt8dtk2czRs7cz2IiB4jotVYQ8z0D3SQbXsOdh9po74faGYW9wPSVswMsHBeLb5ETk7n+T+oqdkKuNMdHTSSCrpBqtvw2jYCebzTsISJWYWBQ1jZmB7DkeLjB42kcRCyFXej+ObzOwnKKewIPku2A9IPBPKCDxKxFFEREBERAREQEREBERAUQ0jxAtneBtZHl02LvaWqXqutJpNXESx2yVgt1tt7Wqwks7c1w0NbLM7NznatztsLOd2kqbrQ6JN1I3s4w7W6iAPgVvlFERabSvFO54CR37+A3pO09Q+CCKaVYtv0xa08CO7RznynfDqWz0PpALzP6GfF3w7VEKGLfHhvb0camLKoNAAyAFgvTykNXIHsLRtPwzXyoaO2ZWj7u51lxY85u0B3qPqUVtpIzGOA/VHmkawHRmCO1airxeQZB4HOGi/rJWrxjTOCPwhF/NDi49gCh9fuhHPueFjftP4R7Cgmb98m267+m+r8l73E1vhZWM5gQT8gqvn0krKk2MsjvssBHVZqxp8LqSNZ8M9ttyx59ZCqLlopqVh4BY53KXBx6uILZnEOdc/UlG6Q5C3PyKdaMVro/1Rc5wAuCTex5LqKsU4hzrVaQ44YojY8J3BHxPYtd3Yq/x/HzNOS08BnBbz8p6yqJRgNIaiZsY2HNx5Gjb8utWoxoAAGQGQ6FF9z/CzFAJZBZ8oB+6zyR17VKlJIF8aunErHMcLhwIPWvsvHOsLnYFFVDpDTalO62RjcD0XOo7/AB7FaGA1m/00Mh2vjY49JaL+u6rTS2e1PKTlruFv5n6/sCsPRKAx0VO120RMvzXF7etWUht0RFFEREBERAREQEREBQTdTwtzo46qLv4DwreaSCD1H2lTtfmWMOBa4Agggg7CDkQUEW0VxEVMTZ4u+A1ZGDbzi3Lxj/lSmN4cAWm4OwqqcUoZ8Cqd/pwX0shsW8QB8h3IeRynmB4vHVs36lcDfv4ybEHjy8l3qPrVRvFV2mmK7/UFoPAi4A6fKPbl1Kc49i4hp5Ht78Cwae+DjlmObbfmVUUUeu71lIJbfDzqNvxn2LJ7qWpxPEY6cXkOZ2NHfHq4hzqKz4jUVr96ha7hbI2Akn7xH/xVEoxPSqOG4B13cjdg6XbFGqjHKqrdqR62exkYJJ6SMyplo1uUF1n1z9Ubd6jOfQ5/F1KysJwWCkbq08TYxzDM9LtpU5XhUGC7mVXPZ02rA0+dwnn+UfEqd4Rua0cNjIHTO5Xng/hGSmiKKx6SijiFomMYORrQPYshEQV1ug4Wxssb2AN3wO1gMrlts+u/qWnoYdW9uRbrTes3yp1BsjaG/wAxzPwXzghbBSPqZjZg2cptkAOclenlGdJsSMUeoDw5Ljob5R+HasLc+0e7tqRrD9VFZ7+Q+azrPqC0c8slZPkC58jg1rRxcTWjmHzV96IYA2gp2xCxeeFI7znnb1DYFJWG6AtsXqLwlRXq1uLTawMbePvjyN5Ok+y6+7py/KPIcbzsH3fOPPs6dirnTDTLXf3BhQMs7yWukbnqk99Z3G7ldsCsJLBrov8AUa+OkizjidrSuGzLvuwcEc7irea2wsNgyUb0G0Vbh0FjZ0z7GR/KeJo+yPXtUlSVgREUBERAREQEREBERAREQfOogbI0se0Oa4WIIuCOQgqs8c0HqKKQ1OEvdlmYr525G3yeOY5q0EQVlg+6TBODT4kzeJO9LiDq3575sWHisQpIi6mG/PmJMZbm0MGQeTyXvZTzSPRKlxAWqIgXcT28F46HD4quarc1r8PcZMKqddu3e32B6LHgO9SqNFhGiNTWzgTHew7Nz3nO3I0cZ5Arp0d0bgoI9SBlj5Tzm955S74bFWcW6XV0f6vFsPIGwva3Vvz2PBPUVJMI3RMLntqVDqc+a+7B0WN2diCfotZSVolF4aiKQdR90/BZe+SDaxp+675gKKyEWN3Q7jjd1Fp+Kd1H93J2D5oMlYmK1wp4nSO8kZDlPEO1fruonZG/rAHrJWk0gw+SYAuIsNjRsbz8551UQmjhfUSgbXSOJJ6c3H2rR7omkYne2mgP6in4Itse8ZF3OB81IMQjmjYYaNjn1E4tduyKE7XF2xpdxcy+ujO5gIi2WtkaXNIcGCxYCM+ET3yoydyvRHeWirqG/rHj9W0+Q0+UR5x9isWSVrRdxA6TZRzE9J6Om8YrWC3ktc0HoszhdiiGIbr1HGdWigkqJDsNi2/WbvPYoqzO6S7wbSec8FvrzPUFH9JdKKShF62cOdxQszJ/kGZ6XZKDGbH8Wya0UMLuPvCR0m7z1ALe6N7ktLA7fatzqqXaS/vL/d2u/mJQR2bGMT0hO90bDSUex0huC5vO4bfut6yrD0M0Lp8Lj1YRrSOHDldbXdzfZbzBSGKMNAa0AAZAAWAHIAF+1AREQEREBERAREQEREBERAREQEREBERB+JoWvFntDgeIgEdhUWxbc4w6puX0zWOPlRkxn8uXqUsRBVNXuJQA3pamaE7cwHesWKxTudYvB4tiRI4gXSD23CuBFeRTowrSWLZO2T+aM3/E0Lzf9KG+Sx3VT/MK40TkU6a3Sj91H+GD/evJINJphZxYwH0I6iBe/QrjRORT0WiWkEt98rmx3OeqWj+3GF9GbkNRMb1mIyP5Q3Xdfre74K3UTkV5he47h0Ob2yTH7brA9LWWUywvAqalFqeCOP7rQD27StiigIiICIiAiIgIiICIiAiIgIiFBoa3TKihkdHLUMa9hs5p1rg8mxbijqWysbJG7WY8BzSNhBzBXPG6B+0ar0n+LVeWhPiFJ6CP3QuvPr1x462ie7mw55ve1Z9m1q6hsTHPkOqxjS5xPE0C5PYtLS6a0Mr2sjqWOc8hrQNbMk2A2LJ0u8Rqv4eb+25UBoh49S+ni98Jr69clLWmeyZ8847REe6+8S0so6aQxTztY8Wu1wdexzB2ZrKwfG4KwOdTStkDTZ2rxHaLgqJ7q+i/dUHdETbzQAk22vi2ub0jaOvlVYaDaSHD6lshJ3p/AlHK0+Vblac+0cauPWrkxdVZ8/hL7FseTptHl8ujFpMS0to6aQxT1DGPFrtN7i4uL2HIvNJ9I46KkdUXDrgb2L+Ec4cADm4zzArnyKOatqABd8079p43OOZPIBt5gFNfW8SJtbyiF2Njw5iK+cy6Io9JaWaKSaKZro4QTI8B1m2Gsbm3Jmsek00oZXtjjqWOe8hrQNa5J2DYtfiOCsocHqII/JppdZ3nvLDrOPSfVZU5oT+0KX0zPavWLXpkra0TPkmTPek1iY7uklrsYxuCjDXVMjYw42BN8yBe2QWxVZ7uXgKf0rvcXPhpF7xWW+a80pNoTjB9IaasLhTStkLAC7Vvle9to5ivzi+ktLSODKmZsbnDWAN8xe18gq43C/CVf3YfbIsTdv8AG4fQ/wCZW8a1fH8Pny/phOxbwfE481h/T3D/AK1H+b5J9PcP+tR/m+SpjRzQ2pr43SU4YWtdqHWdqm9gdluQhbX9Flf5sX9T/hazrYKzxN2UbOaY5ii3cN0ro6l4jhqI3POxt7E9ANr9S3Ekga0ucbAAknkAzJXLUrXwSEd7JE8jI5tew8RHIQukzOZKLXdtdT6x6THcrHY1oxccT5S219icnPMecNcNPcP+tR/m+SfT3D/rUf5vkueqSEyOYxu1xa0dJNh7VM/0WV/JF/U/4XRfUw09VuGFdrLb015Wl9PcP+tR/m+S3mH4hFUMEkEjZGHymkEdGWw8y580i0LqqCMSVDWahdqXa7WsSCRcW5ipNuI1ThUzRX4Dotcji1muaAemzis8mrSMc3pbnh7x7N5yRS8cLfraxkLDJK9rGN2ucQAOsrQ/TzD/AK1H+b5KFbuNU7WpornUIe8jiLgWgE9Av2qE6N6I1OINe6nDCGEAlztXMi9hy5KYtWk4+u9uFy7N4ydFI5XX9PcP+tR/m+SfT3D/AK1H+b5Krf0WV/JF/U/4UPr6R0Ej4n21o3OY62Yu0kGx48wta6mG/ptyzttZa+qvDqGlqGysa+M6zHtDmkcbSLg9i0L9OsPBINUwEEgjhbRkRsWbol4jS+gi9xq5yr/DSekf7xWGvr1yWtEz2bZ9icdazEd3UYK9X4i70dAX7XG6xERAQohQc5boH7RqvSf4tWZh+6JXQRMijewMjaGNvG0mwFhnxrD3QP2jVek/xarV0V0OoZaOnkkpo3PfDG5xN7kloJJzX2cl6UxVm8c/8fJpS9stuieFb126NXTRvjkfGWyNcx1o2g6rgQc+LIrU6IePUvp4vfCuHSXQyhipKh8dNG1zIZXNIvcODCQRnyqntEPHqX08XvhMWSl6W6I4TLS9b1655dKlUHul6Mdw1OvGLQTEuZyMdtfH8RzHmV+qO7oFAyegnEgvqMMjTxtewEgj2dBK+drZZx3/AIl37OKMlP5hQNZi0s0UUMjy6OAODByaxuenkHIFam4/ovvbDWSjhyAiIHyY+N/S72DnVX6N0bZ6uCKS+pJIxrrZXBOYuumYmBoAaAAAAANgAyAC7d3J0V6K+7k08fVbrt7NPpt+z6v+Hm9wqh9Cf2hS+mZ7VfGm/wCz6v8Ah5vcKobQx4bX0pcQAJmEk5AZ8ZXjT+lf79nvb+rT793SirPdy8BT+ld7isH/AFOH99F+NvzVb7tdbHJDTtZIxx3xxs1wJA1bXy6QubVifFq6NmY8KzF3C/CVf3YfbIsTdv8AG4fQ/wCbll7hfhKv7sPtkWJu3+Nw+h/zcuuP3c/4/wBOWf2sffuke4j4nN6c/wBuNWKq63EfE5vTn+3GrFXFtfVs69b6VXMOkfjVT6eb33Loan/Z7f4Yf2lzzpH41U+mm99y6Gp/2e3+GH9pdm56aOXU9V3OuB+Hg9LF77V1EuXMENp4CchvkfvhdMf6nD++i/G35rz/AOhHnVdGfKyGbtHiDfTM916iO4n47L6B3vxqTbsdfE+iY1kjHOMzSA1wJsGvubDi2KM7ifjsvoHe/Grjj9LZMk/qaszdy8NTejk95qxdzHS6mw+KZtSXgveHDVaXZBtuJZW7l4am9HJ7zVG9ENCZcSY98UjGCNwaQ4ON7i9xZaY4pOtEXny/t4vN42J6I8/6Wd+lHD/Pk/puVL6QVTZqqeWO+rJLI9txY6rnEi44sipz+h+p+sQ9j1AMUozBNJE4gmJ7mEjYS0lpI7F71q4YmfDnl42LZZiOuOHRuiXiNL6CL3GrnKv8NJ6R/vFdG6JeI0voIvcaucq/w0npH+8Vlpeu/wB/LXb9FHUMXejoC/a/EXejoC/a+W+kIiICIiCidNdFqyWuqJIqaVzHSXa4NuCLDMK39EoHR0VMyRpa5sMbXNO0ENAIK26LfLsTkrFZjsxx4IpabR7tZpPC6SjqWMBc50MrWgbSSwgAc91SujGilbHV07300rWtmjLiW5ABwJJV+ori2Jx1msR3TLgjJaJmewtXpTA6SjqGMBc50Tw0DaSWmwC2iLCJ4nltMcxwoTRPRWtiraZ8lNK1rZWFzi3IAHMlX2iLXPnnLMTMMsOGMUcQ1GlsDpaKpZG0ue6GVrWja4lhAA51Q30Nr/qk34V0gi94Nm2KJiIec2vXLMTMubvoXXfU5vwL1uhdfxUk34bLpBFt+YX+IZfgafMoNuX6JyUEcj6iwlm1btBvqNbewJGRNydi0W65gNTU1MTqeGSRoisS0XAOsTZWtZFz12LRk8T3bTgrOPw/ZBdyPC5qallbURujcZi4BwsSNRgv2gqdIizyXm9ptPu0x0ilYrDnvHdEq19RO5tLMWullIIbkQXuII6leEEDhRNYQdbucN1ePW3u1um62iLXLsWyRETHZniwRjmZie7m5uhtfbxSb8KfQuu+qTfhXSKLf8wv8Qx/A0+Zc3jQyu+qTfhVmblmh0tEZJ6kBr3tDGsvctbcOcXEZXJAy5lYiLPLuXyV6eHvHqUpbqVduv4HUVUtOaeF8oax4JaL2Jc2wK2W5DhU1LDO2oifGXSNIDha41bXCn6LOdiZxeHx5PcYIjJ4nuKgdJtE62SsqXsppXNdNK5pDciC8kEc1lfyJgzzimZiFzYYyxxLWaMwujo6djwWubDG1wO0EMAIKomt0QrjK8ilmIL3EHV2guJBXRFl7ZXFsWxzMxHdMuvGSIiZ7PzGMh0BfpEXO3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pic>
        <p:nvPicPr>
          <p:cNvPr id="140312" name="Picture 24" descr="http://www.vector-logo.net/logo_preview/ai/p/PEUGEOT_LOGO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280" y="2591397"/>
            <a:ext cx="1905000" cy="2205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6818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BAŞLICA SANAYİ DALLAR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LEKTRİK ELEKTRONİK 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5013176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err="1" smtClean="0">
                <a:solidFill>
                  <a:schemeClr val="bg1"/>
                </a:solidFill>
                <a:latin typeface="+mn-lt"/>
              </a:rPr>
              <a:t>Tanger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 ve </a:t>
            </a:r>
            <a:r>
              <a:rPr lang="tr-TR" sz="3200" b="1" dirty="0" err="1" smtClean="0">
                <a:solidFill>
                  <a:schemeClr val="bg1"/>
                </a:solidFill>
                <a:latin typeface="+mn-lt"/>
              </a:rPr>
              <a:t>Kazablanka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 merkezli 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Kablo ve elektrik ekipmanları ağırlıklı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38794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5"/>
          <p:cNvSpPr/>
          <p:nvPr/>
        </p:nvSpPr>
        <p:spPr>
          <a:xfrm>
            <a:off x="152400" y="1412776"/>
            <a:ext cx="914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İhracat 4,3 Milyar $</a:t>
            </a:r>
          </a:p>
        </p:txBody>
      </p:sp>
      <p:sp>
        <p:nvSpPr>
          <p:cNvPr id="4" name="AutoShape 20" descr="data:image/jpeg;base64,/9j/4AAQSkZJRgABAQAAAQABAAD/2wCEAAkGBxQQEhUUEBQVFRUVFxYWGRgXGBcXGBUXGBcWFhUWGBYYHSggGBslHRcUITEhJSkrLi4uGB8zODMsNygtLisBCgoKDg0OGhAQGiwmHiQsNyw3LC0sNywsLy8sLCwvLCwvLCswNywsLCssLCwsLCwsLCwsLCwsLCwsLCwsLCwsLP/AABEIAMIBAwMBIgACEQEDEQH/xAAcAAEAAgMBAQEAAAAAAAAAAAAABgcEBQgBAwL/xABKEAABAwICAwkMBgkEAwEAAAABAAIDBBEFIQYSMQcTIkFRYXGBkRQyMzRCUnOhsbLB0RZUYnKSohcjNVN0gpOzwhXS4fBDo/Fj/8QAGQEBAQEBAQEAAAAAAAAAAAAAAAEDBAIF/8QALBEBAAICAQIFAgYDAQAAAAAAAAECAwQREjETITJBUTPwFBUkNGHhccHxBf/aAAwDAQACEQMRAD8AvFERAREQEREBERAREQEREBERAREQEREBERAREQEREBERAREQEREBERAREQEREBERAREQEREBERARF45wGZyQeosZ1dGPKBPI27j2NuvO7L97HIeoN94goMpFi7/JxRHrc0ey6b5L5jOt5+DUGUixdeXzGfjP+1eb9L+7B6Hj4hBlosTupw2xP6iw/wCSf6gwd9rN+8xwH4rW9aDLRfKGpY/vHNd0EFfVAREQEREBERAREQEREBERAREQEREBERARFjS1OeqwazuPzW9J5eYZoMhzrZnYsfuvW8G0v59jfxHb1XUZ0i0tpqM2ldv8w/8AGy1mnn8lvXcqO934tingG9ywnj724++RrO/lAQTjE8VjpxeqqI4fsgjW6r3LuoKJ4hujUUZ/VRyTu5XZDtkzA6Av3hm5bCDrVcr5nnbbgg9Jzce1Syg0fpKYXihjZbPWsCenWOaor2p3Ra1w/UUrY2nIEte/PiF+CFnYTNilU4b7Ub0D5LGMBtx3JBI7VvcSrd+dyMb3o/yI5T6lkyDuaG//AJJMvuj/AL7VeHnlrsdrXuG9RyP1WDVLtYhzzxkuGahMWgVfVP1o6l7IjsdJJJ+VoNyOdTnBsP36SzhwW5u5+RvX7AVMQFJWFRfopreLEP7v+5fv9HWJs8HiB/qTN+KttFFVKNH8fh8HVa9v/wBGuv8A1Gr9jHMepvC04lA+wHeuNytdEFVx7pbb6tdQlp4yNv4XgH1qR4XpbRzWENS6Jx8mW9v/AGXHY5SuopWSC0jGvHI4A+1QjSrRagAOrHqSnYIzYDnc3YAqiXMqpALua2RvnRnP8Dj7HFZFNWMk705jaDcOHS05hV9ovgzopAKeSUDjGtwLc7bWW6x3SCGF365rt7abb625LDy5cIC/GE4OUuRaOgxW7A9jxPEdj22LwOgZP6rHmK3EEzZGhzCCDxhRX0REQEREBERAREQEREBERARFhYnUajQ0Gzn5dA8o/wDeMhB86ysHC4QaxoOu+9rW2gHitxnsz2QHENIaivk7lwtpZGMnS7CRxm/kN9ZXmkVS+unbQ02TAbPI2Ejbf7LfWVP8CwaOjiEcQt5zuN54ySr2Tu0WjOgVPSWfIBNLt1nC7QfstPtOaloC9RRRRvSTEs96admb/aG/E9S2uNYgKeIv49jRyuOzq4+pQSAukeAM3PPaScyrCSkWAUu+O1j3rfWeIL54vPvkp5G8EdW09q30cQp4LDyW7eV3L2qN7ySDbbY+xVEgwCm1IgTtfwj0HvR2W9a2S+cFtVurssLdFsl9F5ehF4StdVY3DH5WueRmfr2DtQbJfCqrGRC8jg3p2noG0qM1ukUjsmARjl753ach2LEpcNmnOtY5+W8n2nM9SvCcs7EdI3Ou2Eag8498egbG/wDdixMNweSc3N2tOZcdp6L7elb7D8Ajjzfw3c+wdA+a2ycnDTYg5lHDaMWLsgeMnjJUepKEVTt6dm1wOt93j68wOtfHSLFN+mOqeCzgj4lSTRKj1Yt8dtk2czRs7cz2IiB4jotVYQ8z0D3SQbXsOdh9po74faGYW9wPSVswMsHBeLb5ETk7n+T+oqdkKuNMdHTSSCrpBqtvw2jYCebzTsISJWYWBQ1jZmB7DkeLjB42kcRCyFXej+ObzOwnKKewIPku2A9IPBPKCDxKxFFEREBERAREQEREBERAUQ0jxAtneBtZHl02LvaWqXqutJpNXESx2yVgt1tt7Wqwks7c1w0NbLM7NznatztsLOd2kqbrQ6JN1I3s4w7W6iAPgVvlFERabSvFO54CR37+A3pO09Q+CCKaVYtv0xa08CO7RznynfDqWz0PpALzP6GfF3w7VEKGLfHhvb0camLKoNAAyAFgvTykNXIHsLRtPwzXyoaO2ZWj7u51lxY85u0B3qPqUVtpIzGOA/VHmkawHRmCO1airxeQZB4HOGi/rJWrxjTOCPwhF/NDi49gCh9fuhHPueFjftP4R7Cgmb98m267+m+r8l73E1vhZWM5gQT8gqvn0krKk2MsjvssBHVZqxp8LqSNZ8M9ttyx59ZCqLlopqVh4BY53KXBx6uILZnEOdc/UlG6Q5C3PyKdaMVro/1Rc5wAuCTex5LqKsU4hzrVaQ44YojY8J3BHxPYtd3Yq/x/HzNOS08BnBbz8p6yqJRgNIaiZsY2HNx5Gjb8utWoxoAAGQGQ6FF9z/CzFAJZBZ8oB+6zyR17VKlJIF8aunErHMcLhwIPWvsvHOsLnYFFVDpDTalO62RjcD0XOo7/AB7FaGA1m/00Mh2vjY49JaL+u6rTS2e1PKTlruFv5n6/sCsPRKAx0VO120RMvzXF7etWUht0RFFEREBERAREQEREBQTdTwtzo46qLv4DwreaSCD1H2lTtfmWMOBa4Agggg7CDkQUEW0VxEVMTZ4u+A1ZGDbzi3Lxj/lSmN4cAWm4OwqqcUoZ8Cqd/pwX0shsW8QB8h3IeRynmB4vHVs36lcDfv4ybEHjy8l3qPrVRvFV2mmK7/UFoPAi4A6fKPbl1Kc49i4hp5Ht78Cwae+DjlmObbfmVUUUeu71lIJbfDzqNvxn2LJ7qWpxPEY6cXkOZ2NHfHq4hzqKz4jUVr96ha7hbI2Akn7xH/xVEoxPSqOG4B13cjdg6XbFGqjHKqrdqR62exkYJJ6SMyplo1uUF1n1z9Ubd6jOfQ5/F1KysJwWCkbq08TYxzDM9LtpU5XhUGC7mVXPZ02rA0+dwnn+UfEqd4Rua0cNjIHTO5Xng/hGSmiKKx6SijiFomMYORrQPYshEQV1ug4Wxssb2AN3wO1gMrlts+u/qWnoYdW9uRbrTes3yp1BsjaG/wAxzPwXzghbBSPqZjZg2cptkAOclenlGdJsSMUeoDw5Ljob5R+HasLc+0e7tqRrD9VFZ7+Q+azrPqC0c8slZPkC58jg1rRxcTWjmHzV96IYA2gp2xCxeeFI7znnb1DYFJWG6AtsXqLwlRXq1uLTawMbePvjyN5Ok+y6+7py/KPIcbzsH3fOPPs6dirnTDTLXf3BhQMs7yWukbnqk99Z3G7ldsCsJLBrov8AUa+OkizjidrSuGzLvuwcEc7irea2wsNgyUb0G0Vbh0FjZ0z7GR/KeJo+yPXtUlSVgREUBERAREQEREBERAREQfOogbI0se0Oa4WIIuCOQgqs8c0HqKKQ1OEvdlmYr525G3yeOY5q0EQVlg+6TBODT4kzeJO9LiDq3575sWHisQpIi6mG/PmJMZbm0MGQeTyXvZTzSPRKlxAWqIgXcT28F46HD4quarc1r8PcZMKqddu3e32B6LHgO9SqNFhGiNTWzgTHew7Nz3nO3I0cZ5Arp0d0bgoI9SBlj5Tzm955S74bFWcW6XV0f6vFsPIGwva3Vvz2PBPUVJMI3RMLntqVDqc+a+7B0WN2diCfotZSVolF4aiKQdR90/BZe+SDaxp+675gKKyEWN3Q7jjd1Fp+Kd1H93J2D5oMlYmK1wp4nSO8kZDlPEO1fruonZG/rAHrJWk0gw+SYAuIsNjRsbz8551UQmjhfUSgbXSOJJ6c3H2rR7omkYne2mgP6in4Itse8ZF3OB81IMQjmjYYaNjn1E4tduyKE7XF2xpdxcy+ujO5gIi2WtkaXNIcGCxYCM+ET3yoydyvRHeWirqG/rHj9W0+Q0+UR5x9isWSVrRdxA6TZRzE9J6Om8YrWC3ktc0HoszhdiiGIbr1HGdWigkqJDsNi2/WbvPYoqzO6S7wbSec8FvrzPUFH9JdKKShF62cOdxQszJ/kGZ6XZKDGbH8Wya0UMLuPvCR0m7z1ALe6N7ktLA7fatzqqXaS/vL/d2u/mJQR2bGMT0hO90bDSUex0huC5vO4bfut6yrD0M0Lp8Lj1YRrSOHDldbXdzfZbzBSGKMNAa0AAZAAWAHIAF+1AREQEREBERAREQEREBERAREQEREBERB+JoWvFntDgeIgEdhUWxbc4w6puX0zWOPlRkxn8uXqUsRBVNXuJQA3pamaE7cwHesWKxTudYvB4tiRI4gXSD23CuBFeRTowrSWLZO2T+aM3/E0Lzf9KG+Sx3VT/MK40TkU6a3Sj91H+GD/evJINJphZxYwH0I6iBe/QrjRORT0WiWkEt98rmx3OeqWj+3GF9GbkNRMb1mIyP5Q3Xdfre74K3UTkV5he47h0Ob2yTH7brA9LWWUywvAqalFqeCOP7rQD27StiigIiICIiAiIgIiICIiAiIgIiFBoa3TKihkdHLUMa9hs5p1rg8mxbijqWysbJG7WY8BzSNhBzBXPG6B+0ar0n+LVeWhPiFJ6CP3QuvPr1x462ie7mw55ve1Z9m1q6hsTHPkOqxjS5xPE0C5PYtLS6a0Mr2sjqWOc8hrQNbMk2A2LJ0u8Rqv4eb+25UBoh49S+ni98Jr69clLWmeyZ8847REe6+8S0so6aQxTztY8Wu1wdexzB2ZrKwfG4KwOdTStkDTZ2rxHaLgqJ7q+i/dUHdETbzQAk22vi2ub0jaOvlVYaDaSHD6lshJ3p/AlHK0+Vblac+0cauPWrkxdVZ8/hL7FseTptHl8ujFpMS0to6aQxT1DGPFrtN7i4uL2HIvNJ9I46KkdUXDrgb2L+Ec4cADm4zzArnyKOatqABd8079p43OOZPIBt5gFNfW8SJtbyiF2Njw5iK+cy6Io9JaWaKSaKZro4QTI8B1m2Gsbm3Jmsek00oZXtjjqWOe8hrQNa5J2DYtfiOCsocHqII/JppdZ3nvLDrOPSfVZU5oT+0KX0zPavWLXpkra0TPkmTPek1iY7uklrsYxuCjDXVMjYw42BN8yBe2QWxVZ7uXgKf0rvcXPhpF7xWW+a80pNoTjB9IaasLhTStkLAC7Vvle9to5ivzi+ktLSODKmZsbnDWAN8xe18gq43C/CVf3YfbIsTdv8AG4fQ/wCZW8a1fH8Pny/phOxbwfE481h/T3D/AK1H+b5J9PcP+tR/m+SpjRzQ2pr43SU4YWtdqHWdqm9gdluQhbX9Flf5sX9T/hazrYKzxN2UbOaY5ii3cN0ro6l4jhqI3POxt7E9ANr9S3Ekga0ucbAAknkAzJXLUrXwSEd7JE8jI5tew8RHIQukzOZKLXdtdT6x6THcrHY1oxccT5S219icnPMecNcNPcP+tR/m+SfT3D/rUf5vkueqSEyOYxu1xa0dJNh7VM/0WV/JF/U/4XRfUw09VuGFdrLb015Wl9PcP+tR/m+S3mH4hFUMEkEjZGHymkEdGWw8y580i0LqqCMSVDWahdqXa7WsSCRcW5ipNuI1ThUzRX4Dotcji1muaAemzis8mrSMc3pbnh7x7N5yRS8cLfraxkLDJK9rGN2ucQAOsrQ/TzD/AK1H+b5KFbuNU7WpornUIe8jiLgWgE9Av2qE6N6I1OINe6nDCGEAlztXMi9hy5KYtWk4+u9uFy7N4ydFI5XX9PcP+tR/m+SfT3D/AK1H+b5Krf0WV/JF/U/4UPr6R0Ej4n21o3OY62Yu0kGx48wta6mG/ptyzttZa+qvDqGlqGysa+M6zHtDmkcbSLg9i0L9OsPBINUwEEgjhbRkRsWbol4jS+gi9xq5yr/DSekf7xWGvr1yWtEz2bZ9icdazEd3UYK9X4i70dAX7XG6xERAQohQc5boH7RqvSf4tWZh+6JXQRMijewMjaGNvG0mwFhnxrD3QP2jVek/xarV0V0OoZaOnkkpo3PfDG5xN7kloJJzX2cl6UxVm8c/8fJpS9stuieFb126NXTRvjkfGWyNcx1o2g6rgQc+LIrU6IePUvp4vfCuHSXQyhipKh8dNG1zIZXNIvcODCQRnyqntEPHqX08XvhMWSl6W6I4TLS9b1655dKlUHul6Mdw1OvGLQTEuZyMdtfH8RzHmV+qO7oFAyegnEgvqMMjTxtewEgj2dBK+drZZx3/AIl37OKMlP5hQNZi0s0UUMjy6OAODByaxuenkHIFam4/ovvbDWSjhyAiIHyY+N/S72DnVX6N0bZ6uCKS+pJIxrrZXBOYuumYmBoAaAAAAANgAyAC7d3J0V6K+7k08fVbrt7NPpt+z6v+Hm9wqh9Cf2hS+mZ7VfGm/wCz6v8Ah5vcKobQx4bX0pcQAJmEk5AZ8ZXjT+lf79nvb+rT793SirPdy8BT+ld7isH/AFOH99F+NvzVb7tdbHJDTtZIxx3xxs1wJA1bXy6QubVifFq6NmY8KzF3C/CVf3YfbIsTdv8AG4fQ/wCbll7hfhKv7sPtkWJu3+Nw+h/zcuuP3c/4/wBOWf2sffuke4j4nN6c/wBuNWKq63EfE5vTn+3GrFXFtfVs69b6VXMOkfjVT6eb33Loan/Z7f4Yf2lzzpH41U+mm99y6Gp/2e3+GH9pdm56aOXU9V3OuB+Hg9LF77V1EuXMENp4CchvkfvhdMf6nD++i/G35rz/AOhHnVdGfKyGbtHiDfTM916iO4n47L6B3vxqTbsdfE+iY1kjHOMzSA1wJsGvubDi2KM7ifjsvoHe/Grjj9LZMk/qaszdy8NTejk95qxdzHS6mw+KZtSXgveHDVaXZBtuJZW7l4am9HJ7zVG9ENCZcSY98UjGCNwaQ4ON7i9xZaY4pOtEXny/t4vN42J6I8/6Wd+lHD/Pk/puVL6QVTZqqeWO+rJLI9txY6rnEi44sipz+h+p+sQ9j1AMUozBNJE4gmJ7mEjYS0lpI7F71q4YmfDnl42LZZiOuOHRuiXiNL6CL3GrnKv8NJ6R/vFdG6JeI0voIvcaucq/w0npH+8Vlpeu/wB/LXb9FHUMXejoC/a/EXejoC/a+W+kIiICIiCidNdFqyWuqJIqaVzHSXa4NuCLDMK39EoHR0VMyRpa5sMbXNO0ENAIK26LfLsTkrFZjsxx4IpabR7tZpPC6SjqWMBc50MrWgbSSwgAc91SujGilbHV07300rWtmjLiW5ABwJJV+ori2Jx1msR3TLgjJaJmewtXpTA6SjqGMBc50Tw0DaSWmwC2iLCJ4nltMcxwoTRPRWtiraZ8lNK1rZWFzi3IAHMlX2iLXPnnLMTMMsOGMUcQ1GlsDpaKpZG0ue6GVrWja4lhAA51Q30Nr/qk34V0gi94Nm2KJiIec2vXLMTMubvoXXfU5vwL1uhdfxUk34bLpBFt+YX+IZfgafMoNuX6JyUEcj6iwlm1btBvqNbewJGRNydi0W65gNTU1MTqeGSRoisS0XAOsTZWtZFz12LRk8T3bTgrOPw/ZBdyPC5qallbURujcZi4BwsSNRgv2gqdIizyXm9ptPu0x0ilYrDnvHdEq19RO5tLMWullIIbkQXuII6leEEDhRNYQdbucN1ePW3u1um62iLXLsWyRETHZniwRjmZie7m5uhtfbxSb8KfQuu+qTfhXSKLf8wv8Qx/A0+Zc3jQyu+qTfhVmblmh0tEZJ6kBr3tDGsvctbcOcXEZXJAy5lYiLPLuXyV6eHvHqUpbqVduv4HUVUtOaeF8oax4JaL2Jc2wK2W5DhU1LDO2oifGXSNIDha41bXCn6LOdiZxeHx5PcYIjJ4nuKgdJtE62SsqXsppXNdNK5pDciC8kEc1lfyJgzzimZiFzYYyxxLWaMwujo6djwWubDG1wO0EMAIKomt0QrjK8ilmIL3EHV2guJBXRFl7ZXFsWxzMxHdMuvGSIiZ7PzGMh0BfpEXO3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pic>
        <p:nvPicPr>
          <p:cNvPr id="143362" name="Picture 2" descr="http://www.nexans.ma/Morocco/2015/Fluocell_carouse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1754" y="2229805"/>
            <a:ext cx="4476750" cy="2038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66" name="Picture 6" descr="http://www.nexans.ma/Morocco/2014/NOVARE_GAMM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1554" y="2247479"/>
            <a:ext cx="4476750" cy="2038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68" name="Picture 8" descr="http://cdn.trend.az/pictures/2013/11/03/fiber_optic_cable_03111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05" y="2276872"/>
            <a:ext cx="2754295" cy="205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70" name="Picture 10" descr="http://preciseethiopia.com/wp-content/uploads/2014/07/Webcable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2276871"/>
            <a:ext cx="2003260" cy="2008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07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683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HAVACILIK VE UZAY SANAYİ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5085184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Kazablanka Havacılık Serbest Bölgesi, Tanger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Boeing, Airbus, Bombardier, Safran Electrical &amp; Power, Matis..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908720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5"/>
          <p:cNvSpPr/>
          <p:nvPr/>
        </p:nvSpPr>
        <p:spPr>
          <a:xfrm>
            <a:off x="0" y="980728"/>
            <a:ext cx="914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>
                <a:solidFill>
                  <a:srgbClr val="FFFF00"/>
                </a:solidFill>
                <a:latin typeface="+mn-lt"/>
              </a:rPr>
              <a:t>2</a:t>
            </a:r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 Milyar $ Ciro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, Dünyanın 15. Ülkesi</a:t>
            </a:r>
            <a:endParaRPr lang="tr-TR" sz="3200" b="1" dirty="0" smtClean="0">
              <a:solidFill>
                <a:srgbClr val="FFFF00"/>
              </a:solidFill>
              <a:latin typeface="+mn-lt"/>
            </a:endParaRPr>
          </a:p>
        </p:txBody>
      </p:sp>
      <p:sp>
        <p:nvSpPr>
          <p:cNvPr id="4" name="AutoShape 20" descr="data:image/jpeg;base64,/9j/4AAQSkZJRgABAQAAAQABAAD/2wCEAAkGBxQQEhUUEBQVFRUVFxYWGRgXGBcXGBUXGBcWFhUWGBYYHSggGBslHRcUITEhJSkrLi4uGB8zODMsNygtLisBCgoKDg0OGhAQGiwmHiQsNyw3LC0sNywsLy8sLCwvLCwvLCswNywsLCssLCwsLCwsLCwsLCwsLCwsLCwsLCwsLP/AABEIAMIBAwMBIgACEQEDEQH/xAAcAAEAAgMBAQEAAAAAAAAAAAAABgcEBQgBAwL/xABKEAABAwICAwkMBgkEAwEAAAABAAIDBBEFIQYSMQcTIkFRYXGBkRQyMzRCUnOhsbLB0RZUYnKSohcjNVN0gpOzwhXS4fBDo/Fj/8QAGQEBAQEBAQEAAAAAAAAAAAAAAAEDBAIF/8QALBEBAAICAQIFAgYDAQAAAAAAAAECAwQREjETITJBUTPwFBUkNGHhccHxBf/aAAwDAQACEQMRAD8AvFERAREQEREBERAREQEREBERAREQEREBERAREQEREBERAREQEREBERAREQEREBERAREQEREBERARF45wGZyQeosZ1dGPKBPI27j2NuvO7L97HIeoN94goMpFi7/JxRHrc0ey6b5L5jOt5+DUGUixdeXzGfjP+1eb9L+7B6Hj4hBlosTupw2xP6iw/wCSf6gwd9rN+8xwH4rW9aDLRfKGpY/vHNd0EFfVAREQEREBERAREQEREBERAREQEREBERARFjS1OeqwazuPzW9J5eYZoMhzrZnYsfuvW8G0v59jfxHb1XUZ0i0tpqM2ldv8w/8AGy1mnn8lvXcqO934tingG9ywnj724++RrO/lAQTjE8VjpxeqqI4fsgjW6r3LuoKJ4hujUUZ/VRyTu5XZDtkzA6Av3hm5bCDrVcr5nnbbgg9Jzce1Syg0fpKYXihjZbPWsCenWOaor2p3Ra1w/UUrY2nIEte/PiF+CFnYTNilU4b7Ub0D5LGMBtx3JBI7VvcSrd+dyMb3o/yI5T6lkyDuaG//AJJMvuj/AL7VeHnlrsdrXuG9RyP1WDVLtYhzzxkuGahMWgVfVP1o6l7IjsdJJJ+VoNyOdTnBsP36SzhwW5u5+RvX7AVMQFJWFRfopreLEP7v+5fv9HWJs8HiB/qTN+KttFFVKNH8fh8HVa9v/wBGuv8A1Gr9jHMepvC04lA+wHeuNytdEFVx7pbb6tdQlp4yNv4XgH1qR4XpbRzWENS6Jx8mW9v/AGXHY5SuopWSC0jGvHI4A+1QjSrRagAOrHqSnYIzYDnc3YAqiXMqpALua2RvnRnP8Dj7HFZFNWMk705jaDcOHS05hV9ovgzopAKeSUDjGtwLc7bWW6x3SCGF365rt7abb625LDy5cIC/GE4OUuRaOgxW7A9jxPEdj22LwOgZP6rHmK3EEzZGhzCCDxhRX0REQEREBERAREQEREBERARFhYnUajQ0Gzn5dA8o/wDeMhB86ysHC4QaxoOu+9rW2gHitxnsz2QHENIaivk7lwtpZGMnS7CRxm/kN9ZXmkVS+unbQ02TAbPI2Ejbf7LfWVP8CwaOjiEcQt5zuN54ySr2Tu0WjOgVPSWfIBNLt1nC7QfstPtOaloC9RRRRvSTEs96admb/aG/E9S2uNYgKeIv49jRyuOzq4+pQSAukeAM3PPaScyrCSkWAUu+O1j3rfWeIL54vPvkp5G8EdW09q30cQp4LDyW7eV3L2qN7ySDbbY+xVEgwCm1IgTtfwj0HvR2W9a2S+cFtVurssLdFsl9F5ehF4StdVY3DH5WueRmfr2DtQbJfCqrGRC8jg3p2noG0qM1ukUjsmARjl753ach2LEpcNmnOtY5+W8n2nM9SvCcs7EdI3Ou2Eag8498egbG/wDdixMNweSc3N2tOZcdp6L7elb7D8Ajjzfw3c+wdA+a2ycnDTYg5lHDaMWLsgeMnjJUepKEVTt6dm1wOt93j68wOtfHSLFN+mOqeCzgj4lSTRKj1Yt8dtk2czRs7cz2IiB4jotVYQ8z0D3SQbXsOdh9po74faGYW9wPSVswMsHBeLb5ETk7n+T+oqdkKuNMdHTSSCrpBqtvw2jYCebzTsISJWYWBQ1jZmB7DkeLjB42kcRCyFXej+ObzOwnKKewIPku2A9IPBPKCDxKxFFEREBERAREQEREBERAUQ0jxAtneBtZHl02LvaWqXqutJpNXESx2yVgt1tt7Wqwks7c1w0NbLM7NznatztsLOd2kqbrQ6JN1I3s4w7W6iAPgVvlFERabSvFO54CR37+A3pO09Q+CCKaVYtv0xa08CO7RznynfDqWz0PpALzP6GfF3w7VEKGLfHhvb0camLKoNAAyAFgvTykNXIHsLRtPwzXyoaO2ZWj7u51lxY85u0B3qPqUVtpIzGOA/VHmkawHRmCO1airxeQZB4HOGi/rJWrxjTOCPwhF/NDi49gCh9fuhHPueFjftP4R7Cgmb98m267+m+r8l73E1vhZWM5gQT8gqvn0krKk2MsjvssBHVZqxp8LqSNZ8M9ttyx59ZCqLlopqVh4BY53KXBx6uILZnEOdc/UlG6Q5C3PyKdaMVro/1Rc5wAuCTex5LqKsU4hzrVaQ44YojY8J3BHxPYtd3Yq/x/HzNOS08BnBbz8p6yqJRgNIaiZsY2HNx5Gjb8utWoxoAAGQGQ6FF9z/CzFAJZBZ8oB+6zyR17VKlJIF8aunErHMcLhwIPWvsvHOsLnYFFVDpDTalO62RjcD0XOo7/AB7FaGA1m/00Mh2vjY49JaL+u6rTS2e1PKTlruFv5n6/sCsPRKAx0VO120RMvzXF7etWUht0RFFEREBERAREQEREBQTdTwtzo46qLv4DwreaSCD1H2lTtfmWMOBa4Agggg7CDkQUEW0VxEVMTZ4u+A1ZGDbzi3Lxj/lSmN4cAWm4OwqqcUoZ8Cqd/pwX0shsW8QB8h3IeRynmB4vHVs36lcDfv4ybEHjy8l3qPrVRvFV2mmK7/UFoPAi4A6fKPbl1Kc49i4hp5Ht78Cwae+DjlmObbfmVUUUeu71lIJbfDzqNvxn2LJ7qWpxPEY6cXkOZ2NHfHq4hzqKz4jUVr96ha7hbI2Akn7xH/xVEoxPSqOG4B13cjdg6XbFGqjHKqrdqR62exkYJJ6SMyplo1uUF1n1z9Ubd6jOfQ5/F1KysJwWCkbq08TYxzDM9LtpU5XhUGC7mVXPZ02rA0+dwnn+UfEqd4Rua0cNjIHTO5Xng/hGSmiKKx6SijiFomMYORrQPYshEQV1ug4Wxssb2AN3wO1gMrlts+u/qWnoYdW9uRbrTes3yp1BsjaG/wAxzPwXzghbBSPqZjZg2cptkAOclenlGdJsSMUeoDw5Ljob5R+HasLc+0e7tqRrD9VFZ7+Q+azrPqC0c8slZPkC58jg1rRxcTWjmHzV96IYA2gp2xCxeeFI7znnb1DYFJWG6AtsXqLwlRXq1uLTawMbePvjyN5Ok+y6+7py/KPIcbzsH3fOPPs6dirnTDTLXf3BhQMs7yWukbnqk99Z3G7ldsCsJLBrov8AUa+OkizjidrSuGzLvuwcEc7irea2wsNgyUb0G0Vbh0FjZ0z7GR/KeJo+yPXtUlSVgREUBERAREQEREBERAREQfOogbI0se0Oa4WIIuCOQgqs8c0HqKKQ1OEvdlmYr525G3yeOY5q0EQVlg+6TBODT4kzeJO9LiDq3575sWHisQpIi6mG/PmJMZbm0MGQeTyXvZTzSPRKlxAWqIgXcT28F46HD4quarc1r8PcZMKqddu3e32B6LHgO9SqNFhGiNTWzgTHew7Nz3nO3I0cZ5Arp0d0bgoI9SBlj5Tzm955S74bFWcW6XV0f6vFsPIGwva3Vvz2PBPUVJMI3RMLntqVDqc+a+7B0WN2diCfotZSVolF4aiKQdR90/BZe+SDaxp+675gKKyEWN3Q7jjd1Fp+Kd1H93J2D5oMlYmK1wp4nSO8kZDlPEO1fruonZG/rAHrJWk0gw+SYAuIsNjRsbz8551UQmjhfUSgbXSOJJ6c3H2rR7omkYne2mgP6in4Itse8ZF3OB81IMQjmjYYaNjn1E4tduyKE7XF2xpdxcy+ujO5gIi2WtkaXNIcGCxYCM+ET3yoydyvRHeWirqG/rHj9W0+Q0+UR5x9isWSVrRdxA6TZRzE9J6Om8YrWC3ktc0HoszhdiiGIbr1HGdWigkqJDsNi2/WbvPYoqzO6S7wbSec8FvrzPUFH9JdKKShF62cOdxQszJ/kGZ6XZKDGbH8Wya0UMLuPvCR0m7z1ALe6N7ktLA7fatzqqXaS/vL/d2u/mJQR2bGMT0hO90bDSUex0huC5vO4bfut6yrD0M0Lp8Lj1YRrSOHDldbXdzfZbzBSGKMNAa0AAZAAWAHIAF+1AREQEREBERAREQEREBERAREQEREBERB+JoWvFntDgeIgEdhUWxbc4w6puX0zWOPlRkxn8uXqUsRBVNXuJQA3pamaE7cwHesWKxTudYvB4tiRI4gXSD23CuBFeRTowrSWLZO2T+aM3/E0Lzf9KG+Sx3VT/MK40TkU6a3Sj91H+GD/evJINJphZxYwH0I6iBe/QrjRORT0WiWkEt98rmx3OeqWj+3GF9GbkNRMb1mIyP5Q3Xdfre74K3UTkV5he47h0Ob2yTH7brA9LWWUywvAqalFqeCOP7rQD27StiigIiICIiAiIgIiICIiAiIgIiFBoa3TKihkdHLUMa9hs5p1rg8mxbijqWysbJG7WY8BzSNhBzBXPG6B+0ar0n+LVeWhPiFJ6CP3QuvPr1x462ie7mw55ve1Z9m1q6hsTHPkOqxjS5xPE0C5PYtLS6a0Mr2sjqWOc8hrQNbMk2A2LJ0u8Rqv4eb+25UBoh49S+ni98Jr69clLWmeyZ8847REe6+8S0so6aQxTztY8Wu1wdexzB2ZrKwfG4KwOdTStkDTZ2rxHaLgqJ7q+i/dUHdETbzQAk22vi2ub0jaOvlVYaDaSHD6lshJ3p/AlHK0+Vblac+0cauPWrkxdVZ8/hL7FseTptHl8ujFpMS0to6aQxT1DGPFrtN7i4uL2HIvNJ9I46KkdUXDrgb2L+Ec4cADm4zzArnyKOatqABd8079p43OOZPIBt5gFNfW8SJtbyiF2Njw5iK+cy6Io9JaWaKSaKZro4QTI8B1m2Gsbm3Jmsek00oZXtjjqWOe8hrQNa5J2DYtfiOCsocHqII/JppdZ3nvLDrOPSfVZU5oT+0KX0zPavWLXpkra0TPkmTPek1iY7uklrsYxuCjDXVMjYw42BN8yBe2QWxVZ7uXgKf0rvcXPhpF7xWW+a80pNoTjB9IaasLhTStkLAC7Vvle9to5ivzi+ktLSODKmZsbnDWAN8xe18gq43C/CVf3YfbIsTdv8AG4fQ/wCZW8a1fH8Pny/phOxbwfE481h/T3D/AK1H+b5J9PcP+tR/m+SpjRzQ2pr43SU4YWtdqHWdqm9gdluQhbX9Flf5sX9T/hazrYKzxN2UbOaY5ii3cN0ro6l4jhqI3POxt7E9ANr9S3Ekga0ucbAAknkAzJXLUrXwSEd7JE8jI5tew8RHIQukzOZKLXdtdT6x6THcrHY1oxccT5S219icnPMecNcNPcP+tR/m+SfT3D/rUf5vkueqSEyOYxu1xa0dJNh7VM/0WV/JF/U/4XRfUw09VuGFdrLb015Wl9PcP+tR/m+S3mH4hFUMEkEjZGHymkEdGWw8y580i0LqqCMSVDWahdqXa7WsSCRcW5ipNuI1ThUzRX4Dotcji1muaAemzis8mrSMc3pbnh7x7N5yRS8cLfraxkLDJK9rGN2ucQAOsrQ/TzD/AK1H+b5KFbuNU7WpornUIe8jiLgWgE9Av2qE6N6I1OINe6nDCGEAlztXMi9hy5KYtWk4+u9uFy7N4ydFI5XX9PcP+tR/m+SfT3D/AK1H+b5Krf0WV/JF/U/4UPr6R0Ej4n21o3OY62Yu0kGx48wta6mG/ptyzttZa+qvDqGlqGysa+M6zHtDmkcbSLg9i0L9OsPBINUwEEgjhbRkRsWbol4jS+gi9xq5yr/DSekf7xWGvr1yWtEz2bZ9icdazEd3UYK9X4i70dAX7XG6xERAQohQc5boH7RqvSf4tWZh+6JXQRMijewMjaGNvG0mwFhnxrD3QP2jVek/xarV0V0OoZaOnkkpo3PfDG5xN7kloJJzX2cl6UxVm8c/8fJpS9stuieFb126NXTRvjkfGWyNcx1o2g6rgQc+LIrU6IePUvp4vfCuHSXQyhipKh8dNG1zIZXNIvcODCQRnyqntEPHqX08XvhMWSl6W6I4TLS9b1655dKlUHul6Mdw1OvGLQTEuZyMdtfH8RzHmV+qO7oFAyegnEgvqMMjTxtewEgj2dBK+drZZx3/AIl37OKMlP5hQNZi0s0UUMjy6OAODByaxuenkHIFam4/ovvbDWSjhyAiIHyY+N/S72DnVX6N0bZ6uCKS+pJIxrrZXBOYuumYmBoAaAAAAANgAyAC7d3J0V6K+7k08fVbrt7NPpt+z6v+Hm9wqh9Cf2hS+mZ7VfGm/wCz6v8Ah5vcKobQx4bX0pcQAJmEk5AZ8ZXjT+lf79nvb+rT793SirPdy8BT+ld7isH/AFOH99F+NvzVb7tdbHJDTtZIxx3xxs1wJA1bXy6QubVifFq6NmY8KzF3C/CVf3YfbIsTdv8AG4fQ/wCbll7hfhKv7sPtkWJu3+Nw+h/zcuuP3c/4/wBOWf2sffuke4j4nN6c/wBuNWKq63EfE5vTn+3GrFXFtfVs69b6VXMOkfjVT6eb33Loan/Z7f4Yf2lzzpH41U+mm99y6Gp/2e3+GH9pdm56aOXU9V3OuB+Hg9LF77V1EuXMENp4CchvkfvhdMf6nD++i/G35rz/AOhHnVdGfKyGbtHiDfTM916iO4n47L6B3vxqTbsdfE+iY1kjHOMzSA1wJsGvubDi2KM7ifjsvoHe/Grjj9LZMk/qaszdy8NTejk95qxdzHS6mw+KZtSXgveHDVaXZBtuJZW7l4am9HJ7zVG9ENCZcSY98UjGCNwaQ4ON7i9xZaY4pOtEXny/t4vN42J6I8/6Wd+lHD/Pk/puVL6QVTZqqeWO+rJLI9txY6rnEi44sipz+h+p+sQ9j1AMUozBNJE4gmJ7mEjYS0lpI7F71q4YmfDnl42LZZiOuOHRuiXiNL6CL3GrnKv8NJ6R/vFdG6JeI0voIvcaucq/w0npH+8Vlpeu/wB/LXb9FHUMXejoC/a/EXejoC/a+W+kIiICIiCidNdFqyWuqJIqaVzHSXa4NuCLDMK39EoHR0VMyRpa5sMbXNO0ENAIK26LfLsTkrFZjsxx4IpabR7tZpPC6SjqWMBc50MrWgbSSwgAc91SujGilbHV07300rWtmjLiW5ABwJJV+ori2Jx1msR3TLgjJaJmewtXpTA6SjqGMBc50Tw0DaSWmwC2iLCJ4nltMcxwoTRPRWtiraZ8lNK1rZWFzi3IAHMlX2iLXPnnLMTMMsOGMUcQ1GlsDpaKpZG0ue6GVrWja4lhAA51Q30Nr/qk34V0gi94Nm2KJiIec2vXLMTMubvoXXfU5vwL1uhdfxUk34bLpBFt+YX+IZfgafMoNuX6JyUEcj6iwlm1btBvqNbewJGRNydi0W65gNTU1MTqeGSRoisS0XAOsTZWtZFz12LRk8T3bTgrOPw/ZBdyPC5qallbURujcZi4BwsSNRgv2gqdIizyXm9ptPu0x0ilYrDnvHdEq19RO5tLMWullIIbkQXuII6leEEDhRNYQdbucN1ePW3u1um62iLXLsWyRETHZniwRjmZie7m5uhtfbxSb8KfQuu+qTfhXSKLf8wv8Qx/A0+Zc3jQyu+qTfhVmblmh0tEZJ6kBr3tDGsvctbcOcXEZXJAy5lYiLPLuXyV6eHvHqUpbqVduv4HUVUtOaeF8oax4JaL2Jc2wK2W5DhU1LDO2oifGXSNIDha41bXCn6LOdiZxeHx5PcYIjJ4nuKgdJtE62SsqXsppXNdNK5pDciC8kEc1lfyJgzzimZiFzYYyxxLWaMwujo6djwWubDG1wO0EMAIKomt0QrjK8ilmIL3EHV2guJBXRFl7ZXFsWxzMxHdMuvGSIiZ7PzGMh0BfpEXO3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pic>
        <p:nvPicPr>
          <p:cNvPr id="144386" name="Picture 2" descr="http://www.emergence.gov.ma/SiteCollectionImages/aer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28800"/>
            <a:ext cx="9088277" cy="2375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4388" name="Picture 4" descr="Accuei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9372" y="4077072"/>
            <a:ext cx="4266844" cy="894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9250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242" name="Picture 2" descr="http://www.invest.gov.ma/upload/secteurs/fr_Image_9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967795"/>
            <a:ext cx="9144000" cy="2829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https://encrypted-tbn3.gstatic.com/images?q=tbn:ANd9GcQ7PWgGuuXVTHeTNgokZfSNyT5ptSgVspxoHEKltGM_GcdEz7_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468849"/>
            <a:ext cx="9144000" cy="2416535"/>
          </a:xfrm>
          <a:prstGeom prst="rect">
            <a:avLst/>
          </a:prstGeom>
          <a:noFill/>
        </p:spPr>
      </p:pic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BALIKÇILIK VE SU ÜRÜNLERİ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-107504" y="5229200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Deniz ürünleri işleme sanayi büyüme eğiliminde 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38794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4" name="AutoShape 20" descr="data:image/jpeg;base64,/9j/4AAQSkZJRgABAQAAAQABAAD/2wCEAAkGBxQQEhUUEBQVFRUVFxYWGRgXGBcXGBUXGBcWFhUWGBYYHSggGBslHRcUITEhJSkrLi4uGB8zODMsNygtLisBCgoKDg0OGhAQGiwmHiQsNyw3LC0sNywsLy8sLCwvLCwvLCswNywsLCssLCwsLCwsLCwsLCwsLCwsLCwsLCwsLP/AABEIAMIBAwMBIgACEQEDEQH/xAAcAAEAAgMBAQEAAAAAAAAAAAAABgcEBQgBAwL/xABKEAABAwICAwkMBgkEAwEAAAABAAIDBBEFIQYSMQcTIkFRYXGBkRQyMzRCUnOhsbLB0RZUYnKSohcjNVN0gpOzwhXS4fBDo/Fj/8QAGQEBAQEBAQEAAAAAAAAAAAAAAAEDBAIF/8QALBEBAAICAQIFAgYDAQAAAAAAAAECAwQREjETITJBUTPwFBUkNGHhccHxBf/aAAwDAQACEQMRAD8AvFERAREQEREBERAREQEREBERAREQEREBERAREQEREBERAREQEREBERAREQEREBERAREQEREBERARF45wGZyQeosZ1dGPKBPI27j2NuvO7L97HIeoN94goMpFi7/JxRHrc0ey6b5L5jOt5+DUGUixdeXzGfjP+1eb9L+7B6Hj4hBlosTupw2xP6iw/wCSf6gwd9rN+8xwH4rW9aDLRfKGpY/vHNd0EFfVAREQEREBERAREQEREBERAREQEREBERARFjS1OeqwazuPzW9J5eYZoMhzrZnYsfuvW8G0v59jfxHb1XUZ0i0tpqM2ldv8w/8AGy1mnn8lvXcqO934tingG9ywnj724++RrO/lAQTjE8VjpxeqqI4fsgjW6r3LuoKJ4hujUUZ/VRyTu5XZDtkzA6Av3hm5bCDrVcr5nnbbgg9Jzce1Syg0fpKYXihjZbPWsCenWOaor2p3Ra1w/UUrY2nIEte/PiF+CFnYTNilU4b7Ub0D5LGMBtx3JBI7VvcSrd+dyMb3o/yI5T6lkyDuaG//AJJMvuj/AL7VeHnlrsdrXuG9RyP1WDVLtYhzzxkuGahMWgVfVP1o6l7IjsdJJJ+VoNyOdTnBsP36SzhwW5u5+RvX7AVMQFJWFRfopreLEP7v+5fv9HWJs8HiB/qTN+KttFFVKNH8fh8HVa9v/wBGuv8A1Gr9jHMepvC04lA+wHeuNytdEFVx7pbb6tdQlp4yNv4XgH1qR4XpbRzWENS6Jx8mW9v/AGXHY5SuopWSC0jGvHI4A+1QjSrRagAOrHqSnYIzYDnc3YAqiXMqpALua2RvnRnP8Dj7HFZFNWMk705jaDcOHS05hV9ovgzopAKeSUDjGtwLc7bWW6x3SCGF365rt7abb625LDy5cIC/GE4OUuRaOgxW7A9jxPEdj22LwOgZP6rHmK3EEzZGhzCCDxhRX0REQEREBERAREQEREBERARFhYnUajQ0Gzn5dA8o/wDeMhB86ysHC4QaxoOu+9rW2gHitxnsz2QHENIaivk7lwtpZGMnS7CRxm/kN9ZXmkVS+unbQ02TAbPI2Ejbf7LfWVP8CwaOjiEcQt5zuN54ySr2Tu0WjOgVPSWfIBNLt1nC7QfstPtOaloC9RRRRvSTEs96admb/aG/E9S2uNYgKeIv49jRyuOzq4+pQSAukeAM3PPaScyrCSkWAUu+O1j3rfWeIL54vPvkp5G8EdW09q30cQp4LDyW7eV3L2qN7ySDbbY+xVEgwCm1IgTtfwj0HvR2W9a2S+cFtVurssLdFsl9F5ehF4StdVY3DH5WueRmfr2DtQbJfCqrGRC8jg3p2noG0qM1ukUjsmARjl753ach2LEpcNmnOtY5+W8n2nM9SvCcs7EdI3Ou2Eag8498egbG/wDdixMNweSc3N2tOZcdp6L7elb7D8Ajjzfw3c+wdA+a2ycnDTYg5lHDaMWLsgeMnjJUepKEVTt6dm1wOt93j68wOtfHSLFN+mOqeCzgj4lSTRKj1Yt8dtk2czRs7cz2IiB4jotVYQ8z0D3SQbXsOdh9po74faGYW9wPSVswMsHBeLb5ETk7n+T+oqdkKuNMdHTSSCrpBqtvw2jYCebzTsISJWYWBQ1jZmB7DkeLjB42kcRCyFXej+ObzOwnKKewIPku2A9IPBPKCDxKxFFEREBERAREQEREBERAUQ0jxAtneBtZHl02LvaWqXqutJpNXESx2yVgt1tt7Wqwks7c1w0NbLM7NznatztsLOd2kqbrQ6JN1I3s4w7W6iAPgVvlFERabSvFO54CR37+A3pO09Q+CCKaVYtv0xa08CO7RznynfDqWz0PpALzP6GfF3w7VEKGLfHhvb0camLKoNAAyAFgvTykNXIHsLRtPwzXyoaO2ZWj7u51lxY85u0B3qPqUVtpIzGOA/VHmkawHRmCO1airxeQZB4HOGi/rJWrxjTOCPwhF/NDi49gCh9fuhHPueFjftP4R7Cgmb98m267+m+r8l73E1vhZWM5gQT8gqvn0krKk2MsjvssBHVZqxp8LqSNZ8M9ttyx59ZCqLlopqVh4BY53KXBx6uILZnEOdc/UlG6Q5C3PyKdaMVro/1Rc5wAuCTex5LqKsU4hzrVaQ44YojY8J3BHxPYtd3Yq/x/HzNOS08BnBbz8p6yqJRgNIaiZsY2HNx5Gjb8utWoxoAAGQGQ6FF9z/CzFAJZBZ8oB+6zyR17VKlJIF8aunErHMcLhwIPWvsvHOsLnYFFVDpDTalO62RjcD0XOo7/AB7FaGA1m/00Mh2vjY49JaL+u6rTS2e1PKTlruFv5n6/sCsPRKAx0VO120RMvzXF7etWUht0RFFEREBERAREQEREBQTdTwtzo46qLv4DwreaSCD1H2lTtfmWMOBa4Agggg7CDkQUEW0VxEVMTZ4u+A1ZGDbzi3Lxj/lSmN4cAWm4OwqqcUoZ8Cqd/pwX0shsW8QB8h3IeRynmB4vHVs36lcDfv4ybEHjy8l3qPrVRvFV2mmK7/UFoPAi4A6fKPbl1Kc49i4hp5Ht78Cwae+DjlmObbfmVUUUeu71lIJbfDzqNvxn2LJ7qWpxPEY6cXkOZ2NHfHq4hzqKz4jUVr96ha7hbI2Akn7xH/xVEoxPSqOG4B13cjdg6XbFGqjHKqrdqR62exkYJJ6SMyplo1uUF1n1z9Ubd6jOfQ5/F1KysJwWCkbq08TYxzDM9LtpU5XhUGC7mVXPZ02rA0+dwnn+UfEqd4Rua0cNjIHTO5Xng/hGSmiKKx6SijiFomMYORrQPYshEQV1ug4Wxssb2AN3wO1gMrlts+u/qWnoYdW9uRbrTes3yp1BsjaG/wAxzPwXzghbBSPqZjZg2cptkAOclenlGdJsSMUeoDw5Ljob5R+HasLc+0e7tqRrD9VFZ7+Q+azrPqC0c8slZPkC58jg1rRxcTWjmHzV96IYA2gp2xCxeeFI7znnb1DYFJWG6AtsXqLwlRXq1uLTawMbePvjyN5Ok+y6+7py/KPIcbzsH3fOPPs6dirnTDTLXf3BhQMs7yWukbnqk99Z3G7ldsCsJLBrov8AUa+OkizjidrSuGzLvuwcEc7irea2wsNgyUb0G0Vbh0FjZ0z7GR/KeJo+yPXtUlSVgREUBERAREQEREBERAREQfOogbI0se0Oa4WIIuCOQgqs8c0HqKKQ1OEvdlmYr525G3yeOY5q0EQVlg+6TBODT4kzeJO9LiDq3575sWHisQpIi6mG/PmJMZbm0MGQeTyXvZTzSPRKlxAWqIgXcT28F46HD4quarc1r8PcZMKqddu3e32B6LHgO9SqNFhGiNTWzgTHew7Nz3nO3I0cZ5Arp0d0bgoI9SBlj5Tzm955S74bFWcW6XV0f6vFsPIGwva3Vvz2PBPUVJMI3RMLntqVDqc+a+7B0WN2diCfotZSVolF4aiKQdR90/BZe+SDaxp+675gKKyEWN3Q7jjd1Fp+Kd1H93J2D5oMlYmK1wp4nSO8kZDlPEO1fruonZG/rAHrJWk0gw+SYAuIsNjRsbz8551UQmjhfUSgbXSOJJ6c3H2rR7omkYne2mgP6in4Itse8ZF3OB81IMQjmjYYaNjn1E4tduyKE7XF2xpdxcy+ujO5gIi2WtkaXNIcGCxYCM+ET3yoydyvRHeWirqG/rHj9W0+Q0+UR5x9isWSVrRdxA6TZRzE9J6Om8YrWC3ktc0HoszhdiiGIbr1HGdWigkqJDsNi2/WbvPYoqzO6S7wbSec8FvrzPUFH9JdKKShF62cOdxQszJ/kGZ6XZKDGbH8Wya0UMLuPvCR0m7z1ALe6N7ktLA7fatzqqXaS/vL/d2u/mJQR2bGMT0hO90bDSUex0huC5vO4bfut6yrD0M0Lp8Lj1YRrSOHDldbXdzfZbzBSGKMNAa0AAZAAWAHIAF+1AREQEREBERAREQEREBERAREQEREBERB+JoWvFntDgeIgEdhUWxbc4w6puX0zWOPlRkxn8uXqUsRBVNXuJQA3pamaE7cwHesWKxTudYvB4tiRI4gXSD23CuBFeRTowrSWLZO2T+aM3/E0Lzf9KG+Sx3VT/MK40TkU6a3Sj91H+GD/evJINJphZxYwH0I6iBe/QrjRORT0WiWkEt98rmx3OeqWj+3GF9GbkNRMb1mIyP5Q3Xdfre74K3UTkV5he47h0Ob2yTH7brA9LWWUywvAqalFqeCOP7rQD27StiigIiICIiAiIgIiICIiAiIgIiFBoa3TKihkdHLUMa9hs5p1rg8mxbijqWysbJG7WY8BzSNhBzBXPG6B+0ar0n+LVeWhPiFJ6CP3QuvPr1x462ie7mw55ve1Z9m1q6hsTHPkOqxjS5xPE0C5PYtLS6a0Mr2sjqWOc8hrQNbMk2A2LJ0u8Rqv4eb+25UBoh49S+ni98Jr69clLWmeyZ8847REe6+8S0so6aQxTztY8Wu1wdexzB2ZrKwfG4KwOdTStkDTZ2rxHaLgqJ7q+i/dUHdETbzQAk22vi2ub0jaOvlVYaDaSHD6lshJ3p/AlHK0+Vblac+0cauPWrkxdVZ8/hL7FseTptHl8ujFpMS0to6aQxT1DGPFrtN7i4uL2HIvNJ9I46KkdUXDrgb2L+Ec4cADm4zzArnyKOatqABd8079p43OOZPIBt5gFNfW8SJtbyiF2Njw5iK+cy6Io9JaWaKSaKZro4QTI8B1m2Gsbm3Jmsek00oZXtjjqWOe8hrQNa5J2DYtfiOCsocHqII/JppdZ3nvLDrOPSfVZU5oT+0KX0zPavWLXpkra0TPkmTPek1iY7uklrsYxuCjDXVMjYw42BN8yBe2QWxVZ7uXgKf0rvcXPhpF7xWW+a80pNoTjB9IaasLhTStkLAC7Vvle9to5ivzi+ktLSODKmZsbnDWAN8xe18gq43C/CVf3YfbIsTdv8AG4fQ/wCZW8a1fH8Pny/phOxbwfE481h/T3D/AK1H+b5J9PcP+tR/m+SpjRzQ2pr43SU4YWtdqHWdqm9gdluQhbX9Flf5sX9T/hazrYKzxN2UbOaY5ii3cN0ro6l4jhqI3POxt7E9ANr9S3Ekga0ucbAAknkAzJXLUrXwSEd7JE8jI5tew8RHIQukzOZKLXdtdT6x6THcrHY1oxccT5S219icnPMecNcNPcP+tR/m+SfT3D/rUf5vkueqSEyOYxu1xa0dJNh7VM/0WV/JF/U/4XRfUw09VuGFdrLb015Wl9PcP+tR/m+S3mH4hFUMEkEjZGHymkEdGWw8y580i0LqqCMSVDWahdqXa7WsSCRcW5ipNuI1ThUzRX4Dotcji1muaAemzis8mrSMc3pbnh7x7N5yRS8cLfraxkLDJK9rGN2ucQAOsrQ/TzD/AK1H+b5KFbuNU7WpornUIe8jiLgWgE9Av2qE6N6I1OINe6nDCGEAlztXMi9hy5KYtWk4+u9uFy7N4ydFI5XX9PcP+tR/m+SfT3D/AK1H+b5Krf0WV/JF/U/4UPr6R0Ej4n21o3OY62Yu0kGx48wta6mG/ptyzttZa+qvDqGlqGysa+M6zHtDmkcbSLg9i0L9OsPBINUwEEgjhbRkRsWbol4jS+gi9xq5yr/DSekf7xWGvr1yWtEz2bZ9icdazEd3UYK9X4i70dAX7XG6xERAQohQc5boH7RqvSf4tWZh+6JXQRMijewMjaGNvG0mwFhnxrD3QP2jVek/xarV0V0OoZaOnkkpo3PfDG5xN7kloJJzX2cl6UxVm8c/8fJpS9stuieFb126NXTRvjkfGWyNcx1o2g6rgQc+LIrU6IePUvp4vfCuHSXQyhipKh8dNG1zIZXNIvcODCQRnyqntEPHqX08XvhMWSl6W6I4TLS9b1655dKlUHul6Mdw1OvGLQTEuZyMdtfH8RzHmV+qO7oFAyegnEgvqMMjTxtewEgj2dBK+drZZx3/AIl37OKMlP5hQNZi0s0UUMjy6OAODByaxuenkHIFam4/ovvbDWSjhyAiIHyY+N/S72DnVX6N0bZ6uCKS+pJIxrrZXBOYuumYmBoAaAAAAANgAyAC7d3J0V6K+7k08fVbrt7NPpt+z6v+Hm9wqh9Cf2hS+mZ7VfGm/wCz6v8Ah5vcKobQx4bX0pcQAJmEk5AZ8ZXjT+lf79nvb+rT793SirPdy8BT+ld7isH/AFOH99F+NvzVb7tdbHJDTtZIxx3xxs1wJA1bXy6QubVifFq6NmY8KzF3C/CVf3YfbIsTdv8AG4fQ/wCbll7hfhKv7sPtkWJu3+Nw+h/zcuuP3c/4/wBOWf2sffuke4j4nN6c/wBuNWKq63EfE5vTn+3GrFXFtfVs69b6VXMOkfjVT6eb33Loan/Z7f4Yf2lzzpH41U+mm99y6Gp/2e3+GH9pdm56aOXU9V3OuB+Hg9LF77V1EuXMENp4CchvkfvhdMf6nD++i/G35rz/AOhHnVdGfKyGbtHiDfTM916iO4n47L6B3vxqTbsdfE+iY1kjHOMzSA1wJsGvubDi2KM7ifjsvoHe/Grjj9LZMk/qaszdy8NTejk95qxdzHS6mw+KZtSXgveHDVaXZBtuJZW7l4am9HJ7zVG9ENCZcSY98UjGCNwaQ4ON7i9xZaY4pOtEXny/t4vN42J6I8/6Wd+lHD/Pk/puVL6QVTZqqeWO+rJLI9txY6rnEi44sipz+h+p+sQ9j1AMUozBNJE4gmJ7mEjYS0lpI7F71q4YmfDnl42LZZiOuOHRuiXiNL6CL3GrnKv8NJ6R/vFdG6JeI0voIvcaucq/w0npH+8Vlpeu/wB/LXb9FHUMXejoC/a/EXejoC/a+W+kIiICIiCidNdFqyWuqJIqaVzHSXa4NuCLDMK39EoHR0VMyRpa5sMbXNO0ENAIK26LfLsTkrFZjsxx4IpabR7tZpPC6SjqWMBc50MrWgbSSwgAc91SujGilbHV07300rWtmjLiW5ABwJJV+ori2Jx1msR3TLgjJaJmewtXpTA6SjqGMBc50Tw0DaSWmwC2iLCJ4nltMcxwoTRPRWtiraZ8lNK1rZWFzi3IAHMlX2iLXPnnLMTMMsOGMUcQ1GlsDpaKpZG0ue6GVrWja4lhAA51Q30Nr/qk34V0gi94Nm2KJiIec2vXLMTMubvoXXfU5vwL1uhdfxUk34bLpBFt+YX+IZfgafMoNuX6JyUEcj6iwlm1btBvqNbewJGRNydi0W65gNTU1MTqeGSRoisS0XAOsTZWtZFz12LRk8T3bTgrOPw/ZBdyPC5qallbURujcZi4BwsSNRgv2gqdIizyXm9ptPu0x0ilYrDnvHdEq19RO5tLMWullIIbkQXuII6leEEDhRNYQdbucN1ePW3u1um62iLXLsWyRETHZniwRjmZie7m5uhtfbxSb8KfQuu+qTfhXSKLf8wv8Qx/A0+Zc3jQyu+qTfhVmblmh0tEZJ6kBr3tDGsvctbcOcXEZXJAy5lYiLPLuXyV6eHvHqUpbqVduv4HUVUtOaeF8oax4JaL2Jc2wK2W5DhU1LDO2oifGXSNIDha41bXCn6LOdiZxeHx5PcYIjJ4nuKgdJtE62SsqXsppXNdNK5pDciC8kEc1lfyJgzzimZiFzYYyxxLWaMwujo6djwWubDG1wO0EMAIKomt0QrjK8ilmIL3EHV2guJBXRFl7ZXFsWxzMxHdMuvGSIiZ7PzGMh0BfpEXO3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5"/>
          <p:cNvSpPr/>
          <p:nvPr/>
        </p:nvSpPr>
        <p:spPr>
          <a:xfrm>
            <a:off x="152400" y="1412776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1,5 Milyar $ ihracat</a:t>
            </a:r>
          </a:p>
          <a:p>
            <a:pPr algn="ctr"/>
            <a:endParaRPr lang="tr-TR" sz="3200" b="1" dirty="0" smtClean="0">
              <a:solidFill>
                <a:srgbClr val="FFFF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745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İNŞAAT SEKTÖRÜ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38794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5"/>
          <p:cNvSpPr/>
          <p:nvPr/>
        </p:nvSpPr>
        <p:spPr>
          <a:xfrm>
            <a:off x="0" y="1412776"/>
            <a:ext cx="92964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err="1" smtClean="0">
                <a:solidFill>
                  <a:srgbClr val="FFFF00"/>
                </a:solidFill>
                <a:latin typeface="+mn-lt"/>
              </a:rPr>
              <a:t>GSMH’nın</a:t>
            </a:r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 %7’si</a:t>
            </a:r>
          </a:p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1 Milyon İstihdam</a:t>
            </a:r>
          </a:p>
        </p:txBody>
      </p:sp>
      <p:sp>
        <p:nvSpPr>
          <p:cNvPr id="4" name="AutoShape 20" descr="data:image/jpeg;base64,/9j/4AAQSkZJRgABAQAAAQABAAD/2wCEAAkGBxQQEhUUEBQVFRUVFxYWGRgXGBcXGBUXGBcWFhUWGBYYHSggGBslHRcUITEhJSkrLi4uGB8zODMsNygtLisBCgoKDg0OGhAQGiwmHiQsNyw3LC0sNywsLy8sLCwvLCwvLCswNywsLCssLCwsLCwsLCwsLCwsLCwsLCwsLCwsLP/AABEIAMIBAwMBIgACEQEDEQH/xAAcAAEAAgMBAQEAAAAAAAAAAAAABgcEBQgBAwL/xABKEAABAwICAwkMBgkEAwEAAAABAAIDBBEFIQYSMQcTIkFRYXGBkRQyMzRCUnOhsbLB0RZUYnKSohcjNVN0gpOzwhXS4fBDo/Fj/8QAGQEBAQEBAQEAAAAAAAAAAAAAAAEDBAIF/8QALBEBAAICAQIFAgYDAQAAAAAAAAECAwQREjETITJBUTPwFBUkNGHhccHxBf/aAAwDAQACEQMRAD8AvFERAREQEREBERAREQEREBERAREQEREBERAREQEREBERAREQEREBERAREQEREBERAREQEREBERARF45wGZyQeosZ1dGPKBPI27j2NuvO7L97HIeoN94goMpFi7/JxRHrc0ey6b5L5jOt5+DUGUixdeXzGfjP+1eb9L+7B6Hj4hBlosTupw2xP6iw/wCSf6gwd9rN+8xwH4rW9aDLRfKGpY/vHNd0EFfVAREQEREBERAREQEREBERAREQEREBERARFjS1OeqwazuPzW9J5eYZoMhzrZnYsfuvW8G0v59jfxHb1XUZ0i0tpqM2ldv8w/8AGy1mnn8lvXcqO934tingG9ywnj724++RrO/lAQTjE8VjpxeqqI4fsgjW6r3LuoKJ4hujUUZ/VRyTu5XZDtkzA6Av3hm5bCDrVcr5nnbbgg9Jzce1Syg0fpKYXihjZbPWsCenWOaor2p3Ra1w/UUrY2nIEte/PiF+CFnYTNilU4b7Ub0D5LGMBtx3JBI7VvcSrd+dyMb3o/yI5T6lkyDuaG//AJJMvuj/AL7VeHnlrsdrXuG9RyP1WDVLtYhzzxkuGahMWgVfVP1o6l7IjsdJJJ+VoNyOdTnBsP36SzhwW5u5+RvX7AVMQFJWFRfopreLEP7v+5fv9HWJs8HiB/qTN+KttFFVKNH8fh8HVa9v/wBGuv8A1Gr9jHMepvC04lA+wHeuNytdEFVx7pbb6tdQlp4yNv4XgH1qR4XpbRzWENS6Jx8mW9v/AGXHY5SuopWSC0jGvHI4A+1QjSrRagAOrHqSnYIzYDnc3YAqiXMqpALua2RvnRnP8Dj7HFZFNWMk705jaDcOHS05hV9ovgzopAKeSUDjGtwLc7bWW6x3SCGF365rt7abb625LDy5cIC/GE4OUuRaOgxW7A9jxPEdj22LwOgZP6rHmK3EEzZGhzCCDxhRX0REQEREBERAREQEREBERARFhYnUajQ0Gzn5dA8o/wDeMhB86ysHC4QaxoOu+9rW2gHitxnsz2QHENIaivk7lwtpZGMnS7CRxm/kN9ZXmkVS+unbQ02TAbPI2Ejbf7LfWVP8CwaOjiEcQt5zuN54ySr2Tu0WjOgVPSWfIBNLt1nC7QfstPtOaloC9RRRRvSTEs96admb/aG/E9S2uNYgKeIv49jRyuOzq4+pQSAukeAM3PPaScyrCSkWAUu+O1j3rfWeIL54vPvkp5G8EdW09q30cQp4LDyW7eV3L2qN7ySDbbY+xVEgwCm1IgTtfwj0HvR2W9a2S+cFtVurssLdFsl9F5ehF4StdVY3DH5WueRmfr2DtQbJfCqrGRC8jg3p2noG0qM1ukUjsmARjl753ach2LEpcNmnOtY5+W8n2nM9SvCcs7EdI3Ou2Eag8498egbG/wDdixMNweSc3N2tOZcdp6L7elb7D8Ajjzfw3c+wdA+a2ycnDTYg5lHDaMWLsgeMnjJUepKEVTt6dm1wOt93j68wOtfHSLFN+mOqeCzgj4lSTRKj1Yt8dtk2czRs7cz2IiB4jotVYQ8z0D3SQbXsOdh9po74faGYW9wPSVswMsHBeLb5ETk7n+T+oqdkKuNMdHTSSCrpBqtvw2jYCebzTsISJWYWBQ1jZmB7DkeLjB42kcRCyFXej+ObzOwnKKewIPku2A9IPBPKCDxKxFFEREBERAREQEREBERAUQ0jxAtneBtZHl02LvaWqXqutJpNXESx2yVgt1tt7Wqwks7c1w0NbLM7NznatztsLOd2kqbrQ6JN1I3s4w7W6iAPgVvlFERabSvFO54CR37+A3pO09Q+CCKaVYtv0xa08CO7RznynfDqWz0PpALzP6GfF3w7VEKGLfHhvb0camLKoNAAyAFgvTykNXIHsLRtPwzXyoaO2ZWj7u51lxY85u0B3qPqUVtpIzGOA/VHmkawHRmCO1airxeQZB4HOGi/rJWrxjTOCPwhF/NDi49gCh9fuhHPueFjftP4R7Cgmb98m267+m+r8l73E1vhZWM5gQT8gqvn0krKk2MsjvssBHVZqxp8LqSNZ8M9ttyx59ZCqLlopqVh4BY53KXBx6uILZnEOdc/UlG6Q5C3PyKdaMVro/1Rc5wAuCTex5LqKsU4hzrVaQ44YojY8J3BHxPYtd3Yq/x/HzNOS08BnBbz8p6yqJRgNIaiZsY2HNx5Gjb8utWoxoAAGQGQ6FF9z/CzFAJZBZ8oB+6zyR17VKlJIF8aunErHMcLhwIPWvsvHOsLnYFFVDpDTalO62RjcD0XOo7/AB7FaGA1m/00Mh2vjY49JaL+u6rTS2e1PKTlruFv5n6/sCsPRKAx0VO120RMvzXF7etWUht0RFFEREBERAREQEREBQTdTwtzo46qLv4DwreaSCD1H2lTtfmWMOBa4Agggg7CDkQUEW0VxEVMTZ4u+A1ZGDbzi3Lxj/lSmN4cAWm4OwqqcUoZ8Cqd/pwX0shsW8QB8h3IeRynmB4vHVs36lcDfv4ybEHjy8l3qPrVRvFV2mmK7/UFoPAi4A6fKPbl1Kc49i4hp5Ht78Cwae+DjlmObbfmVUUUeu71lIJbfDzqNvxn2LJ7qWpxPEY6cXkOZ2NHfHq4hzqKz4jUVr96ha7hbI2Akn7xH/xVEoxPSqOG4B13cjdg6XbFGqjHKqrdqR62exkYJJ6SMyplo1uUF1n1z9Ubd6jOfQ5/F1KysJwWCkbq08TYxzDM9LtpU5XhUGC7mVXPZ02rA0+dwnn+UfEqd4Rua0cNjIHTO5Xng/hGSmiKKx6SijiFomMYORrQPYshEQV1ug4Wxssb2AN3wO1gMrlts+u/qWnoYdW9uRbrTes3yp1BsjaG/wAxzPwXzghbBSPqZjZg2cptkAOclenlGdJsSMUeoDw5Ljob5R+HasLc+0e7tqRrD9VFZ7+Q+azrPqC0c8slZPkC58jg1rRxcTWjmHzV96IYA2gp2xCxeeFI7znnb1DYFJWG6AtsXqLwlRXq1uLTawMbePvjyN5Ok+y6+7py/KPIcbzsH3fOPPs6dirnTDTLXf3BhQMs7yWukbnqk99Z3G7ldsCsJLBrov8AUa+OkizjidrSuGzLvuwcEc7irea2wsNgyUb0G0Vbh0FjZ0z7GR/KeJo+yPXtUlSVgREUBERAREQEREBERAREQfOogbI0se0Oa4WIIuCOQgqs8c0HqKKQ1OEvdlmYr525G3yeOY5q0EQVlg+6TBODT4kzeJO9LiDq3575sWHisQpIi6mG/PmJMZbm0MGQeTyXvZTzSPRKlxAWqIgXcT28F46HD4quarc1r8PcZMKqddu3e32B6LHgO9SqNFhGiNTWzgTHew7Nz3nO3I0cZ5Arp0d0bgoI9SBlj5Tzm955S74bFWcW6XV0f6vFsPIGwva3Vvz2PBPUVJMI3RMLntqVDqc+a+7B0WN2diCfotZSVolF4aiKQdR90/BZe+SDaxp+675gKKyEWN3Q7jjd1Fp+Kd1H93J2D5oMlYmK1wp4nSO8kZDlPEO1fruonZG/rAHrJWk0gw+SYAuIsNjRsbz8551UQmjhfUSgbXSOJJ6c3H2rR7omkYne2mgP6in4Itse8ZF3OB81IMQjmjYYaNjn1E4tduyKE7XF2xpdxcy+ujO5gIi2WtkaXNIcGCxYCM+ET3yoydyvRHeWirqG/rHj9W0+Q0+UR5x9isWSVrRdxA6TZRzE9J6Om8YrWC3ktc0HoszhdiiGIbr1HGdWigkqJDsNi2/WbvPYoqzO6S7wbSec8FvrzPUFH9JdKKShF62cOdxQszJ/kGZ6XZKDGbH8Wya0UMLuPvCR0m7z1ALe6N7ktLA7fatzqqXaS/vL/d2u/mJQR2bGMT0hO90bDSUex0huC5vO4bfut6yrD0M0Lp8Lj1YRrSOHDldbXdzfZbzBSGKMNAa0AAZAAWAHIAF+1AREQEREBERAREQEREBERAREQEREBERB+JoWvFntDgeIgEdhUWxbc4w6puX0zWOPlRkxn8uXqUsRBVNXuJQA3pamaE7cwHesWKxTudYvB4tiRI4gXSD23CuBFeRTowrSWLZO2T+aM3/E0Lzf9KG+Sx3VT/MK40TkU6a3Sj91H+GD/evJINJphZxYwH0I6iBe/QrjRORT0WiWkEt98rmx3OeqWj+3GF9GbkNRMb1mIyP5Q3Xdfre74K3UTkV5he47h0Ob2yTH7brA9LWWUywvAqalFqeCOP7rQD27StiigIiICIiAiIgIiICIiAiIgIiFBoa3TKihkdHLUMa9hs5p1rg8mxbijqWysbJG7WY8BzSNhBzBXPG6B+0ar0n+LVeWhPiFJ6CP3QuvPr1x462ie7mw55ve1Z9m1q6hsTHPkOqxjS5xPE0C5PYtLS6a0Mr2sjqWOc8hrQNbMk2A2LJ0u8Rqv4eb+25UBoh49S+ni98Jr69clLWmeyZ8847REe6+8S0so6aQxTztY8Wu1wdexzB2ZrKwfG4KwOdTStkDTZ2rxHaLgqJ7q+i/dUHdETbzQAk22vi2ub0jaOvlVYaDaSHD6lshJ3p/AlHK0+Vblac+0cauPWrkxdVZ8/hL7FseTptHl8ujFpMS0to6aQxT1DGPFrtN7i4uL2HIvNJ9I46KkdUXDrgb2L+Ec4cADm4zzArnyKOatqABd8079p43OOZPIBt5gFNfW8SJtbyiF2Njw5iK+cy6Io9JaWaKSaKZro4QTI8B1m2Gsbm3Jmsek00oZXtjjqWOe8hrQNa5J2DYtfiOCsocHqII/JppdZ3nvLDrOPSfVZU5oT+0KX0zPavWLXpkra0TPkmTPek1iY7uklrsYxuCjDXVMjYw42BN8yBe2QWxVZ7uXgKf0rvcXPhpF7xWW+a80pNoTjB9IaasLhTStkLAC7Vvle9to5ivzi+ktLSODKmZsbnDWAN8xe18gq43C/CVf3YfbIsTdv8AG4fQ/wCZW8a1fH8Pny/phOxbwfE481h/T3D/AK1H+b5J9PcP+tR/m+SpjRzQ2pr43SU4YWtdqHWdqm9gdluQhbX9Flf5sX9T/hazrYKzxN2UbOaY5ii3cN0ro6l4jhqI3POxt7E9ANr9S3Ekga0ucbAAknkAzJXLUrXwSEd7JE8jI5tew8RHIQukzOZKLXdtdT6x6THcrHY1oxccT5S219icnPMecNcNPcP+tR/m+SfT3D/rUf5vkueqSEyOYxu1xa0dJNh7VM/0WV/JF/U/4XRfUw09VuGFdrLb015Wl9PcP+tR/m+S3mH4hFUMEkEjZGHymkEdGWw8y580i0LqqCMSVDWahdqXa7WsSCRcW5ipNuI1ThUzRX4Dotcji1muaAemzis8mrSMc3pbnh7x7N5yRS8cLfraxkLDJK9rGN2ucQAOsrQ/TzD/AK1H+b5KFbuNU7WpornUIe8jiLgWgE9Av2qE6N6I1OINe6nDCGEAlztXMi9hy5KYtWk4+u9uFy7N4ydFI5XX9PcP+tR/m+SfT3D/AK1H+b5Krf0WV/JF/U/4UPr6R0Ej4n21o3OY62Yu0kGx48wta6mG/ptyzttZa+qvDqGlqGysa+M6zHtDmkcbSLg9i0L9OsPBINUwEEgjhbRkRsWbol4jS+gi9xq5yr/DSekf7xWGvr1yWtEz2bZ9icdazEd3UYK9X4i70dAX7XG6xERAQohQc5boH7RqvSf4tWZh+6JXQRMijewMjaGNvG0mwFhnxrD3QP2jVek/xarV0V0OoZaOnkkpo3PfDG5xN7kloJJzX2cl6UxVm8c/8fJpS9stuieFb126NXTRvjkfGWyNcx1o2g6rgQc+LIrU6IePUvp4vfCuHSXQyhipKh8dNG1zIZXNIvcODCQRnyqntEPHqX08XvhMWSl6W6I4TLS9b1655dKlUHul6Mdw1OvGLQTEuZyMdtfH8RzHmV+qO7oFAyegnEgvqMMjTxtewEgj2dBK+drZZx3/AIl37OKMlP5hQNZi0s0UUMjy6OAODByaxuenkHIFam4/ovvbDWSjhyAiIHyY+N/S72DnVX6N0bZ6uCKS+pJIxrrZXBOYuumYmBoAaAAAAANgAyAC7d3J0V6K+7k08fVbrt7NPpt+z6v+Hm9wqh9Cf2hS+mZ7VfGm/wCz6v8Ah5vcKobQx4bX0pcQAJmEk5AZ8ZXjT+lf79nvb+rT793SirPdy8BT+ld7isH/AFOH99F+NvzVb7tdbHJDTtZIxx3xxs1wJA1bXy6QubVifFq6NmY8KzF3C/CVf3YfbIsTdv8AG4fQ/wCbll7hfhKv7sPtkWJu3+Nw+h/zcuuP3c/4/wBOWf2sffuke4j4nN6c/wBuNWKq63EfE5vTn+3GrFXFtfVs69b6VXMOkfjVT6eb33Loan/Z7f4Yf2lzzpH41U+mm99y6Gp/2e3+GH9pdm56aOXU9V3OuB+Hg9LF77V1EuXMENp4CchvkfvhdMf6nD++i/G35rz/AOhHnVdGfKyGbtHiDfTM916iO4n47L6B3vxqTbsdfE+iY1kjHOMzSA1wJsGvubDi2KM7ifjsvoHe/Grjj9LZMk/qaszdy8NTejk95qxdzHS6mw+KZtSXgveHDVaXZBtuJZW7l4am9HJ7zVG9ENCZcSY98UjGCNwaQ4ON7i9xZaY4pOtEXny/t4vN42J6I8/6Wd+lHD/Pk/puVL6QVTZqqeWO+rJLI9txY6rnEi44sipz+h+p+sQ9j1AMUozBNJE4gmJ7mEjYS0lpI7F71q4YmfDnl42LZZiOuOHRuiXiNL6CL3GrnKv8NJ6R/vFdG6JeI0voIvcaucq/w0npH+8Vlpeu/wB/LXb9FHUMXejoC/a/EXejoC/a+W+kIiICIiCidNdFqyWuqJIqaVzHSXa4NuCLDMK39EoHR0VMyRpa5sMbXNO0ENAIK26LfLsTkrFZjsxx4IpabR7tZpPC6SjqWMBc50MrWgbSSwgAc91SujGilbHV07300rWtmjLiW5ABwJJV+ori2Jx1msR3TLgjJaJmewtXpTA6SjqGMBc50Tw0DaSWmwC2iLCJ4nltMcxwoTRPRWtiraZ8lNK1rZWFzi3IAHMlX2iLXPnnLMTMMsOGMUcQ1GlsDpaKpZG0ue6GVrWja4lhAA51Q30Nr/qk34V0gi94Nm2KJiIec2vXLMTMubvoXXfU5vwL1uhdfxUk34bLpBFt+YX+IZfgafMoNuX6JyUEcj6iwlm1btBvqNbewJGRNydi0W65gNTU1MTqeGSRoisS0XAOsTZWtZFz12LRk8T3bTgrOPw/ZBdyPC5qallbURujcZi4BwsSNRgv2gqdIizyXm9ptPu0x0ilYrDnvHdEq19RO5tLMWullIIbkQXuII6leEEDhRNYQdbucN1ePW3u1um62iLXLsWyRETHZniwRjmZie7m5uhtfbxSb8KfQuu+qTfhXSKLf8wv8Qx/A0+Zc3jQyu+qTfhVmblmh0tEZJ6kBr3tDGsvctbcOcXEZXJAy5lYiLPLuXyV6eHvHqUpbqVduv4HUVUtOaeF8oax4JaL2Jc2wK2W5DhU1LDO2oifGXSNIDha41bXCn6LOdiZxeHx5PcYIjJ4nuKgdJtE62SsqXsppXNdNK5pDciC8kEc1lfyJgzzimZiFzYYyxxLWaMwujo6djwWubDG1wO0EMAIKomt0QrjK8ilmIL3EHV2guJBXRFl7ZXFsWxzMxHdMuvGSIiZ7PzGMh0BfpEXO3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pic>
        <p:nvPicPr>
          <p:cNvPr id="140290" name="Picture 2" descr="http://www.archimedia.ma/images/stories/normes-de-construction-au-maroc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489994"/>
            <a:ext cx="3275855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292" name="Picture 4" descr="http://www.usinenouvelle.com/mediatheque/5/2/3/000163325_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2492896"/>
            <a:ext cx="3025974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294" name="Picture 6" descr="http://www.challenge.ma/wp-content/uploads/2015/10/autoroute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1830" y="2489994"/>
            <a:ext cx="2842170" cy="273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5"/>
          <p:cNvSpPr/>
          <p:nvPr/>
        </p:nvSpPr>
        <p:spPr>
          <a:xfrm>
            <a:off x="0" y="5157192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Konut açığı 800 Bin, planlanan üretim 170 Bin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Yol, Demiryolu, Liman, Havalimanı </a:t>
            </a:r>
            <a:r>
              <a:rPr lang="tr-TR" sz="3200" b="1" dirty="0">
                <a:solidFill>
                  <a:schemeClr val="bg1"/>
                </a:solidFill>
                <a:latin typeface="+mn-lt"/>
              </a:rPr>
              <a:t>A</a:t>
            </a:r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ltyapı yatırımları </a:t>
            </a:r>
          </a:p>
        </p:txBody>
      </p:sp>
    </p:spTree>
    <p:extLst>
      <p:ext uri="{BB962C8B-B14F-4D97-AF65-F5344CB8AC3E}">
        <p14:creationId xmlns:p14="http://schemas.microsoft.com/office/powerpoint/2010/main" val="381837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18" grpId="0"/>
      <p:bldP spid="1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/>
          </p:cNvSpPr>
          <p:nvPr>
            <p:ph type="title" idx="4294967295"/>
          </p:nvPr>
        </p:nvSpPr>
        <p:spPr>
          <a:xfrm>
            <a:off x="0" y="46038"/>
            <a:ext cx="9144000" cy="1020762"/>
          </a:xfrm>
        </p:spPr>
        <p:txBody>
          <a:bodyPr/>
          <a:lstStyle/>
          <a:p>
            <a:pPr eaLnBrk="1" hangingPunct="1"/>
            <a:r>
              <a:rPr lang="tr-TR" sz="3600" b="1" dirty="0" smtClean="0">
                <a:solidFill>
                  <a:schemeClr val="bg1"/>
                </a:solidFill>
              </a:rPr>
              <a:t>KISACA FAS TARİHİ</a:t>
            </a:r>
            <a:endParaRPr lang="fr-FR" sz="36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0" y="836712"/>
            <a:ext cx="9144000" cy="587853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just">
              <a:buFont typeface="Monotype Sorts" pitchFamily="2" charset="2"/>
              <a:buBlip>
                <a:blip r:embed="rId3"/>
              </a:buBlip>
            </a:pPr>
            <a:endParaRPr lang="tr-TR" sz="1000" b="1" dirty="0">
              <a:solidFill>
                <a:srgbClr val="FFFF66"/>
              </a:solidFill>
              <a:latin typeface="Arial Unicode MS" pitchFamily="34" charset="-128"/>
            </a:endParaRPr>
          </a:p>
          <a:p>
            <a:pPr marL="457200" indent="-457200" algn="just">
              <a:buBlip>
                <a:blip r:embed="rId3"/>
              </a:buBlip>
            </a:pPr>
            <a:r>
              <a:rPr lang="tr-TR" sz="2600" dirty="0" smtClean="0">
                <a:solidFill>
                  <a:schemeClr val="bg1"/>
                </a:solidFill>
                <a:latin typeface="+mj-lt"/>
              </a:rPr>
              <a:t>Berberi dilinde </a:t>
            </a:r>
            <a:r>
              <a:rPr lang="tr-TR" sz="2600" dirty="0" err="1" smtClean="0">
                <a:solidFill>
                  <a:schemeClr val="bg1"/>
                </a:solidFill>
                <a:latin typeface="+mj-lt"/>
              </a:rPr>
              <a:t>Murakuş</a:t>
            </a:r>
            <a:r>
              <a:rPr lang="tr-TR" sz="2600" dirty="0">
                <a:solidFill>
                  <a:schemeClr val="bg1"/>
                </a:solidFill>
                <a:latin typeface="+mj-lt"/>
              </a:rPr>
              <a:t> "Tanrı'nın </a:t>
            </a:r>
            <a:r>
              <a:rPr lang="tr-TR" sz="2600" dirty="0" smtClean="0">
                <a:solidFill>
                  <a:schemeClr val="bg1"/>
                </a:solidFill>
                <a:latin typeface="+mj-lt"/>
              </a:rPr>
              <a:t>arazisi"</a:t>
            </a:r>
          </a:p>
          <a:p>
            <a:pPr marL="457200" indent="-457200" algn="just">
              <a:buBlip>
                <a:blip r:embed="rId3"/>
              </a:buBlip>
            </a:pP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Fenikeliler ve Romalılar </a:t>
            </a:r>
            <a:endParaRPr lang="tr-TR" sz="2600" dirty="0">
              <a:solidFill>
                <a:srgbClr val="FFFF00"/>
              </a:solidFill>
              <a:latin typeface="+mj-lt"/>
            </a:endParaRPr>
          </a:p>
          <a:p>
            <a:pPr marL="457200" indent="-457200" algn="just">
              <a:buBlip>
                <a:blip r:embed="rId3"/>
              </a:buBlip>
            </a:pPr>
            <a:r>
              <a:rPr lang="tr-TR" sz="2600" dirty="0" smtClean="0">
                <a:solidFill>
                  <a:schemeClr val="bg1"/>
                </a:solidFill>
                <a:latin typeface="+mj-lt"/>
              </a:rPr>
              <a:t>683 Arap fethi </a:t>
            </a:r>
            <a:r>
              <a:rPr lang="es-ES" sz="2600" dirty="0">
                <a:solidFill>
                  <a:schemeClr val="bg1"/>
                </a:solidFill>
                <a:latin typeface="+mj-lt"/>
              </a:rPr>
              <a:t> "</a:t>
            </a:r>
            <a:r>
              <a:rPr lang="es-ES" sz="2600" dirty="0" err="1">
                <a:solidFill>
                  <a:schemeClr val="bg1"/>
                </a:solidFill>
                <a:latin typeface="+mj-lt"/>
              </a:rPr>
              <a:t>Maghreb</a:t>
            </a:r>
            <a:r>
              <a:rPr lang="es-ES" sz="2600" dirty="0">
                <a:solidFill>
                  <a:schemeClr val="bg1"/>
                </a:solidFill>
                <a:latin typeface="+mj-lt"/>
              </a:rPr>
              <a:t> al </a:t>
            </a:r>
            <a:r>
              <a:rPr lang="es-ES" sz="2600" dirty="0" err="1">
                <a:solidFill>
                  <a:schemeClr val="bg1"/>
                </a:solidFill>
                <a:latin typeface="+mj-lt"/>
              </a:rPr>
              <a:t>Aqsa</a:t>
            </a:r>
            <a:r>
              <a:rPr lang="es-ES" sz="2600" dirty="0">
                <a:solidFill>
                  <a:schemeClr val="bg1"/>
                </a:solidFill>
                <a:latin typeface="+mj-lt"/>
              </a:rPr>
              <a:t>" (En </a:t>
            </a:r>
            <a:r>
              <a:rPr lang="es-ES" sz="2600" dirty="0" err="1">
                <a:solidFill>
                  <a:schemeClr val="bg1"/>
                </a:solidFill>
                <a:latin typeface="+mj-lt"/>
              </a:rPr>
              <a:t>Uzak</a:t>
            </a:r>
            <a:r>
              <a:rPr lang="es-ES" sz="2600" dirty="0">
                <a:solidFill>
                  <a:schemeClr val="bg1"/>
                </a:solidFill>
                <a:latin typeface="+mj-lt"/>
              </a:rPr>
              <a:t> </a:t>
            </a:r>
            <a:r>
              <a:rPr lang="es-ES" sz="2600" dirty="0" err="1">
                <a:solidFill>
                  <a:schemeClr val="bg1"/>
                </a:solidFill>
                <a:latin typeface="+mj-lt"/>
              </a:rPr>
              <a:t>Batı</a:t>
            </a:r>
            <a:r>
              <a:rPr lang="es-ES" sz="2600" dirty="0">
                <a:solidFill>
                  <a:schemeClr val="bg1"/>
                </a:solidFill>
                <a:latin typeface="+mj-lt"/>
              </a:rPr>
              <a:t>) </a:t>
            </a:r>
            <a:endParaRPr lang="tr-TR" sz="2600" dirty="0">
              <a:solidFill>
                <a:schemeClr val="bg1"/>
              </a:solidFill>
              <a:latin typeface="+mj-lt"/>
            </a:endParaRPr>
          </a:p>
          <a:p>
            <a:pPr algn="just">
              <a:buBlip>
                <a:blip r:embed="rId3"/>
              </a:buBlip>
            </a:pPr>
            <a:r>
              <a:rPr lang="tr-TR" sz="2600" dirty="0" smtClean="0">
                <a:solidFill>
                  <a:schemeClr val="bg1"/>
                </a:solidFill>
                <a:latin typeface="+mj-lt"/>
              </a:rPr>
              <a:t>  1666-Alaouite Hanedanlığı kuruluşu</a:t>
            </a:r>
          </a:p>
          <a:p>
            <a:pPr algn="just">
              <a:buBlip>
                <a:blip r:embed="rId3"/>
              </a:buBlip>
            </a:pPr>
            <a:r>
              <a:rPr lang="tr-TR" sz="2600" dirty="0">
                <a:solidFill>
                  <a:srgbClr val="FFFF00"/>
                </a:solidFill>
                <a:latin typeface="+mj-lt"/>
              </a:rPr>
              <a:t> </a:t>
            </a: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 İspanyol-Portekiz etkisi </a:t>
            </a:r>
          </a:p>
          <a:p>
            <a:pPr algn="just">
              <a:buBlip>
                <a:blip r:embed="rId3"/>
              </a:buBlip>
            </a:pPr>
            <a:r>
              <a:rPr lang="tr-TR" sz="2600" dirty="0">
                <a:solidFill>
                  <a:srgbClr val="FFFF00"/>
                </a:solidFill>
                <a:latin typeface="+mj-lt"/>
              </a:rPr>
              <a:t> </a:t>
            </a: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 Osmanlı-İspanyol çekişmesi</a:t>
            </a:r>
          </a:p>
          <a:p>
            <a:pPr algn="just">
              <a:buBlip>
                <a:blip r:embed="rId3"/>
              </a:buBlip>
            </a:pPr>
            <a:r>
              <a:rPr lang="tr-TR" sz="2600" dirty="0">
                <a:solidFill>
                  <a:srgbClr val="FFFF00"/>
                </a:solidFill>
                <a:latin typeface="+mj-lt"/>
              </a:rPr>
              <a:t> </a:t>
            </a: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 İngiliz, Fransız, İspanyol, Osmanlı çekişmesi</a:t>
            </a:r>
            <a:endParaRPr lang="tr-TR" sz="2600" dirty="0">
              <a:solidFill>
                <a:srgbClr val="FFFF00"/>
              </a:solidFill>
              <a:latin typeface="+mj-lt"/>
            </a:endParaRPr>
          </a:p>
          <a:p>
            <a:pPr algn="just">
              <a:buBlip>
                <a:blip r:embed="rId3"/>
              </a:buBlip>
            </a:pP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  İngiliz, Fransız, İspanyol, Alman çekişmesi</a:t>
            </a:r>
          </a:p>
          <a:p>
            <a:pPr algn="just">
              <a:buBlip>
                <a:blip r:embed="rId3"/>
              </a:buBlip>
            </a:pPr>
            <a:r>
              <a:rPr lang="tr-TR" sz="2600" dirty="0">
                <a:solidFill>
                  <a:srgbClr val="FFFF00"/>
                </a:solidFill>
                <a:latin typeface="+mj-lt"/>
              </a:rPr>
              <a:t> </a:t>
            </a: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 </a:t>
            </a:r>
            <a:r>
              <a:rPr lang="tr-TR" sz="2600" dirty="0" smtClean="0">
                <a:solidFill>
                  <a:schemeClr val="bg1"/>
                </a:solidFill>
                <a:latin typeface="+mj-lt"/>
              </a:rPr>
              <a:t>1912-1956 Fransız-İspanyol </a:t>
            </a:r>
            <a:r>
              <a:rPr lang="tr-TR" sz="2600" dirty="0" err="1" smtClean="0">
                <a:solidFill>
                  <a:schemeClr val="bg1"/>
                </a:solidFill>
                <a:latin typeface="+mj-lt"/>
              </a:rPr>
              <a:t>Protektorası</a:t>
            </a:r>
            <a:r>
              <a:rPr lang="tr-TR" sz="2600" dirty="0" smtClean="0">
                <a:solidFill>
                  <a:schemeClr val="bg1"/>
                </a:solidFill>
                <a:latin typeface="+mj-lt"/>
              </a:rPr>
              <a:t> </a:t>
            </a:r>
            <a:endParaRPr lang="tr-TR" sz="2600" dirty="0">
              <a:solidFill>
                <a:schemeClr val="bg1"/>
              </a:solidFill>
              <a:latin typeface="+mj-lt"/>
            </a:endParaRPr>
          </a:p>
          <a:p>
            <a:pPr algn="just">
              <a:buBlip>
                <a:blip r:embed="rId3"/>
              </a:buBlip>
            </a:pPr>
            <a:r>
              <a:rPr lang="tr-TR" sz="2600" dirty="0" smtClean="0">
                <a:solidFill>
                  <a:schemeClr val="bg1"/>
                </a:solidFill>
                <a:latin typeface="+mj-lt"/>
              </a:rPr>
              <a:t>  1956 Fas Krallığı (Muhammed V-1961)</a:t>
            </a:r>
          </a:p>
          <a:p>
            <a:pPr algn="just">
              <a:buBlip>
                <a:blip r:embed="rId3"/>
              </a:buBlip>
            </a:pP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  1961-1999 Hasan II</a:t>
            </a:r>
          </a:p>
          <a:p>
            <a:pPr algn="just">
              <a:buBlip>
                <a:blip r:embed="rId3"/>
              </a:buBlip>
            </a:pPr>
            <a:r>
              <a:rPr lang="tr-TR" sz="2600" dirty="0">
                <a:solidFill>
                  <a:srgbClr val="FFFF00"/>
                </a:solidFill>
                <a:latin typeface="+mj-lt"/>
              </a:rPr>
              <a:t> </a:t>
            </a: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 1963-1964 Cezayir ile Sınır Savaşı</a:t>
            </a:r>
          </a:p>
          <a:p>
            <a:pPr marL="457200" indent="-457200" algn="just">
              <a:buBlip>
                <a:blip r:embed="rId3"/>
              </a:buBlip>
            </a:pP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1976 Fas’ın Batı Sahra’ya girişi %80-</a:t>
            </a:r>
            <a:r>
              <a:rPr lang="tr-TR" sz="2600" dirty="0" err="1" smtClean="0">
                <a:solidFill>
                  <a:srgbClr val="FFFF00"/>
                </a:solidFill>
                <a:latin typeface="+mj-lt"/>
              </a:rPr>
              <a:t>Polisario</a:t>
            </a:r>
            <a:r>
              <a:rPr lang="tr-TR" sz="2600" dirty="0">
                <a:solidFill>
                  <a:srgbClr val="FFFF00"/>
                </a:solidFill>
                <a:latin typeface="+mj-lt"/>
              </a:rPr>
              <a:t> </a:t>
            </a:r>
          </a:p>
          <a:p>
            <a:pPr algn="just">
              <a:buBlip>
                <a:blip r:embed="rId3"/>
              </a:buBlip>
            </a:pPr>
            <a:r>
              <a:rPr lang="tr-TR" sz="2600" dirty="0">
                <a:solidFill>
                  <a:srgbClr val="FFFF00"/>
                </a:solidFill>
                <a:latin typeface="+mj-lt"/>
              </a:rPr>
              <a:t> </a:t>
            </a:r>
            <a:r>
              <a:rPr lang="tr-TR" sz="2600" dirty="0" smtClean="0">
                <a:solidFill>
                  <a:srgbClr val="FFFF00"/>
                </a:solidFill>
                <a:latin typeface="+mj-lt"/>
              </a:rPr>
              <a:t> </a:t>
            </a:r>
            <a:r>
              <a:rPr lang="tr-TR" sz="2600" dirty="0" smtClean="0">
                <a:solidFill>
                  <a:schemeClr val="bg1"/>
                </a:solidFill>
                <a:latin typeface="+mj-lt"/>
              </a:rPr>
              <a:t>1999 Muhammed VI.</a:t>
            </a:r>
            <a:endParaRPr lang="tr-TR" sz="24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500"/>
                            </p:stCondLst>
                            <p:childTnLst>
                              <p:par>
                                <p:cTn id="5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000"/>
                            </p:stCondLst>
                            <p:childTnLst>
                              <p:par>
                                <p:cTn id="58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0"/>
                            </p:stCondLst>
                            <p:childTnLst>
                              <p:par>
                                <p:cTn id="72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6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500"/>
                            </p:stCondLst>
                            <p:childTnLst>
                              <p:par>
                                <p:cTn id="7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6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000"/>
                            </p:stCondLst>
                            <p:childTnLst>
                              <p:par>
                                <p:cTn id="8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6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500"/>
                            </p:stCondLst>
                            <p:childTnLst>
                              <p:par>
                                <p:cTn id="93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6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7000"/>
                            </p:stCondLst>
                            <p:childTnLst>
                              <p:par>
                                <p:cTn id="10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6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6" grpId="0" build="p" autoUpdateAnimBg="0" advAuto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225152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noProof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URİZM SEKTÖRÜ</a:t>
            </a:r>
            <a:endParaRPr kumimoji="0" lang="tr-TR" sz="38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5852244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  <a:latin typeface="+mn-lt"/>
              </a:rPr>
              <a:t>Afrika’da birinci destinasyon</a:t>
            </a:r>
          </a:p>
          <a:p>
            <a:pPr algn="ctr"/>
            <a:endParaRPr lang="tr-TR" sz="3200" b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1387947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8" name="Rectangle 5"/>
          <p:cNvSpPr/>
          <p:nvPr/>
        </p:nvSpPr>
        <p:spPr>
          <a:xfrm>
            <a:off x="0" y="1412776"/>
            <a:ext cx="92964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11,5 Milyon Turist</a:t>
            </a:r>
          </a:p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8 Milyar $ Gelir</a:t>
            </a:r>
          </a:p>
        </p:txBody>
      </p:sp>
      <p:sp>
        <p:nvSpPr>
          <p:cNvPr id="4" name="AutoShape 20" descr="data:image/jpeg;base64,/9j/4AAQSkZJRgABAQAAAQABAAD/2wCEAAkGBxQQEhUUEBQVFRUVFxYWGRgXGBcXGBUXGBcWFhUWGBYYHSggGBslHRcUITEhJSkrLi4uGB8zODMsNygtLisBCgoKDg0OGhAQGiwmHiQsNyw3LC0sNywsLy8sLCwvLCwvLCswNywsLCssLCwsLCwsLCwsLCwsLCwsLCwsLCwsLP/AABEIAMIBAwMBIgACEQEDEQH/xAAcAAEAAgMBAQEAAAAAAAAAAAAABgcEBQgBAwL/xABKEAABAwICAwkMBgkEAwEAAAABAAIDBBEFIQYSMQcTIkFRYXGBkRQyMzRCUnOhsbLB0RZUYnKSohcjNVN0gpOzwhXS4fBDo/Fj/8QAGQEBAQEBAQEAAAAAAAAAAAAAAAEDBAIF/8QALBEBAAICAQIFAgYDAQAAAAAAAAECAwQREjETITJBUTPwFBUkNGHhccHxBf/aAAwDAQACEQMRAD8AvFERAREQEREBERAREQEREBERAREQEREBERAREQEREBERAREQEREBERAREQEREBERAREQEREBERARF45wGZyQeosZ1dGPKBPI27j2NuvO7L97HIeoN94goMpFi7/JxRHrc0ey6b5L5jOt5+DUGUixdeXzGfjP+1eb9L+7B6Hj4hBlosTupw2xP6iw/wCSf6gwd9rN+8xwH4rW9aDLRfKGpY/vHNd0EFfVAREQEREBERAREQEREBERAREQEREBERARFjS1OeqwazuPzW9J5eYZoMhzrZnYsfuvW8G0v59jfxHb1XUZ0i0tpqM2ldv8w/8AGy1mnn8lvXcqO934tingG9ywnj724++RrO/lAQTjE8VjpxeqqI4fsgjW6r3LuoKJ4hujUUZ/VRyTu5XZDtkzA6Av3hm5bCDrVcr5nnbbgg9Jzce1Syg0fpKYXihjZbPWsCenWOaor2p3Ra1w/UUrY2nIEte/PiF+CFnYTNilU4b7Ub0D5LGMBtx3JBI7VvcSrd+dyMb3o/yI5T6lkyDuaG//AJJMvuj/AL7VeHnlrsdrXuG9RyP1WDVLtYhzzxkuGahMWgVfVP1o6l7IjsdJJJ+VoNyOdTnBsP36SzhwW5u5+RvX7AVMQFJWFRfopreLEP7v+5fv9HWJs8HiB/qTN+KttFFVKNH8fh8HVa9v/wBGuv8A1Gr9jHMepvC04lA+wHeuNytdEFVx7pbb6tdQlp4yNv4XgH1qR4XpbRzWENS6Jx8mW9v/AGXHY5SuopWSC0jGvHI4A+1QjSrRagAOrHqSnYIzYDnc3YAqiXMqpALua2RvnRnP8Dj7HFZFNWMk705jaDcOHS05hV9ovgzopAKeSUDjGtwLc7bWW6x3SCGF365rt7abb625LDy5cIC/GE4OUuRaOgxW7A9jxPEdj22LwOgZP6rHmK3EEzZGhzCCDxhRX0REQEREBERAREQEREBERARFhYnUajQ0Gzn5dA8o/wDeMhB86ysHC4QaxoOu+9rW2gHitxnsz2QHENIaivk7lwtpZGMnS7CRxm/kN9ZXmkVS+unbQ02TAbPI2Ejbf7LfWVP8CwaOjiEcQt5zuN54ySr2Tu0WjOgVPSWfIBNLt1nC7QfstPtOaloC9RRRRvSTEs96admb/aG/E9S2uNYgKeIv49jRyuOzq4+pQSAukeAM3PPaScyrCSkWAUu+O1j3rfWeIL54vPvkp5G8EdW09q30cQp4LDyW7eV3L2qN7ySDbbY+xVEgwCm1IgTtfwj0HvR2W9a2S+cFtVurssLdFsl9F5ehF4StdVY3DH5WueRmfr2DtQbJfCqrGRC8jg3p2noG0qM1ukUjsmARjl753ach2LEpcNmnOtY5+W8n2nM9SvCcs7EdI3Ou2Eag8498egbG/wDdixMNweSc3N2tOZcdp6L7elb7D8Ajjzfw3c+wdA+a2ycnDTYg5lHDaMWLsgeMnjJUepKEVTt6dm1wOt93j68wOtfHSLFN+mOqeCzgj4lSTRKj1Yt8dtk2czRs7cz2IiB4jotVYQ8z0D3SQbXsOdh9po74faGYW9wPSVswMsHBeLb5ETk7n+T+oqdkKuNMdHTSSCrpBqtvw2jYCebzTsISJWYWBQ1jZmB7DkeLjB42kcRCyFXej+ObzOwnKKewIPku2A9IPBPKCDxKxFFEREBERAREQEREBERAUQ0jxAtneBtZHl02LvaWqXqutJpNXESx2yVgt1tt7Wqwks7c1w0NbLM7NznatztsLOd2kqbrQ6JN1I3s4w7W6iAPgVvlFERabSvFO54CR37+A3pO09Q+CCKaVYtv0xa08CO7RznynfDqWz0PpALzP6GfF3w7VEKGLfHhvb0camLKoNAAyAFgvTykNXIHsLRtPwzXyoaO2ZWj7u51lxY85u0B3qPqUVtpIzGOA/VHmkawHRmCO1airxeQZB4HOGi/rJWrxjTOCPwhF/NDi49gCh9fuhHPueFjftP4R7Cgmb98m267+m+r8l73E1vhZWM5gQT8gqvn0krKk2MsjvssBHVZqxp8LqSNZ8M9ttyx59ZCqLlopqVh4BY53KXBx6uILZnEOdc/UlG6Q5C3PyKdaMVro/1Rc5wAuCTex5LqKsU4hzrVaQ44YojY8J3BHxPYtd3Yq/x/HzNOS08BnBbz8p6yqJRgNIaiZsY2HNx5Gjb8utWoxoAAGQGQ6FF9z/CzFAJZBZ8oB+6zyR17VKlJIF8aunErHMcLhwIPWvsvHOsLnYFFVDpDTalO62RjcD0XOo7/AB7FaGA1m/00Mh2vjY49JaL+u6rTS2e1PKTlruFv5n6/sCsPRKAx0VO120RMvzXF7etWUht0RFFEREBERAREQEREBQTdTwtzo46qLv4DwreaSCD1H2lTtfmWMOBa4Agggg7CDkQUEW0VxEVMTZ4u+A1ZGDbzi3Lxj/lSmN4cAWm4OwqqcUoZ8Cqd/pwX0shsW8QB8h3IeRynmB4vHVs36lcDfv4ybEHjy8l3qPrVRvFV2mmK7/UFoPAi4A6fKPbl1Kc49i4hp5Ht78Cwae+DjlmObbfmVUUUeu71lIJbfDzqNvxn2LJ7qWpxPEY6cXkOZ2NHfHq4hzqKz4jUVr96ha7hbI2Akn7xH/xVEoxPSqOG4B13cjdg6XbFGqjHKqrdqR62exkYJJ6SMyplo1uUF1n1z9Ubd6jOfQ5/F1KysJwWCkbq08TYxzDM9LtpU5XhUGC7mVXPZ02rA0+dwnn+UfEqd4Rua0cNjIHTO5Xng/hGSmiKKx6SijiFomMYORrQPYshEQV1ug4Wxssb2AN3wO1gMrlts+u/qWnoYdW9uRbrTes3yp1BsjaG/wAxzPwXzghbBSPqZjZg2cptkAOclenlGdJsSMUeoDw5Ljob5R+HasLc+0e7tqRrD9VFZ7+Q+azrPqC0c8slZPkC58jg1rRxcTWjmHzV96IYA2gp2xCxeeFI7znnb1DYFJWG6AtsXqLwlRXq1uLTawMbePvjyN5Ok+y6+7py/KPIcbzsH3fOPPs6dirnTDTLXf3BhQMs7yWukbnqk99Z3G7ldsCsJLBrov8AUa+OkizjidrSuGzLvuwcEc7irea2wsNgyUb0G0Vbh0FjZ0z7GR/KeJo+yPXtUlSVgREUBERAREQEREBERAREQfOogbI0se0Oa4WIIuCOQgqs8c0HqKKQ1OEvdlmYr525G3yeOY5q0EQVlg+6TBODT4kzeJO9LiDq3575sWHisQpIi6mG/PmJMZbm0MGQeTyXvZTzSPRKlxAWqIgXcT28F46HD4quarc1r8PcZMKqddu3e32B6LHgO9SqNFhGiNTWzgTHew7Nz3nO3I0cZ5Arp0d0bgoI9SBlj5Tzm955S74bFWcW6XV0f6vFsPIGwva3Vvz2PBPUVJMI3RMLntqVDqc+a+7B0WN2diCfotZSVolF4aiKQdR90/BZe+SDaxp+675gKKyEWN3Q7jjd1Fp+Kd1H93J2D5oMlYmK1wp4nSO8kZDlPEO1fruonZG/rAHrJWk0gw+SYAuIsNjRsbz8551UQmjhfUSgbXSOJJ6c3H2rR7omkYne2mgP6in4Itse8ZF3OB81IMQjmjYYaNjn1E4tduyKE7XF2xpdxcy+ujO5gIi2WtkaXNIcGCxYCM+ET3yoydyvRHeWirqG/rHj9W0+Q0+UR5x9isWSVrRdxA6TZRzE9J6Om8YrWC3ktc0HoszhdiiGIbr1HGdWigkqJDsNi2/WbvPYoqzO6S7wbSec8FvrzPUFH9JdKKShF62cOdxQszJ/kGZ6XZKDGbH8Wya0UMLuPvCR0m7z1ALe6N7ktLA7fatzqqXaS/vL/d2u/mJQR2bGMT0hO90bDSUex0huC5vO4bfut6yrD0M0Lp8Lj1YRrSOHDldbXdzfZbzBSGKMNAa0AAZAAWAHIAF+1AREQEREBERAREQEREBERAREQEREBERB+JoWvFntDgeIgEdhUWxbc4w6puX0zWOPlRkxn8uXqUsRBVNXuJQA3pamaE7cwHesWKxTudYvB4tiRI4gXSD23CuBFeRTowrSWLZO2T+aM3/E0Lzf9KG+Sx3VT/MK40TkU6a3Sj91H+GD/evJINJphZxYwH0I6iBe/QrjRORT0WiWkEt98rmx3OeqWj+3GF9GbkNRMb1mIyP5Q3Xdfre74K3UTkV5he47h0Ob2yTH7brA9LWWUywvAqalFqeCOP7rQD27StiigIiICIiAiIgIiICIiAiIgIiFBoa3TKihkdHLUMa9hs5p1rg8mxbijqWysbJG7WY8BzSNhBzBXPG6B+0ar0n+LVeWhPiFJ6CP3QuvPr1x462ie7mw55ve1Z9m1q6hsTHPkOqxjS5xPE0C5PYtLS6a0Mr2sjqWOc8hrQNbMk2A2LJ0u8Rqv4eb+25UBoh49S+ni98Jr69clLWmeyZ8847REe6+8S0so6aQxTztY8Wu1wdexzB2ZrKwfG4KwOdTStkDTZ2rxHaLgqJ7q+i/dUHdETbzQAk22vi2ub0jaOvlVYaDaSHD6lshJ3p/AlHK0+Vblac+0cauPWrkxdVZ8/hL7FseTptHl8ujFpMS0to6aQxT1DGPFrtN7i4uL2HIvNJ9I46KkdUXDrgb2L+Ec4cADm4zzArnyKOatqABd8079p43OOZPIBt5gFNfW8SJtbyiF2Njw5iK+cy6Io9JaWaKSaKZro4QTI8B1m2Gsbm3Jmsek00oZXtjjqWOe8hrQNa5J2DYtfiOCsocHqII/JppdZ3nvLDrOPSfVZU5oT+0KX0zPavWLXpkra0TPkmTPek1iY7uklrsYxuCjDXVMjYw42BN8yBe2QWxVZ7uXgKf0rvcXPhpF7xWW+a80pNoTjB9IaasLhTStkLAC7Vvle9to5ivzi+ktLSODKmZsbnDWAN8xe18gq43C/CVf3YfbIsTdv8AG4fQ/wCZW8a1fH8Pny/phOxbwfE481h/T3D/AK1H+b5J9PcP+tR/m+SpjRzQ2pr43SU4YWtdqHWdqm9gdluQhbX9Flf5sX9T/hazrYKzxN2UbOaY5ii3cN0ro6l4jhqI3POxt7E9ANr9S3Ekga0ucbAAknkAzJXLUrXwSEd7JE8jI5tew8RHIQukzOZKLXdtdT6x6THcrHY1oxccT5S219icnPMecNcNPcP+tR/m+SfT3D/rUf5vkueqSEyOYxu1xa0dJNh7VM/0WV/JF/U/4XRfUw09VuGFdrLb015Wl9PcP+tR/m+S3mH4hFUMEkEjZGHymkEdGWw8y580i0LqqCMSVDWahdqXa7WsSCRcW5ipNuI1ThUzRX4Dotcji1muaAemzis8mrSMc3pbnh7x7N5yRS8cLfraxkLDJK9rGN2ucQAOsrQ/TzD/AK1H+b5KFbuNU7WpornUIe8jiLgWgE9Av2qE6N6I1OINe6nDCGEAlztXMi9hy5KYtWk4+u9uFy7N4ydFI5XX9PcP+tR/m+SfT3D/AK1H+b5Krf0WV/JF/U/4UPr6R0Ej4n21o3OY62Yu0kGx48wta6mG/ptyzttZa+qvDqGlqGysa+M6zHtDmkcbSLg9i0L9OsPBINUwEEgjhbRkRsWbol4jS+gi9xq5yr/DSekf7xWGvr1yWtEz2bZ9icdazEd3UYK9X4i70dAX7XG6xERAQohQc5boH7RqvSf4tWZh+6JXQRMijewMjaGNvG0mwFhnxrD3QP2jVek/xarV0V0OoZaOnkkpo3PfDG5xN7kloJJzX2cl6UxVm8c/8fJpS9stuieFb126NXTRvjkfGWyNcx1o2g6rgQc+LIrU6IePUvp4vfCuHSXQyhipKh8dNG1zIZXNIvcODCQRnyqntEPHqX08XvhMWSl6W6I4TLS9b1655dKlUHul6Mdw1OvGLQTEuZyMdtfH8RzHmV+qO7oFAyegnEgvqMMjTxtewEgj2dBK+drZZx3/AIl37OKMlP5hQNZi0s0UUMjy6OAODByaxuenkHIFam4/ovvbDWSjhyAiIHyY+N/S72DnVX6N0bZ6uCKS+pJIxrrZXBOYuumYmBoAaAAAAANgAyAC7d3J0V6K+7k08fVbrt7NPpt+z6v+Hm9wqh9Cf2hS+mZ7VfGm/wCz6v8Ah5vcKobQx4bX0pcQAJmEk5AZ8ZXjT+lf79nvb+rT793SirPdy8BT+ld7isH/AFOH99F+NvzVb7tdbHJDTtZIxx3xxs1wJA1bXy6QubVifFq6NmY8KzF3C/CVf3YfbIsTdv8AG4fQ/wCbll7hfhKv7sPtkWJu3+Nw+h/zcuuP3c/4/wBOWf2sffuke4j4nN6c/wBuNWKq63EfE5vTn+3GrFXFtfVs69b6VXMOkfjVT6eb33Loan/Z7f4Yf2lzzpH41U+mm99y6Gp/2e3+GH9pdm56aOXU9V3OuB+Hg9LF77V1EuXMENp4CchvkfvhdMf6nD++i/G35rz/AOhHnVdGfKyGbtHiDfTM916iO4n47L6B3vxqTbsdfE+iY1kjHOMzSA1wJsGvubDi2KM7ifjsvoHe/Grjj9LZMk/qaszdy8NTejk95qxdzHS6mw+KZtSXgveHDVaXZBtuJZW7l4am9HJ7zVG9ENCZcSY98UjGCNwaQ4ON7i9xZaY4pOtEXny/t4vN42J6I8/6Wd+lHD/Pk/puVL6QVTZqqeWO+rJLI9txY6rnEi44sipz+h+p+sQ9j1AMUozBNJE4gmJ7mEjYS0lpI7F71q4YmfDnl42LZZiOuOHRuiXiNL6CL3GrnKv8NJ6R/vFdG6JeI0voIvcaucq/w0npH+8Vlpeu/wB/LXb9FHUMXejoC/a/EXejoC/a+W+kIiICIiCidNdFqyWuqJIqaVzHSXa4NuCLDMK39EoHR0VMyRpa5sMbXNO0ENAIK26LfLsTkrFZjsxx4IpabR7tZpPC6SjqWMBc50MrWgbSSwgAc91SujGilbHV07300rWtmjLiW5ABwJJV+ori2Jx1msR3TLgjJaJmewtXpTA6SjqGMBc50Tw0DaSWmwC2iLCJ4nltMcxwoTRPRWtiraZ8lNK1rZWFzi3IAHMlX2iLXPnnLMTMMsOGMUcQ1GlsDpaKpZG0ue6GVrWja4lhAA51Q30Nr/qk34V0gi94Nm2KJiIec2vXLMTMubvoXXfU5vwL1uhdfxUk34bLpBFt+YX+IZfgafMoNuX6JyUEcj6iwlm1btBvqNbewJGRNydi0W65gNTU1MTqeGSRoisS0XAOsTZWtZFz12LRk8T3bTgrOPw/ZBdyPC5qallbURujcZi4BwsSNRgv2gqdIizyXm9ptPu0x0ilYrDnvHdEq19RO5tLMWullIIbkQXuII6leEEDhRNYQdbucN1ePW3u1um62iLXLsWyRETHZniwRjmZie7m5uhtfbxSb8KfQuu+qTfhXSKLf8wv8Qx/A0+Zc3jQyu+qTfhVmblmh0tEZJ6kBr3tDGsvctbcOcXEZXJAy5lYiLPLuXyV6eHvHqUpbqVduv4HUVUtOaeF8oax4JaL2Jc2wK2W5DhU1LDO2oifGXSNIDha41bXCn6LOdiZxeHx5PcYIjJ4nuKgdJtE62SsqXsppXNdNK5pDciC8kEc1lfyJgzzimZiFzYYyxxLWaMwujo6djwWubDG1wO0EMAIKomt0QrjK8ilmIL3EHV2guJBXRFl7ZXFsWxzMxHdMuvGSIiZ7PzGMh0BfpEXO3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pic>
        <p:nvPicPr>
          <p:cNvPr id="139268" name="Picture 4" descr="MAROC TOURİSME ile ilgili görsel sonucu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29" y="2559714"/>
            <a:ext cx="2671664" cy="1606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274" name="Picture 10" descr="http://www.medias24.com/images/photos_artices/big/Tourisme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529512"/>
            <a:ext cx="2254187" cy="16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276" name="Picture 12" descr="http://www.faistacom.com/wp-content/uploads/2014/01/Hotel-Casablanca-1024x76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2529512"/>
            <a:ext cx="2236620" cy="1622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278" name="Picture 14" descr="http://www.tourisme-dev-solidaires.org/sites/default/files/styles/diaporama_sejour/public/sejour-diaporama/berbere4.jpg?itok=sP3VD0Kb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8659" y="2542003"/>
            <a:ext cx="1975341" cy="1639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5"/>
          <p:cNvSpPr/>
          <p:nvPr/>
        </p:nvSpPr>
        <p:spPr>
          <a:xfrm>
            <a:off x="28128" y="4286256"/>
            <a:ext cx="92964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err="1" smtClean="0">
                <a:solidFill>
                  <a:srgbClr val="FFFF00"/>
                </a:solidFill>
                <a:latin typeface="+mn-lt"/>
              </a:rPr>
              <a:t>GSMH’nın</a:t>
            </a:r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 %7’si </a:t>
            </a:r>
          </a:p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550 Bin İstihdam</a:t>
            </a:r>
          </a:p>
          <a:p>
            <a:pPr algn="ctr"/>
            <a:r>
              <a:rPr lang="tr-TR" sz="3200" b="1" dirty="0" smtClean="0">
                <a:solidFill>
                  <a:srgbClr val="FFFF00"/>
                </a:solidFill>
                <a:latin typeface="+mn-lt"/>
              </a:rPr>
              <a:t>240 Bin Yatak Kapasitesi </a:t>
            </a:r>
          </a:p>
        </p:txBody>
      </p:sp>
    </p:spTree>
    <p:extLst>
      <p:ext uri="{BB962C8B-B14F-4D97-AF65-F5344CB8AC3E}">
        <p14:creationId xmlns:p14="http://schemas.microsoft.com/office/powerpoint/2010/main" val="3730249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 animBg="1"/>
      <p:bldP spid="18" grpId="0"/>
      <p:bldP spid="20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8D417F-D726-4646-B5D2-024C9BD94A87}" type="slidenum">
              <a:rPr lang="fr-FR" smtClean="0"/>
              <a:pPr>
                <a:defRPr/>
              </a:pPr>
              <a:t>21</a:t>
            </a:fld>
            <a:endParaRPr lang="fr-FR"/>
          </a:p>
        </p:txBody>
      </p:sp>
      <p:graphicFrame>
        <p:nvGraphicFramePr>
          <p:cNvPr id="8" name="Graphique 7"/>
          <p:cNvGraphicFramePr/>
          <p:nvPr>
            <p:extLst>
              <p:ext uri="{D42A27DB-BD31-4B8C-83A1-F6EECF244321}">
                <p14:modId xmlns:p14="http://schemas.microsoft.com/office/powerpoint/2010/main" val="2056059408"/>
              </p:ext>
            </p:extLst>
          </p:nvPr>
        </p:nvGraphicFramePr>
        <p:xfrm>
          <a:off x="179512" y="1216777"/>
          <a:ext cx="8784976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re 1"/>
          <p:cNvSpPr txBox="1">
            <a:spLocks/>
          </p:cNvSpPr>
          <p:nvPr/>
        </p:nvSpPr>
        <p:spPr bwMode="auto">
          <a:xfrm>
            <a:off x="107504" y="188641"/>
            <a:ext cx="8856984" cy="1028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tr-TR" sz="3600" b="1" kern="0" dirty="0" smtClean="0">
                <a:solidFill>
                  <a:schemeClr val="bg1"/>
                </a:solidFill>
              </a:rPr>
              <a:t>BÜTÇE</a:t>
            </a:r>
          </a:p>
          <a:p>
            <a:r>
              <a:rPr lang="tr-TR" sz="3600" b="1" kern="0" dirty="0" smtClean="0">
                <a:solidFill>
                  <a:schemeClr val="bg1"/>
                </a:solidFill>
              </a:rPr>
              <a:t> Gelir-Harcama-Açık (</a:t>
            </a:r>
            <a:r>
              <a:rPr lang="tr-TR" sz="3600" b="1" kern="0" dirty="0" err="1" smtClean="0">
                <a:solidFill>
                  <a:schemeClr val="bg1"/>
                </a:solidFill>
              </a:rPr>
              <a:t>GSMH’nın</a:t>
            </a:r>
            <a:r>
              <a:rPr lang="tr-TR" sz="3600" b="1" kern="0" dirty="0" smtClean="0">
                <a:solidFill>
                  <a:schemeClr val="bg1"/>
                </a:solidFill>
              </a:rPr>
              <a:t> %’si)</a:t>
            </a:r>
            <a:endParaRPr lang="fr-FR" sz="3600" b="1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50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8D417F-D726-4646-B5D2-024C9BD94A87}" type="slidenum">
              <a:rPr lang="fr-FR" smtClean="0"/>
              <a:pPr>
                <a:defRPr/>
              </a:pPr>
              <a:t>22</a:t>
            </a:fld>
            <a:endParaRPr lang="fr-FR"/>
          </a:p>
        </p:txBody>
      </p:sp>
      <p:graphicFrame>
        <p:nvGraphicFramePr>
          <p:cNvPr id="3" name="Graphique 2"/>
          <p:cNvGraphicFramePr/>
          <p:nvPr>
            <p:extLst>
              <p:ext uri="{D42A27DB-BD31-4B8C-83A1-F6EECF244321}">
                <p14:modId xmlns:p14="http://schemas.microsoft.com/office/powerpoint/2010/main" val="2266670261"/>
              </p:ext>
            </p:extLst>
          </p:nvPr>
        </p:nvGraphicFramePr>
        <p:xfrm>
          <a:off x="323528" y="980728"/>
          <a:ext cx="8712967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re 1"/>
          <p:cNvSpPr txBox="1">
            <a:spLocks/>
          </p:cNvSpPr>
          <p:nvPr/>
        </p:nvSpPr>
        <p:spPr bwMode="auto">
          <a:xfrm>
            <a:off x="0" y="116632"/>
            <a:ext cx="9036496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tr-TR" sz="3600" b="1" kern="0" dirty="0" smtClean="0">
                <a:solidFill>
                  <a:schemeClr val="bg1"/>
                </a:solidFill>
              </a:rPr>
              <a:t>Kamu Borç Stoku / GSMH</a:t>
            </a:r>
            <a:endParaRPr lang="fr-FR" sz="3600" b="1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84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re 1"/>
          <p:cNvSpPr>
            <a:spLocks noGrp="1"/>
          </p:cNvSpPr>
          <p:nvPr>
            <p:ph type="title" idx="4294967295"/>
          </p:nvPr>
        </p:nvSpPr>
        <p:spPr>
          <a:xfrm>
            <a:off x="0" y="116632"/>
            <a:ext cx="9036496" cy="1008063"/>
          </a:xfrm>
        </p:spPr>
        <p:txBody>
          <a:bodyPr/>
          <a:lstStyle/>
          <a:p>
            <a:r>
              <a:rPr lang="tr-TR" sz="3600" b="1" dirty="0" smtClean="0">
                <a:solidFill>
                  <a:schemeClr val="bg1"/>
                </a:solidFill>
              </a:rPr>
              <a:t>DIŞ BORÇ (Milyar $)</a:t>
            </a:r>
            <a:endParaRPr lang="fr-FR" sz="3600" b="1" dirty="0" smtClean="0">
              <a:solidFill>
                <a:schemeClr val="bg1"/>
              </a:solidFill>
            </a:endParaRPr>
          </a:p>
        </p:txBody>
      </p:sp>
      <p:sp>
        <p:nvSpPr>
          <p:cNvPr id="26629" name="ZoneTexte 1"/>
          <p:cNvSpPr txBox="1">
            <a:spLocks noChangeArrowheads="1"/>
          </p:cNvSpPr>
          <p:nvPr/>
        </p:nvSpPr>
        <p:spPr bwMode="auto">
          <a:xfrm>
            <a:off x="6929438" y="4214813"/>
            <a:ext cx="1714500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endParaRPr lang="tr-TR" sz="900" b="1">
              <a:solidFill>
                <a:schemeClr val="bg1"/>
              </a:solidFill>
            </a:endParaRP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1052513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graphicFrame>
        <p:nvGraphicFramePr>
          <p:cNvPr id="4" name="Grafik 3"/>
          <p:cNvGraphicFramePr/>
          <p:nvPr>
            <p:extLst>
              <p:ext uri="{D42A27DB-BD31-4B8C-83A1-F6EECF244321}">
                <p14:modId xmlns:p14="http://schemas.microsoft.com/office/powerpoint/2010/main" val="1437139277"/>
              </p:ext>
            </p:extLst>
          </p:nvPr>
        </p:nvGraphicFramePr>
        <p:xfrm>
          <a:off x="-7972" y="1165812"/>
          <a:ext cx="9044468" cy="5159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0294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6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86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26" grpId="0"/>
      <p:bldP spid="586757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E8D417F-D726-4646-B5D2-024C9BD94A87}" type="slidenum">
              <a:rPr lang="fr-FR" smtClean="0"/>
              <a:pPr>
                <a:defRPr/>
              </a:pPr>
              <a:t>24</a:t>
            </a:fld>
            <a:endParaRPr lang="fr-FR"/>
          </a:p>
        </p:txBody>
      </p:sp>
      <p:graphicFrame>
        <p:nvGraphicFramePr>
          <p:cNvPr id="3" name="Graphique 2"/>
          <p:cNvGraphicFramePr/>
          <p:nvPr>
            <p:extLst>
              <p:ext uri="{D42A27DB-BD31-4B8C-83A1-F6EECF244321}">
                <p14:modId xmlns:p14="http://schemas.microsoft.com/office/powerpoint/2010/main" val="368078286"/>
              </p:ext>
            </p:extLst>
          </p:nvPr>
        </p:nvGraphicFramePr>
        <p:xfrm>
          <a:off x="323528" y="1196752"/>
          <a:ext cx="8568952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re 1"/>
          <p:cNvSpPr txBox="1">
            <a:spLocks/>
          </p:cNvSpPr>
          <p:nvPr/>
        </p:nvSpPr>
        <p:spPr bwMode="auto">
          <a:xfrm>
            <a:off x="0" y="116632"/>
            <a:ext cx="9036496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tr-TR" sz="3500" b="1" kern="0" dirty="0" smtClean="0">
                <a:solidFill>
                  <a:schemeClr val="bg1"/>
                </a:solidFill>
              </a:rPr>
              <a:t>ÖDEMELER DENGESİ (GSMH %’si)</a:t>
            </a:r>
            <a:endParaRPr lang="fr-FR" sz="3500" b="1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69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1196752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 dirty="0">
              <a:cs typeface="+mn-cs"/>
            </a:endParaRPr>
          </a:p>
        </p:txBody>
      </p:sp>
      <p:sp>
        <p:nvSpPr>
          <p:cNvPr id="7" name="Rectangle 2"/>
          <p:cNvSpPr txBox="1">
            <a:spLocks/>
          </p:cNvSpPr>
          <p:nvPr/>
        </p:nvSpPr>
        <p:spPr bwMode="auto">
          <a:xfrm>
            <a:off x="457200" y="44624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tr-TR" sz="3300" b="1" kern="0" dirty="0" smtClean="0">
                <a:solidFill>
                  <a:schemeClr val="bg1"/>
                </a:solidFill>
              </a:rPr>
              <a:t>Doğrudan Yabancı Sermaye Yatırımları (FDI) Yıllık Giriş (Milyar $)</a:t>
            </a:r>
            <a:endParaRPr lang="fr-FR" sz="3300" b="1" kern="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" name="Grafik 3"/>
          <p:cNvGraphicFramePr/>
          <p:nvPr>
            <p:extLst>
              <p:ext uri="{D42A27DB-BD31-4B8C-83A1-F6EECF244321}">
                <p14:modId xmlns:p14="http://schemas.microsoft.com/office/powerpoint/2010/main" val="803618407"/>
              </p:ext>
            </p:extLst>
          </p:nvPr>
        </p:nvGraphicFramePr>
        <p:xfrm>
          <a:off x="251520" y="1397000"/>
          <a:ext cx="8640960" cy="491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86459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86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6757" grpId="0" animBg="1"/>
      <p:bldP spid="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1196752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 dirty="0">
              <a:cs typeface="+mn-cs"/>
            </a:endParaRPr>
          </a:p>
        </p:txBody>
      </p:sp>
      <p:sp>
        <p:nvSpPr>
          <p:cNvPr id="7" name="Rectangle 2"/>
          <p:cNvSpPr txBox="1">
            <a:spLocks/>
          </p:cNvSpPr>
          <p:nvPr/>
        </p:nvSpPr>
        <p:spPr bwMode="auto">
          <a:xfrm>
            <a:off x="457200" y="44624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tr-TR" sz="3300" b="1" kern="0" dirty="0" smtClean="0">
                <a:solidFill>
                  <a:schemeClr val="bg1"/>
                </a:solidFill>
              </a:rPr>
              <a:t>Doğrudan Yabancı Sermaye Yatırımları (FDI) Stok (Milyar $)</a:t>
            </a:r>
            <a:endParaRPr lang="fr-FR" sz="3300" b="1" kern="0" dirty="0" smtClean="0">
              <a:solidFill>
                <a:schemeClr val="bg1"/>
              </a:solidFill>
            </a:endParaRPr>
          </a:p>
        </p:txBody>
      </p:sp>
      <p:graphicFrame>
        <p:nvGraphicFramePr>
          <p:cNvPr id="4" name="Grafik 3"/>
          <p:cNvGraphicFramePr/>
          <p:nvPr>
            <p:extLst>
              <p:ext uri="{D42A27DB-BD31-4B8C-83A1-F6EECF244321}">
                <p14:modId xmlns:p14="http://schemas.microsoft.com/office/powerpoint/2010/main" val="640533227"/>
              </p:ext>
            </p:extLst>
          </p:nvPr>
        </p:nvGraphicFramePr>
        <p:xfrm>
          <a:off x="179512" y="1556792"/>
          <a:ext cx="8610128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1670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86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6757" grpId="0" animBg="1"/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2"/>
          <p:cNvSpPr>
            <a:spLocks noGrp="1"/>
          </p:cNvSpPr>
          <p:nvPr>
            <p:ph type="title" idx="4294967295"/>
          </p:nvPr>
        </p:nvSpPr>
        <p:spPr>
          <a:xfrm>
            <a:off x="457200" y="44624"/>
            <a:ext cx="8229600" cy="1143000"/>
          </a:xfrm>
        </p:spPr>
        <p:txBody>
          <a:bodyPr/>
          <a:lstStyle/>
          <a:p>
            <a:pPr eaLnBrk="1" hangingPunct="1"/>
            <a:r>
              <a:rPr lang="tr-TR" sz="3300" b="1" dirty="0" smtClean="0">
                <a:solidFill>
                  <a:schemeClr val="bg1"/>
                </a:solidFill>
              </a:rPr>
              <a:t>KUZEY AFRİKA (FDI-STOK)</a:t>
            </a:r>
            <a:br>
              <a:rPr lang="tr-TR" sz="3300" b="1" dirty="0" smtClean="0">
                <a:solidFill>
                  <a:schemeClr val="bg1"/>
                </a:solidFill>
              </a:rPr>
            </a:br>
            <a:r>
              <a:rPr lang="tr-TR" sz="3300" b="1" dirty="0" smtClean="0">
                <a:solidFill>
                  <a:srgbClr val="FFFF00"/>
                </a:solidFill>
              </a:rPr>
              <a:t>(2017-Milyar $)</a:t>
            </a:r>
            <a:endParaRPr lang="fr-FR" sz="3300" b="1" dirty="0" smtClean="0">
              <a:solidFill>
                <a:srgbClr val="FFFF00"/>
              </a:solidFill>
            </a:endParaRP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1196752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 dirty="0">
              <a:cs typeface="+mn-cs"/>
            </a:endParaRPr>
          </a:p>
        </p:txBody>
      </p:sp>
      <p:graphicFrame>
        <p:nvGraphicFramePr>
          <p:cNvPr id="21" name="Grafik 20"/>
          <p:cNvGraphicFramePr/>
          <p:nvPr>
            <p:extLst>
              <p:ext uri="{D42A27DB-BD31-4B8C-83A1-F6EECF244321}">
                <p14:modId xmlns:p14="http://schemas.microsoft.com/office/powerpoint/2010/main" val="3184180954"/>
              </p:ext>
            </p:extLst>
          </p:nvPr>
        </p:nvGraphicFramePr>
        <p:xfrm>
          <a:off x="179512" y="1397000"/>
          <a:ext cx="8784976" cy="5056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86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5" grpId="0"/>
      <p:bldP spid="58675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2"/>
          <p:cNvSpPr>
            <a:spLocks noGrp="1"/>
          </p:cNvSpPr>
          <p:nvPr>
            <p:ph type="title" idx="4294967295"/>
          </p:nvPr>
        </p:nvSpPr>
        <p:spPr>
          <a:xfrm>
            <a:off x="457200" y="44624"/>
            <a:ext cx="8229600" cy="1143000"/>
          </a:xfrm>
        </p:spPr>
        <p:txBody>
          <a:bodyPr/>
          <a:lstStyle/>
          <a:p>
            <a:pPr eaLnBrk="1" hangingPunct="1"/>
            <a:r>
              <a:rPr lang="tr-TR" sz="3300" b="1" dirty="0" smtClean="0">
                <a:solidFill>
                  <a:schemeClr val="bg1"/>
                </a:solidFill>
              </a:rPr>
              <a:t>Doğrudan Yabancı Sermaye Yatırımları Ülke ve </a:t>
            </a:r>
            <a:r>
              <a:rPr lang="tr-TR" sz="3300" b="1" dirty="0" err="1" smtClean="0">
                <a:solidFill>
                  <a:schemeClr val="bg1"/>
                </a:solidFill>
              </a:rPr>
              <a:t>Sektörel</a:t>
            </a:r>
            <a:r>
              <a:rPr lang="tr-TR" sz="3300" b="1" dirty="0" smtClean="0">
                <a:solidFill>
                  <a:schemeClr val="bg1"/>
                </a:solidFill>
              </a:rPr>
              <a:t> Dağılım</a:t>
            </a:r>
            <a:endParaRPr lang="fr-FR" sz="3300" b="1" dirty="0" smtClean="0">
              <a:solidFill>
                <a:schemeClr val="bg1"/>
              </a:solidFill>
            </a:endParaRP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1196752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 dirty="0"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31640" y="1573960"/>
            <a:ext cx="2808312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FRANSA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İSPANYA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BA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S. ARABİSTAN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İNGİLTER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>
                <a:solidFill>
                  <a:srgbClr val="FFFF00"/>
                </a:solidFill>
                <a:latin typeface="+mn-lt"/>
              </a:rPr>
              <a:t>ABD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</a:t>
            </a:r>
            <a:r>
              <a:rPr lang="tr-TR" sz="2400" b="1" dirty="0">
                <a:solidFill>
                  <a:srgbClr val="FFFF00"/>
                </a:solidFill>
                <a:latin typeface="+mn-lt"/>
              </a:rPr>
              <a:t>İSVİÇR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ALMANYA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BELÇİKA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KUVEYT</a:t>
            </a:r>
            <a:endParaRPr lang="tr-TR" sz="2400" b="1" dirty="0">
              <a:solidFill>
                <a:srgbClr val="FFFF00"/>
              </a:solidFill>
              <a:latin typeface="+mn-lt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endParaRPr lang="tr-TR" sz="2400" b="1" dirty="0" smtClean="0">
              <a:solidFill>
                <a:srgbClr val="FFFF00"/>
              </a:solidFill>
              <a:latin typeface="+mn-lt"/>
            </a:endParaRPr>
          </a:p>
        </p:txBody>
      </p:sp>
      <p:sp>
        <p:nvSpPr>
          <p:cNvPr id="6" name="Rectangle 4"/>
          <p:cNvSpPr/>
          <p:nvPr/>
        </p:nvSpPr>
        <p:spPr>
          <a:xfrm>
            <a:off x="5148064" y="2239526"/>
            <a:ext cx="2808312" cy="3593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>
                <a:solidFill>
                  <a:srgbClr val="FFFF00"/>
                </a:solidFill>
                <a:latin typeface="+mn-lt"/>
              </a:rPr>
              <a:t> </a:t>
            </a: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SANAYİ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>
                <a:solidFill>
                  <a:srgbClr val="FFFF00"/>
                </a:solidFill>
                <a:latin typeface="+mn-lt"/>
              </a:rPr>
              <a:t> </a:t>
            </a: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GAYRİMENKUL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ENERJİ MADENCİLİK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FİNAN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>
                <a:solidFill>
                  <a:srgbClr val="FFFF00"/>
                </a:solidFill>
                <a:latin typeface="+mn-lt"/>
              </a:rPr>
              <a:t> </a:t>
            </a: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TURİZM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buFont typeface="Arial" charset="0"/>
              <a:buChar char="•"/>
            </a:pPr>
            <a:r>
              <a:rPr lang="tr-TR" sz="2400" b="1" dirty="0" smtClean="0">
                <a:solidFill>
                  <a:srgbClr val="FFFF00"/>
                </a:solidFill>
                <a:latin typeface="+mn-lt"/>
              </a:rPr>
              <a:t> TİCARET</a:t>
            </a:r>
          </a:p>
          <a:p>
            <a:pPr algn="ctr">
              <a:buFont typeface="Arial" charset="0"/>
              <a:buChar char="•"/>
            </a:pPr>
            <a:endParaRPr lang="tr-TR" sz="3200" b="1" dirty="0" smtClean="0">
              <a:solidFill>
                <a:schemeClr val="bg1"/>
              </a:solidFill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86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5" grpId="0"/>
      <p:bldP spid="586757" grpId="0" animBg="1"/>
      <p:bldP spid="5" grpId="0"/>
      <p:bldP spid="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-27384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8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ANGER MED I-II</a:t>
            </a:r>
            <a:r>
              <a:rPr kumimoji="0" lang="tr-TR" sz="38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LiMANI</a:t>
            </a:r>
            <a:endParaRPr lang="tr-TR" sz="3800" b="1" kern="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836712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38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7" name="Rectangle 16"/>
          <p:cNvSpPr/>
          <p:nvPr/>
        </p:nvSpPr>
        <p:spPr>
          <a:xfrm>
            <a:off x="0" y="4869160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Akdeniz’in Marsilya ve Algesiras 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Afrika’da Durban 2. 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8 Milyon Konteyner kapasitesi</a:t>
            </a:r>
          </a:p>
        </p:txBody>
      </p:sp>
      <p:pic>
        <p:nvPicPr>
          <p:cNvPr id="73730" name="Picture 2" descr="http://www.tmpa.ma/wp-content/themes/tmpa/images/medhub-pic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80728"/>
            <a:ext cx="9144000" cy="3813048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/>
          </p:cNvSpPr>
          <p:nvPr>
            <p:ph type="title" idx="4294967295"/>
          </p:nvPr>
        </p:nvSpPr>
        <p:spPr>
          <a:xfrm>
            <a:off x="457200" y="46038"/>
            <a:ext cx="8229600" cy="1020762"/>
          </a:xfrm>
        </p:spPr>
        <p:txBody>
          <a:bodyPr/>
          <a:lstStyle/>
          <a:p>
            <a:pPr eaLnBrk="1" hangingPunct="1"/>
            <a:r>
              <a:rPr lang="tr-TR" sz="3600" b="1" dirty="0" smtClean="0">
                <a:solidFill>
                  <a:schemeClr val="bg1"/>
                </a:solidFill>
              </a:rPr>
              <a:t>GENEL BİLGİLER</a:t>
            </a:r>
            <a:endParaRPr lang="fr-FR" sz="36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5363" name="Rectangle 3"/>
          <p:cNvSpPr>
            <a:spLocks noGrp="1"/>
          </p:cNvSpPr>
          <p:nvPr>
            <p:ph type="body" idx="4294967295"/>
          </p:nvPr>
        </p:nvSpPr>
        <p:spPr>
          <a:xfrm>
            <a:off x="107504" y="1052736"/>
            <a:ext cx="9144000" cy="5472608"/>
          </a:xfrm>
        </p:spPr>
        <p:txBody>
          <a:bodyPr/>
          <a:lstStyle/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Nüfus</a:t>
            </a:r>
            <a:r>
              <a:rPr lang="fr-FR" sz="2800" b="1" dirty="0" smtClean="0">
                <a:solidFill>
                  <a:schemeClr val="bg1"/>
                </a:solidFill>
                <a:latin typeface="Calibri" pitchFamily="34" charset="0"/>
              </a:rPr>
              <a:t>		</a:t>
            </a:r>
            <a:r>
              <a:rPr lang="tr-TR" sz="2800" b="1" dirty="0" smtClean="0">
                <a:solidFill>
                  <a:schemeClr val="bg1"/>
                </a:solidFill>
              </a:rPr>
              <a:t>	</a:t>
            </a:r>
            <a:r>
              <a:rPr lang="fr-FR" sz="2800" b="1" dirty="0" smtClean="0">
                <a:solidFill>
                  <a:schemeClr val="bg1"/>
                </a:solidFill>
                <a:latin typeface="Calibri" pitchFamily="34" charset="0"/>
              </a:rPr>
              <a:t>: </a:t>
            </a:r>
            <a:r>
              <a:rPr lang="tr-TR" sz="2800" b="1" dirty="0" smtClean="0">
                <a:solidFill>
                  <a:schemeClr val="bg1"/>
                </a:solidFill>
              </a:rPr>
              <a:t>35,7 </a:t>
            </a:r>
            <a:r>
              <a:rPr lang="fr-FR" sz="2800" b="1" dirty="0" smtClean="0">
                <a:solidFill>
                  <a:schemeClr val="bg1"/>
                </a:solidFill>
              </a:rPr>
              <a:t>Mil</a:t>
            </a:r>
            <a:r>
              <a:rPr lang="tr-TR" sz="2800" b="1" dirty="0" smtClean="0">
                <a:solidFill>
                  <a:schemeClr val="bg1"/>
                </a:solidFill>
              </a:rPr>
              <a:t>yon 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Yüzölçümü</a:t>
            </a:r>
            <a:r>
              <a:rPr lang="fr-FR" sz="2800" b="1" dirty="0" smtClean="0">
                <a:solidFill>
                  <a:schemeClr val="bg1"/>
                </a:solidFill>
                <a:latin typeface="Calibri" pitchFamily="34" charset="0"/>
              </a:rPr>
              <a:t>		: </a:t>
            </a:r>
            <a:r>
              <a:rPr lang="tr-TR" sz="2800" b="1" dirty="0" smtClean="0">
                <a:solidFill>
                  <a:schemeClr val="bg1"/>
                </a:solidFill>
              </a:rPr>
              <a:t>710,850 km2 </a:t>
            </a:r>
          </a:p>
          <a:p>
            <a:pPr marL="0" indent="0" eaLnBrk="1" hangingPunct="1">
              <a:buNone/>
            </a:pPr>
            <a:r>
              <a:rPr lang="tr-TR" sz="2800" b="1" dirty="0">
                <a:solidFill>
                  <a:schemeClr val="bg1"/>
                </a:solidFill>
              </a:rPr>
              <a:t> </a:t>
            </a:r>
            <a:r>
              <a:rPr lang="tr-TR" sz="2800" b="1" dirty="0" smtClean="0">
                <a:solidFill>
                  <a:schemeClr val="bg1"/>
                </a:solidFill>
              </a:rPr>
              <a:t>                                      (Batı Sahra 252,120 km2)</a:t>
            </a:r>
            <a:endParaRPr lang="fr-FR" sz="2800" b="1" dirty="0" smtClean="0">
              <a:solidFill>
                <a:schemeClr val="bg1"/>
              </a:solidFill>
            </a:endParaRP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Başkent</a:t>
            </a:r>
            <a:r>
              <a:rPr lang="fr-FR" sz="2800" b="1" dirty="0" smtClean="0">
                <a:solidFill>
                  <a:schemeClr val="bg1"/>
                </a:solidFill>
                <a:latin typeface="Calibri" pitchFamily="34" charset="0"/>
              </a:rPr>
              <a:t>		</a:t>
            </a:r>
            <a:r>
              <a:rPr lang="tr-TR" sz="2800" b="1" dirty="0" smtClean="0">
                <a:solidFill>
                  <a:schemeClr val="bg1"/>
                </a:solidFill>
              </a:rPr>
              <a:t>	</a:t>
            </a:r>
            <a:r>
              <a:rPr lang="fr-FR" sz="2800" b="1" dirty="0" smtClean="0">
                <a:solidFill>
                  <a:schemeClr val="bg1"/>
                </a:solidFill>
                <a:latin typeface="Calibri" pitchFamily="34" charset="0"/>
              </a:rPr>
              <a:t>:</a:t>
            </a:r>
            <a:r>
              <a:rPr lang="tr-TR" sz="28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tr-TR" sz="2800" b="1" dirty="0" smtClean="0">
                <a:solidFill>
                  <a:schemeClr val="bg1"/>
                </a:solidFill>
              </a:rPr>
              <a:t>Rabat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Yönetim Biçimi 	: Anayasal Monarşi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Resmi Dil		: Arapça, </a:t>
            </a:r>
            <a:r>
              <a:rPr lang="tr-TR" sz="2800" b="1" dirty="0" err="1" smtClean="0">
                <a:solidFill>
                  <a:schemeClr val="bg1"/>
                </a:solidFill>
              </a:rPr>
              <a:t>Tamazight</a:t>
            </a:r>
            <a:endParaRPr lang="tr-TR" sz="2800" b="1" dirty="0" smtClean="0">
              <a:solidFill>
                <a:schemeClr val="bg1"/>
              </a:solidFill>
            </a:endParaRP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Yaygın K. Dil		: Fransızca-İspanyolca (kuzey)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 Kentleşme Oranı	: %62,5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Ortalama Yaşam	: 77,3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Ortalama Yaş		: 29,7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Din			: Müslüman %99</a:t>
            </a: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764704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5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5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5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1536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536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536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536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1536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536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1536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8" dur="500"/>
                                        <p:tgtEl>
                                          <p:spTgt spid="1536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2" grpId="0"/>
      <p:bldP spid="15363" grpId="0" build="p"/>
      <p:bldP spid="58675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-27384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r-TR" sz="38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AS’IN AFRİKA STRATEJİSİ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836712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38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grpSp>
        <p:nvGrpSpPr>
          <p:cNvPr id="14" name="Group 184"/>
          <p:cNvGrpSpPr>
            <a:grpSpLocks/>
          </p:cNvGrpSpPr>
          <p:nvPr/>
        </p:nvGrpSpPr>
        <p:grpSpPr bwMode="auto">
          <a:xfrm>
            <a:off x="251520" y="1196753"/>
            <a:ext cx="4536504" cy="4896544"/>
            <a:chOff x="531" y="945"/>
            <a:chExt cx="2507" cy="2630"/>
          </a:xfrm>
          <a:solidFill>
            <a:schemeClr val="tx2"/>
          </a:solidFill>
        </p:grpSpPr>
        <p:sp>
          <p:nvSpPr>
            <p:cNvPr id="15" name="Freeform 3"/>
            <p:cNvSpPr>
              <a:spLocks/>
            </p:cNvSpPr>
            <p:nvPr/>
          </p:nvSpPr>
          <p:spPr bwMode="auto">
            <a:xfrm>
              <a:off x="1755" y="3136"/>
              <a:ext cx="579" cy="439"/>
            </a:xfrm>
            <a:custGeom>
              <a:avLst/>
              <a:gdLst/>
              <a:ahLst/>
              <a:cxnLst>
                <a:cxn ang="0">
                  <a:pos x="0" y="257"/>
                </a:cxn>
                <a:cxn ang="0">
                  <a:pos x="0" y="282"/>
                </a:cxn>
                <a:cxn ang="0">
                  <a:pos x="23" y="313"/>
                </a:cxn>
                <a:cxn ang="0">
                  <a:pos x="40" y="345"/>
                </a:cxn>
                <a:cxn ang="0">
                  <a:pos x="34" y="365"/>
                </a:cxn>
                <a:cxn ang="0">
                  <a:pos x="23" y="393"/>
                </a:cxn>
                <a:cxn ang="0">
                  <a:pos x="23" y="416"/>
                </a:cxn>
                <a:cxn ang="0">
                  <a:pos x="52" y="439"/>
                </a:cxn>
                <a:cxn ang="0">
                  <a:pos x="100" y="422"/>
                </a:cxn>
                <a:cxn ang="0">
                  <a:pos x="123" y="434"/>
                </a:cxn>
                <a:cxn ang="0">
                  <a:pos x="157" y="422"/>
                </a:cxn>
                <a:cxn ang="0">
                  <a:pos x="178" y="422"/>
                </a:cxn>
                <a:cxn ang="0">
                  <a:pos x="218" y="422"/>
                </a:cxn>
                <a:cxn ang="0">
                  <a:pos x="251" y="422"/>
                </a:cxn>
                <a:cxn ang="0">
                  <a:pos x="268" y="422"/>
                </a:cxn>
                <a:cxn ang="0">
                  <a:pos x="307" y="424"/>
                </a:cxn>
                <a:cxn ang="0">
                  <a:pos x="320" y="403"/>
                </a:cxn>
                <a:cxn ang="0">
                  <a:pos x="328" y="384"/>
                </a:cxn>
                <a:cxn ang="0">
                  <a:pos x="362" y="378"/>
                </a:cxn>
                <a:cxn ang="0">
                  <a:pos x="380" y="382"/>
                </a:cxn>
                <a:cxn ang="0">
                  <a:pos x="416" y="368"/>
                </a:cxn>
                <a:cxn ang="0">
                  <a:pos x="433" y="334"/>
                </a:cxn>
                <a:cxn ang="0">
                  <a:pos x="447" y="317"/>
                </a:cxn>
                <a:cxn ang="0">
                  <a:pos x="462" y="305"/>
                </a:cxn>
                <a:cxn ang="0">
                  <a:pos x="491" y="269"/>
                </a:cxn>
                <a:cxn ang="0">
                  <a:pos x="510" y="251"/>
                </a:cxn>
                <a:cxn ang="0">
                  <a:pos x="533" y="242"/>
                </a:cxn>
                <a:cxn ang="0">
                  <a:pos x="547" y="226"/>
                </a:cxn>
                <a:cxn ang="0">
                  <a:pos x="573" y="211"/>
                </a:cxn>
                <a:cxn ang="0">
                  <a:pos x="573" y="196"/>
                </a:cxn>
                <a:cxn ang="0">
                  <a:pos x="562" y="171"/>
                </a:cxn>
                <a:cxn ang="0">
                  <a:pos x="524" y="184"/>
                </a:cxn>
                <a:cxn ang="0">
                  <a:pos x="512" y="169"/>
                </a:cxn>
                <a:cxn ang="0">
                  <a:pos x="518" y="157"/>
                </a:cxn>
                <a:cxn ang="0">
                  <a:pos x="527" y="146"/>
                </a:cxn>
                <a:cxn ang="0">
                  <a:pos x="545" y="146"/>
                </a:cxn>
                <a:cxn ang="0">
                  <a:pos x="573" y="123"/>
                </a:cxn>
                <a:cxn ang="0">
                  <a:pos x="579" y="94"/>
                </a:cxn>
                <a:cxn ang="0">
                  <a:pos x="562" y="81"/>
                </a:cxn>
                <a:cxn ang="0">
                  <a:pos x="554" y="48"/>
                </a:cxn>
                <a:cxn ang="0">
                  <a:pos x="550" y="29"/>
                </a:cxn>
                <a:cxn ang="0">
                  <a:pos x="539" y="6"/>
                </a:cxn>
                <a:cxn ang="0">
                  <a:pos x="518" y="6"/>
                </a:cxn>
                <a:cxn ang="0">
                  <a:pos x="485" y="6"/>
                </a:cxn>
                <a:cxn ang="0">
                  <a:pos x="462" y="6"/>
                </a:cxn>
                <a:cxn ang="0">
                  <a:pos x="428" y="17"/>
                </a:cxn>
                <a:cxn ang="0">
                  <a:pos x="416" y="29"/>
                </a:cxn>
                <a:cxn ang="0">
                  <a:pos x="385" y="77"/>
                </a:cxn>
                <a:cxn ang="0">
                  <a:pos x="357" y="100"/>
                </a:cxn>
                <a:cxn ang="0">
                  <a:pos x="334" y="129"/>
                </a:cxn>
                <a:cxn ang="0">
                  <a:pos x="305" y="140"/>
                </a:cxn>
                <a:cxn ang="0">
                  <a:pos x="263" y="123"/>
                </a:cxn>
                <a:cxn ang="0">
                  <a:pos x="228" y="146"/>
                </a:cxn>
                <a:cxn ang="0">
                  <a:pos x="182" y="171"/>
                </a:cxn>
                <a:cxn ang="0">
                  <a:pos x="169" y="134"/>
                </a:cxn>
                <a:cxn ang="0">
                  <a:pos x="140" y="106"/>
                </a:cxn>
                <a:cxn ang="0">
                  <a:pos x="140" y="129"/>
                </a:cxn>
                <a:cxn ang="0">
                  <a:pos x="140" y="146"/>
                </a:cxn>
                <a:cxn ang="0">
                  <a:pos x="123" y="194"/>
                </a:cxn>
                <a:cxn ang="0">
                  <a:pos x="111" y="200"/>
                </a:cxn>
                <a:cxn ang="0">
                  <a:pos x="77" y="234"/>
                </a:cxn>
                <a:cxn ang="0">
                  <a:pos x="29" y="234"/>
                </a:cxn>
                <a:cxn ang="0">
                  <a:pos x="6" y="224"/>
                </a:cxn>
              </a:cxnLst>
              <a:rect l="0" t="0" r="r" b="b"/>
              <a:pathLst>
                <a:path w="579" h="439">
                  <a:moveTo>
                    <a:pt x="0" y="217"/>
                  </a:moveTo>
                  <a:lnTo>
                    <a:pt x="2" y="234"/>
                  </a:lnTo>
                  <a:lnTo>
                    <a:pt x="6" y="251"/>
                  </a:lnTo>
                  <a:lnTo>
                    <a:pt x="0" y="257"/>
                  </a:lnTo>
                  <a:lnTo>
                    <a:pt x="0" y="261"/>
                  </a:lnTo>
                  <a:lnTo>
                    <a:pt x="0" y="263"/>
                  </a:lnTo>
                  <a:lnTo>
                    <a:pt x="0" y="269"/>
                  </a:lnTo>
                  <a:lnTo>
                    <a:pt x="0" y="282"/>
                  </a:lnTo>
                  <a:lnTo>
                    <a:pt x="0" y="294"/>
                  </a:lnTo>
                  <a:lnTo>
                    <a:pt x="7" y="301"/>
                  </a:lnTo>
                  <a:lnTo>
                    <a:pt x="17" y="305"/>
                  </a:lnTo>
                  <a:lnTo>
                    <a:pt x="23" y="313"/>
                  </a:lnTo>
                  <a:lnTo>
                    <a:pt x="29" y="322"/>
                  </a:lnTo>
                  <a:lnTo>
                    <a:pt x="29" y="334"/>
                  </a:lnTo>
                  <a:lnTo>
                    <a:pt x="36" y="340"/>
                  </a:lnTo>
                  <a:lnTo>
                    <a:pt x="40" y="345"/>
                  </a:lnTo>
                  <a:lnTo>
                    <a:pt x="40" y="357"/>
                  </a:lnTo>
                  <a:lnTo>
                    <a:pt x="36" y="359"/>
                  </a:lnTo>
                  <a:lnTo>
                    <a:pt x="36" y="361"/>
                  </a:lnTo>
                  <a:lnTo>
                    <a:pt x="34" y="365"/>
                  </a:lnTo>
                  <a:lnTo>
                    <a:pt x="34" y="368"/>
                  </a:lnTo>
                  <a:lnTo>
                    <a:pt x="29" y="378"/>
                  </a:lnTo>
                  <a:lnTo>
                    <a:pt x="23" y="388"/>
                  </a:lnTo>
                  <a:lnTo>
                    <a:pt x="23" y="393"/>
                  </a:lnTo>
                  <a:lnTo>
                    <a:pt x="23" y="395"/>
                  </a:lnTo>
                  <a:lnTo>
                    <a:pt x="23" y="399"/>
                  </a:lnTo>
                  <a:lnTo>
                    <a:pt x="23" y="405"/>
                  </a:lnTo>
                  <a:lnTo>
                    <a:pt x="23" y="416"/>
                  </a:lnTo>
                  <a:lnTo>
                    <a:pt x="23" y="428"/>
                  </a:lnTo>
                  <a:lnTo>
                    <a:pt x="29" y="439"/>
                  </a:lnTo>
                  <a:lnTo>
                    <a:pt x="40" y="439"/>
                  </a:lnTo>
                  <a:lnTo>
                    <a:pt x="52" y="439"/>
                  </a:lnTo>
                  <a:lnTo>
                    <a:pt x="63" y="428"/>
                  </a:lnTo>
                  <a:lnTo>
                    <a:pt x="82" y="428"/>
                  </a:lnTo>
                  <a:lnTo>
                    <a:pt x="90" y="424"/>
                  </a:lnTo>
                  <a:lnTo>
                    <a:pt x="100" y="422"/>
                  </a:lnTo>
                  <a:lnTo>
                    <a:pt x="105" y="434"/>
                  </a:lnTo>
                  <a:lnTo>
                    <a:pt x="107" y="434"/>
                  </a:lnTo>
                  <a:lnTo>
                    <a:pt x="111" y="434"/>
                  </a:lnTo>
                  <a:lnTo>
                    <a:pt x="123" y="434"/>
                  </a:lnTo>
                  <a:lnTo>
                    <a:pt x="134" y="434"/>
                  </a:lnTo>
                  <a:lnTo>
                    <a:pt x="144" y="428"/>
                  </a:lnTo>
                  <a:lnTo>
                    <a:pt x="151" y="422"/>
                  </a:lnTo>
                  <a:lnTo>
                    <a:pt x="157" y="422"/>
                  </a:lnTo>
                  <a:lnTo>
                    <a:pt x="161" y="422"/>
                  </a:lnTo>
                  <a:lnTo>
                    <a:pt x="163" y="422"/>
                  </a:lnTo>
                  <a:lnTo>
                    <a:pt x="169" y="422"/>
                  </a:lnTo>
                  <a:lnTo>
                    <a:pt x="178" y="422"/>
                  </a:lnTo>
                  <a:lnTo>
                    <a:pt x="188" y="422"/>
                  </a:lnTo>
                  <a:lnTo>
                    <a:pt x="199" y="422"/>
                  </a:lnTo>
                  <a:lnTo>
                    <a:pt x="211" y="422"/>
                  </a:lnTo>
                  <a:lnTo>
                    <a:pt x="218" y="422"/>
                  </a:lnTo>
                  <a:lnTo>
                    <a:pt x="228" y="422"/>
                  </a:lnTo>
                  <a:lnTo>
                    <a:pt x="238" y="422"/>
                  </a:lnTo>
                  <a:lnTo>
                    <a:pt x="245" y="422"/>
                  </a:lnTo>
                  <a:lnTo>
                    <a:pt x="251" y="422"/>
                  </a:lnTo>
                  <a:lnTo>
                    <a:pt x="257" y="422"/>
                  </a:lnTo>
                  <a:lnTo>
                    <a:pt x="263" y="422"/>
                  </a:lnTo>
                  <a:lnTo>
                    <a:pt x="266" y="422"/>
                  </a:lnTo>
                  <a:lnTo>
                    <a:pt x="268" y="422"/>
                  </a:lnTo>
                  <a:lnTo>
                    <a:pt x="274" y="422"/>
                  </a:lnTo>
                  <a:lnTo>
                    <a:pt x="288" y="422"/>
                  </a:lnTo>
                  <a:lnTo>
                    <a:pt x="299" y="422"/>
                  </a:lnTo>
                  <a:lnTo>
                    <a:pt x="307" y="424"/>
                  </a:lnTo>
                  <a:lnTo>
                    <a:pt x="316" y="428"/>
                  </a:lnTo>
                  <a:lnTo>
                    <a:pt x="316" y="416"/>
                  </a:lnTo>
                  <a:lnTo>
                    <a:pt x="316" y="405"/>
                  </a:lnTo>
                  <a:lnTo>
                    <a:pt x="320" y="403"/>
                  </a:lnTo>
                  <a:lnTo>
                    <a:pt x="320" y="401"/>
                  </a:lnTo>
                  <a:lnTo>
                    <a:pt x="322" y="397"/>
                  </a:lnTo>
                  <a:lnTo>
                    <a:pt x="322" y="393"/>
                  </a:lnTo>
                  <a:lnTo>
                    <a:pt x="328" y="384"/>
                  </a:lnTo>
                  <a:lnTo>
                    <a:pt x="334" y="374"/>
                  </a:lnTo>
                  <a:lnTo>
                    <a:pt x="345" y="374"/>
                  </a:lnTo>
                  <a:lnTo>
                    <a:pt x="357" y="374"/>
                  </a:lnTo>
                  <a:lnTo>
                    <a:pt x="362" y="378"/>
                  </a:lnTo>
                  <a:lnTo>
                    <a:pt x="368" y="382"/>
                  </a:lnTo>
                  <a:lnTo>
                    <a:pt x="374" y="382"/>
                  </a:lnTo>
                  <a:lnTo>
                    <a:pt x="378" y="382"/>
                  </a:lnTo>
                  <a:lnTo>
                    <a:pt x="380" y="382"/>
                  </a:lnTo>
                  <a:lnTo>
                    <a:pt x="385" y="382"/>
                  </a:lnTo>
                  <a:lnTo>
                    <a:pt x="399" y="382"/>
                  </a:lnTo>
                  <a:lnTo>
                    <a:pt x="410" y="382"/>
                  </a:lnTo>
                  <a:lnTo>
                    <a:pt x="416" y="368"/>
                  </a:lnTo>
                  <a:lnTo>
                    <a:pt x="416" y="361"/>
                  </a:lnTo>
                  <a:lnTo>
                    <a:pt x="416" y="351"/>
                  </a:lnTo>
                  <a:lnTo>
                    <a:pt x="422" y="340"/>
                  </a:lnTo>
                  <a:lnTo>
                    <a:pt x="433" y="334"/>
                  </a:lnTo>
                  <a:lnTo>
                    <a:pt x="439" y="328"/>
                  </a:lnTo>
                  <a:lnTo>
                    <a:pt x="439" y="324"/>
                  </a:lnTo>
                  <a:lnTo>
                    <a:pt x="443" y="320"/>
                  </a:lnTo>
                  <a:lnTo>
                    <a:pt x="447" y="317"/>
                  </a:lnTo>
                  <a:lnTo>
                    <a:pt x="451" y="317"/>
                  </a:lnTo>
                  <a:lnTo>
                    <a:pt x="455" y="311"/>
                  </a:lnTo>
                  <a:lnTo>
                    <a:pt x="456" y="305"/>
                  </a:lnTo>
                  <a:lnTo>
                    <a:pt x="462" y="305"/>
                  </a:lnTo>
                  <a:lnTo>
                    <a:pt x="472" y="295"/>
                  </a:lnTo>
                  <a:lnTo>
                    <a:pt x="479" y="282"/>
                  </a:lnTo>
                  <a:lnTo>
                    <a:pt x="485" y="276"/>
                  </a:lnTo>
                  <a:lnTo>
                    <a:pt x="491" y="269"/>
                  </a:lnTo>
                  <a:lnTo>
                    <a:pt x="497" y="267"/>
                  </a:lnTo>
                  <a:lnTo>
                    <a:pt x="502" y="263"/>
                  </a:lnTo>
                  <a:lnTo>
                    <a:pt x="508" y="257"/>
                  </a:lnTo>
                  <a:lnTo>
                    <a:pt x="510" y="251"/>
                  </a:lnTo>
                  <a:lnTo>
                    <a:pt x="516" y="246"/>
                  </a:lnTo>
                  <a:lnTo>
                    <a:pt x="524" y="246"/>
                  </a:lnTo>
                  <a:lnTo>
                    <a:pt x="533" y="246"/>
                  </a:lnTo>
                  <a:lnTo>
                    <a:pt x="533" y="242"/>
                  </a:lnTo>
                  <a:lnTo>
                    <a:pt x="537" y="242"/>
                  </a:lnTo>
                  <a:lnTo>
                    <a:pt x="541" y="240"/>
                  </a:lnTo>
                  <a:lnTo>
                    <a:pt x="545" y="240"/>
                  </a:lnTo>
                  <a:lnTo>
                    <a:pt x="547" y="226"/>
                  </a:lnTo>
                  <a:lnTo>
                    <a:pt x="550" y="223"/>
                  </a:lnTo>
                  <a:lnTo>
                    <a:pt x="556" y="217"/>
                  </a:lnTo>
                  <a:lnTo>
                    <a:pt x="568" y="217"/>
                  </a:lnTo>
                  <a:lnTo>
                    <a:pt x="573" y="211"/>
                  </a:lnTo>
                  <a:lnTo>
                    <a:pt x="573" y="207"/>
                  </a:lnTo>
                  <a:lnTo>
                    <a:pt x="573" y="205"/>
                  </a:lnTo>
                  <a:lnTo>
                    <a:pt x="573" y="200"/>
                  </a:lnTo>
                  <a:lnTo>
                    <a:pt x="573" y="196"/>
                  </a:lnTo>
                  <a:lnTo>
                    <a:pt x="573" y="194"/>
                  </a:lnTo>
                  <a:lnTo>
                    <a:pt x="573" y="182"/>
                  </a:lnTo>
                  <a:lnTo>
                    <a:pt x="573" y="171"/>
                  </a:lnTo>
                  <a:lnTo>
                    <a:pt x="562" y="171"/>
                  </a:lnTo>
                  <a:lnTo>
                    <a:pt x="554" y="177"/>
                  </a:lnTo>
                  <a:lnTo>
                    <a:pt x="545" y="182"/>
                  </a:lnTo>
                  <a:lnTo>
                    <a:pt x="533" y="182"/>
                  </a:lnTo>
                  <a:lnTo>
                    <a:pt x="524" y="184"/>
                  </a:lnTo>
                  <a:lnTo>
                    <a:pt x="516" y="188"/>
                  </a:lnTo>
                  <a:lnTo>
                    <a:pt x="512" y="178"/>
                  </a:lnTo>
                  <a:lnTo>
                    <a:pt x="510" y="171"/>
                  </a:lnTo>
                  <a:lnTo>
                    <a:pt x="512" y="169"/>
                  </a:lnTo>
                  <a:lnTo>
                    <a:pt x="514" y="167"/>
                  </a:lnTo>
                  <a:lnTo>
                    <a:pt x="516" y="163"/>
                  </a:lnTo>
                  <a:lnTo>
                    <a:pt x="516" y="157"/>
                  </a:lnTo>
                  <a:lnTo>
                    <a:pt x="518" y="157"/>
                  </a:lnTo>
                  <a:lnTo>
                    <a:pt x="520" y="155"/>
                  </a:lnTo>
                  <a:lnTo>
                    <a:pt x="522" y="152"/>
                  </a:lnTo>
                  <a:lnTo>
                    <a:pt x="522" y="146"/>
                  </a:lnTo>
                  <a:lnTo>
                    <a:pt x="527" y="146"/>
                  </a:lnTo>
                  <a:lnTo>
                    <a:pt x="533" y="146"/>
                  </a:lnTo>
                  <a:lnTo>
                    <a:pt x="539" y="146"/>
                  </a:lnTo>
                  <a:lnTo>
                    <a:pt x="541" y="146"/>
                  </a:lnTo>
                  <a:lnTo>
                    <a:pt x="545" y="146"/>
                  </a:lnTo>
                  <a:lnTo>
                    <a:pt x="556" y="146"/>
                  </a:lnTo>
                  <a:lnTo>
                    <a:pt x="568" y="146"/>
                  </a:lnTo>
                  <a:lnTo>
                    <a:pt x="568" y="129"/>
                  </a:lnTo>
                  <a:lnTo>
                    <a:pt x="573" y="123"/>
                  </a:lnTo>
                  <a:lnTo>
                    <a:pt x="573" y="121"/>
                  </a:lnTo>
                  <a:lnTo>
                    <a:pt x="573" y="117"/>
                  </a:lnTo>
                  <a:lnTo>
                    <a:pt x="577" y="106"/>
                  </a:lnTo>
                  <a:lnTo>
                    <a:pt x="579" y="94"/>
                  </a:lnTo>
                  <a:lnTo>
                    <a:pt x="573" y="88"/>
                  </a:lnTo>
                  <a:lnTo>
                    <a:pt x="562" y="88"/>
                  </a:lnTo>
                  <a:lnTo>
                    <a:pt x="562" y="84"/>
                  </a:lnTo>
                  <a:lnTo>
                    <a:pt x="562" y="81"/>
                  </a:lnTo>
                  <a:lnTo>
                    <a:pt x="560" y="77"/>
                  </a:lnTo>
                  <a:lnTo>
                    <a:pt x="556" y="77"/>
                  </a:lnTo>
                  <a:lnTo>
                    <a:pt x="556" y="59"/>
                  </a:lnTo>
                  <a:lnTo>
                    <a:pt x="554" y="48"/>
                  </a:lnTo>
                  <a:lnTo>
                    <a:pt x="550" y="40"/>
                  </a:lnTo>
                  <a:lnTo>
                    <a:pt x="550" y="35"/>
                  </a:lnTo>
                  <a:lnTo>
                    <a:pt x="550" y="33"/>
                  </a:lnTo>
                  <a:lnTo>
                    <a:pt x="550" y="29"/>
                  </a:lnTo>
                  <a:lnTo>
                    <a:pt x="550" y="17"/>
                  </a:lnTo>
                  <a:lnTo>
                    <a:pt x="550" y="6"/>
                  </a:lnTo>
                  <a:lnTo>
                    <a:pt x="545" y="6"/>
                  </a:lnTo>
                  <a:lnTo>
                    <a:pt x="539" y="6"/>
                  </a:lnTo>
                  <a:lnTo>
                    <a:pt x="533" y="6"/>
                  </a:lnTo>
                  <a:lnTo>
                    <a:pt x="527" y="6"/>
                  </a:lnTo>
                  <a:lnTo>
                    <a:pt x="522" y="6"/>
                  </a:lnTo>
                  <a:lnTo>
                    <a:pt x="518" y="6"/>
                  </a:lnTo>
                  <a:lnTo>
                    <a:pt x="516" y="6"/>
                  </a:lnTo>
                  <a:lnTo>
                    <a:pt x="510" y="6"/>
                  </a:lnTo>
                  <a:lnTo>
                    <a:pt x="499" y="6"/>
                  </a:lnTo>
                  <a:lnTo>
                    <a:pt x="485" y="6"/>
                  </a:lnTo>
                  <a:lnTo>
                    <a:pt x="479" y="0"/>
                  </a:lnTo>
                  <a:lnTo>
                    <a:pt x="468" y="0"/>
                  </a:lnTo>
                  <a:lnTo>
                    <a:pt x="466" y="2"/>
                  </a:lnTo>
                  <a:lnTo>
                    <a:pt x="462" y="6"/>
                  </a:lnTo>
                  <a:lnTo>
                    <a:pt x="451" y="6"/>
                  </a:lnTo>
                  <a:lnTo>
                    <a:pt x="439" y="6"/>
                  </a:lnTo>
                  <a:lnTo>
                    <a:pt x="433" y="13"/>
                  </a:lnTo>
                  <a:lnTo>
                    <a:pt x="428" y="17"/>
                  </a:lnTo>
                  <a:lnTo>
                    <a:pt x="426" y="21"/>
                  </a:lnTo>
                  <a:lnTo>
                    <a:pt x="424" y="25"/>
                  </a:lnTo>
                  <a:lnTo>
                    <a:pt x="420" y="29"/>
                  </a:lnTo>
                  <a:lnTo>
                    <a:pt x="416" y="29"/>
                  </a:lnTo>
                  <a:lnTo>
                    <a:pt x="410" y="35"/>
                  </a:lnTo>
                  <a:lnTo>
                    <a:pt x="399" y="46"/>
                  </a:lnTo>
                  <a:lnTo>
                    <a:pt x="393" y="59"/>
                  </a:lnTo>
                  <a:lnTo>
                    <a:pt x="385" y="77"/>
                  </a:lnTo>
                  <a:lnTo>
                    <a:pt x="385" y="88"/>
                  </a:lnTo>
                  <a:lnTo>
                    <a:pt x="374" y="94"/>
                  </a:lnTo>
                  <a:lnTo>
                    <a:pt x="362" y="94"/>
                  </a:lnTo>
                  <a:lnTo>
                    <a:pt x="357" y="100"/>
                  </a:lnTo>
                  <a:lnTo>
                    <a:pt x="351" y="106"/>
                  </a:lnTo>
                  <a:lnTo>
                    <a:pt x="351" y="117"/>
                  </a:lnTo>
                  <a:lnTo>
                    <a:pt x="339" y="123"/>
                  </a:lnTo>
                  <a:lnTo>
                    <a:pt x="334" y="129"/>
                  </a:lnTo>
                  <a:lnTo>
                    <a:pt x="330" y="134"/>
                  </a:lnTo>
                  <a:lnTo>
                    <a:pt x="328" y="140"/>
                  </a:lnTo>
                  <a:lnTo>
                    <a:pt x="316" y="140"/>
                  </a:lnTo>
                  <a:lnTo>
                    <a:pt x="305" y="140"/>
                  </a:lnTo>
                  <a:lnTo>
                    <a:pt x="293" y="134"/>
                  </a:lnTo>
                  <a:lnTo>
                    <a:pt x="280" y="129"/>
                  </a:lnTo>
                  <a:lnTo>
                    <a:pt x="268" y="129"/>
                  </a:lnTo>
                  <a:lnTo>
                    <a:pt x="263" y="123"/>
                  </a:lnTo>
                  <a:lnTo>
                    <a:pt x="251" y="123"/>
                  </a:lnTo>
                  <a:lnTo>
                    <a:pt x="240" y="129"/>
                  </a:lnTo>
                  <a:lnTo>
                    <a:pt x="234" y="134"/>
                  </a:lnTo>
                  <a:lnTo>
                    <a:pt x="228" y="146"/>
                  </a:lnTo>
                  <a:lnTo>
                    <a:pt x="217" y="153"/>
                  </a:lnTo>
                  <a:lnTo>
                    <a:pt x="205" y="163"/>
                  </a:lnTo>
                  <a:lnTo>
                    <a:pt x="194" y="171"/>
                  </a:lnTo>
                  <a:lnTo>
                    <a:pt x="182" y="171"/>
                  </a:lnTo>
                  <a:lnTo>
                    <a:pt x="182" y="157"/>
                  </a:lnTo>
                  <a:lnTo>
                    <a:pt x="172" y="152"/>
                  </a:lnTo>
                  <a:lnTo>
                    <a:pt x="169" y="146"/>
                  </a:lnTo>
                  <a:lnTo>
                    <a:pt x="169" y="134"/>
                  </a:lnTo>
                  <a:lnTo>
                    <a:pt x="163" y="129"/>
                  </a:lnTo>
                  <a:lnTo>
                    <a:pt x="157" y="117"/>
                  </a:lnTo>
                  <a:lnTo>
                    <a:pt x="151" y="111"/>
                  </a:lnTo>
                  <a:lnTo>
                    <a:pt x="140" y="106"/>
                  </a:lnTo>
                  <a:lnTo>
                    <a:pt x="140" y="111"/>
                  </a:lnTo>
                  <a:lnTo>
                    <a:pt x="140" y="117"/>
                  </a:lnTo>
                  <a:lnTo>
                    <a:pt x="140" y="123"/>
                  </a:lnTo>
                  <a:lnTo>
                    <a:pt x="140" y="129"/>
                  </a:lnTo>
                  <a:lnTo>
                    <a:pt x="140" y="134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40" y="146"/>
                  </a:lnTo>
                  <a:lnTo>
                    <a:pt x="140" y="161"/>
                  </a:lnTo>
                  <a:lnTo>
                    <a:pt x="140" y="177"/>
                  </a:lnTo>
                  <a:lnTo>
                    <a:pt x="134" y="194"/>
                  </a:lnTo>
                  <a:lnTo>
                    <a:pt x="123" y="194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5" y="200"/>
                  </a:lnTo>
                  <a:lnTo>
                    <a:pt x="111" y="200"/>
                  </a:lnTo>
                  <a:lnTo>
                    <a:pt x="111" y="211"/>
                  </a:lnTo>
                  <a:lnTo>
                    <a:pt x="100" y="217"/>
                  </a:lnTo>
                  <a:lnTo>
                    <a:pt x="88" y="234"/>
                  </a:lnTo>
                  <a:lnTo>
                    <a:pt x="77" y="234"/>
                  </a:lnTo>
                  <a:lnTo>
                    <a:pt x="61" y="238"/>
                  </a:lnTo>
                  <a:lnTo>
                    <a:pt x="52" y="240"/>
                  </a:lnTo>
                  <a:lnTo>
                    <a:pt x="42" y="238"/>
                  </a:lnTo>
                  <a:lnTo>
                    <a:pt x="29" y="234"/>
                  </a:lnTo>
                  <a:lnTo>
                    <a:pt x="23" y="228"/>
                  </a:lnTo>
                  <a:lnTo>
                    <a:pt x="21" y="228"/>
                  </a:lnTo>
                  <a:lnTo>
                    <a:pt x="13" y="226"/>
                  </a:lnTo>
                  <a:lnTo>
                    <a:pt x="6" y="224"/>
                  </a:lnTo>
                  <a:lnTo>
                    <a:pt x="0" y="2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6" name="Freeform 4"/>
            <p:cNvSpPr>
              <a:spLocks/>
            </p:cNvSpPr>
            <p:nvPr/>
          </p:nvSpPr>
          <p:spPr bwMode="auto">
            <a:xfrm>
              <a:off x="1755" y="3136"/>
              <a:ext cx="579" cy="439"/>
            </a:xfrm>
            <a:custGeom>
              <a:avLst/>
              <a:gdLst/>
              <a:ahLst/>
              <a:cxnLst>
                <a:cxn ang="0">
                  <a:pos x="0" y="257"/>
                </a:cxn>
                <a:cxn ang="0">
                  <a:pos x="0" y="282"/>
                </a:cxn>
                <a:cxn ang="0">
                  <a:pos x="23" y="313"/>
                </a:cxn>
                <a:cxn ang="0">
                  <a:pos x="40" y="345"/>
                </a:cxn>
                <a:cxn ang="0">
                  <a:pos x="34" y="365"/>
                </a:cxn>
                <a:cxn ang="0">
                  <a:pos x="23" y="393"/>
                </a:cxn>
                <a:cxn ang="0">
                  <a:pos x="23" y="416"/>
                </a:cxn>
                <a:cxn ang="0">
                  <a:pos x="52" y="439"/>
                </a:cxn>
                <a:cxn ang="0">
                  <a:pos x="100" y="422"/>
                </a:cxn>
                <a:cxn ang="0">
                  <a:pos x="123" y="434"/>
                </a:cxn>
                <a:cxn ang="0">
                  <a:pos x="157" y="422"/>
                </a:cxn>
                <a:cxn ang="0">
                  <a:pos x="178" y="422"/>
                </a:cxn>
                <a:cxn ang="0">
                  <a:pos x="218" y="422"/>
                </a:cxn>
                <a:cxn ang="0">
                  <a:pos x="251" y="422"/>
                </a:cxn>
                <a:cxn ang="0">
                  <a:pos x="268" y="422"/>
                </a:cxn>
                <a:cxn ang="0">
                  <a:pos x="307" y="424"/>
                </a:cxn>
                <a:cxn ang="0">
                  <a:pos x="320" y="403"/>
                </a:cxn>
                <a:cxn ang="0">
                  <a:pos x="328" y="384"/>
                </a:cxn>
                <a:cxn ang="0">
                  <a:pos x="362" y="378"/>
                </a:cxn>
                <a:cxn ang="0">
                  <a:pos x="380" y="382"/>
                </a:cxn>
                <a:cxn ang="0">
                  <a:pos x="416" y="368"/>
                </a:cxn>
                <a:cxn ang="0">
                  <a:pos x="433" y="334"/>
                </a:cxn>
                <a:cxn ang="0">
                  <a:pos x="447" y="317"/>
                </a:cxn>
                <a:cxn ang="0">
                  <a:pos x="462" y="305"/>
                </a:cxn>
                <a:cxn ang="0">
                  <a:pos x="491" y="269"/>
                </a:cxn>
                <a:cxn ang="0">
                  <a:pos x="510" y="251"/>
                </a:cxn>
                <a:cxn ang="0">
                  <a:pos x="533" y="242"/>
                </a:cxn>
                <a:cxn ang="0">
                  <a:pos x="547" y="226"/>
                </a:cxn>
                <a:cxn ang="0">
                  <a:pos x="573" y="211"/>
                </a:cxn>
                <a:cxn ang="0">
                  <a:pos x="573" y="196"/>
                </a:cxn>
                <a:cxn ang="0">
                  <a:pos x="562" y="171"/>
                </a:cxn>
                <a:cxn ang="0">
                  <a:pos x="524" y="184"/>
                </a:cxn>
                <a:cxn ang="0">
                  <a:pos x="512" y="169"/>
                </a:cxn>
                <a:cxn ang="0">
                  <a:pos x="518" y="157"/>
                </a:cxn>
                <a:cxn ang="0">
                  <a:pos x="527" y="146"/>
                </a:cxn>
                <a:cxn ang="0">
                  <a:pos x="545" y="146"/>
                </a:cxn>
                <a:cxn ang="0">
                  <a:pos x="573" y="123"/>
                </a:cxn>
                <a:cxn ang="0">
                  <a:pos x="579" y="94"/>
                </a:cxn>
                <a:cxn ang="0">
                  <a:pos x="562" y="81"/>
                </a:cxn>
                <a:cxn ang="0">
                  <a:pos x="554" y="48"/>
                </a:cxn>
                <a:cxn ang="0">
                  <a:pos x="550" y="29"/>
                </a:cxn>
                <a:cxn ang="0">
                  <a:pos x="539" y="6"/>
                </a:cxn>
                <a:cxn ang="0">
                  <a:pos x="518" y="6"/>
                </a:cxn>
                <a:cxn ang="0">
                  <a:pos x="485" y="6"/>
                </a:cxn>
                <a:cxn ang="0">
                  <a:pos x="462" y="6"/>
                </a:cxn>
                <a:cxn ang="0">
                  <a:pos x="428" y="17"/>
                </a:cxn>
                <a:cxn ang="0">
                  <a:pos x="416" y="29"/>
                </a:cxn>
                <a:cxn ang="0">
                  <a:pos x="385" y="77"/>
                </a:cxn>
                <a:cxn ang="0">
                  <a:pos x="357" y="100"/>
                </a:cxn>
                <a:cxn ang="0">
                  <a:pos x="334" y="129"/>
                </a:cxn>
                <a:cxn ang="0">
                  <a:pos x="305" y="140"/>
                </a:cxn>
                <a:cxn ang="0">
                  <a:pos x="263" y="123"/>
                </a:cxn>
                <a:cxn ang="0">
                  <a:pos x="228" y="146"/>
                </a:cxn>
                <a:cxn ang="0">
                  <a:pos x="182" y="171"/>
                </a:cxn>
                <a:cxn ang="0">
                  <a:pos x="169" y="134"/>
                </a:cxn>
                <a:cxn ang="0">
                  <a:pos x="140" y="106"/>
                </a:cxn>
                <a:cxn ang="0">
                  <a:pos x="140" y="129"/>
                </a:cxn>
                <a:cxn ang="0">
                  <a:pos x="140" y="146"/>
                </a:cxn>
                <a:cxn ang="0">
                  <a:pos x="123" y="194"/>
                </a:cxn>
                <a:cxn ang="0">
                  <a:pos x="111" y="200"/>
                </a:cxn>
                <a:cxn ang="0">
                  <a:pos x="77" y="234"/>
                </a:cxn>
                <a:cxn ang="0">
                  <a:pos x="29" y="234"/>
                </a:cxn>
                <a:cxn ang="0">
                  <a:pos x="6" y="224"/>
                </a:cxn>
              </a:cxnLst>
              <a:rect l="0" t="0" r="r" b="b"/>
              <a:pathLst>
                <a:path w="579" h="439">
                  <a:moveTo>
                    <a:pt x="0" y="217"/>
                  </a:moveTo>
                  <a:lnTo>
                    <a:pt x="2" y="234"/>
                  </a:lnTo>
                  <a:lnTo>
                    <a:pt x="6" y="251"/>
                  </a:lnTo>
                  <a:lnTo>
                    <a:pt x="0" y="257"/>
                  </a:lnTo>
                  <a:lnTo>
                    <a:pt x="0" y="261"/>
                  </a:lnTo>
                  <a:lnTo>
                    <a:pt x="0" y="263"/>
                  </a:lnTo>
                  <a:lnTo>
                    <a:pt x="0" y="269"/>
                  </a:lnTo>
                  <a:lnTo>
                    <a:pt x="0" y="282"/>
                  </a:lnTo>
                  <a:lnTo>
                    <a:pt x="0" y="294"/>
                  </a:lnTo>
                  <a:lnTo>
                    <a:pt x="7" y="301"/>
                  </a:lnTo>
                  <a:lnTo>
                    <a:pt x="17" y="305"/>
                  </a:lnTo>
                  <a:lnTo>
                    <a:pt x="23" y="313"/>
                  </a:lnTo>
                  <a:lnTo>
                    <a:pt x="29" y="322"/>
                  </a:lnTo>
                  <a:lnTo>
                    <a:pt x="29" y="334"/>
                  </a:lnTo>
                  <a:lnTo>
                    <a:pt x="36" y="340"/>
                  </a:lnTo>
                  <a:lnTo>
                    <a:pt x="40" y="345"/>
                  </a:lnTo>
                  <a:lnTo>
                    <a:pt x="40" y="357"/>
                  </a:lnTo>
                  <a:lnTo>
                    <a:pt x="36" y="359"/>
                  </a:lnTo>
                  <a:lnTo>
                    <a:pt x="36" y="361"/>
                  </a:lnTo>
                  <a:lnTo>
                    <a:pt x="34" y="365"/>
                  </a:lnTo>
                  <a:lnTo>
                    <a:pt x="34" y="368"/>
                  </a:lnTo>
                  <a:lnTo>
                    <a:pt x="29" y="378"/>
                  </a:lnTo>
                  <a:lnTo>
                    <a:pt x="23" y="388"/>
                  </a:lnTo>
                  <a:lnTo>
                    <a:pt x="23" y="393"/>
                  </a:lnTo>
                  <a:lnTo>
                    <a:pt x="23" y="395"/>
                  </a:lnTo>
                  <a:lnTo>
                    <a:pt x="23" y="399"/>
                  </a:lnTo>
                  <a:lnTo>
                    <a:pt x="23" y="405"/>
                  </a:lnTo>
                  <a:lnTo>
                    <a:pt x="23" y="416"/>
                  </a:lnTo>
                  <a:lnTo>
                    <a:pt x="23" y="428"/>
                  </a:lnTo>
                  <a:lnTo>
                    <a:pt x="29" y="439"/>
                  </a:lnTo>
                  <a:lnTo>
                    <a:pt x="40" y="439"/>
                  </a:lnTo>
                  <a:lnTo>
                    <a:pt x="52" y="439"/>
                  </a:lnTo>
                  <a:lnTo>
                    <a:pt x="63" y="428"/>
                  </a:lnTo>
                  <a:lnTo>
                    <a:pt x="82" y="428"/>
                  </a:lnTo>
                  <a:lnTo>
                    <a:pt x="90" y="424"/>
                  </a:lnTo>
                  <a:lnTo>
                    <a:pt x="100" y="422"/>
                  </a:lnTo>
                  <a:lnTo>
                    <a:pt x="105" y="434"/>
                  </a:lnTo>
                  <a:lnTo>
                    <a:pt x="107" y="434"/>
                  </a:lnTo>
                  <a:lnTo>
                    <a:pt x="111" y="434"/>
                  </a:lnTo>
                  <a:lnTo>
                    <a:pt x="123" y="434"/>
                  </a:lnTo>
                  <a:lnTo>
                    <a:pt x="134" y="434"/>
                  </a:lnTo>
                  <a:lnTo>
                    <a:pt x="144" y="428"/>
                  </a:lnTo>
                  <a:lnTo>
                    <a:pt x="151" y="422"/>
                  </a:lnTo>
                  <a:lnTo>
                    <a:pt x="157" y="422"/>
                  </a:lnTo>
                  <a:lnTo>
                    <a:pt x="161" y="422"/>
                  </a:lnTo>
                  <a:lnTo>
                    <a:pt x="163" y="422"/>
                  </a:lnTo>
                  <a:lnTo>
                    <a:pt x="169" y="422"/>
                  </a:lnTo>
                  <a:lnTo>
                    <a:pt x="178" y="422"/>
                  </a:lnTo>
                  <a:lnTo>
                    <a:pt x="188" y="422"/>
                  </a:lnTo>
                  <a:lnTo>
                    <a:pt x="199" y="422"/>
                  </a:lnTo>
                  <a:lnTo>
                    <a:pt x="211" y="422"/>
                  </a:lnTo>
                  <a:lnTo>
                    <a:pt x="218" y="422"/>
                  </a:lnTo>
                  <a:lnTo>
                    <a:pt x="228" y="422"/>
                  </a:lnTo>
                  <a:lnTo>
                    <a:pt x="238" y="422"/>
                  </a:lnTo>
                  <a:lnTo>
                    <a:pt x="245" y="422"/>
                  </a:lnTo>
                  <a:lnTo>
                    <a:pt x="251" y="422"/>
                  </a:lnTo>
                  <a:lnTo>
                    <a:pt x="257" y="422"/>
                  </a:lnTo>
                  <a:lnTo>
                    <a:pt x="263" y="422"/>
                  </a:lnTo>
                  <a:lnTo>
                    <a:pt x="266" y="422"/>
                  </a:lnTo>
                  <a:lnTo>
                    <a:pt x="268" y="422"/>
                  </a:lnTo>
                  <a:lnTo>
                    <a:pt x="274" y="422"/>
                  </a:lnTo>
                  <a:lnTo>
                    <a:pt x="288" y="422"/>
                  </a:lnTo>
                  <a:lnTo>
                    <a:pt x="299" y="422"/>
                  </a:lnTo>
                  <a:lnTo>
                    <a:pt x="307" y="424"/>
                  </a:lnTo>
                  <a:lnTo>
                    <a:pt x="316" y="428"/>
                  </a:lnTo>
                  <a:lnTo>
                    <a:pt x="316" y="416"/>
                  </a:lnTo>
                  <a:lnTo>
                    <a:pt x="316" y="405"/>
                  </a:lnTo>
                  <a:lnTo>
                    <a:pt x="320" y="403"/>
                  </a:lnTo>
                  <a:lnTo>
                    <a:pt x="320" y="401"/>
                  </a:lnTo>
                  <a:lnTo>
                    <a:pt x="322" y="397"/>
                  </a:lnTo>
                  <a:lnTo>
                    <a:pt x="322" y="393"/>
                  </a:lnTo>
                  <a:lnTo>
                    <a:pt x="328" y="384"/>
                  </a:lnTo>
                  <a:lnTo>
                    <a:pt x="334" y="374"/>
                  </a:lnTo>
                  <a:lnTo>
                    <a:pt x="345" y="374"/>
                  </a:lnTo>
                  <a:lnTo>
                    <a:pt x="357" y="374"/>
                  </a:lnTo>
                  <a:lnTo>
                    <a:pt x="362" y="378"/>
                  </a:lnTo>
                  <a:lnTo>
                    <a:pt x="368" y="382"/>
                  </a:lnTo>
                  <a:lnTo>
                    <a:pt x="374" y="382"/>
                  </a:lnTo>
                  <a:lnTo>
                    <a:pt x="378" y="382"/>
                  </a:lnTo>
                  <a:lnTo>
                    <a:pt x="380" y="382"/>
                  </a:lnTo>
                  <a:lnTo>
                    <a:pt x="385" y="382"/>
                  </a:lnTo>
                  <a:lnTo>
                    <a:pt x="399" y="382"/>
                  </a:lnTo>
                  <a:lnTo>
                    <a:pt x="410" y="382"/>
                  </a:lnTo>
                  <a:lnTo>
                    <a:pt x="416" y="368"/>
                  </a:lnTo>
                  <a:lnTo>
                    <a:pt x="416" y="361"/>
                  </a:lnTo>
                  <a:lnTo>
                    <a:pt x="416" y="351"/>
                  </a:lnTo>
                  <a:lnTo>
                    <a:pt x="422" y="340"/>
                  </a:lnTo>
                  <a:lnTo>
                    <a:pt x="433" y="334"/>
                  </a:lnTo>
                  <a:lnTo>
                    <a:pt x="439" y="328"/>
                  </a:lnTo>
                  <a:lnTo>
                    <a:pt x="439" y="324"/>
                  </a:lnTo>
                  <a:lnTo>
                    <a:pt x="443" y="320"/>
                  </a:lnTo>
                  <a:lnTo>
                    <a:pt x="447" y="317"/>
                  </a:lnTo>
                  <a:lnTo>
                    <a:pt x="451" y="317"/>
                  </a:lnTo>
                  <a:lnTo>
                    <a:pt x="455" y="311"/>
                  </a:lnTo>
                  <a:lnTo>
                    <a:pt x="456" y="305"/>
                  </a:lnTo>
                  <a:lnTo>
                    <a:pt x="462" y="305"/>
                  </a:lnTo>
                  <a:lnTo>
                    <a:pt x="472" y="295"/>
                  </a:lnTo>
                  <a:lnTo>
                    <a:pt x="479" y="282"/>
                  </a:lnTo>
                  <a:lnTo>
                    <a:pt x="485" y="276"/>
                  </a:lnTo>
                  <a:lnTo>
                    <a:pt x="491" y="269"/>
                  </a:lnTo>
                  <a:lnTo>
                    <a:pt x="497" y="267"/>
                  </a:lnTo>
                  <a:lnTo>
                    <a:pt x="502" y="263"/>
                  </a:lnTo>
                  <a:lnTo>
                    <a:pt x="508" y="257"/>
                  </a:lnTo>
                  <a:lnTo>
                    <a:pt x="510" y="251"/>
                  </a:lnTo>
                  <a:lnTo>
                    <a:pt x="516" y="246"/>
                  </a:lnTo>
                  <a:lnTo>
                    <a:pt x="524" y="246"/>
                  </a:lnTo>
                  <a:lnTo>
                    <a:pt x="533" y="246"/>
                  </a:lnTo>
                  <a:lnTo>
                    <a:pt x="533" y="242"/>
                  </a:lnTo>
                  <a:lnTo>
                    <a:pt x="537" y="242"/>
                  </a:lnTo>
                  <a:lnTo>
                    <a:pt x="541" y="240"/>
                  </a:lnTo>
                  <a:lnTo>
                    <a:pt x="545" y="240"/>
                  </a:lnTo>
                  <a:lnTo>
                    <a:pt x="547" y="226"/>
                  </a:lnTo>
                  <a:lnTo>
                    <a:pt x="550" y="223"/>
                  </a:lnTo>
                  <a:lnTo>
                    <a:pt x="556" y="217"/>
                  </a:lnTo>
                  <a:lnTo>
                    <a:pt x="568" y="217"/>
                  </a:lnTo>
                  <a:lnTo>
                    <a:pt x="573" y="211"/>
                  </a:lnTo>
                  <a:lnTo>
                    <a:pt x="573" y="207"/>
                  </a:lnTo>
                  <a:lnTo>
                    <a:pt x="573" y="205"/>
                  </a:lnTo>
                  <a:lnTo>
                    <a:pt x="573" y="200"/>
                  </a:lnTo>
                  <a:lnTo>
                    <a:pt x="573" y="196"/>
                  </a:lnTo>
                  <a:lnTo>
                    <a:pt x="573" y="194"/>
                  </a:lnTo>
                  <a:lnTo>
                    <a:pt x="573" y="182"/>
                  </a:lnTo>
                  <a:lnTo>
                    <a:pt x="573" y="171"/>
                  </a:lnTo>
                  <a:lnTo>
                    <a:pt x="562" y="171"/>
                  </a:lnTo>
                  <a:lnTo>
                    <a:pt x="554" y="177"/>
                  </a:lnTo>
                  <a:lnTo>
                    <a:pt x="545" y="182"/>
                  </a:lnTo>
                  <a:lnTo>
                    <a:pt x="533" y="182"/>
                  </a:lnTo>
                  <a:lnTo>
                    <a:pt x="524" y="184"/>
                  </a:lnTo>
                  <a:lnTo>
                    <a:pt x="516" y="188"/>
                  </a:lnTo>
                  <a:lnTo>
                    <a:pt x="512" y="178"/>
                  </a:lnTo>
                  <a:lnTo>
                    <a:pt x="510" y="171"/>
                  </a:lnTo>
                  <a:lnTo>
                    <a:pt x="512" y="169"/>
                  </a:lnTo>
                  <a:lnTo>
                    <a:pt x="514" y="167"/>
                  </a:lnTo>
                  <a:lnTo>
                    <a:pt x="516" y="163"/>
                  </a:lnTo>
                  <a:lnTo>
                    <a:pt x="516" y="157"/>
                  </a:lnTo>
                  <a:lnTo>
                    <a:pt x="518" y="157"/>
                  </a:lnTo>
                  <a:lnTo>
                    <a:pt x="520" y="155"/>
                  </a:lnTo>
                  <a:lnTo>
                    <a:pt x="522" y="152"/>
                  </a:lnTo>
                  <a:lnTo>
                    <a:pt x="522" y="146"/>
                  </a:lnTo>
                  <a:lnTo>
                    <a:pt x="527" y="146"/>
                  </a:lnTo>
                  <a:lnTo>
                    <a:pt x="533" y="146"/>
                  </a:lnTo>
                  <a:lnTo>
                    <a:pt x="539" y="146"/>
                  </a:lnTo>
                  <a:lnTo>
                    <a:pt x="541" y="146"/>
                  </a:lnTo>
                  <a:lnTo>
                    <a:pt x="545" y="146"/>
                  </a:lnTo>
                  <a:lnTo>
                    <a:pt x="556" y="146"/>
                  </a:lnTo>
                  <a:lnTo>
                    <a:pt x="568" y="146"/>
                  </a:lnTo>
                  <a:lnTo>
                    <a:pt x="568" y="129"/>
                  </a:lnTo>
                  <a:lnTo>
                    <a:pt x="573" y="123"/>
                  </a:lnTo>
                  <a:lnTo>
                    <a:pt x="573" y="121"/>
                  </a:lnTo>
                  <a:lnTo>
                    <a:pt x="573" y="117"/>
                  </a:lnTo>
                  <a:lnTo>
                    <a:pt x="577" y="106"/>
                  </a:lnTo>
                  <a:lnTo>
                    <a:pt x="579" y="94"/>
                  </a:lnTo>
                  <a:lnTo>
                    <a:pt x="573" y="88"/>
                  </a:lnTo>
                  <a:lnTo>
                    <a:pt x="562" y="88"/>
                  </a:lnTo>
                  <a:lnTo>
                    <a:pt x="562" y="84"/>
                  </a:lnTo>
                  <a:lnTo>
                    <a:pt x="562" y="81"/>
                  </a:lnTo>
                  <a:lnTo>
                    <a:pt x="560" y="77"/>
                  </a:lnTo>
                  <a:lnTo>
                    <a:pt x="556" y="77"/>
                  </a:lnTo>
                  <a:lnTo>
                    <a:pt x="556" y="59"/>
                  </a:lnTo>
                  <a:lnTo>
                    <a:pt x="554" y="48"/>
                  </a:lnTo>
                  <a:lnTo>
                    <a:pt x="550" y="40"/>
                  </a:lnTo>
                  <a:lnTo>
                    <a:pt x="550" y="35"/>
                  </a:lnTo>
                  <a:lnTo>
                    <a:pt x="550" y="33"/>
                  </a:lnTo>
                  <a:lnTo>
                    <a:pt x="550" y="29"/>
                  </a:lnTo>
                  <a:lnTo>
                    <a:pt x="550" y="17"/>
                  </a:lnTo>
                  <a:lnTo>
                    <a:pt x="550" y="6"/>
                  </a:lnTo>
                  <a:lnTo>
                    <a:pt x="545" y="6"/>
                  </a:lnTo>
                  <a:lnTo>
                    <a:pt x="539" y="6"/>
                  </a:lnTo>
                  <a:lnTo>
                    <a:pt x="533" y="6"/>
                  </a:lnTo>
                  <a:lnTo>
                    <a:pt x="527" y="6"/>
                  </a:lnTo>
                  <a:lnTo>
                    <a:pt x="522" y="6"/>
                  </a:lnTo>
                  <a:lnTo>
                    <a:pt x="518" y="6"/>
                  </a:lnTo>
                  <a:lnTo>
                    <a:pt x="516" y="6"/>
                  </a:lnTo>
                  <a:lnTo>
                    <a:pt x="510" y="6"/>
                  </a:lnTo>
                  <a:lnTo>
                    <a:pt x="499" y="6"/>
                  </a:lnTo>
                  <a:lnTo>
                    <a:pt x="485" y="6"/>
                  </a:lnTo>
                  <a:lnTo>
                    <a:pt x="479" y="0"/>
                  </a:lnTo>
                  <a:lnTo>
                    <a:pt x="468" y="0"/>
                  </a:lnTo>
                  <a:lnTo>
                    <a:pt x="466" y="2"/>
                  </a:lnTo>
                  <a:lnTo>
                    <a:pt x="462" y="6"/>
                  </a:lnTo>
                  <a:lnTo>
                    <a:pt x="451" y="6"/>
                  </a:lnTo>
                  <a:lnTo>
                    <a:pt x="439" y="6"/>
                  </a:lnTo>
                  <a:lnTo>
                    <a:pt x="433" y="13"/>
                  </a:lnTo>
                  <a:lnTo>
                    <a:pt x="428" y="17"/>
                  </a:lnTo>
                  <a:lnTo>
                    <a:pt x="426" y="21"/>
                  </a:lnTo>
                  <a:lnTo>
                    <a:pt x="424" y="25"/>
                  </a:lnTo>
                  <a:lnTo>
                    <a:pt x="420" y="29"/>
                  </a:lnTo>
                  <a:lnTo>
                    <a:pt x="416" y="29"/>
                  </a:lnTo>
                  <a:lnTo>
                    <a:pt x="410" y="35"/>
                  </a:lnTo>
                  <a:lnTo>
                    <a:pt x="399" y="46"/>
                  </a:lnTo>
                  <a:lnTo>
                    <a:pt x="393" y="59"/>
                  </a:lnTo>
                  <a:lnTo>
                    <a:pt x="385" y="77"/>
                  </a:lnTo>
                  <a:lnTo>
                    <a:pt x="385" y="88"/>
                  </a:lnTo>
                  <a:lnTo>
                    <a:pt x="374" y="94"/>
                  </a:lnTo>
                  <a:lnTo>
                    <a:pt x="362" y="94"/>
                  </a:lnTo>
                  <a:lnTo>
                    <a:pt x="357" y="100"/>
                  </a:lnTo>
                  <a:lnTo>
                    <a:pt x="351" y="106"/>
                  </a:lnTo>
                  <a:lnTo>
                    <a:pt x="351" y="117"/>
                  </a:lnTo>
                  <a:lnTo>
                    <a:pt x="339" y="123"/>
                  </a:lnTo>
                  <a:lnTo>
                    <a:pt x="334" y="129"/>
                  </a:lnTo>
                  <a:lnTo>
                    <a:pt x="330" y="134"/>
                  </a:lnTo>
                  <a:lnTo>
                    <a:pt x="328" y="140"/>
                  </a:lnTo>
                  <a:lnTo>
                    <a:pt x="316" y="140"/>
                  </a:lnTo>
                  <a:lnTo>
                    <a:pt x="305" y="140"/>
                  </a:lnTo>
                  <a:lnTo>
                    <a:pt x="293" y="134"/>
                  </a:lnTo>
                  <a:lnTo>
                    <a:pt x="280" y="129"/>
                  </a:lnTo>
                  <a:lnTo>
                    <a:pt x="268" y="129"/>
                  </a:lnTo>
                  <a:lnTo>
                    <a:pt x="263" y="123"/>
                  </a:lnTo>
                  <a:lnTo>
                    <a:pt x="251" y="123"/>
                  </a:lnTo>
                  <a:lnTo>
                    <a:pt x="240" y="129"/>
                  </a:lnTo>
                  <a:lnTo>
                    <a:pt x="234" y="134"/>
                  </a:lnTo>
                  <a:lnTo>
                    <a:pt x="228" y="146"/>
                  </a:lnTo>
                  <a:lnTo>
                    <a:pt x="217" y="153"/>
                  </a:lnTo>
                  <a:lnTo>
                    <a:pt x="205" y="163"/>
                  </a:lnTo>
                  <a:lnTo>
                    <a:pt x="194" y="171"/>
                  </a:lnTo>
                  <a:lnTo>
                    <a:pt x="182" y="171"/>
                  </a:lnTo>
                  <a:lnTo>
                    <a:pt x="182" y="157"/>
                  </a:lnTo>
                  <a:lnTo>
                    <a:pt x="172" y="152"/>
                  </a:lnTo>
                  <a:lnTo>
                    <a:pt x="169" y="146"/>
                  </a:lnTo>
                  <a:lnTo>
                    <a:pt x="169" y="134"/>
                  </a:lnTo>
                  <a:lnTo>
                    <a:pt x="163" y="129"/>
                  </a:lnTo>
                  <a:lnTo>
                    <a:pt x="157" y="117"/>
                  </a:lnTo>
                  <a:lnTo>
                    <a:pt x="151" y="111"/>
                  </a:lnTo>
                  <a:lnTo>
                    <a:pt x="140" y="106"/>
                  </a:lnTo>
                  <a:lnTo>
                    <a:pt x="140" y="111"/>
                  </a:lnTo>
                  <a:lnTo>
                    <a:pt x="140" y="117"/>
                  </a:lnTo>
                  <a:lnTo>
                    <a:pt x="140" y="123"/>
                  </a:lnTo>
                  <a:lnTo>
                    <a:pt x="140" y="129"/>
                  </a:lnTo>
                  <a:lnTo>
                    <a:pt x="140" y="134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40" y="146"/>
                  </a:lnTo>
                  <a:lnTo>
                    <a:pt x="140" y="161"/>
                  </a:lnTo>
                  <a:lnTo>
                    <a:pt x="140" y="177"/>
                  </a:lnTo>
                  <a:lnTo>
                    <a:pt x="134" y="194"/>
                  </a:lnTo>
                  <a:lnTo>
                    <a:pt x="123" y="194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5" y="200"/>
                  </a:lnTo>
                  <a:lnTo>
                    <a:pt x="111" y="200"/>
                  </a:lnTo>
                  <a:lnTo>
                    <a:pt x="111" y="211"/>
                  </a:lnTo>
                  <a:lnTo>
                    <a:pt x="100" y="217"/>
                  </a:lnTo>
                  <a:lnTo>
                    <a:pt x="88" y="234"/>
                  </a:lnTo>
                  <a:lnTo>
                    <a:pt x="77" y="234"/>
                  </a:lnTo>
                  <a:lnTo>
                    <a:pt x="61" y="238"/>
                  </a:lnTo>
                  <a:lnTo>
                    <a:pt x="52" y="240"/>
                  </a:lnTo>
                  <a:lnTo>
                    <a:pt x="42" y="238"/>
                  </a:lnTo>
                  <a:lnTo>
                    <a:pt x="29" y="234"/>
                  </a:lnTo>
                  <a:lnTo>
                    <a:pt x="23" y="228"/>
                  </a:lnTo>
                  <a:lnTo>
                    <a:pt x="21" y="228"/>
                  </a:lnTo>
                  <a:lnTo>
                    <a:pt x="13" y="226"/>
                  </a:lnTo>
                  <a:lnTo>
                    <a:pt x="6" y="224"/>
                  </a:lnTo>
                  <a:lnTo>
                    <a:pt x="0" y="21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1901" y="2979"/>
              <a:ext cx="322" cy="320"/>
            </a:xfrm>
            <a:custGeom>
              <a:avLst/>
              <a:gdLst/>
              <a:ahLst/>
              <a:cxnLst>
                <a:cxn ang="0">
                  <a:pos x="5" y="228"/>
                </a:cxn>
                <a:cxn ang="0">
                  <a:pos x="5" y="203"/>
                </a:cxn>
                <a:cxn ang="0">
                  <a:pos x="5" y="186"/>
                </a:cxn>
                <a:cxn ang="0">
                  <a:pos x="5" y="174"/>
                </a:cxn>
                <a:cxn ang="0">
                  <a:pos x="2" y="149"/>
                </a:cxn>
                <a:cxn ang="0">
                  <a:pos x="0" y="140"/>
                </a:cxn>
                <a:cxn ang="0">
                  <a:pos x="28" y="128"/>
                </a:cxn>
                <a:cxn ang="0">
                  <a:pos x="36" y="97"/>
                </a:cxn>
                <a:cxn ang="0">
                  <a:pos x="36" y="69"/>
                </a:cxn>
                <a:cxn ang="0">
                  <a:pos x="36" y="55"/>
                </a:cxn>
                <a:cxn ang="0">
                  <a:pos x="36" y="34"/>
                </a:cxn>
                <a:cxn ang="0">
                  <a:pos x="44" y="23"/>
                </a:cxn>
                <a:cxn ang="0">
                  <a:pos x="71" y="23"/>
                </a:cxn>
                <a:cxn ang="0">
                  <a:pos x="99" y="17"/>
                </a:cxn>
                <a:cxn ang="0">
                  <a:pos x="128" y="11"/>
                </a:cxn>
                <a:cxn ang="0">
                  <a:pos x="153" y="17"/>
                </a:cxn>
                <a:cxn ang="0">
                  <a:pos x="182" y="0"/>
                </a:cxn>
                <a:cxn ang="0">
                  <a:pos x="188" y="19"/>
                </a:cxn>
                <a:cxn ang="0">
                  <a:pos x="199" y="46"/>
                </a:cxn>
                <a:cxn ang="0">
                  <a:pos x="220" y="57"/>
                </a:cxn>
                <a:cxn ang="0">
                  <a:pos x="247" y="63"/>
                </a:cxn>
                <a:cxn ang="0">
                  <a:pos x="253" y="76"/>
                </a:cxn>
                <a:cxn ang="0">
                  <a:pos x="253" y="86"/>
                </a:cxn>
                <a:cxn ang="0">
                  <a:pos x="272" y="103"/>
                </a:cxn>
                <a:cxn ang="0">
                  <a:pos x="282" y="122"/>
                </a:cxn>
                <a:cxn ang="0">
                  <a:pos x="305" y="140"/>
                </a:cxn>
                <a:cxn ang="0">
                  <a:pos x="316" y="163"/>
                </a:cxn>
                <a:cxn ang="0">
                  <a:pos x="299" y="163"/>
                </a:cxn>
                <a:cxn ang="0">
                  <a:pos x="276" y="180"/>
                </a:cxn>
                <a:cxn ang="0">
                  <a:pos x="257" y="192"/>
                </a:cxn>
                <a:cxn ang="0">
                  <a:pos x="247" y="203"/>
                </a:cxn>
                <a:cxn ang="0">
                  <a:pos x="243" y="230"/>
                </a:cxn>
                <a:cxn ang="0">
                  <a:pos x="236" y="243"/>
                </a:cxn>
                <a:cxn ang="0">
                  <a:pos x="226" y="251"/>
                </a:cxn>
                <a:cxn ang="0">
                  <a:pos x="211" y="274"/>
                </a:cxn>
                <a:cxn ang="0">
                  <a:pos x="195" y="287"/>
                </a:cxn>
                <a:cxn ang="0">
                  <a:pos x="182" y="303"/>
                </a:cxn>
                <a:cxn ang="0">
                  <a:pos x="161" y="297"/>
                </a:cxn>
                <a:cxn ang="0">
                  <a:pos x="142" y="291"/>
                </a:cxn>
                <a:cxn ang="0">
                  <a:pos x="105" y="280"/>
                </a:cxn>
                <a:cxn ang="0">
                  <a:pos x="88" y="303"/>
                </a:cxn>
                <a:cxn ang="0">
                  <a:pos x="67" y="309"/>
                </a:cxn>
                <a:cxn ang="0">
                  <a:pos x="48" y="320"/>
                </a:cxn>
                <a:cxn ang="0">
                  <a:pos x="28" y="309"/>
                </a:cxn>
                <a:cxn ang="0">
                  <a:pos x="23" y="286"/>
                </a:cxn>
                <a:cxn ang="0">
                  <a:pos x="5" y="274"/>
                </a:cxn>
              </a:cxnLst>
              <a:rect l="0" t="0" r="r" b="b"/>
              <a:pathLst>
                <a:path w="322" h="320">
                  <a:moveTo>
                    <a:pt x="0" y="257"/>
                  </a:moveTo>
                  <a:lnTo>
                    <a:pt x="3" y="241"/>
                  </a:lnTo>
                  <a:lnTo>
                    <a:pt x="5" y="228"/>
                  </a:lnTo>
                  <a:lnTo>
                    <a:pt x="5" y="218"/>
                  </a:lnTo>
                  <a:lnTo>
                    <a:pt x="5" y="209"/>
                  </a:lnTo>
                  <a:lnTo>
                    <a:pt x="5" y="203"/>
                  </a:lnTo>
                  <a:lnTo>
                    <a:pt x="5" y="197"/>
                  </a:lnTo>
                  <a:lnTo>
                    <a:pt x="5" y="192"/>
                  </a:lnTo>
                  <a:lnTo>
                    <a:pt x="5" y="186"/>
                  </a:lnTo>
                  <a:lnTo>
                    <a:pt x="5" y="180"/>
                  </a:lnTo>
                  <a:lnTo>
                    <a:pt x="5" y="178"/>
                  </a:lnTo>
                  <a:lnTo>
                    <a:pt x="5" y="174"/>
                  </a:lnTo>
                  <a:lnTo>
                    <a:pt x="5" y="163"/>
                  </a:lnTo>
                  <a:lnTo>
                    <a:pt x="5" y="151"/>
                  </a:lnTo>
                  <a:lnTo>
                    <a:pt x="2" y="149"/>
                  </a:lnTo>
                  <a:lnTo>
                    <a:pt x="2" y="147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11" y="140"/>
                  </a:lnTo>
                  <a:lnTo>
                    <a:pt x="17" y="134"/>
                  </a:lnTo>
                  <a:lnTo>
                    <a:pt x="28" y="128"/>
                  </a:lnTo>
                  <a:lnTo>
                    <a:pt x="36" y="122"/>
                  </a:lnTo>
                  <a:lnTo>
                    <a:pt x="36" y="111"/>
                  </a:lnTo>
                  <a:lnTo>
                    <a:pt x="36" y="97"/>
                  </a:lnTo>
                  <a:lnTo>
                    <a:pt x="36" y="86"/>
                  </a:lnTo>
                  <a:lnTo>
                    <a:pt x="36" y="74"/>
                  </a:lnTo>
                  <a:lnTo>
                    <a:pt x="36" y="69"/>
                  </a:lnTo>
                  <a:lnTo>
                    <a:pt x="36" y="63"/>
                  </a:lnTo>
                  <a:lnTo>
                    <a:pt x="36" y="57"/>
                  </a:lnTo>
                  <a:lnTo>
                    <a:pt x="36" y="55"/>
                  </a:lnTo>
                  <a:lnTo>
                    <a:pt x="36" y="51"/>
                  </a:lnTo>
                  <a:lnTo>
                    <a:pt x="36" y="46"/>
                  </a:lnTo>
                  <a:lnTo>
                    <a:pt x="36" y="34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59" y="23"/>
                  </a:lnTo>
                  <a:lnTo>
                    <a:pt x="71" y="23"/>
                  </a:lnTo>
                  <a:lnTo>
                    <a:pt x="76" y="17"/>
                  </a:lnTo>
                  <a:lnTo>
                    <a:pt x="88" y="17"/>
                  </a:lnTo>
                  <a:lnTo>
                    <a:pt x="99" y="17"/>
                  </a:lnTo>
                  <a:lnTo>
                    <a:pt x="105" y="11"/>
                  </a:lnTo>
                  <a:lnTo>
                    <a:pt x="117" y="11"/>
                  </a:lnTo>
                  <a:lnTo>
                    <a:pt x="128" y="11"/>
                  </a:lnTo>
                  <a:lnTo>
                    <a:pt x="134" y="17"/>
                  </a:lnTo>
                  <a:lnTo>
                    <a:pt x="143" y="17"/>
                  </a:lnTo>
                  <a:lnTo>
                    <a:pt x="153" y="17"/>
                  </a:lnTo>
                  <a:lnTo>
                    <a:pt x="165" y="11"/>
                  </a:lnTo>
                  <a:lnTo>
                    <a:pt x="172" y="5"/>
                  </a:lnTo>
                  <a:lnTo>
                    <a:pt x="182" y="0"/>
                  </a:lnTo>
                  <a:lnTo>
                    <a:pt x="182" y="7"/>
                  </a:lnTo>
                  <a:lnTo>
                    <a:pt x="182" y="17"/>
                  </a:lnTo>
                  <a:lnTo>
                    <a:pt x="188" y="19"/>
                  </a:lnTo>
                  <a:lnTo>
                    <a:pt x="193" y="23"/>
                  </a:lnTo>
                  <a:lnTo>
                    <a:pt x="193" y="34"/>
                  </a:lnTo>
                  <a:lnTo>
                    <a:pt x="199" y="46"/>
                  </a:lnTo>
                  <a:lnTo>
                    <a:pt x="205" y="50"/>
                  </a:lnTo>
                  <a:lnTo>
                    <a:pt x="211" y="57"/>
                  </a:lnTo>
                  <a:lnTo>
                    <a:pt x="220" y="57"/>
                  </a:lnTo>
                  <a:lnTo>
                    <a:pt x="228" y="57"/>
                  </a:lnTo>
                  <a:lnTo>
                    <a:pt x="234" y="63"/>
                  </a:lnTo>
                  <a:lnTo>
                    <a:pt x="247" y="63"/>
                  </a:lnTo>
                  <a:lnTo>
                    <a:pt x="253" y="69"/>
                  </a:lnTo>
                  <a:lnTo>
                    <a:pt x="253" y="73"/>
                  </a:lnTo>
                  <a:lnTo>
                    <a:pt x="253" y="76"/>
                  </a:lnTo>
                  <a:lnTo>
                    <a:pt x="255" y="80"/>
                  </a:lnTo>
                  <a:lnTo>
                    <a:pt x="259" y="80"/>
                  </a:lnTo>
                  <a:lnTo>
                    <a:pt x="253" y="86"/>
                  </a:lnTo>
                  <a:lnTo>
                    <a:pt x="255" y="96"/>
                  </a:lnTo>
                  <a:lnTo>
                    <a:pt x="264" y="103"/>
                  </a:lnTo>
                  <a:lnTo>
                    <a:pt x="272" y="103"/>
                  </a:lnTo>
                  <a:lnTo>
                    <a:pt x="282" y="103"/>
                  </a:lnTo>
                  <a:lnTo>
                    <a:pt x="282" y="111"/>
                  </a:lnTo>
                  <a:lnTo>
                    <a:pt x="282" y="122"/>
                  </a:lnTo>
                  <a:lnTo>
                    <a:pt x="282" y="134"/>
                  </a:lnTo>
                  <a:lnTo>
                    <a:pt x="293" y="140"/>
                  </a:lnTo>
                  <a:lnTo>
                    <a:pt x="305" y="140"/>
                  </a:lnTo>
                  <a:lnTo>
                    <a:pt x="310" y="145"/>
                  </a:lnTo>
                  <a:lnTo>
                    <a:pt x="322" y="151"/>
                  </a:lnTo>
                  <a:lnTo>
                    <a:pt x="316" y="163"/>
                  </a:lnTo>
                  <a:lnTo>
                    <a:pt x="314" y="163"/>
                  </a:lnTo>
                  <a:lnTo>
                    <a:pt x="310" y="163"/>
                  </a:lnTo>
                  <a:lnTo>
                    <a:pt x="299" y="163"/>
                  </a:lnTo>
                  <a:lnTo>
                    <a:pt x="287" y="163"/>
                  </a:lnTo>
                  <a:lnTo>
                    <a:pt x="284" y="172"/>
                  </a:lnTo>
                  <a:lnTo>
                    <a:pt x="276" y="180"/>
                  </a:lnTo>
                  <a:lnTo>
                    <a:pt x="264" y="180"/>
                  </a:lnTo>
                  <a:lnTo>
                    <a:pt x="259" y="186"/>
                  </a:lnTo>
                  <a:lnTo>
                    <a:pt x="257" y="192"/>
                  </a:lnTo>
                  <a:lnTo>
                    <a:pt x="255" y="197"/>
                  </a:lnTo>
                  <a:lnTo>
                    <a:pt x="251" y="201"/>
                  </a:lnTo>
                  <a:lnTo>
                    <a:pt x="247" y="203"/>
                  </a:lnTo>
                  <a:lnTo>
                    <a:pt x="247" y="213"/>
                  </a:lnTo>
                  <a:lnTo>
                    <a:pt x="247" y="222"/>
                  </a:lnTo>
                  <a:lnTo>
                    <a:pt x="243" y="230"/>
                  </a:lnTo>
                  <a:lnTo>
                    <a:pt x="239" y="239"/>
                  </a:lnTo>
                  <a:lnTo>
                    <a:pt x="238" y="239"/>
                  </a:lnTo>
                  <a:lnTo>
                    <a:pt x="236" y="243"/>
                  </a:lnTo>
                  <a:lnTo>
                    <a:pt x="234" y="247"/>
                  </a:lnTo>
                  <a:lnTo>
                    <a:pt x="234" y="251"/>
                  </a:lnTo>
                  <a:lnTo>
                    <a:pt x="226" y="251"/>
                  </a:lnTo>
                  <a:lnTo>
                    <a:pt x="216" y="251"/>
                  </a:lnTo>
                  <a:lnTo>
                    <a:pt x="216" y="263"/>
                  </a:lnTo>
                  <a:lnTo>
                    <a:pt x="211" y="274"/>
                  </a:lnTo>
                  <a:lnTo>
                    <a:pt x="205" y="276"/>
                  </a:lnTo>
                  <a:lnTo>
                    <a:pt x="199" y="280"/>
                  </a:lnTo>
                  <a:lnTo>
                    <a:pt x="195" y="287"/>
                  </a:lnTo>
                  <a:lnTo>
                    <a:pt x="193" y="291"/>
                  </a:lnTo>
                  <a:lnTo>
                    <a:pt x="188" y="295"/>
                  </a:lnTo>
                  <a:lnTo>
                    <a:pt x="182" y="303"/>
                  </a:lnTo>
                  <a:lnTo>
                    <a:pt x="172" y="303"/>
                  </a:lnTo>
                  <a:lnTo>
                    <a:pt x="165" y="303"/>
                  </a:lnTo>
                  <a:lnTo>
                    <a:pt x="161" y="297"/>
                  </a:lnTo>
                  <a:lnTo>
                    <a:pt x="159" y="291"/>
                  </a:lnTo>
                  <a:lnTo>
                    <a:pt x="149" y="291"/>
                  </a:lnTo>
                  <a:lnTo>
                    <a:pt x="142" y="291"/>
                  </a:lnTo>
                  <a:lnTo>
                    <a:pt x="128" y="280"/>
                  </a:lnTo>
                  <a:lnTo>
                    <a:pt x="117" y="280"/>
                  </a:lnTo>
                  <a:lnTo>
                    <a:pt x="105" y="280"/>
                  </a:lnTo>
                  <a:lnTo>
                    <a:pt x="94" y="286"/>
                  </a:lnTo>
                  <a:lnTo>
                    <a:pt x="88" y="291"/>
                  </a:lnTo>
                  <a:lnTo>
                    <a:pt x="88" y="303"/>
                  </a:lnTo>
                  <a:lnTo>
                    <a:pt x="78" y="303"/>
                  </a:lnTo>
                  <a:lnTo>
                    <a:pt x="71" y="303"/>
                  </a:lnTo>
                  <a:lnTo>
                    <a:pt x="67" y="309"/>
                  </a:lnTo>
                  <a:lnTo>
                    <a:pt x="65" y="314"/>
                  </a:lnTo>
                  <a:lnTo>
                    <a:pt x="53" y="314"/>
                  </a:lnTo>
                  <a:lnTo>
                    <a:pt x="48" y="320"/>
                  </a:lnTo>
                  <a:lnTo>
                    <a:pt x="38" y="320"/>
                  </a:lnTo>
                  <a:lnTo>
                    <a:pt x="28" y="320"/>
                  </a:lnTo>
                  <a:lnTo>
                    <a:pt x="28" y="309"/>
                  </a:lnTo>
                  <a:lnTo>
                    <a:pt x="23" y="303"/>
                  </a:lnTo>
                  <a:lnTo>
                    <a:pt x="23" y="295"/>
                  </a:lnTo>
                  <a:lnTo>
                    <a:pt x="23" y="286"/>
                  </a:lnTo>
                  <a:lnTo>
                    <a:pt x="17" y="280"/>
                  </a:lnTo>
                  <a:lnTo>
                    <a:pt x="11" y="278"/>
                  </a:lnTo>
                  <a:lnTo>
                    <a:pt x="5" y="274"/>
                  </a:lnTo>
                  <a:lnTo>
                    <a:pt x="3" y="264"/>
                  </a:lnTo>
                  <a:lnTo>
                    <a:pt x="0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901" y="2979"/>
              <a:ext cx="322" cy="320"/>
            </a:xfrm>
            <a:custGeom>
              <a:avLst/>
              <a:gdLst/>
              <a:ahLst/>
              <a:cxnLst>
                <a:cxn ang="0">
                  <a:pos x="5" y="228"/>
                </a:cxn>
                <a:cxn ang="0">
                  <a:pos x="5" y="203"/>
                </a:cxn>
                <a:cxn ang="0">
                  <a:pos x="5" y="186"/>
                </a:cxn>
                <a:cxn ang="0">
                  <a:pos x="5" y="174"/>
                </a:cxn>
                <a:cxn ang="0">
                  <a:pos x="2" y="149"/>
                </a:cxn>
                <a:cxn ang="0">
                  <a:pos x="0" y="140"/>
                </a:cxn>
                <a:cxn ang="0">
                  <a:pos x="28" y="128"/>
                </a:cxn>
                <a:cxn ang="0">
                  <a:pos x="36" y="97"/>
                </a:cxn>
                <a:cxn ang="0">
                  <a:pos x="36" y="69"/>
                </a:cxn>
                <a:cxn ang="0">
                  <a:pos x="36" y="55"/>
                </a:cxn>
                <a:cxn ang="0">
                  <a:pos x="36" y="34"/>
                </a:cxn>
                <a:cxn ang="0">
                  <a:pos x="44" y="23"/>
                </a:cxn>
                <a:cxn ang="0">
                  <a:pos x="71" y="23"/>
                </a:cxn>
                <a:cxn ang="0">
                  <a:pos x="99" y="17"/>
                </a:cxn>
                <a:cxn ang="0">
                  <a:pos x="128" y="11"/>
                </a:cxn>
                <a:cxn ang="0">
                  <a:pos x="153" y="17"/>
                </a:cxn>
                <a:cxn ang="0">
                  <a:pos x="182" y="0"/>
                </a:cxn>
                <a:cxn ang="0">
                  <a:pos x="188" y="19"/>
                </a:cxn>
                <a:cxn ang="0">
                  <a:pos x="199" y="46"/>
                </a:cxn>
                <a:cxn ang="0">
                  <a:pos x="220" y="57"/>
                </a:cxn>
                <a:cxn ang="0">
                  <a:pos x="247" y="63"/>
                </a:cxn>
                <a:cxn ang="0">
                  <a:pos x="253" y="76"/>
                </a:cxn>
                <a:cxn ang="0">
                  <a:pos x="253" y="86"/>
                </a:cxn>
                <a:cxn ang="0">
                  <a:pos x="272" y="103"/>
                </a:cxn>
                <a:cxn ang="0">
                  <a:pos x="282" y="122"/>
                </a:cxn>
                <a:cxn ang="0">
                  <a:pos x="305" y="140"/>
                </a:cxn>
                <a:cxn ang="0">
                  <a:pos x="316" y="163"/>
                </a:cxn>
                <a:cxn ang="0">
                  <a:pos x="299" y="163"/>
                </a:cxn>
                <a:cxn ang="0">
                  <a:pos x="276" y="180"/>
                </a:cxn>
                <a:cxn ang="0">
                  <a:pos x="257" y="192"/>
                </a:cxn>
                <a:cxn ang="0">
                  <a:pos x="247" y="203"/>
                </a:cxn>
                <a:cxn ang="0">
                  <a:pos x="243" y="230"/>
                </a:cxn>
                <a:cxn ang="0">
                  <a:pos x="236" y="243"/>
                </a:cxn>
                <a:cxn ang="0">
                  <a:pos x="226" y="251"/>
                </a:cxn>
                <a:cxn ang="0">
                  <a:pos x="211" y="274"/>
                </a:cxn>
                <a:cxn ang="0">
                  <a:pos x="195" y="287"/>
                </a:cxn>
                <a:cxn ang="0">
                  <a:pos x="182" y="303"/>
                </a:cxn>
                <a:cxn ang="0">
                  <a:pos x="161" y="297"/>
                </a:cxn>
                <a:cxn ang="0">
                  <a:pos x="142" y="291"/>
                </a:cxn>
                <a:cxn ang="0">
                  <a:pos x="105" y="280"/>
                </a:cxn>
                <a:cxn ang="0">
                  <a:pos x="88" y="303"/>
                </a:cxn>
                <a:cxn ang="0">
                  <a:pos x="67" y="309"/>
                </a:cxn>
                <a:cxn ang="0">
                  <a:pos x="48" y="320"/>
                </a:cxn>
                <a:cxn ang="0">
                  <a:pos x="28" y="309"/>
                </a:cxn>
                <a:cxn ang="0">
                  <a:pos x="23" y="286"/>
                </a:cxn>
                <a:cxn ang="0">
                  <a:pos x="5" y="274"/>
                </a:cxn>
              </a:cxnLst>
              <a:rect l="0" t="0" r="r" b="b"/>
              <a:pathLst>
                <a:path w="322" h="320">
                  <a:moveTo>
                    <a:pt x="0" y="257"/>
                  </a:moveTo>
                  <a:lnTo>
                    <a:pt x="3" y="241"/>
                  </a:lnTo>
                  <a:lnTo>
                    <a:pt x="5" y="228"/>
                  </a:lnTo>
                  <a:lnTo>
                    <a:pt x="5" y="218"/>
                  </a:lnTo>
                  <a:lnTo>
                    <a:pt x="5" y="209"/>
                  </a:lnTo>
                  <a:lnTo>
                    <a:pt x="5" y="203"/>
                  </a:lnTo>
                  <a:lnTo>
                    <a:pt x="5" y="197"/>
                  </a:lnTo>
                  <a:lnTo>
                    <a:pt x="5" y="192"/>
                  </a:lnTo>
                  <a:lnTo>
                    <a:pt x="5" y="186"/>
                  </a:lnTo>
                  <a:lnTo>
                    <a:pt x="5" y="180"/>
                  </a:lnTo>
                  <a:lnTo>
                    <a:pt x="5" y="178"/>
                  </a:lnTo>
                  <a:lnTo>
                    <a:pt x="5" y="174"/>
                  </a:lnTo>
                  <a:lnTo>
                    <a:pt x="5" y="163"/>
                  </a:lnTo>
                  <a:lnTo>
                    <a:pt x="5" y="151"/>
                  </a:lnTo>
                  <a:lnTo>
                    <a:pt x="2" y="149"/>
                  </a:lnTo>
                  <a:lnTo>
                    <a:pt x="2" y="147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11" y="140"/>
                  </a:lnTo>
                  <a:lnTo>
                    <a:pt x="17" y="134"/>
                  </a:lnTo>
                  <a:lnTo>
                    <a:pt x="28" y="128"/>
                  </a:lnTo>
                  <a:lnTo>
                    <a:pt x="36" y="122"/>
                  </a:lnTo>
                  <a:lnTo>
                    <a:pt x="36" y="111"/>
                  </a:lnTo>
                  <a:lnTo>
                    <a:pt x="36" y="97"/>
                  </a:lnTo>
                  <a:lnTo>
                    <a:pt x="36" y="86"/>
                  </a:lnTo>
                  <a:lnTo>
                    <a:pt x="36" y="74"/>
                  </a:lnTo>
                  <a:lnTo>
                    <a:pt x="36" y="69"/>
                  </a:lnTo>
                  <a:lnTo>
                    <a:pt x="36" y="63"/>
                  </a:lnTo>
                  <a:lnTo>
                    <a:pt x="36" y="57"/>
                  </a:lnTo>
                  <a:lnTo>
                    <a:pt x="36" y="55"/>
                  </a:lnTo>
                  <a:lnTo>
                    <a:pt x="36" y="51"/>
                  </a:lnTo>
                  <a:lnTo>
                    <a:pt x="36" y="46"/>
                  </a:lnTo>
                  <a:lnTo>
                    <a:pt x="36" y="34"/>
                  </a:lnTo>
                  <a:lnTo>
                    <a:pt x="36" y="23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59" y="23"/>
                  </a:lnTo>
                  <a:lnTo>
                    <a:pt x="71" y="23"/>
                  </a:lnTo>
                  <a:lnTo>
                    <a:pt x="76" y="17"/>
                  </a:lnTo>
                  <a:lnTo>
                    <a:pt x="88" y="17"/>
                  </a:lnTo>
                  <a:lnTo>
                    <a:pt x="99" y="17"/>
                  </a:lnTo>
                  <a:lnTo>
                    <a:pt x="105" y="11"/>
                  </a:lnTo>
                  <a:lnTo>
                    <a:pt x="117" y="11"/>
                  </a:lnTo>
                  <a:lnTo>
                    <a:pt x="128" y="11"/>
                  </a:lnTo>
                  <a:lnTo>
                    <a:pt x="134" y="17"/>
                  </a:lnTo>
                  <a:lnTo>
                    <a:pt x="143" y="17"/>
                  </a:lnTo>
                  <a:lnTo>
                    <a:pt x="153" y="17"/>
                  </a:lnTo>
                  <a:lnTo>
                    <a:pt x="165" y="11"/>
                  </a:lnTo>
                  <a:lnTo>
                    <a:pt x="172" y="5"/>
                  </a:lnTo>
                  <a:lnTo>
                    <a:pt x="182" y="0"/>
                  </a:lnTo>
                  <a:lnTo>
                    <a:pt x="182" y="7"/>
                  </a:lnTo>
                  <a:lnTo>
                    <a:pt x="182" y="17"/>
                  </a:lnTo>
                  <a:lnTo>
                    <a:pt x="188" y="19"/>
                  </a:lnTo>
                  <a:lnTo>
                    <a:pt x="193" y="23"/>
                  </a:lnTo>
                  <a:lnTo>
                    <a:pt x="193" y="34"/>
                  </a:lnTo>
                  <a:lnTo>
                    <a:pt x="199" y="46"/>
                  </a:lnTo>
                  <a:lnTo>
                    <a:pt x="205" y="50"/>
                  </a:lnTo>
                  <a:lnTo>
                    <a:pt x="211" y="57"/>
                  </a:lnTo>
                  <a:lnTo>
                    <a:pt x="220" y="57"/>
                  </a:lnTo>
                  <a:lnTo>
                    <a:pt x="228" y="57"/>
                  </a:lnTo>
                  <a:lnTo>
                    <a:pt x="234" y="63"/>
                  </a:lnTo>
                  <a:lnTo>
                    <a:pt x="247" y="63"/>
                  </a:lnTo>
                  <a:lnTo>
                    <a:pt x="253" y="69"/>
                  </a:lnTo>
                  <a:lnTo>
                    <a:pt x="253" y="73"/>
                  </a:lnTo>
                  <a:lnTo>
                    <a:pt x="253" y="76"/>
                  </a:lnTo>
                  <a:lnTo>
                    <a:pt x="255" y="80"/>
                  </a:lnTo>
                  <a:lnTo>
                    <a:pt x="259" y="80"/>
                  </a:lnTo>
                  <a:lnTo>
                    <a:pt x="253" y="86"/>
                  </a:lnTo>
                  <a:lnTo>
                    <a:pt x="255" y="96"/>
                  </a:lnTo>
                  <a:lnTo>
                    <a:pt x="264" y="103"/>
                  </a:lnTo>
                  <a:lnTo>
                    <a:pt x="272" y="103"/>
                  </a:lnTo>
                  <a:lnTo>
                    <a:pt x="282" y="103"/>
                  </a:lnTo>
                  <a:lnTo>
                    <a:pt x="282" y="111"/>
                  </a:lnTo>
                  <a:lnTo>
                    <a:pt x="282" y="122"/>
                  </a:lnTo>
                  <a:lnTo>
                    <a:pt x="282" y="134"/>
                  </a:lnTo>
                  <a:lnTo>
                    <a:pt x="293" y="140"/>
                  </a:lnTo>
                  <a:lnTo>
                    <a:pt x="305" y="140"/>
                  </a:lnTo>
                  <a:lnTo>
                    <a:pt x="310" y="145"/>
                  </a:lnTo>
                  <a:lnTo>
                    <a:pt x="322" y="151"/>
                  </a:lnTo>
                  <a:lnTo>
                    <a:pt x="316" y="163"/>
                  </a:lnTo>
                  <a:lnTo>
                    <a:pt x="314" y="163"/>
                  </a:lnTo>
                  <a:lnTo>
                    <a:pt x="310" y="163"/>
                  </a:lnTo>
                  <a:lnTo>
                    <a:pt x="299" y="163"/>
                  </a:lnTo>
                  <a:lnTo>
                    <a:pt x="287" y="163"/>
                  </a:lnTo>
                  <a:lnTo>
                    <a:pt x="284" y="172"/>
                  </a:lnTo>
                  <a:lnTo>
                    <a:pt x="276" y="180"/>
                  </a:lnTo>
                  <a:lnTo>
                    <a:pt x="264" y="180"/>
                  </a:lnTo>
                  <a:lnTo>
                    <a:pt x="259" y="186"/>
                  </a:lnTo>
                  <a:lnTo>
                    <a:pt x="257" y="192"/>
                  </a:lnTo>
                  <a:lnTo>
                    <a:pt x="255" y="197"/>
                  </a:lnTo>
                  <a:lnTo>
                    <a:pt x="251" y="201"/>
                  </a:lnTo>
                  <a:lnTo>
                    <a:pt x="247" y="203"/>
                  </a:lnTo>
                  <a:lnTo>
                    <a:pt x="247" y="213"/>
                  </a:lnTo>
                  <a:lnTo>
                    <a:pt x="247" y="222"/>
                  </a:lnTo>
                  <a:lnTo>
                    <a:pt x="243" y="230"/>
                  </a:lnTo>
                  <a:lnTo>
                    <a:pt x="239" y="239"/>
                  </a:lnTo>
                  <a:lnTo>
                    <a:pt x="238" y="239"/>
                  </a:lnTo>
                  <a:lnTo>
                    <a:pt x="236" y="243"/>
                  </a:lnTo>
                  <a:lnTo>
                    <a:pt x="234" y="247"/>
                  </a:lnTo>
                  <a:lnTo>
                    <a:pt x="234" y="251"/>
                  </a:lnTo>
                  <a:lnTo>
                    <a:pt x="226" y="251"/>
                  </a:lnTo>
                  <a:lnTo>
                    <a:pt x="216" y="251"/>
                  </a:lnTo>
                  <a:lnTo>
                    <a:pt x="216" y="263"/>
                  </a:lnTo>
                  <a:lnTo>
                    <a:pt x="211" y="274"/>
                  </a:lnTo>
                  <a:lnTo>
                    <a:pt x="205" y="276"/>
                  </a:lnTo>
                  <a:lnTo>
                    <a:pt x="199" y="280"/>
                  </a:lnTo>
                  <a:lnTo>
                    <a:pt x="195" y="287"/>
                  </a:lnTo>
                  <a:lnTo>
                    <a:pt x="193" y="291"/>
                  </a:lnTo>
                  <a:lnTo>
                    <a:pt x="188" y="295"/>
                  </a:lnTo>
                  <a:lnTo>
                    <a:pt x="182" y="303"/>
                  </a:lnTo>
                  <a:lnTo>
                    <a:pt x="172" y="303"/>
                  </a:lnTo>
                  <a:lnTo>
                    <a:pt x="165" y="303"/>
                  </a:lnTo>
                  <a:lnTo>
                    <a:pt x="161" y="297"/>
                  </a:lnTo>
                  <a:lnTo>
                    <a:pt x="159" y="291"/>
                  </a:lnTo>
                  <a:lnTo>
                    <a:pt x="149" y="291"/>
                  </a:lnTo>
                  <a:lnTo>
                    <a:pt x="142" y="291"/>
                  </a:lnTo>
                  <a:lnTo>
                    <a:pt x="128" y="280"/>
                  </a:lnTo>
                  <a:lnTo>
                    <a:pt x="117" y="280"/>
                  </a:lnTo>
                  <a:lnTo>
                    <a:pt x="105" y="280"/>
                  </a:lnTo>
                  <a:lnTo>
                    <a:pt x="94" y="286"/>
                  </a:lnTo>
                  <a:lnTo>
                    <a:pt x="88" y="291"/>
                  </a:lnTo>
                  <a:lnTo>
                    <a:pt x="88" y="303"/>
                  </a:lnTo>
                  <a:lnTo>
                    <a:pt x="78" y="303"/>
                  </a:lnTo>
                  <a:lnTo>
                    <a:pt x="71" y="303"/>
                  </a:lnTo>
                  <a:lnTo>
                    <a:pt x="67" y="309"/>
                  </a:lnTo>
                  <a:lnTo>
                    <a:pt x="65" y="314"/>
                  </a:lnTo>
                  <a:lnTo>
                    <a:pt x="53" y="314"/>
                  </a:lnTo>
                  <a:lnTo>
                    <a:pt x="48" y="320"/>
                  </a:lnTo>
                  <a:lnTo>
                    <a:pt x="38" y="320"/>
                  </a:lnTo>
                  <a:lnTo>
                    <a:pt x="28" y="320"/>
                  </a:lnTo>
                  <a:lnTo>
                    <a:pt x="28" y="309"/>
                  </a:lnTo>
                  <a:lnTo>
                    <a:pt x="23" y="303"/>
                  </a:lnTo>
                  <a:lnTo>
                    <a:pt x="23" y="295"/>
                  </a:lnTo>
                  <a:lnTo>
                    <a:pt x="23" y="286"/>
                  </a:lnTo>
                  <a:lnTo>
                    <a:pt x="17" y="280"/>
                  </a:lnTo>
                  <a:lnTo>
                    <a:pt x="11" y="278"/>
                  </a:lnTo>
                  <a:lnTo>
                    <a:pt x="5" y="274"/>
                  </a:lnTo>
                  <a:lnTo>
                    <a:pt x="3" y="264"/>
                  </a:lnTo>
                  <a:lnTo>
                    <a:pt x="0" y="257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1578" y="2936"/>
              <a:ext cx="499" cy="434"/>
            </a:xfrm>
            <a:custGeom>
              <a:avLst/>
              <a:gdLst/>
              <a:ahLst/>
              <a:cxnLst>
                <a:cxn ang="0">
                  <a:pos x="457" y="29"/>
                </a:cxn>
                <a:cxn ang="0">
                  <a:pos x="428" y="35"/>
                </a:cxn>
                <a:cxn ang="0">
                  <a:pos x="394" y="35"/>
                </a:cxn>
                <a:cxn ang="0">
                  <a:pos x="369" y="45"/>
                </a:cxn>
                <a:cxn ang="0">
                  <a:pos x="351" y="54"/>
                </a:cxn>
                <a:cxn ang="0">
                  <a:pos x="332" y="54"/>
                </a:cxn>
                <a:cxn ang="0">
                  <a:pos x="300" y="50"/>
                </a:cxn>
                <a:cxn ang="0">
                  <a:pos x="278" y="37"/>
                </a:cxn>
                <a:cxn ang="0">
                  <a:pos x="254" y="29"/>
                </a:cxn>
                <a:cxn ang="0">
                  <a:pos x="223" y="23"/>
                </a:cxn>
                <a:cxn ang="0">
                  <a:pos x="204" y="23"/>
                </a:cxn>
                <a:cxn ang="0">
                  <a:pos x="171" y="29"/>
                </a:cxn>
                <a:cxn ang="0">
                  <a:pos x="129" y="35"/>
                </a:cxn>
                <a:cxn ang="0">
                  <a:pos x="88" y="12"/>
                </a:cxn>
                <a:cxn ang="0">
                  <a:pos x="62" y="2"/>
                </a:cxn>
                <a:cxn ang="0">
                  <a:pos x="42" y="12"/>
                </a:cxn>
                <a:cxn ang="0">
                  <a:pos x="18" y="12"/>
                </a:cxn>
                <a:cxn ang="0">
                  <a:pos x="0" y="43"/>
                </a:cxn>
                <a:cxn ang="0">
                  <a:pos x="23" y="83"/>
                </a:cxn>
                <a:cxn ang="0">
                  <a:pos x="48" y="112"/>
                </a:cxn>
                <a:cxn ang="0">
                  <a:pos x="58" y="133"/>
                </a:cxn>
                <a:cxn ang="0">
                  <a:pos x="73" y="158"/>
                </a:cxn>
                <a:cxn ang="0">
                  <a:pos x="94" y="183"/>
                </a:cxn>
                <a:cxn ang="0">
                  <a:pos x="94" y="196"/>
                </a:cxn>
                <a:cxn ang="0">
                  <a:pos x="94" y="211"/>
                </a:cxn>
                <a:cxn ang="0">
                  <a:pos x="94" y="229"/>
                </a:cxn>
                <a:cxn ang="0">
                  <a:pos x="94" y="256"/>
                </a:cxn>
                <a:cxn ang="0">
                  <a:pos x="94" y="306"/>
                </a:cxn>
                <a:cxn ang="0">
                  <a:pos x="94" y="334"/>
                </a:cxn>
                <a:cxn ang="0">
                  <a:pos x="94" y="357"/>
                </a:cxn>
                <a:cxn ang="0">
                  <a:pos x="112" y="388"/>
                </a:cxn>
                <a:cxn ang="0">
                  <a:pos x="140" y="411"/>
                </a:cxn>
                <a:cxn ang="0">
                  <a:pos x="159" y="411"/>
                </a:cxn>
                <a:cxn ang="0">
                  <a:pos x="188" y="428"/>
                </a:cxn>
                <a:cxn ang="0">
                  <a:pos x="217" y="434"/>
                </a:cxn>
                <a:cxn ang="0">
                  <a:pos x="234" y="434"/>
                </a:cxn>
                <a:cxn ang="0">
                  <a:pos x="265" y="430"/>
                </a:cxn>
                <a:cxn ang="0">
                  <a:pos x="282" y="423"/>
                </a:cxn>
                <a:cxn ang="0">
                  <a:pos x="307" y="390"/>
                </a:cxn>
                <a:cxn ang="0">
                  <a:pos x="323" y="382"/>
                </a:cxn>
                <a:cxn ang="0">
                  <a:pos x="323" y="357"/>
                </a:cxn>
                <a:cxn ang="0">
                  <a:pos x="317" y="329"/>
                </a:cxn>
                <a:cxn ang="0">
                  <a:pos x="323" y="296"/>
                </a:cxn>
                <a:cxn ang="0">
                  <a:pos x="323" y="265"/>
                </a:cxn>
                <a:cxn ang="0">
                  <a:pos x="323" y="229"/>
                </a:cxn>
                <a:cxn ang="0">
                  <a:pos x="323" y="210"/>
                </a:cxn>
                <a:cxn ang="0">
                  <a:pos x="323" y="177"/>
                </a:cxn>
                <a:cxn ang="0">
                  <a:pos x="346" y="160"/>
                </a:cxn>
                <a:cxn ang="0">
                  <a:pos x="351" y="129"/>
                </a:cxn>
                <a:cxn ang="0">
                  <a:pos x="351" y="116"/>
                </a:cxn>
                <a:cxn ang="0">
                  <a:pos x="355" y="85"/>
                </a:cxn>
                <a:cxn ang="0">
                  <a:pos x="371" y="66"/>
                </a:cxn>
                <a:cxn ang="0">
                  <a:pos x="394" y="60"/>
                </a:cxn>
                <a:cxn ang="0">
                  <a:pos x="426" y="48"/>
                </a:cxn>
                <a:cxn ang="0">
                  <a:pos x="455" y="60"/>
                </a:cxn>
                <a:cxn ang="0">
                  <a:pos x="470" y="54"/>
                </a:cxn>
                <a:cxn ang="0">
                  <a:pos x="490" y="46"/>
                </a:cxn>
                <a:cxn ang="0">
                  <a:pos x="499" y="35"/>
                </a:cxn>
              </a:cxnLst>
              <a:rect l="0" t="0" r="r" b="b"/>
              <a:pathLst>
                <a:path w="499" h="434">
                  <a:moveTo>
                    <a:pt x="499" y="35"/>
                  </a:moveTo>
                  <a:lnTo>
                    <a:pt x="482" y="35"/>
                  </a:lnTo>
                  <a:lnTo>
                    <a:pt x="465" y="35"/>
                  </a:lnTo>
                  <a:lnTo>
                    <a:pt x="457" y="29"/>
                  </a:lnTo>
                  <a:lnTo>
                    <a:pt x="445" y="29"/>
                  </a:lnTo>
                  <a:lnTo>
                    <a:pt x="440" y="33"/>
                  </a:lnTo>
                  <a:lnTo>
                    <a:pt x="434" y="35"/>
                  </a:lnTo>
                  <a:lnTo>
                    <a:pt x="428" y="35"/>
                  </a:lnTo>
                  <a:lnTo>
                    <a:pt x="426" y="35"/>
                  </a:lnTo>
                  <a:lnTo>
                    <a:pt x="422" y="35"/>
                  </a:lnTo>
                  <a:lnTo>
                    <a:pt x="409" y="35"/>
                  </a:lnTo>
                  <a:lnTo>
                    <a:pt x="394" y="35"/>
                  </a:lnTo>
                  <a:lnTo>
                    <a:pt x="388" y="43"/>
                  </a:lnTo>
                  <a:lnTo>
                    <a:pt x="378" y="43"/>
                  </a:lnTo>
                  <a:lnTo>
                    <a:pt x="371" y="43"/>
                  </a:lnTo>
                  <a:lnTo>
                    <a:pt x="369" y="45"/>
                  </a:lnTo>
                  <a:lnTo>
                    <a:pt x="367" y="46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1" y="54"/>
                  </a:lnTo>
                  <a:lnTo>
                    <a:pt x="346" y="54"/>
                  </a:lnTo>
                  <a:lnTo>
                    <a:pt x="340" y="54"/>
                  </a:lnTo>
                  <a:lnTo>
                    <a:pt x="334" y="54"/>
                  </a:lnTo>
                  <a:lnTo>
                    <a:pt x="332" y="54"/>
                  </a:lnTo>
                  <a:lnTo>
                    <a:pt x="328" y="54"/>
                  </a:lnTo>
                  <a:lnTo>
                    <a:pt x="317" y="54"/>
                  </a:lnTo>
                  <a:lnTo>
                    <a:pt x="305" y="54"/>
                  </a:lnTo>
                  <a:lnTo>
                    <a:pt x="300" y="50"/>
                  </a:lnTo>
                  <a:lnTo>
                    <a:pt x="294" y="43"/>
                  </a:lnTo>
                  <a:lnTo>
                    <a:pt x="282" y="43"/>
                  </a:lnTo>
                  <a:lnTo>
                    <a:pt x="280" y="39"/>
                  </a:lnTo>
                  <a:lnTo>
                    <a:pt x="278" y="37"/>
                  </a:lnTo>
                  <a:lnTo>
                    <a:pt x="275" y="35"/>
                  </a:lnTo>
                  <a:lnTo>
                    <a:pt x="271" y="35"/>
                  </a:lnTo>
                  <a:lnTo>
                    <a:pt x="265" y="29"/>
                  </a:lnTo>
                  <a:lnTo>
                    <a:pt x="254" y="29"/>
                  </a:lnTo>
                  <a:lnTo>
                    <a:pt x="244" y="27"/>
                  </a:lnTo>
                  <a:lnTo>
                    <a:pt x="234" y="23"/>
                  </a:lnTo>
                  <a:lnTo>
                    <a:pt x="229" y="23"/>
                  </a:lnTo>
                  <a:lnTo>
                    <a:pt x="223" y="23"/>
                  </a:lnTo>
                  <a:lnTo>
                    <a:pt x="217" y="23"/>
                  </a:lnTo>
                  <a:lnTo>
                    <a:pt x="211" y="23"/>
                  </a:lnTo>
                  <a:lnTo>
                    <a:pt x="206" y="23"/>
                  </a:lnTo>
                  <a:lnTo>
                    <a:pt x="204" y="23"/>
                  </a:lnTo>
                  <a:lnTo>
                    <a:pt x="200" y="23"/>
                  </a:lnTo>
                  <a:lnTo>
                    <a:pt x="188" y="23"/>
                  </a:lnTo>
                  <a:lnTo>
                    <a:pt x="177" y="23"/>
                  </a:lnTo>
                  <a:lnTo>
                    <a:pt x="171" y="29"/>
                  </a:lnTo>
                  <a:lnTo>
                    <a:pt x="159" y="29"/>
                  </a:lnTo>
                  <a:lnTo>
                    <a:pt x="148" y="29"/>
                  </a:lnTo>
                  <a:lnTo>
                    <a:pt x="140" y="35"/>
                  </a:lnTo>
                  <a:lnTo>
                    <a:pt x="129" y="35"/>
                  </a:lnTo>
                  <a:lnTo>
                    <a:pt x="117" y="35"/>
                  </a:lnTo>
                  <a:lnTo>
                    <a:pt x="100" y="29"/>
                  </a:lnTo>
                  <a:lnTo>
                    <a:pt x="92" y="22"/>
                  </a:lnTo>
                  <a:lnTo>
                    <a:pt x="88" y="12"/>
                  </a:lnTo>
                  <a:lnTo>
                    <a:pt x="77" y="6"/>
                  </a:lnTo>
                  <a:lnTo>
                    <a:pt x="65" y="6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8" y="4"/>
                  </a:lnTo>
                  <a:lnTo>
                    <a:pt x="42" y="12"/>
                  </a:lnTo>
                  <a:lnTo>
                    <a:pt x="35" y="12"/>
                  </a:lnTo>
                  <a:lnTo>
                    <a:pt x="33" y="12"/>
                  </a:lnTo>
                  <a:lnTo>
                    <a:pt x="29" y="12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9"/>
                  </a:lnTo>
                  <a:lnTo>
                    <a:pt x="0" y="43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23" y="71"/>
                  </a:lnTo>
                  <a:lnTo>
                    <a:pt x="23" y="83"/>
                  </a:lnTo>
                  <a:lnTo>
                    <a:pt x="29" y="89"/>
                  </a:lnTo>
                  <a:lnTo>
                    <a:pt x="42" y="94"/>
                  </a:lnTo>
                  <a:lnTo>
                    <a:pt x="48" y="100"/>
                  </a:lnTo>
                  <a:lnTo>
                    <a:pt x="48" y="112"/>
                  </a:lnTo>
                  <a:lnTo>
                    <a:pt x="50" y="121"/>
                  </a:lnTo>
                  <a:lnTo>
                    <a:pt x="54" y="129"/>
                  </a:lnTo>
                  <a:lnTo>
                    <a:pt x="56" y="131"/>
                  </a:lnTo>
                  <a:lnTo>
                    <a:pt x="58" y="133"/>
                  </a:lnTo>
                  <a:lnTo>
                    <a:pt x="60" y="137"/>
                  </a:lnTo>
                  <a:lnTo>
                    <a:pt x="60" y="140"/>
                  </a:lnTo>
                  <a:lnTo>
                    <a:pt x="71" y="154"/>
                  </a:lnTo>
                  <a:lnTo>
                    <a:pt x="73" y="158"/>
                  </a:lnTo>
                  <a:lnTo>
                    <a:pt x="77" y="164"/>
                  </a:lnTo>
                  <a:lnTo>
                    <a:pt x="83" y="169"/>
                  </a:lnTo>
                  <a:lnTo>
                    <a:pt x="88" y="171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8"/>
                  </a:lnTo>
                  <a:lnTo>
                    <a:pt x="94" y="194"/>
                  </a:lnTo>
                  <a:lnTo>
                    <a:pt x="94" y="196"/>
                  </a:lnTo>
                  <a:lnTo>
                    <a:pt x="94" y="200"/>
                  </a:lnTo>
                  <a:lnTo>
                    <a:pt x="94" y="206"/>
                  </a:lnTo>
                  <a:lnTo>
                    <a:pt x="94" y="210"/>
                  </a:lnTo>
                  <a:lnTo>
                    <a:pt x="94" y="211"/>
                  </a:lnTo>
                  <a:lnTo>
                    <a:pt x="94" y="217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4" y="229"/>
                  </a:lnTo>
                  <a:lnTo>
                    <a:pt x="94" y="233"/>
                  </a:lnTo>
                  <a:lnTo>
                    <a:pt x="94" y="235"/>
                  </a:lnTo>
                  <a:lnTo>
                    <a:pt x="94" y="240"/>
                  </a:lnTo>
                  <a:lnTo>
                    <a:pt x="94" y="256"/>
                  </a:lnTo>
                  <a:lnTo>
                    <a:pt x="94" y="271"/>
                  </a:lnTo>
                  <a:lnTo>
                    <a:pt x="94" y="282"/>
                  </a:lnTo>
                  <a:lnTo>
                    <a:pt x="94" y="294"/>
                  </a:lnTo>
                  <a:lnTo>
                    <a:pt x="94" y="306"/>
                  </a:lnTo>
                  <a:lnTo>
                    <a:pt x="94" y="317"/>
                  </a:lnTo>
                  <a:lnTo>
                    <a:pt x="94" y="323"/>
                  </a:lnTo>
                  <a:lnTo>
                    <a:pt x="94" y="329"/>
                  </a:lnTo>
                  <a:lnTo>
                    <a:pt x="94" y="334"/>
                  </a:lnTo>
                  <a:lnTo>
                    <a:pt x="94" y="338"/>
                  </a:lnTo>
                  <a:lnTo>
                    <a:pt x="94" y="340"/>
                  </a:lnTo>
                  <a:lnTo>
                    <a:pt x="94" y="346"/>
                  </a:lnTo>
                  <a:lnTo>
                    <a:pt x="94" y="357"/>
                  </a:lnTo>
                  <a:lnTo>
                    <a:pt x="94" y="371"/>
                  </a:lnTo>
                  <a:lnTo>
                    <a:pt x="100" y="382"/>
                  </a:lnTo>
                  <a:lnTo>
                    <a:pt x="106" y="384"/>
                  </a:lnTo>
                  <a:lnTo>
                    <a:pt x="112" y="388"/>
                  </a:lnTo>
                  <a:lnTo>
                    <a:pt x="115" y="396"/>
                  </a:lnTo>
                  <a:lnTo>
                    <a:pt x="123" y="405"/>
                  </a:lnTo>
                  <a:lnTo>
                    <a:pt x="135" y="411"/>
                  </a:lnTo>
                  <a:lnTo>
                    <a:pt x="140" y="411"/>
                  </a:lnTo>
                  <a:lnTo>
                    <a:pt x="148" y="411"/>
                  </a:lnTo>
                  <a:lnTo>
                    <a:pt x="154" y="411"/>
                  </a:lnTo>
                  <a:lnTo>
                    <a:pt x="156" y="411"/>
                  </a:lnTo>
                  <a:lnTo>
                    <a:pt x="159" y="411"/>
                  </a:lnTo>
                  <a:lnTo>
                    <a:pt x="171" y="411"/>
                  </a:lnTo>
                  <a:lnTo>
                    <a:pt x="183" y="411"/>
                  </a:lnTo>
                  <a:lnTo>
                    <a:pt x="183" y="423"/>
                  </a:lnTo>
                  <a:lnTo>
                    <a:pt x="188" y="428"/>
                  </a:lnTo>
                  <a:lnTo>
                    <a:pt x="198" y="428"/>
                  </a:lnTo>
                  <a:lnTo>
                    <a:pt x="206" y="428"/>
                  </a:lnTo>
                  <a:lnTo>
                    <a:pt x="211" y="434"/>
                  </a:lnTo>
                  <a:lnTo>
                    <a:pt x="217" y="434"/>
                  </a:lnTo>
                  <a:lnTo>
                    <a:pt x="223" y="434"/>
                  </a:lnTo>
                  <a:lnTo>
                    <a:pt x="229" y="434"/>
                  </a:lnTo>
                  <a:lnTo>
                    <a:pt x="232" y="434"/>
                  </a:lnTo>
                  <a:lnTo>
                    <a:pt x="234" y="434"/>
                  </a:lnTo>
                  <a:lnTo>
                    <a:pt x="240" y="434"/>
                  </a:lnTo>
                  <a:lnTo>
                    <a:pt x="254" y="434"/>
                  </a:lnTo>
                  <a:lnTo>
                    <a:pt x="265" y="434"/>
                  </a:lnTo>
                  <a:lnTo>
                    <a:pt x="265" y="430"/>
                  </a:lnTo>
                  <a:lnTo>
                    <a:pt x="269" y="428"/>
                  </a:lnTo>
                  <a:lnTo>
                    <a:pt x="273" y="428"/>
                  </a:lnTo>
                  <a:lnTo>
                    <a:pt x="277" y="428"/>
                  </a:lnTo>
                  <a:lnTo>
                    <a:pt x="282" y="423"/>
                  </a:lnTo>
                  <a:lnTo>
                    <a:pt x="288" y="411"/>
                  </a:lnTo>
                  <a:lnTo>
                    <a:pt x="294" y="394"/>
                  </a:lnTo>
                  <a:lnTo>
                    <a:pt x="305" y="394"/>
                  </a:lnTo>
                  <a:lnTo>
                    <a:pt x="307" y="390"/>
                  </a:lnTo>
                  <a:lnTo>
                    <a:pt x="309" y="388"/>
                  </a:lnTo>
                  <a:lnTo>
                    <a:pt x="313" y="388"/>
                  </a:lnTo>
                  <a:lnTo>
                    <a:pt x="317" y="388"/>
                  </a:lnTo>
                  <a:lnTo>
                    <a:pt x="323" y="382"/>
                  </a:lnTo>
                  <a:lnTo>
                    <a:pt x="323" y="378"/>
                  </a:lnTo>
                  <a:lnTo>
                    <a:pt x="323" y="377"/>
                  </a:lnTo>
                  <a:lnTo>
                    <a:pt x="323" y="371"/>
                  </a:lnTo>
                  <a:lnTo>
                    <a:pt x="323" y="357"/>
                  </a:lnTo>
                  <a:lnTo>
                    <a:pt x="323" y="346"/>
                  </a:lnTo>
                  <a:lnTo>
                    <a:pt x="317" y="340"/>
                  </a:lnTo>
                  <a:lnTo>
                    <a:pt x="317" y="334"/>
                  </a:lnTo>
                  <a:lnTo>
                    <a:pt x="317" y="329"/>
                  </a:lnTo>
                  <a:lnTo>
                    <a:pt x="317" y="321"/>
                  </a:lnTo>
                  <a:lnTo>
                    <a:pt x="317" y="311"/>
                  </a:lnTo>
                  <a:lnTo>
                    <a:pt x="323" y="306"/>
                  </a:lnTo>
                  <a:lnTo>
                    <a:pt x="323" y="296"/>
                  </a:lnTo>
                  <a:lnTo>
                    <a:pt x="323" y="288"/>
                  </a:lnTo>
                  <a:lnTo>
                    <a:pt x="328" y="282"/>
                  </a:lnTo>
                  <a:lnTo>
                    <a:pt x="328" y="271"/>
                  </a:lnTo>
                  <a:lnTo>
                    <a:pt x="323" y="265"/>
                  </a:lnTo>
                  <a:lnTo>
                    <a:pt x="323" y="256"/>
                  </a:lnTo>
                  <a:lnTo>
                    <a:pt x="323" y="246"/>
                  </a:lnTo>
                  <a:lnTo>
                    <a:pt x="323" y="238"/>
                  </a:lnTo>
                  <a:lnTo>
                    <a:pt x="323" y="229"/>
                  </a:lnTo>
                  <a:lnTo>
                    <a:pt x="323" y="223"/>
                  </a:lnTo>
                  <a:lnTo>
                    <a:pt x="323" y="217"/>
                  </a:lnTo>
                  <a:lnTo>
                    <a:pt x="323" y="211"/>
                  </a:lnTo>
                  <a:lnTo>
                    <a:pt x="323" y="210"/>
                  </a:lnTo>
                  <a:lnTo>
                    <a:pt x="323" y="206"/>
                  </a:lnTo>
                  <a:lnTo>
                    <a:pt x="323" y="200"/>
                  </a:lnTo>
                  <a:lnTo>
                    <a:pt x="323" y="188"/>
                  </a:lnTo>
                  <a:lnTo>
                    <a:pt x="323" y="177"/>
                  </a:lnTo>
                  <a:lnTo>
                    <a:pt x="332" y="177"/>
                  </a:lnTo>
                  <a:lnTo>
                    <a:pt x="340" y="177"/>
                  </a:lnTo>
                  <a:lnTo>
                    <a:pt x="346" y="171"/>
                  </a:lnTo>
                  <a:lnTo>
                    <a:pt x="346" y="160"/>
                  </a:lnTo>
                  <a:lnTo>
                    <a:pt x="359" y="160"/>
                  </a:lnTo>
                  <a:lnTo>
                    <a:pt x="359" y="146"/>
                  </a:lnTo>
                  <a:lnTo>
                    <a:pt x="359" y="135"/>
                  </a:lnTo>
                  <a:lnTo>
                    <a:pt x="351" y="129"/>
                  </a:lnTo>
                  <a:lnTo>
                    <a:pt x="351" y="127"/>
                  </a:lnTo>
                  <a:lnTo>
                    <a:pt x="351" y="123"/>
                  </a:lnTo>
                  <a:lnTo>
                    <a:pt x="351" y="117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0"/>
                  </a:lnTo>
                  <a:lnTo>
                    <a:pt x="351" y="89"/>
                  </a:lnTo>
                  <a:lnTo>
                    <a:pt x="355" y="85"/>
                  </a:lnTo>
                  <a:lnTo>
                    <a:pt x="357" y="79"/>
                  </a:lnTo>
                  <a:lnTo>
                    <a:pt x="357" y="71"/>
                  </a:lnTo>
                  <a:lnTo>
                    <a:pt x="359" y="66"/>
                  </a:lnTo>
                  <a:lnTo>
                    <a:pt x="371" y="66"/>
                  </a:lnTo>
                  <a:lnTo>
                    <a:pt x="376" y="60"/>
                  </a:lnTo>
                  <a:lnTo>
                    <a:pt x="378" y="60"/>
                  </a:lnTo>
                  <a:lnTo>
                    <a:pt x="382" y="60"/>
                  </a:lnTo>
                  <a:lnTo>
                    <a:pt x="394" y="60"/>
                  </a:lnTo>
                  <a:lnTo>
                    <a:pt x="405" y="60"/>
                  </a:lnTo>
                  <a:lnTo>
                    <a:pt x="411" y="50"/>
                  </a:lnTo>
                  <a:lnTo>
                    <a:pt x="417" y="48"/>
                  </a:lnTo>
                  <a:lnTo>
                    <a:pt x="426" y="48"/>
                  </a:lnTo>
                  <a:lnTo>
                    <a:pt x="434" y="48"/>
                  </a:lnTo>
                  <a:lnTo>
                    <a:pt x="440" y="50"/>
                  </a:lnTo>
                  <a:lnTo>
                    <a:pt x="445" y="60"/>
                  </a:lnTo>
                  <a:lnTo>
                    <a:pt x="455" y="60"/>
                  </a:lnTo>
                  <a:lnTo>
                    <a:pt x="465" y="60"/>
                  </a:lnTo>
                  <a:lnTo>
                    <a:pt x="465" y="56"/>
                  </a:lnTo>
                  <a:lnTo>
                    <a:pt x="466" y="54"/>
                  </a:lnTo>
                  <a:lnTo>
                    <a:pt x="470" y="54"/>
                  </a:lnTo>
                  <a:lnTo>
                    <a:pt x="476" y="54"/>
                  </a:lnTo>
                  <a:lnTo>
                    <a:pt x="482" y="48"/>
                  </a:lnTo>
                  <a:lnTo>
                    <a:pt x="484" y="46"/>
                  </a:lnTo>
                  <a:lnTo>
                    <a:pt x="490" y="46"/>
                  </a:lnTo>
                  <a:lnTo>
                    <a:pt x="493" y="45"/>
                  </a:lnTo>
                  <a:lnTo>
                    <a:pt x="495" y="43"/>
                  </a:lnTo>
                  <a:lnTo>
                    <a:pt x="497" y="39"/>
                  </a:lnTo>
                  <a:lnTo>
                    <a:pt x="499" y="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1578" y="2936"/>
              <a:ext cx="499" cy="434"/>
            </a:xfrm>
            <a:custGeom>
              <a:avLst/>
              <a:gdLst/>
              <a:ahLst/>
              <a:cxnLst>
                <a:cxn ang="0">
                  <a:pos x="457" y="29"/>
                </a:cxn>
                <a:cxn ang="0">
                  <a:pos x="428" y="35"/>
                </a:cxn>
                <a:cxn ang="0">
                  <a:pos x="394" y="35"/>
                </a:cxn>
                <a:cxn ang="0">
                  <a:pos x="369" y="45"/>
                </a:cxn>
                <a:cxn ang="0">
                  <a:pos x="351" y="54"/>
                </a:cxn>
                <a:cxn ang="0">
                  <a:pos x="332" y="54"/>
                </a:cxn>
                <a:cxn ang="0">
                  <a:pos x="300" y="50"/>
                </a:cxn>
                <a:cxn ang="0">
                  <a:pos x="278" y="37"/>
                </a:cxn>
                <a:cxn ang="0">
                  <a:pos x="254" y="29"/>
                </a:cxn>
                <a:cxn ang="0">
                  <a:pos x="223" y="23"/>
                </a:cxn>
                <a:cxn ang="0">
                  <a:pos x="204" y="23"/>
                </a:cxn>
                <a:cxn ang="0">
                  <a:pos x="171" y="29"/>
                </a:cxn>
                <a:cxn ang="0">
                  <a:pos x="129" y="35"/>
                </a:cxn>
                <a:cxn ang="0">
                  <a:pos x="88" y="12"/>
                </a:cxn>
                <a:cxn ang="0">
                  <a:pos x="62" y="2"/>
                </a:cxn>
                <a:cxn ang="0">
                  <a:pos x="42" y="12"/>
                </a:cxn>
                <a:cxn ang="0">
                  <a:pos x="18" y="12"/>
                </a:cxn>
                <a:cxn ang="0">
                  <a:pos x="0" y="43"/>
                </a:cxn>
                <a:cxn ang="0">
                  <a:pos x="23" y="83"/>
                </a:cxn>
                <a:cxn ang="0">
                  <a:pos x="48" y="112"/>
                </a:cxn>
                <a:cxn ang="0">
                  <a:pos x="58" y="133"/>
                </a:cxn>
                <a:cxn ang="0">
                  <a:pos x="73" y="158"/>
                </a:cxn>
                <a:cxn ang="0">
                  <a:pos x="94" y="183"/>
                </a:cxn>
                <a:cxn ang="0">
                  <a:pos x="94" y="196"/>
                </a:cxn>
                <a:cxn ang="0">
                  <a:pos x="94" y="211"/>
                </a:cxn>
                <a:cxn ang="0">
                  <a:pos x="94" y="229"/>
                </a:cxn>
                <a:cxn ang="0">
                  <a:pos x="94" y="256"/>
                </a:cxn>
                <a:cxn ang="0">
                  <a:pos x="94" y="306"/>
                </a:cxn>
                <a:cxn ang="0">
                  <a:pos x="94" y="334"/>
                </a:cxn>
                <a:cxn ang="0">
                  <a:pos x="94" y="357"/>
                </a:cxn>
                <a:cxn ang="0">
                  <a:pos x="112" y="388"/>
                </a:cxn>
                <a:cxn ang="0">
                  <a:pos x="140" y="411"/>
                </a:cxn>
                <a:cxn ang="0">
                  <a:pos x="159" y="411"/>
                </a:cxn>
                <a:cxn ang="0">
                  <a:pos x="188" y="428"/>
                </a:cxn>
                <a:cxn ang="0">
                  <a:pos x="217" y="434"/>
                </a:cxn>
                <a:cxn ang="0">
                  <a:pos x="234" y="434"/>
                </a:cxn>
                <a:cxn ang="0">
                  <a:pos x="265" y="430"/>
                </a:cxn>
                <a:cxn ang="0">
                  <a:pos x="282" y="423"/>
                </a:cxn>
                <a:cxn ang="0">
                  <a:pos x="307" y="390"/>
                </a:cxn>
                <a:cxn ang="0">
                  <a:pos x="323" y="382"/>
                </a:cxn>
                <a:cxn ang="0">
                  <a:pos x="323" y="357"/>
                </a:cxn>
                <a:cxn ang="0">
                  <a:pos x="317" y="329"/>
                </a:cxn>
                <a:cxn ang="0">
                  <a:pos x="323" y="296"/>
                </a:cxn>
                <a:cxn ang="0">
                  <a:pos x="323" y="265"/>
                </a:cxn>
                <a:cxn ang="0">
                  <a:pos x="323" y="229"/>
                </a:cxn>
                <a:cxn ang="0">
                  <a:pos x="323" y="210"/>
                </a:cxn>
                <a:cxn ang="0">
                  <a:pos x="323" y="177"/>
                </a:cxn>
                <a:cxn ang="0">
                  <a:pos x="346" y="160"/>
                </a:cxn>
                <a:cxn ang="0">
                  <a:pos x="351" y="129"/>
                </a:cxn>
                <a:cxn ang="0">
                  <a:pos x="351" y="116"/>
                </a:cxn>
                <a:cxn ang="0">
                  <a:pos x="355" y="85"/>
                </a:cxn>
                <a:cxn ang="0">
                  <a:pos x="371" y="66"/>
                </a:cxn>
                <a:cxn ang="0">
                  <a:pos x="394" y="60"/>
                </a:cxn>
                <a:cxn ang="0">
                  <a:pos x="426" y="48"/>
                </a:cxn>
                <a:cxn ang="0">
                  <a:pos x="455" y="60"/>
                </a:cxn>
                <a:cxn ang="0">
                  <a:pos x="470" y="54"/>
                </a:cxn>
                <a:cxn ang="0">
                  <a:pos x="490" y="46"/>
                </a:cxn>
                <a:cxn ang="0">
                  <a:pos x="499" y="35"/>
                </a:cxn>
              </a:cxnLst>
              <a:rect l="0" t="0" r="r" b="b"/>
              <a:pathLst>
                <a:path w="499" h="434">
                  <a:moveTo>
                    <a:pt x="499" y="35"/>
                  </a:moveTo>
                  <a:lnTo>
                    <a:pt x="482" y="35"/>
                  </a:lnTo>
                  <a:lnTo>
                    <a:pt x="465" y="35"/>
                  </a:lnTo>
                  <a:lnTo>
                    <a:pt x="457" y="29"/>
                  </a:lnTo>
                  <a:lnTo>
                    <a:pt x="445" y="29"/>
                  </a:lnTo>
                  <a:lnTo>
                    <a:pt x="440" y="33"/>
                  </a:lnTo>
                  <a:lnTo>
                    <a:pt x="434" y="35"/>
                  </a:lnTo>
                  <a:lnTo>
                    <a:pt x="428" y="35"/>
                  </a:lnTo>
                  <a:lnTo>
                    <a:pt x="426" y="35"/>
                  </a:lnTo>
                  <a:lnTo>
                    <a:pt x="422" y="35"/>
                  </a:lnTo>
                  <a:lnTo>
                    <a:pt x="409" y="35"/>
                  </a:lnTo>
                  <a:lnTo>
                    <a:pt x="394" y="35"/>
                  </a:lnTo>
                  <a:lnTo>
                    <a:pt x="388" y="43"/>
                  </a:lnTo>
                  <a:lnTo>
                    <a:pt x="378" y="43"/>
                  </a:lnTo>
                  <a:lnTo>
                    <a:pt x="371" y="43"/>
                  </a:lnTo>
                  <a:lnTo>
                    <a:pt x="369" y="45"/>
                  </a:lnTo>
                  <a:lnTo>
                    <a:pt x="367" y="46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1" y="54"/>
                  </a:lnTo>
                  <a:lnTo>
                    <a:pt x="346" y="54"/>
                  </a:lnTo>
                  <a:lnTo>
                    <a:pt x="340" y="54"/>
                  </a:lnTo>
                  <a:lnTo>
                    <a:pt x="334" y="54"/>
                  </a:lnTo>
                  <a:lnTo>
                    <a:pt x="332" y="54"/>
                  </a:lnTo>
                  <a:lnTo>
                    <a:pt x="328" y="54"/>
                  </a:lnTo>
                  <a:lnTo>
                    <a:pt x="317" y="54"/>
                  </a:lnTo>
                  <a:lnTo>
                    <a:pt x="305" y="54"/>
                  </a:lnTo>
                  <a:lnTo>
                    <a:pt x="300" y="50"/>
                  </a:lnTo>
                  <a:lnTo>
                    <a:pt x="294" y="43"/>
                  </a:lnTo>
                  <a:lnTo>
                    <a:pt x="282" y="43"/>
                  </a:lnTo>
                  <a:lnTo>
                    <a:pt x="280" y="39"/>
                  </a:lnTo>
                  <a:lnTo>
                    <a:pt x="278" y="37"/>
                  </a:lnTo>
                  <a:lnTo>
                    <a:pt x="275" y="35"/>
                  </a:lnTo>
                  <a:lnTo>
                    <a:pt x="271" y="35"/>
                  </a:lnTo>
                  <a:lnTo>
                    <a:pt x="265" y="29"/>
                  </a:lnTo>
                  <a:lnTo>
                    <a:pt x="254" y="29"/>
                  </a:lnTo>
                  <a:lnTo>
                    <a:pt x="244" y="27"/>
                  </a:lnTo>
                  <a:lnTo>
                    <a:pt x="234" y="23"/>
                  </a:lnTo>
                  <a:lnTo>
                    <a:pt x="229" y="23"/>
                  </a:lnTo>
                  <a:lnTo>
                    <a:pt x="223" y="23"/>
                  </a:lnTo>
                  <a:lnTo>
                    <a:pt x="217" y="23"/>
                  </a:lnTo>
                  <a:lnTo>
                    <a:pt x="211" y="23"/>
                  </a:lnTo>
                  <a:lnTo>
                    <a:pt x="206" y="23"/>
                  </a:lnTo>
                  <a:lnTo>
                    <a:pt x="204" y="23"/>
                  </a:lnTo>
                  <a:lnTo>
                    <a:pt x="200" y="23"/>
                  </a:lnTo>
                  <a:lnTo>
                    <a:pt x="188" y="23"/>
                  </a:lnTo>
                  <a:lnTo>
                    <a:pt x="177" y="23"/>
                  </a:lnTo>
                  <a:lnTo>
                    <a:pt x="171" y="29"/>
                  </a:lnTo>
                  <a:lnTo>
                    <a:pt x="159" y="29"/>
                  </a:lnTo>
                  <a:lnTo>
                    <a:pt x="148" y="29"/>
                  </a:lnTo>
                  <a:lnTo>
                    <a:pt x="140" y="35"/>
                  </a:lnTo>
                  <a:lnTo>
                    <a:pt x="129" y="35"/>
                  </a:lnTo>
                  <a:lnTo>
                    <a:pt x="117" y="35"/>
                  </a:lnTo>
                  <a:lnTo>
                    <a:pt x="100" y="29"/>
                  </a:lnTo>
                  <a:lnTo>
                    <a:pt x="92" y="22"/>
                  </a:lnTo>
                  <a:lnTo>
                    <a:pt x="88" y="12"/>
                  </a:lnTo>
                  <a:lnTo>
                    <a:pt x="77" y="6"/>
                  </a:lnTo>
                  <a:lnTo>
                    <a:pt x="65" y="6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8" y="4"/>
                  </a:lnTo>
                  <a:lnTo>
                    <a:pt x="42" y="12"/>
                  </a:lnTo>
                  <a:lnTo>
                    <a:pt x="35" y="12"/>
                  </a:lnTo>
                  <a:lnTo>
                    <a:pt x="33" y="12"/>
                  </a:lnTo>
                  <a:lnTo>
                    <a:pt x="29" y="12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29"/>
                  </a:lnTo>
                  <a:lnTo>
                    <a:pt x="0" y="43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23" y="71"/>
                  </a:lnTo>
                  <a:lnTo>
                    <a:pt x="23" y="83"/>
                  </a:lnTo>
                  <a:lnTo>
                    <a:pt x="29" y="89"/>
                  </a:lnTo>
                  <a:lnTo>
                    <a:pt x="42" y="94"/>
                  </a:lnTo>
                  <a:lnTo>
                    <a:pt x="48" y="100"/>
                  </a:lnTo>
                  <a:lnTo>
                    <a:pt x="48" y="112"/>
                  </a:lnTo>
                  <a:lnTo>
                    <a:pt x="50" y="121"/>
                  </a:lnTo>
                  <a:lnTo>
                    <a:pt x="54" y="129"/>
                  </a:lnTo>
                  <a:lnTo>
                    <a:pt x="56" y="131"/>
                  </a:lnTo>
                  <a:lnTo>
                    <a:pt x="58" y="133"/>
                  </a:lnTo>
                  <a:lnTo>
                    <a:pt x="60" y="137"/>
                  </a:lnTo>
                  <a:lnTo>
                    <a:pt x="60" y="140"/>
                  </a:lnTo>
                  <a:lnTo>
                    <a:pt x="71" y="154"/>
                  </a:lnTo>
                  <a:lnTo>
                    <a:pt x="73" y="158"/>
                  </a:lnTo>
                  <a:lnTo>
                    <a:pt x="77" y="164"/>
                  </a:lnTo>
                  <a:lnTo>
                    <a:pt x="83" y="169"/>
                  </a:lnTo>
                  <a:lnTo>
                    <a:pt x="88" y="171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8"/>
                  </a:lnTo>
                  <a:lnTo>
                    <a:pt x="94" y="194"/>
                  </a:lnTo>
                  <a:lnTo>
                    <a:pt x="94" y="196"/>
                  </a:lnTo>
                  <a:lnTo>
                    <a:pt x="94" y="200"/>
                  </a:lnTo>
                  <a:lnTo>
                    <a:pt x="94" y="206"/>
                  </a:lnTo>
                  <a:lnTo>
                    <a:pt x="94" y="210"/>
                  </a:lnTo>
                  <a:lnTo>
                    <a:pt x="94" y="211"/>
                  </a:lnTo>
                  <a:lnTo>
                    <a:pt x="94" y="217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4" y="229"/>
                  </a:lnTo>
                  <a:lnTo>
                    <a:pt x="94" y="233"/>
                  </a:lnTo>
                  <a:lnTo>
                    <a:pt x="94" y="235"/>
                  </a:lnTo>
                  <a:lnTo>
                    <a:pt x="94" y="240"/>
                  </a:lnTo>
                  <a:lnTo>
                    <a:pt x="94" y="256"/>
                  </a:lnTo>
                  <a:lnTo>
                    <a:pt x="94" y="271"/>
                  </a:lnTo>
                  <a:lnTo>
                    <a:pt x="94" y="282"/>
                  </a:lnTo>
                  <a:lnTo>
                    <a:pt x="94" y="294"/>
                  </a:lnTo>
                  <a:lnTo>
                    <a:pt x="94" y="306"/>
                  </a:lnTo>
                  <a:lnTo>
                    <a:pt x="94" y="317"/>
                  </a:lnTo>
                  <a:lnTo>
                    <a:pt x="94" y="323"/>
                  </a:lnTo>
                  <a:lnTo>
                    <a:pt x="94" y="329"/>
                  </a:lnTo>
                  <a:lnTo>
                    <a:pt x="94" y="334"/>
                  </a:lnTo>
                  <a:lnTo>
                    <a:pt x="94" y="338"/>
                  </a:lnTo>
                  <a:lnTo>
                    <a:pt x="94" y="340"/>
                  </a:lnTo>
                  <a:lnTo>
                    <a:pt x="94" y="346"/>
                  </a:lnTo>
                  <a:lnTo>
                    <a:pt x="94" y="357"/>
                  </a:lnTo>
                  <a:lnTo>
                    <a:pt x="94" y="371"/>
                  </a:lnTo>
                  <a:lnTo>
                    <a:pt x="100" y="382"/>
                  </a:lnTo>
                  <a:lnTo>
                    <a:pt x="106" y="384"/>
                  </a:lnTo>
                  <a:lnTo>
                    <a:pt x="112" y="388"/>
                  </a:lnTo>
                  <a:lnTo>
                    <a:pt x="115" y="396"/>
                  </a:lnTo>
                  <a:lnTo>
                    <a:pt x="123" y="405"/>
                  </a:lnTo>
                  <a:lnTo>
                    <a:pt x="135" y="411"/>
                  </a:lnTo>
                  <a:lnTo>
                    <a:pt x="140" y="411"/>
                  </a:lnTo>
                  <a:lnTo>
                    <a:pt x="148" y="411"/>
                  </a:lnTo>
                  <a:lnTo>
                    <a:pt x="154" y="411"/>
                  </a:lnTo>
                  <a:lnTo>
                    <a:pt x="156" y="411"/>
                  </a:lnTo>
                  <a:lnTo>
                    <a:pt x="159" y="411"/>
                  </a:lnTo>
                  <a:lnTo>
                    <a:pt x="171" y="411"/>
                  </a:lnTo>
                  <a:lnTo>
                    <a:pt x="183" y="411"/>
                  </a:lnTo>
                  <a:lnTo>
                    <a:pt x="183" y="423"/>
                  </a:lnTo>
                  <a:lnTo>
                    <a:pt x="188" y="428"/>
                  </a:lnTo>
                  <a:lnTo>
                    <a:pt x="198" y="428"/>
                  </a:lnTo>
                  <a:lnTo>
                    <a:pt x="206" y="428"/>
                  </a:lnTo>
                  <a:lnTo>
                    <a:pt x="211" y="434"/>
                  </a:lnTo>
                  <a:lnTo>
                    <a:pt x="217" y="434"/>
                  </a:lnTo>
                  <a:lnTo>
                    <a:pt x="223" y="434"/>
                  </a:lnTo>
                  <a:lnTo>
                    <a:pt x="229" y="434"/>
                  </a:lnTo>
                  <a:lnTo>
                    <a:pt x="232" y="434"/>
                  </a:lnTo>
                  <a:lnTo>
                    <a:pt x="234" y="434"/>
                  </a:lnTo>
                  <a:lnTo>
                    <a:pt x="240" y="434"/>
                  </a:lnTo>
                  <a:lnTo>
                    <a:pt x="254" y="434"/>
                  </a:lnTo>
                  <a:lnTo>
                    <a:pt x="265" y="434"/>
                  </a:lnTo>
                  <a:lnTo>
                    <a:pt x="265" y="430"/>
                  </a:lnTo>
                  <a:lnTo>
                    <a:pt x="269" y="428"/>
                  </a:lnTo>
                  <a:lnTo>
                    <a:pt x="273" y="428"/>
                  </a:lnTo>
                  <a:lnTo>
                    <a:pt x="277" y="428"/>
                  </a:lnTo>
                  <a:lnTo>
                    <a:pt x="282" y="423"/>
                  </a:lnTo>
                  <a:lnTo>
                    <a:pt x="288" y="411"/>
                  </a:lnTo>
                  <a:lnTo>
                    <a:pt x="294" y="394"/>
                  </a:lnTo>
                  <a:lnTo>
                    <a:pt x="305" y="394"/>
                  </a:lnTo>
                  <a:lnTo>
                    <a:pt x="307" y="390"/>
                  </a:lnTo>
                  <a:lnTo>
                    <a:pt x="309" y="388"/>
                  </a:lnTo>
                  <a:lnTo>
                    <a:pt x="313" y="388"/>
                  </a:lnTo>
                  <a:lnTo>
                    <a:pt x="317" y="388"/>
                  </a:lnTo>
                  <a:lnTo>
                    <a:pt x="323" y="382"/>
                  </a:lnTo>
                  <a:lnTo>
                    <a:pt x="323" y="378"/>
                  </a:lnTo>
                  <a:lnTo>
                    <a:pt x="323" y="377"/>
                  </a:lnTo>
                  <a:lnTo>
                    <a:pt x="323" y="371"/>
                  </a:lnTo>
                  <a:lnTo>
                    <a:pt x="323" y="357"/>
                  </a:lnTo>
                  <a:lnTo>
                    <a:pt x="323" y="346"/>
                  </a:lnTo>
                  <a:lnTo>
                    <a:pt x="317" y="340"/>
                  </a:lnTo>
                  <a:lnTo>
                    <a:pt x="317" y="334"/>
                  </a:lnTo>
                  <a:lnTo>
                    <a:pt x="317" y="329"/>
                  </a:lnTo>
                  <a:lnTo>
                    <a:pt x="317" y="321"/>
                  </a:lnTo>
                  <a:lnTo>
                    <a:pt x="317" y="311"/>
                  </a:lnTo>
                  <a:lnTo>
                    <a:pt x="323" y="306"/>
                  </a:lnTo>
                  <a:lnTo>
                    <a:pt x="323" y="296"/>
                  </a:lnTo>
                  <a:lnTo>
                    <a:pt x="323" y="288"/>
                  </a:lnTo>
                  <a:lnTo>
                    <a:pt x="328" y="282"/>
                  </a:lnTo>
                  <a:lnTo>
                    <a:pt x="328" y="271"/>
                  </a:lnTo>
                  <a:lnTo>
                    <a:pt x="323" y="265"/>
                  </a:lnTo>
                  <a:lnTo>
                    <a:pt x="323" y="256"/>
                  </a:lnTo>
                  <a:lnTo>
                    <a:pt x="323" y="246"/>
                  </a:lnTo>
                  <a:lnTo>
                    <a:pt x="323" y="238"/>
                  </a:lnTo>
                  <a:lnTo>
                    <a:pt x="323" y="229"/>
                  </a:lnTo>
                  <a:lnTo>
                    <a:pt x="323" y="223"/>
                  </a:lnTo>
                  <a:lnTo>
                    <a:pt x="323" y="217"/>
                  </a:lnTo>
                  <a:lnTo>
                    <a:pt x="323" y="211"/>
                  </a:lnTo>
                  <a:lnTo>
                    <a:pt x="323" y="210"/>
                  </a:lnTo>
                  <a:lnTo>
                    <a:pt x="323" y="206"/>
                  </a:lnTo>
                  <a:lnTo>
                    <a:pt x="323" y="200"/>
                  </a:lnTo>
                  <a:lnTo>
                    <a:pt x="323" y="188"/>
                  </a:lnTo>
                  <a:lnTo>
                    <a:pt x="323" y="177"/>
                  </a:lnTo>
                  <a:lnTo>
                    <a:pt x="332" y="177"/>
                  </a:lnTo>
                  <a:lnTo>
                    <a:pt x="340" y="177"/>
                  </a:lnTo>
                  <a:lnTo>
                    <a:pt x="346" y="171"/>
                  </a:lnTo>
                  <a:lnTo>
                    <a:pt x="346" y="160"/>
                  </a:lnTo>
                  <a:lnTo>
                    <a:pt x="359" y="160"/>
                  </a:lnTo>
                  <a:lnTo>
                    <a:pt x="359" y="146"/>
                  </a:lnTo>
                  <a:lnTo>
                    <a:pt x="359" y="135"/>
                  </a:lnTo>
                  <a:lnTo>
                    <a:pt x="351" y="129"/>
                  </a:lnTo>
                  <a:lnTo>
                    <a:pt x="351" y="127"/>
                  </a:lnTo>
                  <a:lnTo>
                    <a:pt x="351" y="123"/>
                  </a:lnTo>
                  <a:lnTo>
                    <a:pt x="351" y="117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0"/>
                  </a:lnTo>
                  <a:lnTo>
                    <a:pt x="351" y="89"/>
                  </a:lnTo>
                  <a:lnTo>
                    <a:pt x="355" y="85"/>
                  </a:lnTo>
                  <a:lnTo>
                    <a:pt x="357" y="79"/>
                  </a:lnTo>
                  <a:lnTo>
                    <a:pt x="357" y="71"/>
                  </a:lnTo>
                  <a:lnTo>
                    <a:pt x="359" y="66"/>
                  </a:lnTo>
                  <a:lnTo>
                    <a:pt x="371" y="66"/>
                  </a:lnTo>
                  <a:lnTo>
                    <a:pt x="376" y="60"/>
                  </a:lnTo>
                  <a:lnTo>
                    <a:pt x="378" y="60"/>
                  </a:lnTo>
                  <a:lnTo>
                    <a:pt x="382" y="60"/>
                  </a:lnTo>
                  <a:lnTo>
                    <a:pt x="394" y="60"/>
                  </a:lnTo>
                  <a:lnTo>
                    <a:pt x="405" y="60"/>
                  </a:lnTo>
                  <a:lnTo>
                    <a:pt x="411" y="50"/>
                  </a:lnTo>
                  <a:lnTo>
                    <a:pt x="417" y="48"/>
                  </a:lnTo>
                  <a:lnTo>
                    <a:pt x="426" y="48"/>
                  </a:lnTo>
                  <a:lnTo>
                    <a:pt x="434" y="48"/>
                  </a:lnTo>
                  <a:lnTo>
                    <a:pt x="440" y="50"/>
                  </a:lnTo>
                  <a:lnTo>
                    <a:pt x="445" y="60"/>
                  </a:lnTo>
                  <a:lnTo>
                    <a:pt x="455" y="60"/>
                  </a:lnTo>
                  <a:lnTo>
                    <a:pt x="465" y="60"/>
                  </a:lnTo>
                  <a:lnTo>
                    <a:pt x="465" y="56"/>
                  </a:lnTo>
                  <a:lnTo>
                    <a:pt x="466" y="54"/>
                  </a:lnTo>
                  <a:lnTo>
                    <a:pt x="470" y="54"/>
                  </a:lnTo>
                  <a:lnTo>
                    <a:pt x="476" y="54"/>
                  </a:lnTo>
                  <a:lnTo>
                    <a:pt x="482" y="48"/>
                  </a:lnTo>
                  <a:lnTo>
                    <a:pt x="484" y="46"/>
                  </a:lnTo>
                  <a:lnTo>
                    <a:pt x="490" y="46"/>
                  </a:lnTo>
                  <a:lnTo>
                    <a:pt x="493" y="45"/>
                  </a:lnTo>
                  <a:lnTo>
                    <a:pt x="495" y="43"/>
                  </a:lnTo>
                  <a:lnTo>
                    <a:pt x="497" y="39"/>
                  </a:lnTo>
                  <a:lnTo>
                    <a:pt x="499" y="3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1578" y="2532"/>
              <a:ext cx="465" cy="458"/>
            </a:xfrm>
            <a:custGeom>
              <a:avLst/>
              <a:gdLst/>
              <a:ahLst/>
              <a:cxnLst>
                <a:cxn ang="0">
                  <a:pos x="6" y="370"/>
                </a:cxn>
                <a:cxn ang="0">
                  <a:pos x="29" y="341"/>
                </a:cxn>
                <a:cxn ang="0">
                  <a:pos x="29" y="293"/>
                </a:cxn>
                <a:cxn ang="0">
                  <a:pos x="18" y="259"/>
                </a:cxn>
                <a:cxn ang="0">
                  <a:pos x="23" y="247"/>
                </a:cxn>
                <a:cxn ang="0">
                  <a:pos x="29" y="236"/>
                </a:cxn>
                <a:cxn ang="0">
                  <a:pos x="54" y="211"/>
                </a:cxn>
                <a:cxn ang="0">
                  <a:pos x="83" y="193"/>
                </a:cxn>
                <a:cxn ang="0">
                  <a:pos x="62" y="161"/>
                </a:cxn>
                <a:cxn ang="0">
                  <a:pos x="54" y="124"/>
                </a:cxn>
                <a:cxn ang="0">
                  <a:pos x="65" y="94"/>
                </a:cxn>
                <a:cxn ang="0">
                  <a:pos x="60" y="61"/>
                </a:cxn>
                <a:cxn ang="0">
                  <a:pos x="54" y="42"/>
                </a:cxn>
                <a:cxn ang="0">
                  <a:pos x="48" y="24"/>
                </a:cxn>
                <a:cxn ang="0">
                  <a:pos x="83" y="9"/>
                </a:cxn>
                <a:cxn ang="0">
                  <a:pos x="117" y="0"/>
                </a:cxn>
                <a:cxn ang="0">
                  <a:pos x="159" y="5"/>
                </a:cxn>
                <a:cxn ang="0">
                  <a:pos x="188" y="24"/>
                </a:cxn>
                <a:cxn ang="0">
                  <a:pos x="211" y="53"/>
                </a:cxn>
                <a:cxn ang="0">
                  <a:pos x="229" y="74"/>
                </a:cxn>
                <a:cxn ang="0">
                  <a:pos x="259" y="94"/>
                </a:cxn>
                <a:cxn ang="0">
                  <a:pos x="294" y="82"/>
                </a:cxn>
                <a:cxn ang="0">
                  <a:pos x="317" y="65"/>
                </a:cxn>
                <a:cxn ang="0">
                  <a:pos x="346" y="53"/>
                </a:cxn>
                <a:cxn ang="0">
                  <a:pos x="380" y="71"/>
                </a:cxn>
                <a:cxn ang="0">
                  <a:pos x="382" y="99"/>
                </a:cxn>
                <a:cxn ang="0">
                  <a:pos x="388" y="138"/>
                </a:cxn>
                <a:cxn ang="0">
                  <a:pos x="403" y="165"/>
                </a:cxn>
                <a:cxn ang="0">
                  <a:pos x="411" y="182"/>
                </a:cxn>
                <a:cxn ang="0">
                  <a:pos x="405" y="193"/>
                </a:cxn>
                <a:cxn ang="0">
                  <a:pos x="440" y="188"/>
                </a:cxn>
                <a:cxn ang="0">
                  <a:pos x="457" y="216"/>
                </a:cxn>
                <a:cxn ang="0">
                  <a:pos x="457" y="255"/>
                </a:cxn>
                <a:cxn ang="0">
                  <a:pos x="457" y="282"/>
                </a:cxn>
                <a:cxn ang="0">
                  <a:pos x="411" y="282"/>
                </a:cxn>
                <a:cxn ang="0">
                  <a:pos x="388" y="305"/>
                </a:cxn>
                <a:cxn ang="0">
                  <a:pos x="394" y="347"/>
                </a:cxn>
                <a:cxn ang="0">
                  <a:pos x="399" y="379"/>
                </a:cxn>
                <a:cxn ang="0">
                  <a:pos x="395" y="393"/>
                </a:cxn>
                <a:cxn ang="0">
                  <a:pos x="422" y="410"/>
                </a:cxn>
                <a:cxn ang="0">
                  <a:pos x="440" y="439"/>
                </a:cxn>
                <a:cxn ang="0">
                  <a:pos x="399" y="447"/>
                </a:cxn>
                <a:cxn ang="0">
                  <a:pos x="359" y="458"/>
                </a:cxn>
                <a:cxn ang="0">
                  <a:pos x="317" y="452"/>
                </a:cxn>
                <a:cxn ang="0">
                  <a:pos x="282" y="447"/>
                </a:cxn>
                <a:cxn ang="0">
                  <a:pos x="246" y="433"/>
                </a:cxn>
                <a:cxn ang="0">
                  <a:pos x="204" y="433"/>
                </a:cxn>
                <a:cxn ang="0">
                  <a:pos x="171" y="433"/>
                </a:cxn>
                <a:cxn ang="0">
                  <a:pos x="129" y="439"/>
                </a:cxn>
                <a:cxn ang="0">
                  <a:pos x="110" y="433"/>
                </a:cxn>
                <a:cxn ang="0">
                  <a:pos x="83" y="416"/>
                </a:cxn>
                <a:cxn ang="0">
                  <a:pos x="54" y="404"/>
                </a:cxn>
                <a:cxn ang="0">
                  <a:pos x="21" y="410"/>
                </a:cxn>
              </a:cxnLst>
              <a:rect l="0" t="0" r="r" b="b"/>
              <a:pathLst>
                <a:path w="465" h="458">
                  <a:moveTo>
                    <a:pt x="0" y="410"/>
                  </a:moveTo>
                  <a:lnTo>
                    <a:pt x="4" y="397"/>
                  </a:lnTo>
                  <a:lnTo>
                    <a:pt x="6" y="381"/>
                  </a:lnTo>
                  <a:lnTo>
                    <a:pt x="6" y="370"/>
                  </a:lnTo>
                  <a:lnTo>
                    <a:pt x="12" y="364"/>
                  </a:lnTo>
                  <a:lnTo>
                    <a:pt x="23" y="358"/>
                  </a:lnTo>
                  <a:lnTo>
                    <a:pt x="29" y="353"/>
                  </a:lnTo>
                  <a:lnTo>
                    <a:pt x="29" y="341"/>
                  </a:lnTo>
                  <a:lnTo>
                    <a:pt x="29" y="328"/>
                  </a:lnTo>
                  <a:lnTo>
                    <a:pt x="29" y="316"/>
                  </a:lnTo>
                  <a:lnTo>
                    <a:pt x="29" y="305"/>
                  </a:lnTo>
                  <a:lnTo>
                    <a:pt x="29" y="293"/>
                  </a:lnTo>
                  <a:lnTo>
                    <a:pt x="27" y="285"/>
                  </a:lnTo>
                  <a:lnTo>
                    <a:pt x="23" y="276"/>
                  </a:lnTo>
                  <a:lnTo>
                    <a:pt x="21" y="266"/>
                  </a:lnTo>
                  <a:lnTo>
                    <a:pt x="18" y="259"/>
                  </a:lnTo>
                  <a:lnTo>
                    <a:pt x="21" y="257"/>
                  </a:lnTo>
                  <a:lnTo>
                    <a:pt x="23" y="255"/>
                  </a:lnTo>
                  <a:lnTo>
                    <a:pt x="23" y="251"/>
                  </a:lnTo>
                  <a:lnTo>
                    <a:pt x="23" y="247"/>
                  </a:lnTo>
                  <a:lnTo>
                    <a:pt x="27" y="245"/>
                  </a:lnTo>
                  <a:lnTo>
                    <a:pt x="29" y="243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35" y="228"/>
                  </a:lnTo>
                  <a:lnTo>
                    <a:pt x="42" y="222"/>
                  </a:lnTo>
                  <a:lnTo>
                    <a:pt x="48" y="216"/>
                  </a:lnTo>
                  <a:lnTo>
                    <a:pt x="54" y="211"/>
                  </a:lnTo>
                  <a:lnTo>
                    <a:pt x="65" y="211"/>
                  </a:lnTo>
                  <a:lnTo>
                    <a:pt x="71" y="205"/>
                  </a:lnTo>
                  <a:lnTo>
                    <a:pt x="77" y="199"/>
                  </a:lnTo>
                  <a:lnTo>
                    <a:pt x="83" y="193"/>
                  </a:lnTo>
                  <a:lnTo>
                    <a:pt x="88" y="188"/>
                  </a:lnTo>
                  <a:lnTo>
                    <a:pt x="83" y="176"/>
                  </a:lnTo>
                  <a:lnTo>
                    <a:pt x="71" y="165"/>
                  </a:lnTo>
                  <a:lnTo>
                    <a:pt x="62" y="161"/>
                  </a:lnTo>
                  <a:lnTo>
                    <a:pt x="54" y="159"/>
                  </a:lnTo>
                  <a:lnTo>
                    <a:pt x="54" y="147"/>
                  </a:lnTo>
                  <a:lnTo>
                    <a:pt x="54" y="136"/>
                  </a:lnTo>
                  <a:lnTo>
                    <a:pt x="54" y="124"/>
                  </a:lnTo>
                  <a:lnTo>
                    <a:pt x="60" y="120"/>
                  </a:lnTo>
                  <a:lnTo>
                    <a:pt x="65" y="117"/>
                  </a:lnTo>
                  <a:lnTo>
                    <a:pt x="65" y="105"/>
                  </a:lnTo>
                  <a:lnTo>
                    <a:pt x="65" y="94"/>
                  </a:lnTo>
                  <a:lnTo>
                    <a:pt x="65" y="86"/>
                  </a:lnTo>
                  <a:lnTo>
                    <a:pt x="65" y="76"/>
                  </a:lnTo>
                  <a:lnTo>
                    <a:pt x="60" y="71"/>
                  </a:lnTo>
                  <a:lnTo>
                    <a:pt x="60" y="61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54" y="44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2" y="30"/>
                  </a:lnTo>
                  <a:lnTo>
                    <a:pt x="50" y="26"/>
                  </a:lnTo>
                  <a:lnTo>
                    <a:pt x="48" y="24"/>
                  </a:lnTo>
                  <a:lnTo>
                    <a:pt x="60" y="19"/>
                  </a:lnTo>
                  <a:lnTo>
                    <a:pt x="71" y="11"/>
                  </a:lnTo>
                  <a:lnTo>
                    <a:pt x="77" y="11"/>
                  </a:lnTo>
                  <a:lnTo>
                    <a:pt x="83" y="9"/>
                  </a:lnTo>
                  <a:lnTo>
                    <a:pt x="88" y="5"/>
                  </a:lnTo>
                  <a:lnTo>
                    <a:pt x="94" y="0"/>
                  </a:lnTo>
                  <a:lnTo>
                    <a:pt x="106" y="0"/>
                  </a:lnTo>
                  <a:lnTo>
                    <a:pt x="117" y="0"/>
                  </a:lnTo>
                  <a:lnTo>
                    <a:pt x="129" y="0"/>
                  </a:lnTo>
                  <a:lnTo>
                    <a:pt x="135" y="5"/>
                  </a:lnTo>
                  <a:lnTo>
                    <a:pt x="148" y="5"/>
                  </a:lnTo>
                  <a:lnTo>
                    <a:pt x="159" y="5"/>
                  </a:lnTo>
                  <a:lnTo>
                    <a:pt x="171" y="5"/>
                  </a:lnTo>
                  <a:lnTo>
                    <a:pt x="183" y="5"/>
                  </a:lnTo>
                  <a:lnTo>
                    <a:pt x="184" y="15"/>
                  </a:lnTo>
                  <a:lnTo>
                    <a:pt x="188" y="24"/>
                  </a:lnTo>
                  <a:lnTo>
                    <a:pt x="194" y="30"/>
                  </a:lnTo>
                  <a:lnTo>
                    <a:pt x="200" y="36"/>
                  </a:lnTo>
                  <a:lnTo>
                    <a:pt x="207" y="44"/>
                  </a:lnTo>
                  <a:lnTo>
                    <a:pt x="211" y="53"/>
                  </a:lnTo>
                  <a:lnTo>
                    <a:pt x="217" y="55"/>
                  </a:lnTo>
                  <a:lnTo>
                    <a:pt x="223" y="59"/>
                  </a:lnTo>
                  <a:lnTo>
                    <a:pt x="223" y="71"/>
                  </a:lnTo>
                  <a:lnTo>
                    <a:pt x="229" y="74"/>
                  </a:lnTo>
                  <a:lnTo>
                    <a:pt x="234" y="76"/>
                  </a:lnTo>
                  <a:lnTo>
                    <a:pt x="234" y="88"/>
                  </a:lnTo>
                  <a:lnTo>
                    <a:pt x="246" y="94"/>
                  </a:lnTo>
                  <a:lnTo>
                    <a:pt x="259" y="94"/>
                  </a:lnTo>
                  <a:lnTo>
                    <a:pt x="271" y="94"/>
                  </a:lnTo>
                  <a:lnTo>
                    <a:pt x="277" y="86"/>
                  </a:lnTo>
                  <a:lnTo>
                    <a:pt x="282" y="82"/>
                  </a:lnTo>
                  <a:lnTo>
                    <a:pt x="294" y="82"/>
                  </a:lnTo>
                  <a:lnTo>
                    <a:pt x="303" y="82"/>
                  </a:lnTo>
                  <a:lnTo>
                    <a:pt x="311" y="82"/>
                  </a:lnTo>
                  <a:lnTo>
                    <a:pt x="311" y="71"/>
                  </a:lnTo>
                  <a:lnTo>
                    <a:pt x="317" y="65"/>
                  </a:lnTo>
                  <a:lnTo>
                    <a:pt x="317" y="53"/>
                  </a:lnTo>
                  <a:lnTo>
                    <a:pt x="328" y="53"/>
                  </a:lnTo>
                  <a:lnTo>
                    <a:pt x="338" y="53"/>
                  </a:lnTo>
                  <a:lnTo>
                    <a:pt x="346" y="53"/>
                  </a:lnTo>
                  <a:lnTo>
                    <a:pt x="351" y="65"/>
                  </a:lnTo>
                  <a:lnTo>
                    <a:pt x="365" y="65"/>
                  </a:lnTo>
                  <a:lnTo>
                    <a:pt x="376" y="65"/>
                  </a:lnTo>
                  <a:lnTo>
                    <a:pt x="380" y="71"/>
                  </a:lnTo>
                  <a:lnTo>
                    <a:pt x="388" y="76"/>
                  </a:lnTo>
                  <a:lnTo>
                    <a:pt x="388" y="86"/>
                  </a:lnTo>
                  <a:lnTo>
                    <a:pt x="388" y="94"/>
                  </a:lnTo>
                  <a:lnTo>
                    <a:pt x="382" y="99"/>
                  </a:lnTo>
                  <a:lnTo>
                    <a:pt x="382" y="111"/>
                  </a:lnTo>
                  <a:lnTo>
                    <a:pt x="382" y="124"/>
                  </a:lnTo>
                  <a:lnTo>
                    <a:pt x="382" y="136"/>
                  </a:lnTo>
                  <a:lnTo>
                    <a:pt x="388" y="138"/>
                  </a:lnTo>
                  <a:lnTo>
                    <a:pt x="394" y="142"/>
                  </a:lnTo>
                  <a:lnTo>
                    <a:pt x="399" y="153"/>
                  </a:lnTo>
                  <a:lnTo>
                    <a:pt x="399" y="165"/>
                  </a:lnTo>
                  <a:lnTo>
                    <a:pt x="403" y="165"/>
                  </a:lnTo>
                  <a:lnTo>
                    <a:pt x="405" y="168"/>
                  </a:lnTo>
                  <a:lnTo>
                    <a:pt x="405" y="172"/>
                  </a:lnTo>
                  <a:lnTo>
                    <a:pt x="405" y="176"/>
                  </a:lnTo>
                  <a:lnTo>
                    <a:pt x="411" y="182"/>
                  </a:lnTo>
                  <a:lnTo>
                    <a:pt x="411" y="186"/>
                  </a:lnTo>
                  <a:lnTo>
                    <a:pt x="411" y="189"/>
                  </a:lnTo>
                  <a:lnTo>
                    <a:pt x="409" y="193"/>
                  </a:lnTo>
                  <a:lnTo>
                    <a:pt x="405" y="193"/>
                  </a:lnTo>
                  <a:lnTo>
                    <a:pt x="415" y="193"/>
                  </a:lnTo>
                  <a:lnTo>
                    <a:pt x="422" y="193"/>
                  </a:lnTo>
                  <a:lnTo>
                    <a:pt x="428" y="188"/>
                  </a:lnTo>
                  <a:lnTo>
                    <a:pt x="440" y="188"/>
                  </a:lnTo>
                  <a:lnTo>
                    <a:pt x="451" y="188"/>
                  </a:lnTo>
                  <a:lnTo>
                    <a:pt x="457" y="193"/>
                  </a:lnTo>
                  <a:lnTo>
                    <a:pt x="465" y="205"/>
                  </a:lnTo>
                  <a:lnTo>
                    <a:pt x="457" y="216"/>
                  </a:lnTo>
                  <a:lnTo>
                    <a:pt x="457" y="228"/>
                  </a:lnTo>
                  <a:lnTo>
                    <a:pt x="457" y="241"/>
                  </a:lnTo>
                  <a:lnTo>
                    <a:pt x="457" y="253"/>
                  </a:lnTo>
                  <a:lnTo>
                    <a:pt x="457" y="255"/>
                  </a:lnTo>
                  <a:lnTo>
                    <a:pt x="457" y="259"/>
                  </a:lnTo>
                  <a:lnTo>
                    <a:pt x="461" y="276"/>
                  </a:lnTo>
                  <a:lnTo>
                    <a:pt x="465" y="287"/>
                  </a:lnTo>
                  <a:lnTo>
                    <a:pt x="457" y="282"/>
                  </a:lnTo>
                  <a:lnTo>
                    <a:pt x="445" y="282"/>
                  </a:lnTo>
                  <a:lnTo>
                    <a:pt x="434" y="282"/>
                  </a:lnTo>
                  <a:lnTo>
                    <a:pt x="422" y="282"/>
                  </a:lnTo>
                  <a:lnTo>
                    <a:pt x="411" y="282"/>
                  </a:lnTo>
                  <a:lnTo>
                    <a:pt x="399" y="282"/>
                  </a:lnTo>
                  <a:lnTo>
                    <a:pt x="388" y="282"/>
                  </a:lnTo>
                  <a:lnTo>
                    <a:pt x="388" y="293"/>
                  </a:lnTo>
                  <a:lnTo>
                    <a:pt x="388" y="305"/>
                  </a:lnTo>
                  <a:lnTo>
                    <a:pt x="388" y="316"/>
                  </a:lnTo>
                  <a:lnTo>
                    <a:pt x="388" y="328"/>
                  </a:lnTo>
                  <a:lnTo>
                    <a:pt x="394" y="333"/>
                  </a:lnTo>
                  <a:lnTo>
                    <a:pt x="394" y="347"/>
                  </a:lnTo>
                  <a:lnTo>
                    <a:pt x="394" y="358"/>
                  </a:lnTo>
                  <a:lnTo>
                    <a:pt x="394" y="370"/>
                  </a:lnTo>
                  <a:lnTo>
                    <a:pt x="399" y="376"/>
                  </a:lnTo>
                  <a:lnTo>
                    <a:pt x="399" y="379"/>
                  </a:lnTo>
                  <a:lnTo>
                    <a:pt x="399" y="383"/>
                  </a:lnTo>
                  <a:lnTo>
                    <a:pt x="397" y="385"/>
                  </a:lnTo>
                  <a:lnTo>
                    <a:pt x="394" y="387"/>
                  </a:lnTo>
                  <a:lnTo>
                    <a:pt x="395" y="393"/>
                  </a:lnTo>
                  <a:lnTo>
                    <a:pt x="399" y="399"/>
                  </a:lnTo>
                  <a:lnTo>
                    <a:pt x="411" y="399"/>
                  </a:lnTo>
                  <a:lnTo>
                    <a:pt x="417" y="404"/>
                  </a:lnTo>
                  <a:lnTo>
                    <a:pt x="422" y="410"/>
                  </a:lnTo>
                  <a:lnTo>
                    <a:pt x="428" y="422"/>
                  </a:lnTo>
                  <a:lnTo>
                    <a:pt x="428" y="433"/>
                  </a:lnTo>
                  <a:lnTo>
                    <a:pt x="434" y="437"/>
                  </a:lnTo>
                  <a:lnTo>
                    <a:pt x="440" y="439"/>
                  </a:lnTo>
                  <a:lnTo>
                    <a:pt x="428" y="439"/>
                  </a:lnTo>
                  <a:lnTo>
                    <a:pt x="417" y="439"/>
                  </a:lnTo>
                  <a:lnTo>
                    <a:pt x="405" y="439"/>
                  </a:lnTo>
                  <a:lnTo>
                    <a:pt x="399" y="447"/>
                  </a:lnTo>
                  <a:lnTo>
                    <a:pt x="388" y="447"/>
                  </a:lnTo>
                  <a:lnTo>
                    <a:pt x="378" y="449"/>
                  </a:lnTo>
                  <a:lnTo>
                    <a:pt x="365" y="452"/>
                  </a:lnTo>
                  <a:lnTo>
                    <a:pt x="359" y="458"/>
                  </a:lnTo>
                  <a:lnTo>
                    <a:pt x="346" y="458"/>
                  </a:lnTo>
                  <a:lnTo>
                    <a:pt x="338" y="458"/>
                  </a:lnTo>
                  <a:lnTo>
                    <a:pt x="328" y="458"/>
                  </a:lnTo>
                  <a:lnTo>
                    <a:pt x="317" y="452"/>
                  </a:lnTo>
                  <a:lnTo>
                    <a:pt x="309" y="452"/>
                  </a:lnTo>
                  <a:lnTo>
                    <a:pt x="300" y="452"/>
                  </a:lnTo>
                  <a:lnTo>
                    <a:pt x="290" y="449"/>
                  </a:lnTo>
                  <a:lnTo>
                    <a:pt x="282" y="447"/>
                  </a:lnTo>
                  <a:lnTo>
                    <a:pt x="273" y="443"/>
                  </a:lnTo>
                  <a:lnTo>
                    <a:pt x="265" y="439"/>
                  </a:lnTo>
                  <a:lnTo>
                    <a:pt x="259" y="433"/>
                  </a:lnTo>
                  <a:lnTo>
                    <a:pt x="246" y="433"/>
                  </a:lnTo>
                  <a:lnTo>
                    <a:pt x="234" y="433"/>
                  </a:lnTo>
                  <a:lnTo>
                    <a:pt x="223" y="433"/>
                  </a:lnTo>
                  <a:lnTo>
                    <a:pt x="211" y="433"/>
                  </a:lnTo>
                  <a:lnTo>
                    <a:pt x="204" y="433"/>
                  </a:lnTo>
                  <a:lnTo>
                    <a:pt x="194" y="433"/>
                  </a:lnTo>
                  <a:lnTo>
                    <a:pt x="188" y="427"/>
                  </a:lnTo>
                  <a:lnTo>
                    <a:pt x="177" y="427"/>
                  </a:lnTo>
                  <a:lnTo>
                    <a:pt x="171" y="433"/>
                  </a:lnTo>
                  <a:lnTo>
                    <a:pt x="159" y="433"/>
                  </a:lnTo>
                  <a:lnTo>
                    <a:pt x="148" y="433"/>
                  </a:lnTo>
                  <a:lnTo>
                    <a:pt x="135" y="433"/>
                  </a:lnTo>
                  <a:lnTo>
                    <a:pt x="129" y="439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3" y="435"/>
                  </a:lnTo>
                  <a:lnTo>
                    <a:pt x="110" y="433"/>
                  </a:lnTo>
                  <a:lnTo>
                    <a:pt x="106" y="433"/>
                  </a:lnTo>
                  <a:lnTo>
                    <a:pt x="100" y="422"/>
                  </a:lnTo>
                  <a:lnTo>
                    <a:pt x="92" y="420"/>
                  </a:lnTo>
                  <a:lnTo>
                    <a:pt x="83" y="416"/>
                  </a:lnTo>
                  <a:lnTo>
                    <a:pt x="79" y="410"/>
                  </a:lnTo>
                  <a:lnTo>
                    <a:pt x="77" y="404"/>
                  </a:lnTo>
                  <a:lnTo>
                    <a:pt x="65" y="404"/>
                  </a:lnTo>
                  <a:lnTo>
                    <a:pt x="54" y="404"/>
                  </a:lnTo>
                  <a:lnTo>
                    <a:pt x="48" y="410"/>
                  </a:lnTo>
                  <a:lnTo>
                    <a:pt x="42" y="416"/>
                  </a:lnTo>
                  <a:lnTo>
                    <a:pt x="29" y="410"/>
                  </a:lnTo>
                  <a:lnTo>
                    <a:pt x="21" y="410"/>
                  </a:lnTo>
                  <a:lnTo>
                    <a:pt x="12" y="410"/>
                  </a:lnTo>
                  <a:lnTo>
                    <a:pt x="0" y="4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1578" y="2532"/>
              <a:ext cx="465" cy="458"/>
            </a:xfrm>
            <a:custGeom>
              <a:avLst/>
              <a:gdLst/>
              <a:ahLst/>
              <a:cxnLst>
                <a:cxn ang="0">
                  <a:pos x="6" y="370"/>
                </a:cxn>
                <a:cxn ang="0">
                  <a:pos x="29" y="341"/>
                </a:cxn>
                <a:cxn ang="0">
                  <a:pos x="29" y="293"/>
                </a:cxn>
                <a:cxn ang="0">
                  <a:pos x="18" y="259"/>
                </a:cxn>
                <a:cxn ang="0">
                  <a:pos x="23" y="247"/>
                </a:cxn>
                <a:cxn ang="0">
                  <a:pos x="29" y="236"/>
                </a:cxn>
                <a:cxn ang="0">
                  <a:pos x="54" y="211"/>
                </a:cxn>
                <a:cxn ang="0">
                  <a:pos x="83" y="193"/>
                </a:cxn>
                <a:cxn ang="0">
                  <a:pos x="62" y="161"/>
                </a:cxn>
                <a:cxn ang="0">
                  <a:pos x="54" y="124"/>
                </a:cxn>
                <a:cxn ang="0">
                  <a:pos x="65" y="94"/>
                </a:cxn>
                <a:cxn ang="0">
                  <a:pos x="60" y="61"/>
                </a:cxn>
                <a:cxn ang="0">
                  <a:pos x="54" y="42"/>
                </a:cxn>
                <a:cxn ang="0">
                  <a:pos x="48" y="24"/>
                </a:cxn>
                <a:cxn ang="0">
                  <a:pos x="83" y="9"/>
                </a:cxn>
                <a:cxn ang="0">
                  <a:pos x="117" y="0"/>
                </a:cxn>
                <a:cxn ang="0">
                  <a:pos x="159" y="5"/>
                </a:cxn>
                <a:cxn ang="0">
                  <a:pos x="188" y="24"/>
                </a:cxn>
                <a:cxn ang="0">
                  <a:pos x="211" y="53"/>
                </a:cxn>
                <a:cxn ang="0">
                  <a:pos x="229" y="74"/>
                </a:cxn>
                <a:cxn ang="0">
                  <a:pos x="259" y="94"/>
                </a:cxn>
                <a:cxn ang="0">
                  <a:pos x="294" y="82"/>
                </a:cxn>
                <a:cxn ang="0">
                  <a:pos x="317" y="65"/>
                </a:cxn>
                <a:cxn ang="0">
                  <a:pos x="346" y="53"/>
                </a:cxn>
                <a:cxn ang="0">
                  <a:pos x="380" y="71"/>
                </a:cxn>
                <a:cxn ang="0">
                  <a:pos x="382" y="99"/>
                </a:cxn>
                <a:cxn ang="0">
                  <a:pos x="388" y="138"/>
                </a:cxn>
                <a:cxn ang="0">
                  <a:pos x="403" y="165"/>
                </a:cxn>
                <a:cxn ang="0">
                  <a:pos x="411" y="182"/>
                </a:cxn>
                <a:cxn ang="0">
                  <a:pos x="405" y="193"/>
                </a:cxn>
                <a:cxn ang="0">
                  <a:pos x="440" y="188"/>
                </a:cxn>
                <a:cxn ang="0">
                  <a:pos x="457" y="216"/>
                </a:cxn>
                <a:cxn ang="0">
                  <a:pos x="457" y="255"/>
                </a:cxn>
                <a:cxn ang="0">
                  <a:pos x="457" y="282"/>
                </a:cxn>
                <a:cxn ang="0">
                  <a:pos x="411" y="282"/>
                </a:cxn>
                <a:cxn ang="0">
                  <a:pos x="388" y="305"/>
                </a:cxn>
                <a:cxn ang="0">
                  <a:pos x="394" y="347"/>
                </a:cxn>
                <a:cxn ang="0">
                  <a:pos x="399" y="379"/>
                </a:cxn>
                <a:cxn ang="0">
                  <a:pos x="395" y="393"/>
                </a:cxn>
                <a:cxn ang="0">
                  <a:pos x="422" y="410"/>
                </a:cxn>
                <a:cxn ang="0">
                  <a:pos x="440" y="439"/>
                </a:cxn>
                <a:cxn ang="0">
                  <a:pos x="399" y="447"/>
                </a:cxn>
                <a:cxn ang="0">
                  <a:pos x="359" y="458"/>
                </a:cxn>
                <a:cxn ang="0">
                  <a:pos x="317" y="452"/>
                </a:cxn>
                <a:cxn ang="0">
                  <a:pos x="282" y="447"/>
                </a:cxn>
                <a:cxn ang="0">
                  <a:pos x="246" y="433"/>
                </a:cxn>
                <a:cxn ang="0">
                  <a:pos x="204" y="433"/>
                </a:cxn>
                <a:cxn ang="0">
                  <a:pos x="171" y="433"/>
                </a:cxn>
                <a:cxn ang="0">
                  <a:pos x="129" y="439"/>
                </a:cxn>
                <a:cxn ang="0">
                  <a:pos x="110" y="433"/>
                </a:cxn>
                <a:cxn ang="0">
                  <a:pos x="83" y="416"/>
                </a:cxn>
                <a:cxn ang="0">
                  <a:pos x="54" y="404"/>
                </a:cxn>
                <a:cxn ang="0">
                  <a:pos x="21" y="410"/>
                </a:cxn>
              </a:cxnLst>
              <a:rect l="0" t="0" r="r" b="b"/>
              <a:pathLst>
                <a:path w="465" h="458">
                  <a:moveTo>
                    <a:pt x="0" y="410"/>
                  </a:moveTo>
                  <a:lnTo>
                    <a:pt x="4" y="397"/>
                  </a:lnTo>
                  <a:lnTo>
                    <a:pt x="6" y="381"/>
                  </a:lnTo>
                  <a:lnTo>
                    <a:pt x="6" y="370"/>
                  </a:lnTo>
                  <a:lnTo>
                    <a:pt x="12" y="364"/>
                  </a:lnTo>
                  <a:lnTo>
                    <a:pt x="23" y="358"/>
                  </a:lnTo>
                  <a:lnTo>
                    <a:pt x="29" y="353"/>
                  </a:lnTo>
                  <a:lnTo>
                    <a:pt x="29" y="341"/>
                  </a:lnTo>
                  <a:lnTo>
                    <a:pt x="29" y="328"/>
                  </a:lnTo>
                  <a:lnTo>
                    <a:pt x="29" y="316"/>
                  </a:lnTo>
                  <a:lnTo>
                    <a:pt x="29" y="305"/>
                  </a:lnTo>
                  <a:lnTo>
                    <a:pt x="29" y="293"/>
                  </a:lnTo>
                  <a:lnTo>
                    <a:pt x="27" y="285"/>
                  </a:lnTo>
                  <a:lnTo>
                    <a:pt x="23" y="276"/>
                  </a:lnTo>
                  <a:lnTo>
                    <a:pt x="21" y="266"/>
                  </a:lnTo>
                  <a:lnTo>
                    <a:pt x="18" y="259"/>
                  </a:lnTo>
                  <a:lnTo>
                    <a:pt x="21" y="257"/>
                  </a:lnTo>
                  <a:lnTo>
                    <a:pt x="23" y="255"/>
                  </a:lnTo>
                  <a:lnTo>
                    <a:pt x="23" y="251"/>
                  </a:lnTo>
                  <a:lnTo>
                    <a:pt x="23" y="247"/>
                  </a:lnTo>
                  <a:lnTo>
                    <a:pt x="27" y="245"/>
                  </a:lnTo>
                  <a:lnTo>
                    <a:pt x="29" y="243"/>
                  </a:lnTo>
                  <a:lnTo>
                    <a:pt x="29" y="239"/>
                  </a:lnTo>
                  <a:lnTo>
                    <a:pt x="29" y="236"/>
                  </a:lnTo>
                  <a:lnTo>
                    <a:pt x="35" y="228"/>
                  </a:lnTo>
                  <a:lnTo>
                    <a:pt x="42" y="222"/>
                  </a:lnTo>
                  <a:lnTo>
                    <a:pt x="48" y="216"/>
                  </a:lnTo>
                  <a:lnTo>
                    <a:pt x="54" y="211"/>
                  </a:lnTo>
                  <a:lnTo>
                    <a:pt x="65" y="211"/>
                  </a:lnTo>
                  <a:lnTo>
                    <a:pt x="71" y="205"/>
                  </a:lnTo>
                  <a:lnTo>
                    <a:pt x="77" y="199"/>
                  </a:lnTo>
                  <a:lnTo>
                    <a:pt x="83" y="193"/>
                  </a:lnTo>
                  <a:lnTo>
                    <a:pt x="88" y="188"/>
                  </a:lnTo>
                  <a:lnTo>
                    <a:pt x="83" y="176"/>
                  </a:lnTo>
                  <a:lnTo>
                    <a:pt x="71" y="165"/>
                  </a:lnTo>
                  <a:lnTo>
                    <a:pt x="62" y="161"/>
                  </a:lnTo>
                  <a:lnTo>
                    <a:pt x="54" y="159"/>
                  </a:lnTo>
                  <a:lnTo>
                    <a:pt x="54" y="147"/>
                  </a:lnTo>
                  <a:lnTo>
                    <a:pt x="54" y="136"/>
                  </a:lnTo>
                  <a:lnTo>
                    <a:pt x="54" y="124"/>
                  </a:lnTo>
                  <a:lnTo>
                    <a:pt x="60" y="120"/>
                  </a:lnTo>
                  <a:lnTo>
                    <a:pt x="65" y="117"/>
                  </a:lnTo>
                  <a:lnTo>
                    <a:pt x="65" y="105"/>
                  </a:lnTo>
                  <a:lnTo>
                    <a:pt x="65" y="94"/>
                  </a:lnTo>
                  <a:lnTo>
                    <a:pt x="65" y="86"/>
                  </a:lnTo>
                  <a:lnTo>
                    <a:pt x="65" y="76"/>
                  </a:lnTo>
                  <a:lnTo>
                    <a:pt x="60" y="71"/>
                  </a:lnTo>
                  <a:lnTo>
                    <a:pt x="60" y="61"/>
                  </a:lnTo>
                  <a:lnTo>
                    <a:pt x="60" y="53"/>
                  </a:lnTo>
                  <a:lnTo>
                    <a:pt x="54" y="47"/>
                  </a:lnTo>
                  <a:lnTo>
                    <a:pt x="54" y="44"/>
                  </a:lnTo>
                  <a:lnTo>
                    <a:pt x="54" y="42"/>
                  </a:lnTo>
                  <a:lnTo>
                    <a:pt x="54" y="36"/>
                  </a:lnTo>
                  <a:lnTo>
                    <a:pt x="52" y="30"/>
                  </a:lnTo>
                  <a:lnTo>
                    <a:pt x="50" y="26"/>
                  </a:lnTo>
                  <a:lnTo>
                    <a:pt x="48" y="24"/>
                  </a:lnTo>
                  <a:lnTo>
                    <a:pt x="60" y="19"/>
                  </a:lnTo>
                  <a:lnTo>
                    <a:pt x="71" y="11"/>
                  </a:lnTo>
                  <a:lnTo>
                    <a:pt x="77" y="11"/>
                  </a:lnTo>
                  <a:lnTo>
                    <a:pt x="83" y="9"/>
                  </a:lnTo>
                  <a:lnTo>
                    <a:pt x="88" y="5"/>
                  </a:lnTo>
                  <a:lnTo>
                    <a:pt x="94" y="0"/>
                  </a:lnTo>
                  <a:lnTo>
                    <a:pt x="106" y="0"/>
                  </a:lnTo>
                  <a:lnTo>
                    <a:pt x="117" y="0"/>
                  </a:lnTo>
                  <a:lnTo>
                    <a:pt x="129" y="0"/>
                  </a:lnTo>
                  <a:lnTo>
                    <a:pt x="135" y="5"/>
                  </a:lnTo>
                  <a:lnTo>
                    <a:pt x="148" y="5"/>
                  </a:lnTo>
                  <a:lnTo>
                    <a:pt x="159" y="5"/>
                  </a:lnTo>
                  <a:lnTo>
                    <a:pt x="171" y="5"/>
                  </a:lnTo>
                  <a:lnTo>
                    <a:pt x="183" y="5"/>
                  </a:lnTo>
                  <a:lnTo>
                    <a:pt x="184" y="15"/>
                  </a:lnTo>
                  <a:lnTo>
                    <a:pt x="188" y="24"/>
                  </a:lnTo>
                  <a:lnTo>
                    <a:pt x="194" y="30"/>
                  </a:lnTo>
                  <a:lnTo>
                    <a:pt x="200" y="36"/>
                  </a:lnTo>
                  <a:lnTo>
                    <a:pt x="207" y="44"/>
                  </a:lnTo>
                  <a:lnTo>
                    <a:pt x="211" y="53"/>
                  </a:lnTo>
                  <a:lnTo>
                    <a:pt x="217" y="55"/>
                  </a:lnTo>
                  <a:lnTo>
                    <a:pt x="223" y="59"/>
                  </a:lnTo>
                  <a:lnTo>
                    <a:pt x="223" y="71"/>
                  </a:lnTo>
                  <a:lnTo>
                    <a:pt x="229" y="74"/>
                  </a:lnTo>
                  <a:lnTo>
                    <a:pt x="234" y="76"/>
                  </a:lnTo>
                  <a:lnTo>
                    <a:pt x="234" y="88"/>
                  </a:lnTo>
                  <a:lnTo>
                    <a:pt x="246" y="94"/>
                  </a:lnTo>
                  <a:lnTo>
                    <a:pt x="259" y="94"/>
                  </a:lnTo>
                  <a:lnTo>
                    <a:pt x="271" y="94"/>
                  </a:lnTo>
                  <a:lnTo>
                    <a:pt x="277" y="86"/>
                  </a:lnTo>
                  <a:lnTo>
                    <a:pt x="282" y="82"/>
                  </a:lnTo>
                  <a:lnTo>
                    <a:pt x="294" y="82"/>
                  </a:lnTo>
                  <a:lnTo>
                    <a:pt x="303" y="82"/>
                  </a:lnTo>
                  <a:lnTo>
                    <a:pt x="311" y="82"/>
                  </a:lnTo>
                  <a:lnTo>
                    <a:pt x="311" y="71"/>
                  </a:lnTo>
                  <a:lnTo>
                    <a:pt x="317" y="65"/>
                  </a:lnTo>
                  <a:lnTo>
                    <a:pt x="317" y="53"/>
                  </a:lnTo>
                  <a:lnTo>
                    <a:pt x="328" y="53"/>
                  </a:lnTo>
                  <a:lnTo>
                    <a:pt x="338" y="53"/>
                  </a:lnTo>
                  <a:lnTo>
                    <a:pt x="346" y="53"/>
                  </a:lnTo>
                  <a:lnTo>
                    <a:pt x="351" y="65"/>
                  </a:lnTo>
                  <a:lnTo>
                    <a:pt x="365" y="65"/>
                  </a:lnTo>
                  <a:lnTo>
                    <a:pt x="376" y="65"/>
                  </a:lnTo>
                  <a:lnTo>
                    <a:pt x="380" y="71"/>
                  </a:lnTo>
                  <a:lnTo>
                    <a:pt x="388" y="76"/>
                  </a:lnTo>
                  <a:lnTo>
                    <a:pt x="388" y="86"/>
                  </a:lnTo>
                  <a:lnTo>
                    <a:pt x="388" y="94"/>
                  </a:lnTo>
                  <a:lnTo>
                    <a:pt x="382" y="99"/>
                  </a:lnTo>
                  <a:lnTo>
                    <a:pt x="382" y="111"/>
                  </a:lnTo>
                  <a:lnTo>
                    <a:pt x="382" y="124"/>
                  </a:lnTo>
                  <a:lnTo>
                    <a:pt x="382" y="136"/>
                  </a:lnTo>
                  <a:lnTo>
                    <a:pt x="388" y="138"/>
                  </a:lnTo>
                  <a:lnTo>
                    <a:pt x="394" y="142"/>
                  </a:lnTo>
                  <a:lnTo>
                    <a:pt x="399" y="153"/>
                  </a:lnTo>
                  <a:lnTo>
                    <a:pt x="399" y="165"/>
                  </a:lnTo>
                  <a:lnTo>
                    <a:pt x="403" y="165"/>
                  </a:lnTo>
                  <a:lnTo>
                    <a:pt x="405" y="168"/>
                  </a:lnTo>
                  <a:lnTo>
                    <a:pt x="405" y="172"/>
                  </a:lnTo>
                  <a:lnTo>
                    <a:pt x="405" y="176"/>
                  </a:lnTo>
                  <a:lnTo>
                    <a:pt x="411" y="182"/>
                  </a:lnTo>
                  <a:lnTo>
                    <a:pt x="411" y="186"/>
                  </a:lnTo>
                  <a:lnTo>
                    <a:pt x="411" y="189"/>
                  </a:lnTo>
                  <a:lnTo>
                    <a:pt x="409" y="193"/>
                  </a:lnTo>
                  <a:lnTo>
                    <a:pt x="405" y="193"/>
                  </a:lnTo>
                  <a:lnTo>
                    <a:pt x="415" y="193"/>
                  </a:lnTo>
                  <a:lnTo>
                    <a:pt x="422" y="193"/>
                  </a:lnTo>
                  <a:lnTo>
                    <a:pt x="428" y="188"/>
                  </a:lnTo>
                  <a:lnTo>
                    <a:pt x="440" y="188"/>
                  </a:lnTo>
                  <a:lnTo>
                    <a:pt x="451" y="188"/>
                  </a:lnTo>
                  <a:lnTo>
                    <a:pt x="457" y="193"/>
                  </a:lnTo>
                  <a:lnTo>
                    <a:pt x="465" y="205"/>
                  </a:lnTo>
                  <a:lnTo>
                    <a:pt x="457" y="216"/>
                  </a:lnTo>
                  <a:lnTo>
                    <a:pt x="457" y="228"/>
                  </a:lnTo>
                  <a:lnTo>
                    <a:pt x="457" y="241"/>
                  </a:lnTo>
                  <a:lnTo>
                    <a:pt x="457" y="253"/>
                  </a:lnTo>
                  <a:lnTo>
                    <a:pt x="457" y="255"/>
                  </a:lnTo>
                  <a:lnTo>
                    <a:pt x="457" y="259"/>
                  </a:lnTo>
                  <a:lnTo>
                    <a:pt x="461" y="276"/>
                  </a:lnTo>
                  <a:lnTo>
                    <a:pt x="465" y="287"/>
                  </a:lnTo>
                  <a:lnTo>
                    <a:pt x="457" y="282"/>
                  </a:lnTo>
                  <a:lnTo>
                    <a:pt x="445" y="282"/>
                  </a:lnTo>
                  <a:lnTo>
                    <a:pt x="434" y="282"/>
                  </a:lnTo>
                  <a:lnTo>
                    <a:pt x="422" y="282"/>
                  </a:lnTo>
                  <a:lnTo>
                    <a:pt x="411" y="282"/>
                  </a:lnTo>
                  <a:lnTo>
                    <a:pt x="399" y="282"/>
                  </a:lnTo>
                  <a:lnTo>
                    <a:pt x="388" y="282"/>
                  </a:lnTo>
                  <a:lnTo>
                    <a:pt x="388" y="293"/>
                  </a:lnTo>
                  <a:lnTo>
                    <a:pt x="388" y="305"/>
                  </a:lnTo>
                  <a:lnTo>
                    <a:pt x="388" y="316"/>
                  </a:lnTo>
                  <a:lnTo>
                    <a:pt x="388" y="328"/>
                  </a:lnTo>
                  <a:lnTo>
                    <a:pt x="394" y="333"/>
                  </a:lnTo>
                  <a:lnTo>
                    <a:pt x="394" y="347"/>
                  </a:lnTo>
                  <a:lnTo>
                    <a:pt x="394" y="358"/>
                  </a:lnTo>
                  <a:lnTo>
                    <a:pt x="394" y="370"/>
                  </a:lnTo>
                  <a:lnTo>
                    <a:pt x="399" y="376"/>
                  </a:lnTo>
                  <a:lnTo>
                    <a:pt x="399" y="379"/>
                  </a:lnTo>
                  <a:lnTo>
                    <a:pt x="399" y="383"/>
                  </a:lnTo>
                  <a:lnTo>
                    <a:pt x="397" y="385"/>
                  </a:lnTo>
                  <a:lnTo>
                    <a:pt x="394" y="387"/>
                  </a:lnTo>
                  <a:lnTo>
                    <a:pt x="395" y="393"/>
                  </a:lnTo>
                  <a:lnTo>
                    <a:pt x="399" y="399"/>
                  </a:lnTo>
                  <a:lnTo>
                    <a:pt x="411" y="399"/>
                  </a:lnTo>
                  <a:lnTo>
                    <a:pt x="417" y="404"/>
                  </a:lnTo>
                  <a:lnTo>
                    <a:pt x="422" y="410"/>
                  </a:lnTo>
                  <a:lnTo>
                    <a:pt x="428" y="422"/>
                  </a:lnTo>
                  <a:lnTo>
                    <a:pt x="428" y="433"/>
                  </a:lnTo>
                  <a:lnTo>
                    <a:pt x="434" y="437"/>
                  </a:lnTo>
                  <a:lnTo>
                    <a:pt x="440" y="439"/>
                  </a:lnTo>
                  <a:lnTo>
                    <a:pt x="428" y="439"/>
                  </a:lnTo>
                  <a:lnTo>
                    <a:pt x="417" y="439"/>
                  </a:lnTo>
                  <a:lnTo>
                    <a:pt x="405" y="439"/>
                  </a:lnTo>
                  <a:lnTo>
                    <a:pt x="399" y="447"/>
                  </a:lnTo>
                  <a:lnTo>
                    <a:pt x="388" y="447"/>
                  </a:lnTo>
                  <a:lnTo>
                    <a:pt x="378" y="449"/>
                  </a:lnTo>
                  <a:lnTo>
                    <a:pt x="365" y="452"/>
                  </a:lnTo>
                  <a:lnTo>
                    <a:pt x="359" y="458"/>
                  </a:lnTo>
                  <a:lnTo>
                    <a:pt x="346" y="458"/>
                  </a:lnTo>
                  <a:lnTo>
                    <a:pt x="338" y="458"/>
                  </a:lnTo>
                  <a:lnTo>
                    <a:pt x="328" y="458"/>
                  </a:lnTo>
                  <a:lnTo>
                    <a:pt x="317" y="452"/>
                  </a:lnTo>
                  <a:lnTo>
                    <a:pt x="309" y="452"/>
                  </a:lnTo>
                  <a:lnTo>
                    <a:pt x="300" y="452"/>
                  </a:lnTo>
                  <a:lnTo>
                    <a:pt x="290" y="449"/>
                  </a:lnTo>
                  <a:lnTo>
                    <a:pt x="282" y="447"/>
                  </a:lnTo>
                  <a:lnTo>
                    <a:pt x="273" y="443"/>
                  </a:lnTo>
                  <a:lnTo>
                    <a:pt x="265" y="439"/>
                  </a:lnTo>
                  <a:lnTo>
                    <a:pt x="259" y="433"/>
                  </a:lnTo>
                  <a:lnTo>
                    <a:pt x="246" y="433"/>
                  </a:lnTo>
                  <a:lnTo>
                    <a:pt x="234" y="433"/>
                  </a:lnTo>
                  <a:lnTo>
                    <a:pt x="223" y="433"/>
                  </a:lnTo>
                  <a:lnTo>
                    <a:pt x="211" y="433"/>
                  </a:lnTo>
                  <a:lnTo>
                    <a:pt x="204" y="433"/>
                  </a:lnTo>
                  <a:lnTo>
                    <a:pt x="194" y="433"/>
                  </a:lnTo>
                  <a:lnTo>
                    <a:pt x="188" y="427"/>
                  </a:lnTo>
                  <a:lnTo>
                    <a:pt x="177" y="427"/>
                  </a:lnTo>
                  <a:lnTo>
                    <a:pt x="171" y="433"/>
                  </a:lnTo>
                  <a:lnTo>
                    <a:pt x="159" y="433"/>
                  </a:lnTo>
                  <a:lnTo>
                    <a:pt x="148" y="433"/>
                  </a:lnTo>
                  <a:lnTo>
                    <a:pt x="135" y="433"/>
                  </a:lnTo>
                  <a:lnTo>
                    <a:pt x="129" y="439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3" y="435"/>
                  </a:lnTo>
                  <a:lnTo>
                    <a:pt x="110" y="433"/>
                  </a:lnTo>
                  <a:lnTo>
                    <a:pt x="106" y="433"/>
                  </a:lnTo>
                  <a:lnTo>
                    <a:pt x="100" y="422"/>
                  </a:lnTo>
                  <a:lnTo>
                    <a:pt x="92" y="420"/>
                  </a:lnTo>
                  <a:lnTo>
                    <a:pt x="83" y="416"/>
                  </a:lnTo>
                  <a:lnTo>
                    <a:pt x="79" y="410"/>
                  </a:lnTo>
                  <a:lnTo>
                    <a:pt x="77" y="404"/>
                  </a:lnTo>
                  <a:lnTo>
                    <a:pt x="65" y="404"/>
                  </a:lnTo>
                  <a:lnTo>
                    <a:pt x="54" y="404"/>
                  </a:lnTo>
                  <a:lnTo>
                    <a:pt x="48" y="410"/>
                  </a:lnTo>
                  <a:lnTo>
                    <a:pt x="42" y="416"/>
                  </a:lnTo>
                  <a:lnTo>
                    <a:pt x="29" y="410"/>
                  </a:lnTo>
                  <a:lnTo>
                    <a:pt x="21" y="410"/>
                  </a:lnTo>
                  <a:lnTo>
                    <a:pt x="12" y="410"/>
                  </a:lnTo>
                  <a:lnTo>
                    <a:pt x="0" y="41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1966" y="2631"/>
              <a:ext cx="432" cy="340"/>
            </a:xfrm>
            <a:custGeom>
              <a:avLst/>
              <a:gdLst/>
              <a:ahLst/>
              <a:cxnLst>
                <a:cxn ang="0">
                  <a:pos x="111" y="98"/>
                </a:cxn>
                <a:cxn ang="0">
                  <a:pos x="134" y="127"/>
                </a:cxn>
                <a:cxn ang="0">
                  <a:pos x="178" y="131"/>
                </a:cxn>
                <a:cxn ang="0">
                  <a:pos x="224" y="137"/>
                </a:cxn>
                <a:cxn ang="0">
                  <a:pos x="242" y="160"/>
                </a:cxn>
                <a:cxn ang="0">
                  <a:pos x="257" y="175"/>
                </a:cxn>
                <a:cxn ang="0">
                  <a:pos x="291" y="188"/>
                </a:cxn>
                <a:cxn ang="0">
                  <a:pos x="324" y="185"/>
                </a:cxn>
                <a:cxn ang="0">
                  <a:pos x="330" y="138"/>
                </a:cxn>
                <a:cxn ang="0">
                  <a:pos x="303" y="131"/>
                </a:cxn>
                <a:cxn ang="0">
                  <a:pos x="265" y="140"/>
                </a:cxn>
                <a:cxn ang="0">
                  <a:pos x="240" y="123"/>
                </a:cxn>
                <a:cxn ang="0">
                  <a:pos x="238" y="115"/>
                </a:cxn>
                <a:cxn ang="0">
                  <a:pos x="244" y="92"/>
                </a:cxn>
                <a:cxn ang="0">
                  <a:pos x="249" y="81"/>
                </a:cxn>
                <a:cxn ang="0">
                  <a:pos x="249" y="48"/>
                </a:cxn>
                <a:cxn ang="0">
                  <a:pos x="257" y="16"/>
                </a:cxn>
                <a:cxn ang="0">
                  <a:pos x="297" y="6"/>
                </a:cxn>
                <a:cxn ang="0">
                  <a:pos x="336" y="0"/>
                </a:cxn>
                <a:cxn ang="0">
                  <a:pos x="357" y="21"/>
                </a:cxn>
                <a:cxn ang="0">
                  <a:pos x="387" y="27"/>
                </a:cxn>
                <a:cxn ang="0">
                  <a:pos x="410" y="43"/>
                </a:cxn>
                <a:cxn ang="0">
                  <a:pos x="422" y="75"/>
                </a:cxn>
                <a:cxn ang="0">
                  <a:pos x="432" y="108"/>
                </a:cxn>
                <a:cxn ang="0">
                  <a:pos x="416" y="140"/>
                </a:cxn>
                <a:cxn ang="0">
                  <a:pos x="416" y="181"/>
                </a:cxn>
                <a:cxn ang="0">
                  <a:pos x="397" y="208"/>
                </a:cxn>
                <a:cxn ang="0">
                  <a:pos x="401" y="211"/>
                </a:cxn>
                <a:cxn ang="0">
                  <a:pos x="368" y="217"/>
                </a:cxn>
                <a:cxn ang="0">
                  <a:pos x="341" y="229"/>
                </a:cxn>
                <a:cxn ang="0">
                  <a:pos x="314" y="248"/>
                </a:cxn>
                <a:cxn ang="0">
                  <a:pos x="297" y="265"/>
                </a:cxn>
                <a:cxn ang="0">
                  <a:pos x="265" y="259"/>
                </a:cxn>
                <a:cxn ang="0">
                  <a:pos x="238" y="286"/>
                </a:cxn>
                <a:cxn ang="0">
                  <a:pos x="222" y="307"/>
                </a:cxn>
                <a:cxn ang="0">
                  <a:pos x="201" y="311"/>
                </a:cxn>
                <a:cxn ang="0">
                  <a:pos x="192" y="315"/>
                </a:cxn>
                <a:cxn ang="0">
                  <a:pos x="186" y="325"/>
                </a:cxn>
                <a:cxn ang="0">
                  <a:pos x="173" y="336"/>
                </a:cxn>
                <a:cxn ang="0">
                  <a:pos x="136" y="336"/>
                </a:cxn>
                <a:cxn ang="0">
                  <a:pos x="98" y="336"/>
                </a:cxn>
                <a:cxn ang="0">
                  <a:pos x="57" y="336"/>
                </a:cxn>
                <a:cxn ang="0">
                  <a:pos x="40" y="315"/>
                </a:cxn>
                <a:cxn ang="0">
                  <a:pos x="6" y="286"/>
                </a:cxn>
                <a:cxn ang="0">
                  <a:pos x="6" y="248"/>
                </a:cxn>
                <a:cxn ang="0">
                  <a:pos x="6" y="206"/>
                </a:cxn>
                <a:cxn ang="0">
                  <a:pos x="0" y="188"/>
                </a:cxn>
                <a:cxn ang="0">
                  <a:pos x="13" y="185"/>
                </a:cxn>
                <a:cxn ang="0">
                  <a:pos x="50" y="179"/>
                </a:cxn>
                <a:cxn ang="0">
                  <a:pos x="73" y="156"/>
                </a:cxn>
                <a:cxn ang="0">
                  <a:pos x="77" y="114"/>
                </a:cxn>
              </a:cxnLst>
              <a:rect l="0" t="0" r="r" b="b"/>
              <a:pathLst>
                <a:path w="432" h="340">
                  <a:moveTo>
                    <a:pt x="77" y="102"/>
                  </a:moveTo>
                  <a:lnTo>
                    <a:pt x="90" y="100"/>
                  </a:lnTo>
                  <a:lnTo>
                    <a:pt x="103" y="98"/>
                  </a:lnTo>
                  <a:lnTo>
                    <a:pt x="111" y="98"/>
                  </a:lnTo>
                  <a:lnTo>
                    <a:pt x="119" y="98"/>
                  </a:lnTo>
                  <a:lnTo>
                    <a:pt x="119" y="108"/>
                  </a:lnTo>
                  <a:lnTo>
                    <a:pt x="125" y="119"/>
                  </a:lnTo>
                  <a:lnTo>
                    <a:pt x="134" y="127"/>
                  </a:lnTo>
                  <a:lnTo>
                    <a:pt x="140" y="135"/>
                  </a:lnTo>
                  <a:lnTo>
                    <a:pt x="157" y="135"/>
                  </a:lnTo>
                  <a:lnTo>
                    <a:pt x="167" y="131"/>
                  </a:lnTo>
                  <a:lnTo>
                    <a:pt x="178" y="131"/>
                  </a:lnTo>
                  <a:lnTo>
                    <a:pt x="190" y="131"/>
                  </a:lnTo>
                  <a:lnTo>
                    <a:pt x="203" y="131"/>
                  </a:lnTo>
                  <a:lnTo>
                    <a:pt x="217" y="131"/>
                  </a:lnTo>
                  <a:lnTo>
                    <a:pt x="224" y="137"/>
                  </a:lnTo>
                  <a:lnTo>
                    <a:pt x="232" y="140"/>
                  </a:lnTo>
                  <a:lnTo>
                    <a:pt x="238" y="146"/>
                  </a:lnTo>
                  <a:lnTo>
                    <a:pt x="238" y="158"/>
                  </a:lnTo>
                  <a:lnTo>
                    <a:pt x="242" y="160"/>
                  </a:lnTo>
                  <a:lnTo>
                    <a:pt x="245" y="163"/>
                  </a:lnTo>
                  <a:lnTo>
                    <a:pt x="247" y="169"/>
                  </a:lnTo>
                  <a:lnTo>
                    <a:pt x="249" y="173"/>
                  </a:lnTo>
                  <a:lnTo>
                    <a:pt x="257" y="175"/>
                  </a:lnTo>
                  <a:lnTo>
                    <a:pt x="267" y="179"/>
                  </a:lnTo>
                  <a:lnTo>
                    <a:pt x="276" y="185"/>
                  </a:lnTo>
                  <a:lnTo>
                    <a:pt x="282" y="188"/>
                  </a:lnTo>
                  <a:lnTo>
                    <a:pt x="291" y="188"/>
                  </a:lnTo>
                  <a:lnTo>
                    <a:pt x="299" y="188"/>
                  </a:lnTo>
                  <a:lnTo>
                    <a:pt x="309" y="188"/>
                  </a:lnTo>
                  <a:lnTo>
                    <a:pt x="316" y="186"/>
                  </a:lnTo>
                  <a:lnTo>
                    <a:pt x="324" y="185"/>
                  </a:lnTo>
                  <a:lnTo>
                    <a:pt x="330" y="173"/>
                  </a:lnTo>
                  <a:lnTo>
                    <a:pt x="330" y="158"/>
                  </a:lnTo>
                  <a:lnTo>
                    <a:pt x="330" y="146"/>
                  </a:lnTo>
                  <a:lnTo>
                    <a:pt x="330" y="138"/>
                  </a:lnTo>
                  <a:lnTo>
                    <a:pt x="330" y="131"/>
                  </a:lnTo>
                  <a:lnTo>
                    <a:pt x="318" y="131"/>
                  </a:lnTo>
                  <a:lnTo>
                    <a:pt x="311" y="131"/>
                  </a:lnTo>
                  <a:lnTo>
                    <a:pt x="303" y="131"/>
                  </a:lnTo>
                  <a:lnTo>
                    <a:pt x="297" y="135"/>
                  </a:lnTo>
                  <a:lnTo>
                    <a:pt x="286" y="135"/>
                  </a:lnTo>
                  <a:lnTo>
                    <a:pt x="274" y="138"/>
                  </a:lnTo>
                  <a:lnTo>
                    <a:pt x="265" y="140"/>
                  </a:lnTo>
                  <a:lnTo>
                    <a:pt x="257" y="135"/>
                  </a:lnTo>
                  <a:lnTo>
                    <a:pt x="244" y="131"/>
                  </a:lnTo>
                  <a:lnTo>
                    <a:pt x="242" y="125"/>
                  </a:lnTo>
                  <a:lnTo>
                    <a:pt x="240" y="123"/>
                  </a:lnTo>
                  <a:lnTo>
                    <a:pt x="236" y="119"/>
                  </a:lnTo>
                  <a:lnTo>
                    <a:pt x="232" y="119"/>
                  </a:lnTo>
                  <a:lnTo>
                    <a:pt x="236" y="117"/>
                  </a:lnTo>
                  <a:lnTo>
                    <a:pt x="238" y="115"/>
                  </a:lnTo>
                  <a:lnTo>
                    <a:pt x="238" y="112"/>
                  </a:lnTo>
                  <a:lnTo>
                    <a:pt x="238" y="108"/>
                  </a:lnTo>
                  <a:lnTo>
                    <a:pt x="242" y="100"/>
                  </a:lnTo>
                  <a:lnTo>
                    <a:pt x="244" y="92"/>
                  </a:lnTo>
                  <a:lnTo>
                    <a:pt x="247" y="90"/>
                  </a:lnTo>
                  <a:lnTo>
                    <a:pt x="247" y="89"/>
                  </a:lnTo>
                  <a:lnTo>
                    <a:pt x="249" y="85"/>
                  </a:lnTo>
                  <a:lnTo>
                    <a:pt x="249" y="81"/>
                  </a:lnTo>
                  <a:lnTo>
                    <a:pt x="255" y="75"/>
                  </a:lnTo>
                  <a:lnTo>
                    <a:pt x="255" y="66"/>
                  </a:lnTo>
                  <a:lnTo>
                    <a:pt x="249" y="60"/>
                  </a:lnTo>
                  <a:lnTo>
                    <a:pt x="249" y="48"/>
                  </a:lnTo>
                  <a:lnTo>
                    <a:pt x="249" y="39"/>
                  </a:lnTo>
                  <a:lnTo>
                    <a:pt x="249" y="27"/>
                  </a:lnTo>
                  <a:lnTo>
                    <a:pt x="249" y="16"/>
                  </a:lnTo>
                  <a:lnTo>
                    <a:pt x="257" y="16"/>
                  </a:lnTo>
                  <a:lnTo>
                    <a:pt x="265" y="16"/>
                  </a:lnTo>
                  <a:lnTo>
                    <a:pt x="276" y="12"/>
                  </a:lnTo>
                  <a:lnTo>
                    <a:pt x="286" y="12"/>
                  </a:lnTo>
                  <a:lnTo>
                    <a:pt x="297" y="6"/>
                  </a:lnTo>
                  <a:lnTo>
                    <a:pt x="309" y="6"/>
                  </a:lnTo>
                  <a:lnTo>
                    <a:pt x="318" y="6"/>
                  </a:lnTo>
                  <a:lnTo>
                    <a:pt x="324" y="0"/>
                  </a:lnTo>
                  <a:lnTo>
                    <a:pt x="336" y="0"/>
                  </a:lnTo>
                  <a:lnTo>
                    <a:pt x="341" y="2"/>
                  </a:lnTo>
                  <a:lnTo>
                    <a:pt x="347" y="6"/>
                  </a:lnTo>
                  <a:lnTo>
                    <a:pt x="355" y="14"/>
                  </a:lnTo>
                  <a:lnTo>
                    <a:pt x="357" y="21"/>
                  </a:lnTo>
                  <a:lnTo>
                    <a:pt x="364" y="21"/>
                  </a:lnTo>
                  <a:lnTo>
                    <a:pt x="374" y="21"/>
                  </a:lnTo>
                  <a:lnTo>
                    <a:pt x="378" y="27"/>
                  </a:lnTo>
                  <a:lnTo>
                    <a:pt x="387" y="27"/>
                  </a:lnTo>
                  <a:lnTo>
                    <a:pt x="395" y="27"/>
                  </a:lnTo>
                  <a:lnTo>
                    <a:pt x="397" y="33"/>
                  </a:lnTo>
                  <a:lnTo>
                    <a:pt x="403" y="37"/>
                  </a:lnTo>
                  <a:lnTo>
                    <a:pt x="410" y="43"/>
                  </a:lnTo>
                  <a:lnTo>
                    <a:pt x="416" y="43"/>
                  </a:lnTo>
                  <a:lnTo>
                    <a:pt x="416" y="54"/>
                  </a:lnTo>
                  <a:lnTo>
                    <a:pt x="422" y="66"/>
                  </a:lnTo>
                  <a:lnTo>
                    <a:pt x="422" y="75"/>
                  </a:lnTo>
                  <a:lnTo>
                    <a:pt x="426" y="81"/>
                  </a:lnTo>
                  <a:lnTo>
                    <a:pt x="432" y="87"/>
                  </a:lnTo>
                  <a:lnTo>
                    <a:pt x="432" y="98"/>
                  </a:lnTo>
                  <a:lnTo>
                    <a:pt x="432" y="108"/>
                  </a:lnTo>
                  <a:lnTo>
                    <a:pt x="432" y="119"/>
                  </a:lnTo>
                  <a:lnTo>
                    <a:pt x="428" y="125"/>
                  </a:lnTo>
                  <a:lnTo>
                    <a:pt x="416" y="131"/>
                  </a:lnTo>
                  <a:lnTo>
                    <a:pt x="416" y="140"/>
                  </a:lnTo>
                  <a:lnTo>
                    <a:pt x="416" y="152"/>
                  </a:lnTo>
                  <a:lnTo>
                    <a:pt x="416" y="161"/>
                  </a:lnTo>
                  <a:lnTo>
                    <a:pt x="416" y="173"/>
                  </a:lnTo>
                  <a:lnTo>
                    <a:pt x="416" y="181"/>
                  </a:lnTo>
                  <a:lnTo>
                    <a:pt x="416" y="188"/>
                  </a:lnTo>
                  <a:lnTo>
                    <a:pt x="410" y="200"/>
                  </a:lnTo>
                  <a:lnTo>
                    <a:pt x="403" y="204"/>
                  </a:lnTo>
                  <a:lnTo>
                    <a:pt x="397" y="208"/>
                  </a:lnTo>
                  <a:lnTo>
                    <a:pt x="395" y="209"/>
                  </a:lnTo>
                  <a:lnTo>
                    <a:pt x="395" y="209"/>
                  </a:lnTo>
                  <a:lnTo>
                    <a:pt x="397" y="211"/>
                  </a:lnTo>
                  <a:lnTo>
                    <a:pt x="401" y="211"/>
                  </a:lnTo>
                  <a:lnTo>
                    <a:pt x="391" y="211"/>
                  </a:lnTo>
                  <a:lnTo>
                    <a:pt x="384" y="211"/>
                  </a:lnTo>
                  <a:lnTo>
                    <a:pt x="378" y="217"/>
                  </a:lnTo>
                  <a:lnTo>
                    <a:pt x="368" y="217"/>
                  </a:lnTo>
                  <a:lnTo>
                    <a:pt x="362" y="221"/>
                  </a:lnTo>
                  <a:lnTo>
                    <a:pt x="355" y="221"/>
                  </a:lnTo>
                  <a:lnTo>
                    <a:pt x="345" y="221"/>
                  </a:lnTo>
                  <a:lnTo>
                    <a:pt x="341" y="229"/>
                  </a:lnTo>
                  <a:lnTo>
                    <a:pt x="336" y="232"/>
                  </a:lnTo>
                  <a:lnTo>
                    <a:pt x="324" y="232"/>
                  </a:lnTo>
                  <a:lnTo>
                    <a:pt x="318" y="240"/>
                  </a:lnTo>
                  <a:lnTo>
                    <a:pt x="314" y="248"/>
                  </a:lnTo>
                  <a:lnTo>
                    <a:pt x="314" y="257"/>
                  </a:lnTo>
                  <a:lnTo>
                    <a:pt x="314" y="265"/>
                  </a:lnTo>
                  <a:lnTo>
                    <a:pt x="309" y="265"/>
                  </a:lnTo>
                  <a:lnTo>
                    <a:pt x="297" y="265"/>
                  </a:lnTo>
                  <a:lnTo>
                    <a:pt x="295" y="265"/>
                  </a:lnTo>
                  <a:lnTo>
                    <a:pt x="291" y="265"/>
                  </a:lnTo>
                  <a:lnTo>
                    <a:pt x="276" y="263"/>
                  </a:lnTo>
                  <a:lnTo>
                    <a:pt x="265" y="259"/>
                  </a:lnTo>
                  <a:lnTo>
                    <a:pt x="255" y="265"/>
                  </a:lnTo>
                  <a:lnTo>
                    <a:pt x="249" y="277"/>
                  </a:lnTo>
                  <a:lnTo>
                    <a:pt x="242" y="280"/>
                  </a:lnTo>
                  <a:lnTo>
                    <a:pt x="238" y="286"/>
                  </a:lnTo>
                  <a:lnTo>
                    <a:pt x="238" y="298"/>
                  </a:lnTo>
                  <a:lnTo>
                    <a:pt x="226" y="307"/>
                  </a:lnTo>
                  <a:lnTo>
                    <a:pt x="224" y="307"/>
                  </a:lnTo>
                  <a:lnTo>
                    <a:pt x="222" y="307"/>
                  </a:lnTo>
                  <a:lnTo>
                    <a:pt x="217" y="307"/>
                  </a:lnTo>
                  <a:lnTo>
                    <a:pt x="211" y="307"/>
                  </a:lnTo>
                  <a:lnTo>
                    <a:pt x="205" y="311"/>
                  </a:lnTo>
                  <a:lnTo>
                    <a:pt x="201" y="311"/>
                  </a:lnTo>
                  <a:lnTo>
                    <a:pt x="197" y="309"/>
                  </a:lnTo>
                  <a:lnTo>
                    <a:pt x="196" y="303"/>
                  </a:lnTo>
                  <a:lnTo>
                    <a:pt x="196" y="313"/>
                  </a:lnTo>
                  <a:lnTo>
                    <a:pt x="192" y="315"/>
                  </a:lnTo>
                  <a:lnTo>
                    <a:pt x="190" y="317"/>
                  </a:lnTo>
                  <a:lnTo>
                    <a:pt x="190" y="321"/>
                  </a:lnTo>
                  <a:lnTo>
                    <a:pt x="190" y="325"/>
                  </a:lnTo>
                  <a:lnTo>
                    <a:pt x="186" y="325"/>
                  </a:lnTo>
                  <a:lnTo>
                    <a:pt x="184" y="328"/>
                  </a:lnTo>
                  <a:lnTo>
                    <a:pt x="184" y="330"/>
                  </a:lnTo>
                  <a:lnTo>
                    <a:pt x="184" y="336"/>
                  </a:lnTo>
                  <a:lnTo>
                    <a:pt x="173" y="336"/>
                  </a:lnTo>
                  <a:lnTo>
                    <a:pt x="163" y="336"/>
                  </a:lnTo>
                  <a:lnTo>
                    <a:pt x="151" y="336"/>
                  </a:lnTo>
                  <a:lnTo>
                    <a:pt x="144" y="336"/>
                  </a:lnTo>
                  <a:lnTo>
                    <a:pt x="136" y="336"/>
                  </a:lnTo>
                  <a:lnTo>
                    <a:pt x="130" y="340"/>
                  </a:lnTo>
                  <a:lnTo>
                    <a:pt x="119" y="340"/>
                  </a:lnTo>
                  <a:lnTo>
                    <a:pt x="107" y="340"/>
                  </a:lnTo>
                  <a:lnTo>
                    <a:pt x="98" y="336"/>
                  </a:lnTo>
                  <a:lnTo>
                    <a:pt x="86" y="336"/>
                  </a:lnTo>
                  <a:lnTo>
                    <a:pt x="77" y="336"/>
                  </a:lnTo>
                  <a:lnTo>
                    <a:pt x="65" y="336"/>
                  </a:lnTo>
                  <a:lnTo>
                    <a:pt x="57" y="336"/>
                  </a:lnTo>
                  <a:lnTo>
                    <a:pt x="50" y="336"/>
                  </a:lnTo>
                  <a:lnTo>
                    <a:pt x="50" y="327"/>
                  </a:lnTo>
                  <a:lnTo>
                    <a:pt x="50" y="319"/>
                  </a:lnTo>
                  <a:lnTo>
                    <a:pt x="40" y="315"/>
                  </a:lnTo>
                  <a:lnTo>
                    <a:pt x="32" y="307"/>
                  </a:lnTo>
                  <a:lnTo>
                    <a:pt x="23" y="303"/>
                  </a:lnTo>
                  <a:lnTo>
                    <a:pt x="11" y="298"/>
                  </a:lnTo>
                  <a:lnTo>
                    <a:pt x="6" y="286"/>
                  </a:lnTo>
                  <a:lnTo>
                    <a:pt x="6" y="279"/>
                  </a:lnTo>
                  <a:lnTo>
                    <a:pt x="6" y="271"/>
                  </a:lnTo>
                  <a:lnTo>
                    <a:pt x="11" y="265"/>
                  </a:lnTo>
                  <a:lnTo>
                    <a:pt x="6" y="248"/>
                  </a:lnTo>
                  <a:lnTo>
                    <a:pt x="6" y="238"/>
                  </a:lnTo>
                  <a:lnTo>
                    <a:pt x="6" y="227"/>
                  </a:lnTo>
                  <a:lnTo>
                    <a:pt x="6" y="217"/>
                  </a:lnTo>
                  <a:lnTo>
                    <a:pt x="6" y="206"/>
                  </a:lnTo>
                  <a:lnTo>
                    <a:pt x="6" y="200"/>
                  </a:lnTo>
                  <a:lnTo>
                    <a:pt x="6" y="196"/>
                  </a:lnTo>
                  <a:lnTo>
                    <a:pt x="4" y="190"/>
                  </a:lnTo>
                  <a:lnTo>
                    <a:pt x="0" y="188"/>
                  </a:lnTo>
                  <a:lnTo>
                    <a:pt x="6" y="179"/>
                  </a:lnTo>
                  <a:lnTo>
                    <a:pt x="6" y="177"/>
                  </a:lnTo>
                  <a:lnTo>
                    <a:pt x="6" y="185"/>
                  </a:lnTo>
                  <a:lnTo>
                    <a:pt x="13" y="185"/>
                  </a:lnTo>
                  <a:lnTo>
                    <a:pt x="21" y="185"/>
                  </a:lnTo>
                  <a:lnTo>
                    <a:pt x="27" y="179"/>
                  </a:lnTo>
                  <a:lnTo>
                    <a:pt x="38" y="179"/>
                  </a:lnTo>
                  <a:lnTo>
                    <a:pt x="50" y="179"/>
                  </a:lnTo>
                  <a:lnTo>
                    <a:pt x="59" y="179"/>
                  </a:lnTo>
                  <a:lnTo>
                    <a:pt x="71" y="179"/>
                  </a:lnTo>
                  <a:lnTo>
                    <a:pt x="71" y="167"/>
                  </a:lnTo>
                  <a:lnTo>
                    <a:pt x="73" y="156"/>
                  </a:lnTo>
                  <a:lnTo>
                    <a:pt x="77" y="146"/>
                  </a:lnTo>
                  <a:lnTo>
                    <a:pt x="77" y="131"/>
                  </a:lnTo>
                  <a:lnTo>
                    <a:pt x="77" y="121"/>
                  </a:lnTo>
                  <a:lnTo>
                    <a:pt x="77" y="114"/>
                  </a:lnTo>
                  <a:lnTo>
                    <a:pt x="77" y="1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1966" y="2631"/>
              <a:ext cx="432" cy="340"/>
            </a:xfrm>
            <a:custGeom>
              <a:avLst/>
              <a:gdLst/>
              <a:ahLst/>
              <a:cxnLst>
                <a:cxn ang="0">
                  <a:pos x="111" y="98"/>
                </a:cxn>
                <a:cxn ang="0">
                  <a:pos x="134" y="127"/>
                </a:cxn>
                <a:cxn ang="0">
                  <a:pos x="178" y="131"/>
                </a:cxn>
                <a:cxn ang="0">
                  <a:pos x="224" y="137"/>
                </a:cxn>
                <a:cxn ang="0">
                  <a:pos x="242" y="160"/>
                </a:cxn>
                <a:cxn ang="0">
                  <a:pos x="257" y="175"/>
                </a:cxn>
                <a:cxn ang="0">
                  <a:pos x="291" y="188"/>
                </a:cxn>
                <a:cxn ang="0">
                  <a:pos x="324" y="185"/>
                </a:cxn>
                <a:cxn ang="0">
                  <a:pos x="330" y="138"/>
                </a:cxn>
                <a:cxn ang="0">
                  <a:pos x="303" y="131"/>
                </a:cxn>
                <a:cxn ang="0">
                  <a:pos x="265" y="140"/>
                </a:cxn>
                <a:cxn ang="0">
                  <a:pos x="240" y="123"/>
                </a:cxn>
                <a:cxn ang="0">
                  <a:pos x="238" y="115"/>
                </a:cxn>
                <a:cxn ang="0">
                  <a:pos x="244" y="92"/>
                </a:cxn>
                <a:cxn ang="0">
                  <a:pos x="249" y="81"/>
                </a:cxn>
                <a:cxn ang="0">
                  <a:pos x="249" y="48"/>
                </a:cxn>
                <a:cxn ang="0">
                  <a:pos x="257" y="16"/>
                </a:cxn>
                <a:cxn ang="0">
                  <a:pos x="297" y="6"/>
                </a:cxn>
                <a:cxn ang="0">
                  <a:pos x="336" y="0"/>
                </a:cxn>
                <a:cxn ang="0">
                  <a:pos x="357" y="21"/>
                </a:cxn>
                <a:cxn ang="0">
                  <a:pos x="387" y="27"/>
                </a:cxn>
                <a:cxn ang="0">
                  <a:pos x="410" y="43"/>
                </a:cxn>
                <a:cxn ang="0">
                  <a:pos x="422" y="75"/>
                </a:cxn>
                <a:cxn ang="0">
                  <a:pos x="432" y="108"/>
                </a:cxn>
                <a:cxn ang="0">
                  <a:pos x="416" y="140"/>
                </a:cxn>
                <a:cxn ang="0">
                  <a:pos x="416" y="181"/>
                </a:cxn>
                <a:cxn ang="0">
                  <a:pos x="397" y="208"/>
                </a:cxn>
                <a:cxn ang="0">
                  <a:pos x="401" y="211"/>
                </a:cxn>
                <a:cxn ang="0">
                  <a:pos x="368" y="217"/>
                </a:cxn>
                <a:cxn ang="0">
                  <a:pos x="341" y="229"/>
                </a:cxn>
                <a:cxn ang="0">
                  <a:pos x="314" y="248"/>
                </a:cxn>
                <a:cxn ang="0">
                  <a:pos x="297" y="265"/>
                </a:cxn>
                <a:cxn ang="0">
                  <a:pos x="265" y="259"/>
                </a:cxn>
                <a:cxn ang="0">
                  <a:pos x="238" y="286"/>
                </a:cxn>
                <a:cxn ang="0">
                  <a:pos x="222" y="307"/>
                </a:cxn>
                <a:cxn ang="0">
                  <a:pos x="201" y="311"/>
                </a:cxn>
                <a:cxn ang="0">
                  <a:pos x="192" y="315"/>
                </a:cxn>
                <a:cxn ang="0">
                  <a:pos x="186" y="325"/>
                </a:cxn>
                <a:cxn ang="0">
                  <a:pos x="173" y="336"/>
                </a:cxn>
                <a:cxn ang="0">
                  <a:pos x="136" y="336"/>
                </a:cxn>
                <a:cxn ang="0">
                  <a:pos x="98" y="336"/>
                </a:cxn>
                <a:cxn ang="0">
                  <a:pos x="57" y="336"/>
                </a:cxn>
                <a:cxn ang="0">
                  <a:pos x="40" y="315"/>
                </a:cxn>
                <a:cxn ang="0">
                  <a:pos x="6" y="286"/>
                </a:cxn>
                <a:cxn ang="0">
                  <a:pos x="6" y="248"/>
                </a:cxn>
                <a:cxn ang="0">
                  <a:pos x="6" y="206"/>
                </a:cxn>
                <a:cxn ang="0">
                  <a:pos x="0" y="188"/>
                </a:cxn>
                <a:cxn ang="0">
                  <a:pos x="13" y="185"/>
                </a:cxn>
                <a:cxn ang="0">
                  <a:pos x="50" y="179"/>
                </a:cxn>
                <a:cxn ang="0">
                  <a:pos x="73" y="156"/>
                </a:cxn>
                <a:cxn ang="0">
                  <a:pos x="77" y="114"/>
                </a:cxn>
              </a:cxnLst>
              <a:rect l="0" t="0" r="r" b="b"/>
              <a:pathLst>
                <a:path w="432" h="340">
                  <a:moveTo>
                    <a:pt x="77" y="102"/>
                  </a:moveTo>
                  <a:lnTo>
                    <a:pt x="90" y="100"/>
                  </a:lnTo>
                  <a:lnTo>
                    <a:pt x="103" y="98"/>
                  </a:lnTo>
                  <a:lnTo>
                    <a:pt x="111" y="98"/>
                  </a:lnTo>
                  <a:lnTo>
                    <a:pt x="119" y="98"/>
                  </a:lnTo>
                  <a:lnTo>
                    <a:pt x="119" y="108"/>
                  </a:lnTo>
                  <a:lnTo>
                    <a:pt x="125" y="119"/>
                  </a:lnTo>
                  <a:lnTo>
                    <a:pt x="134" y="127"/>
                  </a:lnTo>
                  <a:lnTo>
                    <a:pt x="140" y="135"/>
                  </a:lnTo>
                  <a:lnTo>
                    <a:pt x="157" y="135"/>
                  </a:lnTo>
                  <a:lnTo>
                    <a:pt x="167" y="131"/>
                  </a:lnTo>
                  <a:lnTo>
                    <a:pt x="178" y="131"/>
                  </a:lnTo>
                  <a:lnTo>
                    <a:pt x="190" y="131"/>
                  </a:lnTo>
                  <a:lnTo>
                    <a:pt x="203" y="131"/>
                  </a:lnTo>
                  <a:lnTo>
                    <a:pt x="217" y="131"/>
                  </a:lnTo>
                  <a:lnTo>
                    <a:pt x="224" y="137"/>
                  </a:lnTo>
                  <a:lnTo>
                    <a:pt x="232" y="140"/>
                  </a:lnTo>
                  <a:lnTo>
                    <a:pt x="238" y="146"/>
                  </a:lnTo>
                  <a:lnTo>
                    <a:pt x="238" y="158"/>
                  </a:lnTo>
                  <a:lnTo>
                    <a:pt x="242" y="160"/>
                  </a:lnTo>
                  <a:lnTo>
                    <a:pt x="245" y="163"/>
                  </a:lnTo>
                  <a:lnTo>
                    <a:pt x="247" y="169"/>
                  </a:lnTo>
                  <a:lnTo>
                    <a:pt x="249" y="173"/>
                  </a:lnTo>
                  <a:lnTo>
                    <a:pt x="257" y="175"/>
                  </a:lnTo>
                  <a:lnTo>
                    <a:pt x="267" y="179"/>
                  </a:lnTo>
                  <a:lnTo>
                    <a:pt x="276" y="185"/>
                  </a:lnTo>
                  <a:lnTo>
                    <a:pt x="282" y="188"/>
                  </a:lnTo>
                  <a:lnTo>
                    <a:pt x="291" y="188"/>
                  </a:lnTo>
                  <a:lnTo>
                    <a:pt x="299" y="188"/>
                  </a:lnTo>
                  <a:lnTo>
                    <a:pt x="309" y="188"/>
                  </a:lnTo>
                  <a:lnTo>
                    <a:pt x="316" y="186"/>
                  </a:lnTo>
                  <a:lnTo>
                    <a:pt x="324" y="185"/>
                  </a:lnTo>
                  <a:lnTo>
                    <a:pt x="330" y="173"/>
                  </a:lnTo>
                  <a:lnTo>
                    <a:pt x="330" y="158"/>
                  </a:lnTo>
                  <a:lnTo>
                    <a:pt x="330" y="146"/>
                  </a:lnTo>
                  <a:lnTo>
                    <a:pt x="330" y="138"/>
                  </a:lnTo>
                  <a:lnTo>
                    <a:pt x="330" y="131"/>
                  </a:lnTo>
                  <a:lnTo>
                    <a:pt x="318" y="131"/>
                  </a:lnTo>
                  <a:lnTo>
                    <a:pt x="311" y="131"/>
                  </a:lnTo>
                  <a:lnTo>
                    <a:pt x="303" y="131"/>
                  </a:lnTo>
                  <a:lnTo>
                    <a:pt x="297" y="135"/>
                  </a:lnTo>
                  <a:lnTo>
                    <a:pt x="286" y="135"/>
                  </a:lnTo>
                  <a:lnTo>
                    <a:pt x="274" y="138"/>
                  </a:lnTo>
                  <a:lnTo>
                    <a:pt x="265" y="140"/>
                  </a:lnTo>
                  <a:lnTo>
                    <a:pt x="257" y="135"/>
                  </a:lnTo>
                  <a:lnTo>
                    <a:pt x="244" y="131"/>
                  </a:lnTo>
                  <a:lnTo>
                    <a:pt x="242" y="125"/>
                  </a:lnTo>
                  <a:lnTo>
                    <a:pt x="240" y="123"/>
                  </a:lnTo>
                  <a:lnTo>
                    <a:pt x="236" y="119"/>
                  </a:lnTo>
                  <a:lnTo>
                    <a:pt x="232" y="119"/>
                  </a:lnTo>
                  <a:lnTo>
                    <a:pt x="236" y="117"/>
                  </a:lnTo>
                  <a:lnTo>
                    <a:pt x="238" y="115"/>
                  </a:lnTo>
                  <a:lnTo>
                    <a:pt x="238" y="112"/>
                  </a:lnTo>
                  <a:lnTo>
                    <a:pt x="238" y="108"/>
                  </a:lnTo>
                  <a:lnTo>
                    <a:pt x="242" y="100"/>
                  </a:lnTo>
                  <a:lnTo>
                    <a:pt x="244" y="92"/>
                  </a:lnTo>
                  <a:lnTo>
                    <a:pt x="247" y="90"/>
                  </a:lnTo>
                  <a:lnTo>
                    <a:pt x="247" y="89"/>
                  </a:lnTo>
                  <a:lnTo>
                    <a:pt x="249" y="85"/>
                  </a:lnTo>
                  <a:lnTo>
                    <a:pt x="249" y="81"/>
                  </a:lnTo>
                  <a:lnTo>
                    <a:pt x="255" y="75"/>
                  </a:lnTo>
                  <a:lnTo>
                    <a:pt x="255" y="66"/>
                  </a:lnTo>
                  <a:lnTo>
                    <a:pt x="249" y="60"/>
                  </a:lnTo>
                  <a:lnTo>
                    <a:pt x="249" y="48"/>
                  </a:lnTo>
                  <a:lnTo>
                    <a:pt x="249" y="39"/>
                  </a:lnTo>
                  <a:lnTo>
                    <a:pt x="249" y="27"/>
                  </a:lnTo>
                  <a:lnTo>
                    <a:pt x="249" y="16"/>
                  </a:lnTo>
                  <a:lnTo>
                    <a:pt x="257" y="16"/>
                  </a:lnTo>
                  <a:lnTo>
                    <a:pt x="265" y="16"/>
                  </a:lnTo>
                  <a:lnTo>
                    <a:pt x="276" y="12"/>
                  </a:lnTo>
                  <a:lnTo>
                    <a:pt x="286" y="12"/>
                  </a:lnTo>
                  <a:lnTo>
                    <a:pt x="297" y="6"/>
                  </a:lnTo>
                  <a:lnTo>
                    <a:pt x="309" y="6"/>
                  </a:lnTo>
                  <a:lnTo>
                    <a:pt x="318" y="6"/>
                  </a:lnTo>
                  <a:lnTo>
                    <a:pt x="324" y="0"/>
                  </a:lnTo>
                  <a:lnTo>
                    <a:pt x="336" y="0"/>
                  </a:lnTo>
                  <a:lnTo>
                    <a:pt x="341" y="2"/>
                  </a:lnTo>
                  <a:lnTo>
                    <a:pt x="347" y="6"/>
                  </a:lnTo>
                  <a:lnTo>
                    <a:pt x="355" y="14"/>
                  </a:lnTo>
                  <a:lnTo>
                    <a:pt x="357" y="21"/>
                  </a:lnTo>
                  <a:lnTo>
                    <a:pt x="364" y="21"/>
                  </a:lnTo>
                  <a:lnTo>
                    <a:pt x="374" y="21"/>
                  </a:lnTo>
                  <a:lnTo>
                    <a:pt x="378" y="27"/>
                  </a:lnTo>
                  <a:lnTo>
                    <a:pt x="387" y="27"/>
                  </a:lnTo>
                  <a:lnTo>
                    <a:pt x="395" y="27"/>
                  </a:lnTo>
                  <a:lnTo>
                    <a:pt x="397" y="33"/>
                  </a:lnTo>
                  <a:lnTo>
                    <a:pt x="403" y="37"/>
                  </a:lnTo>
                  <a:lnTo>
                    <a:pt x="410" y="43"/>
                  </a:lnTo>
                  <a:lnTo>
                    <a:pt x="416" y="43"/>
                  </a:lnTo>
                  <a:lnTo>
                    <a:pt x="416" y="54"/>
                  </a:lnTo>
                  <a:lnTo>
                    <a:pt x="422" y="66"/>
                  </a:lnTo>
                  <a:lnTo>
                    <a:pt x="422" y="75"/>
                  </a:lnTo>
                  <a:lnTo>
                    <a:pt x="426" y="81"/>
                  </a:lnTo>
                  <a:lnTo>
                    <a:pt x="432" y="87"/>
                  </a:lnTo>
                  <a:lnTo>
                    <a:pt x="432" y="98"/>
                  </a:lnTo>
                  <a:lnTo>
                    <a:pt x="432" y="108"/>
                  </a:lnTo>
                  <a:lnTo>
                    <a:pt x="432" y="119"/>
                  </a:lnTo>
                  <a:lnTo>
                    <a:pt x="428" y="125"/>
                  </a:lnTo>
                  <a:lnTo>
                    <a:pt x="416" y="131"/>
                  </a:lnTo>
                  <a:lnTo>
                    <a:pt x="416" y="140"/>
                  </a:lnTo>
                  <a:lnTo>
                    <a:pt x="416" y="152"/>
                  </a:lnTo>
                  <a:lnTo>
                    <a:pt x="416" y="161"/>
                  </a:lnTo>
                  <a:lnTo>
                    <a:pt x="416" y="173"/>
                  </a:lnTo>
                  <a:lnTo>
                    <a:pt x="416" y="181"/>
                  </a:lnTo>
                  <a:lnTo>
                    <a:pt x="416" y="188"/>
                  </a:lnTo>
                  <a:lnTo>
                    <a:pt x="410" y="200"/>
                  </a:lnTo>
                  <a:lnTo>
                    <a:pt x="403" y="204"/>
                  </a:lnTo>
                  <a:lnTo>
                    <a:pt x="397" y="208"/>
                  </a:lnTo>
                  <a:lnTo>
                    <a:pt x="395" y="209"/>
                  </a:lnTo>
                  <a:lnTo>
                    <a:pt x="395" y="209"/>
                  </a:lnTo>
                  <a:lnTo>
                    <a:pt x="397" y="211"/>
                  </a:lnTo>
                  <a:lnTo>
                    <a:pt x="401" y="211"/>
                  </a:lnTo>
                  <a:lnTo>
                    <a:pt x="391" y="211"/>
                  </a:lnTo>
                  <a:lnTo>
                    <a:pt x="384" y="211"/>
                  </a:lnTo>
                  <a:lnTo>
                    <a:pt x="378" y="217"/>
                  </a:lnTo>
                  <a:lnTo>
                    <a:pt x="368" y="217"/>
                  </a:lnTo>
                  <a:lnTo>
                    <a:pt x="362" y="221"/>
                  </a:lnTo>
                  <a:lnTo>
                    <a:pt x="355" y="221"/>
                  </a:lnTo>
                  <a:lnTo>
                    <a:pt x="345" y="221"/>
                  </a:lnTo>
                  <a:lnTo>
                    <a:pt x="341" y="229"/>
                  </a:lnTo>
                  <a:lnTo>
                    <a:pt x="336" y="232"/>
                  </a:lnTo>
                  <a:lnTo>
                    <a:pt x="324" y="232"/>
                  </a:lnTo>
                  <a:lnTo>
                    <a:pt x="318" y="240"/>
                  </a:lnTo>
                  <a:lnTo>
                    <a:pt x="314" y="248"/>
                  </a:lnTo>
                  <a:lnTo>
                    <a:pt x="314" y="257"/>
                  </a:lnTo>
                  <a:lnTo>
                    <a:pt x="314" y="265"/>
                  </a:lnTo>
                  <a:lnTo>
                    <a:pt x="309" y="265"/>
                  </a:lnTo>
                  <a:lnTo>
                    <a:pt x="297" y="265"/>
                  </a:lnTo>
                  <a:lnTo>
                    <a:pt x="295" y="265"/>
                  </a:lnTo>
                  <a:lnTo>
                    <a:pt x="291" y="265"/>
                  </a:lnTo>
                  <a:lnTo>
                    <a:pt x="276" y="263"/>
                  </a:lnTo>
                  <a:lnTo>
                    <a:pt x="265" y="259"/>
                  </a:lnTo>
                  <a:lnTo>
                    <a:pt x="255" y="265"/>
                  </a:lnTo>
                  <a:lnTo>
                    <a:pt x="249" y="277"/>
                  </a:lnTo>
                  <a:lnTo>
                    <a:pt x="242" y="280"/>
                  </a:lnTo>
                  <a:lnTo>
                    <a:pt x="238" y="286"/>
                  </a:lnTo>
                  <a:lnTo>
                    <a:pt x="238" y="298"/>
                  </a:lnTo>
                  <a:lnTo>
                    <a:pt x="226" y="307"/>
                  </a:lnTo>
                  <a:lnTo>
                    <a:pt x="224" y="307"/>
                  </a:lnTo>
                  <a:lnTo>
                    <a:pt x="222" y="307"/>
                  </a:lnTo>
                  <a:lnTo>
                    <a:pt x="217" y="307"/>
                  </a:lnTo>
                  <a:lnTo>
                    <a:pt x="211" y="307"/>
                  </a:lnTo>
                  <a:lnTo>
                    <a:pt x="205" y="311"/>
                  </a:lnTo>
                  <a:lnTo>
                    <a:pt x="201" y="311"/>
                  </a:lnTo>
                  <a:lnTo>
                    <a:pt x="197" y="309"/>
                  </a:lnTo>
                  <a:lnTo>
                    <a:pt x="196" y="303"/>
                  </a:lnTo>
                  <a:lnTo>
                    <a:pt x="196" y="313"/>
                  </a:lnTo>
                  <a:lnTo>
                    <a:pt x="192" y="315"/>
                  </a:lnTo>
                  <a:lnTo>
                    <a:pt x="190" y="317"/>
                  </a:lnTo>
                  <a:lnTo>
                    <a:pt x="190" y="321"/>
                  </a:lnTo>
                  <a:lnTo>
                    <a:pt x="190" y="325"/>
                  </a:lnTo>
                  <a:lnTo>
                    <a:pt x="186" y="325"/>
                  </a:lnTo>
                  <a:lnTo>
                    <a:pt x="184" y="328"/>
                  </a:lnTo>
                  <a:lnTo>
                    <a:pt x="184" y="330"/>
                  </a:lnTo>
                  <a:lnTo>
                    <a:pt x="184" y="336"/>
                  </a:lnTo>
                  <a:lnTo>
                    <a:pt x="173" y="336"/>
                  </a:lnTo>
                  <a:lnTo>
                    <a:pt x="163" y="336"/>
                  </a:lnTo>
                  <a:lnTo>
                    <a:pt x="151" y="336"/>
                  </a:lnTo>
                  <a:lnTo>
                    <a:pt x="144" y="336"/>
                  </a:lnTo>
                  <a:lnTo>
                    <a:pt x="136" y="336"/>
                  </a:lnTo>
                  <a:lnTo>
                    <a:pt x="130" y="340"/>
                  </a:lnTo>
                  <a:lnTo>
                    <a:pt x="119" y="340"/>
                  </a:lnTo>
                  <a:lnTo>
                    <a:pt x="107" y="340"/>
                  </a:lnTo>
                  <a:lnTo>
                    <a:pt x="98" y="336"/>
                  </a:lnTo>
                  <a:lnTo>
                    <a:pt x="86" y="336"/>
                  </a:lnTo>
                  <a:lnTo>
                    <a:pt x="77" y="336"/>
                  </a:lnTo>
                  <a:lnTo>
                    <a:pt x="65" y="336"/>
                  </a:lnTo>
                  <a:lnTo>
                    <a:pt x="57" y="336"/>
                  </a:lnTo>
                  <a:lnTo>
                    <a:pt x="50" y="336"/>
                  </a:lnTo>
                  <a:lnTo>
                    <a:pt x="50" y="327"/>
                  </a:lnTo>
                  <a:lnTo>
                    <a:pt x="50" y="319"/>
                  </a:lnTo>
                  <a:lnTo>
                    <a:pt x="40" y="315"/>
                  </a:lnTo>
                  <a:lnTo>
                    <a:pt x="32" y="307"/>
                  </a:lnTo>
                  <a:lnTo>
                    <a:pt x="23" y="303"/>
                  </a:lnTo>
                  <a:lnTo>
                    <a:pt x="11" y="298"/>
                  </a:lnTo>
                  <a:lnTo>
                    <a:pt x="6" y="286"/>
                  </a:lnTo>
                  <a:lnTo>
                    <a:pt x="6" y="279"/>
                  </a:lnTo>
                  <a:lnTo>
                    <a:pt x="6" y="271"/>
                  </a:lnTo>
                  <a:lnTo>
                    <a:pt x="11" y="265"/>
                  </a:lnTo>
                  <a:lnTo>
                    <a:pt x="6" y="248"/>
                  </a:lnTo>
                  <a:lnTo>
                    <a:pt x="6" y="238"/>
                  </a:lnTo>
                  <a:lnTo>
                    <a:pt x="6" y="227"/>
                  </a:lnTo>
                  <a:lnTo>
                    <a:pt x="6" y="217"/>
                  </a:lnTo>
                  <a:lnTo>
                    <a:pt x="6" y="206"/>
                  </a:lnTo>
                  <a:lnTo>
                    <a:pt x="6" y="200"/>
                  </a:lnTo>
                  <a:lnTo>
                    <a:pt x="6" y="196"/>
                  </a:lnTo>
                  <a:lnTo>
                    <a:pt x="4" y="190"/>
                  </a:lnTo>
                  <a:lnTo>
                    <a:pt x="0" y="188"/>
                  </a:lnTo>
                  <a:lnTo>
                    <a:pt x="6" y="179"/>
                  </a:lnTo>
                  <a:lnTo>
                    <a:pt x="6" y="177"/>
                  </a:lnTo>
                  <a:lnTo>
                    <a:pt x="6" y="185"/>
                  </a:lnTo>
                  <a:lnTo>
                    <a:pt x="13" y="185"/>
                  </a:lnTo>
                  <a:lnTo>
                    <a:pt x="21" y="185"/>
                  </a:lnTo>
                  <a:lnTo>
                    <a:pt x="27" y="179"/>
                  </a:lnTo>
                  <a:lnTo>
                    <a:pt x="38" y="179"/>
                  </a:lnTo>
                  <a:lnTo>
                    <a:pt x="50" y="179"/>
                  </a:lnTo>
                  <a:lnTo>
                    <a:pt x="59" y="179"/>
                  </a:lnTo>
                  <a:lnTo>
                    <a:pt x="71" y="179"/>
                  </a:lnTo>
                  <a:lnTo>
                    <a:pt x="71" y="167"/>
                  </a:lnTo>
                  <a:lnTo>
                    <a:pt x="73" y="156"/>
                  </a:lnTo>
                  <a:lnTo>
                    <a:pt x="77" y="146"/>
                  </a:lnTo>
                  <a:lnTo>
                    <a:pt x="77" y="131"/>
                  </a:lnTo>
                  <a:lnTo>
                    <a:pt x="77" y="121"/>
                  </a:lnTo>
                  <a:lnTo>
                    <a:pt x="77" y="114"/>
                  </a:lnTo>
                  <a:lnTo>
                    <a:pt x="77" y="10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>
              <a:off x="2269" y="3280"/>
              <a:ext cx="59" cy="3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54" y="13"/>
                </a:cxn>
                <a:cxn ang="0">
                  <a:pos x="59" y="27"/>
                </a:cxn>
                <a:cxn ang="0">
                  <a:pos x="52" y="27"/>
                </a:cxn>
                <a:cxn ang="0">
                  <a:pos x="42" y="27"/>
                </a:cxn>
                <a:cxn ang="0">
                  <a:pos x="38" y="34"/>
                </a:cxn>
                <a:cxn ang="0">
                  <a:pos x="33" y="38"/>
                </a:cxn>
                <a:cxn ang="0">
                  <a:pos x="21" y="38"/>
                </a:cxn>
                <a:cxn ang="0">
                  <a:pos x="11" y="38"/>
                </a:cxn>
                <a:cxn ang="0">
                  <a:pos x="6" y="33"/>
                </a:cxn>
                <a:cxn ang="0">
                  <a:pos x="0" y="27"/>
                </a:cxn>
                <a:cxn ang="0">
                  <a:pos x="6" y="21"/>
                </a:cxn>
                <a:cxn ang="0">
                  <a:pos x="6" y="9"/>
                </a:cxn>
                <a:cxn ang="0">
                  <a:pos x="15" y="6"/>
                </a:cxn>
                <a:cxn ang="0">
                  <a:pos x="19" y="6"/>
                </a:cxn>
                <a:cxn ang="0">
                  <a:pos x="21" y="6"/>
                </a:cxn>
                <a:cxn ang="0">
                  <a:pos x="27" y="6"/>
                </a:cxn>
                <a:cxn ang="0">
                  <a:pos x="38" y="6"/>
                </a:cxn>
                <a:cxn ang="0">
                  <a:pos x="48" y="6"/>
                </a:cxn>
                <a:cxn ang="0">
                  <a:pos x="48" y="0"/>
                </a:cxn>
              </a:cxnLst>
              <a:rect l="0" t="0" r="r" b="b"/>
              <a:pathLst>
                <a:path w="59" h="38">
                  <a:moveTo>
                    <a:pt x="48" y="0"/>
                  </a:moveTo>
                  <a:lnTo>
                    <a:pt x="54" y="13"/>
                  </a:lnTo>
                  <a:lnTo>
                    <a:pt x="59" y="27"/>
                  </a:lnTo>
                  <a:lnTo>
                    <a:pt x="52" y="27"/>
                  </a:lnTo>
                  <a:lnTo>
                    <a:pt x="42" y="27"/>
                  </a:lnTo>
                  <a:lnTo>
                    <a:pt x="38" y="34"/>
                  </a:lnTo>
                  <a:lnTo>
                    <a:pt x="33" y="38"/>
                  </a:lnTo>
                  <a:lnTo>
                    <a:pt x="21" y="38"/>
                  </a:lnTo>
                  <a:lnTo>
                    <a:pt x="11" y="38"/>
                  </a:lnTo>
                  <a:lnTo>
                    <a:pt x="6" y="33"/>
                  </a:lnTo>
                  <a:lnTo>
                    <a:pt x="0" y="27"/>
                  </a:lnTo>
                  <a:lnTo>
                    <a:pt x="6" y="21"/>
                  </a:lnTo>
                  <a:lnTo>
                    <a:pt x="6" y="9"/>
                  </a:lnTo>
                  <a:lnTo>
                    <a:pt x="15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38" y="6"/>
                  </a:lnTo>
                  <a:lnTo>
                    <a:pt x="48" y="6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7" name="Freeform 14"/>
            <p:cNvSpPr>
              <a:spLocks/>
            </p:cNvSpPr>
            <p:nvPr/>
          </p:nvSpPr>
          <p:spPr bwMode="auto">
            <a:xfrm>
              <a:off x="2269" y="3280"/>
              <a:ext cx="59" cy="38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54" y="13"/>
                </a:cxn>
                <a:cxn ang="0">
                  <a:pos x="59" y="27"/>
                </a:cxn>
                <a:cxn ang="0">
                  <a:pos x="52" y="27"/>
                </a:cxn>
                <a:cxn ang="0">
                  <a:pos x="42" y="27"/>
                </a:cxn>
                <a:cxn ang="0">
                  <a:pos x="38" y="34"/>
                </a:cxn>
                <a:cxn ang="0">
                  <a:pos x="33" y="38"/>
                </a:cxn>
                <a:cxn ang="0">
                  <a:pos x="21" y="38"/>
                </a:cxn>
                <a:cxn ang="0">
                  <a:pos x="11" y="38"/>
                </a:cxn>
                <a:cxn ang="0">
                  <a:pos x="6" y="33"/>
                </a:cxn>
                <a:cxn ang="0">
                  <a:pos x="0" y="27"/>
                </a:cxn>
                <a:cxn ang="0">
                  <a:pos x="6" y="21"/>
                </a:cxn>
                <a:cxn ang="0">
                  <a:pos x="6" y="9"/>
                </a:cxn>
                <a:cxn ang="0">
                  <a:pos x="15" y="6"/>
                </a:cxn>
                <a:cxn ang="0">
                  <a:pos x="19" y="6"/>
                </a:cxn>
                <a:cxn ang="0">
                  <a:pos x="21" y="6"/>
                </a:cxn>
                <a:cxn ang="0">
                  <a:pos x="27" y="6"/>
                </a:cxn>
                <a:cxn ang="0">
                  <a:pos x="38" y="6"/>
                </a:cxn>
                <a:cxn ang="0">
                  <a:pos x="48" y="6"/>
                </a:cxn>
                <a:cxn ang="0">
                  <a:pos x="48" y="0"/>
                </a:cxn>
              </a:cxnLst>
              <a:rect l="0" t="0" r="r" b="b"/>
              <a:pathLst>
                <a:path w="59" h="38">
                  <a:moveTo>
                    <a:pt x="48" y="0"/>
                  </a:moveTo>
                  <a:lnTo>
                    <a:pt x="54" y="13"/>
                  </a:lnTo>
                  <a:lnTo>
                    <a:pt x="59" y="27"/>
                  </a:lnTo>
                  <a:lnTo>
                    <a:pt x="52" y="27"/>
                  </a:lnTo>
                  <a:lnTo>
                    <a:pt x="42" y="27"/>
                  </a:lnTo>
                  <a:lnTo>
                    <a:pt x="38" y="34"/>
                  </a:lnTo>
                  <a:lnTo>
                    <a:pt x="33" y="38"/>
                  </a:lnTo>
                  <a:lnTo>
                    <a:pt x="21" y="38"/>
                  </a:lnTo>
                  <a:lnTo>
                    <a:pt x="11" y="38"/>
                  </a:lnTo>
                  <a:lnTo>
                    <a:pt x="6" y="33"/>
                  </a:lnTo>
                  <a:lnTo>
                    <a:pt x="0" y="27"/>
                  </a:lnTo>
                  <a:lnTo>
                    <a:pt x="6" y="21"/>
                  </a:lnTo>
                  <a:lnTo>
                    <a:pt x="6" y="9"/>
                  </a:lnTo>
                  <a:lnTo>
                    <a:pt x="15" y="6"/>
                  </a:lnTo>
                  <a:lnTo>
                    <a:pt x="19" y="6"/>
                  </a:lnTo>
                  <a:lnTo>
                    <a:pt x="21" y="6"/>
                  </a:lnTo>
                  <a:lnTo>
                    <a:pt x="27" y="6"/>
                  </a:lnTo>
                  <a:lnTo>
                    <a:pt x="38" y="6"/>
                  </a:lnTo>
                  <a:lnTo>
                    <a:pt x="48" y="6"/>
                  </a:lnTo>
                  <a:lnTo>
                    <a:pt x="48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8" name="Freeform 15"/>
            <p:cNvSpPr>
              <a:spLocks/>
            </p:cNvSpPr>
            <p:nvPr/>
          </p:nvSpPr>
          <p:spPr bwMode="auto">
            <a:xfrm>
              <a:off x="2280" y="2702"/>
              <a:ext cx="375" cy="641"/>
            </a:xfrm>
            <a:custGeom>
              <a:avLst/>
              <a:gdLst/>
              <a:ahLst/>
              <a:cxnLst>
                <a:cxn ang="0">
                  <a:pos x="68" y="614"/>
                </a:cxn>
                <a:cxn ang="0">
                  <a:pos x="70" y="587"/>
                </a:cxn>
                <a:cxn ang="0">
                  <a:pos x="77" y="561"/>
                </a:cxn>
                <a:cxn ang="0">
                  <a:pos x="106" y="549"/>
                </a:cxn>
                <a:cxn ang="0">
                  <a:pos x="144" y="541"/>
                </a:cxn>
                <a:cxn ang="0">
                  <a:pos x="162" y="522"/>
                </a:cxn>
                <a:cxn ang="0">
                  <a:pos x="171" y="455"/>
                </a:cxn>
                <a:cxn ang="0">
                  <a:pos x="166" y="396"/>
                </a:cxn>
                <a:cxn ang="0">
                  <a:pos x="146" y="378"/>
                </a:cxn>
                <a:cxn ang="0">
                  <a:pos x="167" y="353"/>
                </a:cxn>
                <a:cxn ang="0">
                  <a:pos x="200" y="323"/>
                </a:cxn>
                <a:cxn ang="0">
                  <a:pos x="225" y="303"/>
                </a:cxn>
                <a:cxn ang="0">
                  <a:pos x="238" y="286"/>
                </a:cxn>
                <a:cxn ang="0">
                  <a:pos x="265" y="269"/>
                </a:cxn>
                <a:cxn ang="0">
                  <a:pos x="294" y="254"/>
                </a:cxn>
                <a:cxn ang="0">
                  <a:pos x="331" y="242"/>
                </a:cxn>
                <a:cxn ang="0">
                  <a:pos x="348" y="221"/>
                </a:cxn>
                <a:cxn ang="0">
                  <a:pos x="359" y="196"/>
                </a:cxn>
                <a:cxn ang="0">
                  <a:pos x="373" y="177"/>
                </a:cxn>
                <a:cxn ang="0">
                  <a:pos x="375" y="135"/>
                </a:cxn>
                <a:cxn ang="0">
                  <a:pos x="363" y="44"/>
                </a:cxn>
                <a:cxn ang="0">
                  <a:pos x="367" y="10"/>
                </a:cxn>
                <a:cxn ang="0">
                  <a:pos x="359" y="6"/>
                </a:cxn>
                <a:cxn ang="0">
                  <a:pos x="332" y="27"/>
                </a:cxn>
                <a:cxn ang="0">
                  <a:pos x="290" y="41"/>
                </a:cxn>
                <a:cxn ang="0">
                  <a:pos x="229" y="50"/>
                </a:cxn>
                <a:cxn ang="0">
                  <a:pos x="169" y="48"/>
                </a:cxn>
                <a:cxn ang="0">
                  <a:pos x="156" y="69"/>
                </a:cxn>
                <a:cxn ang="0">
                  <a:pos x="150" y="102"/>
                </a:cxn>
                <a:cxn ang="0">
                  <a:pos x="166" y="131"/>
                </a:cxn>
                <a:cxn ang="0">
                  <a:pos x="183" y="165"/>
                </a:cxn>
                <a:cxn ang="0">
                  <a:pos x="196" y="204"/>
                </a:cxn>
                <a:cxn ang="0">
                  <a:pos x="183" y="225"/>
                </a:cxn>
                <a:cxn ang="0">
                  <a:pos x="164" y="250"/>
                </a:cxn>
                <a:cxn ang="0">
                  <a:pos x="154" y="225"/>
                </a:cxn>
                <a:cxn ang="0">
                  <a:pos x="137" y="194"/>
                </a:cxn>
                <a:cxn ang="0">
                  <a:pos x="142" y="163"/>
                </a:cxn>
                <a:cxn ang="0">
                  <a:pos x="108" y="154"/>
                </a:cxn>
                <a:cxn ang="0">
                  <a:pos x="77" y="140"/>
                </a:cxn>
                <a:cxn ang="0">
                  <a:pos x="45" y="150"/>
                </a:cxn>
                <a:cxn ang="0">
                  <a:pos x="18" y="163"/>
                </a:cxn>
                <a:cxn ang="0">
                  <a:pos x="0" y="183"/>
                </a:cxn>
                <a:cxn ang="0">
                  <a:pos x="24" y="215"/>
                </a:cxn>
                <a:cxn ang="0">
                  <a:pos x="56" y="227"/>
                </a:cxn>
                <a:cxn ang="0">
                  <a:pos x="81" y="238"/>
                </a:cxn>
                <a:cxn ang="0">
                  <a:pos x="98" y="252"/>
                </a:cxn>
                <a:cxn ang="0">
                  <a:pos x="102" y="294"/>
                </a:cxn>
                <a:cxn ang="0">
                  <a:pos x="93" y="321"/>
                </a:cxn>
                <a:cxn ang="0">
                  <a:pos x="85" y="348"/>
                </a:cxn>
                <a:cxn ang="0">
                  <a:pos x="81" y="374"/>
                </a:cxn>
                <a:cxn ang="0">
                  <a:pos x="70" y="407"/>
                </a:cxn>
                <a:cxn ang="0">
                  <a:pos x="54" y="426"/>
                </a:cxn>
                <a:cxn ang="0">
                  <a:pos x="31" y="440"/>
                </a:cxn>
                <a:cxn ang="0">
                  <a:pos x="24" y="472"/>
                </a:cxn>
                <a:cxn ang="0">
                  <a:pos x="33" y="499"/>
                </a:cxn>
                <a:cxn ang="0">
                  <a:pos x="50" y="528"/>
                </a:cxn>
                <a:cxn ang="0">
                  <a:pos x="45" y="570"/>
                </a:cxn>
                <a:cxn ang="0">
                  <a:pos x="47" y="599"/>
                </a:cxn>
              </a:cxnLst>
              <a:rect l="0" t="0" r="r" b="b"/>
              <a:pathLst>
                <a:path w="375" h="641">
                  <a:moveTo>
                    <a:pt x="52" y="641"/>
                  </a:moveTo>
                  <a:lnTo>
                    <a:pt x="54" y="637"/>
                  </a:lnTo>
                  <a:lnTo>
                    <a:pt x="56" y="634"/>
                  </a:lnTo>
                  <a:lnTo>
                    <a:pt x="56" y="630"/>
                  </a:lnTo>
                  <a:lnTo>
                    <a:pt x="56" y="630"/>
                  </a:lnTo>
                  <a:lnTo>
                    <a:pt x="58" y="626"/>
                  </a:lnTo>
                  <a:lnTo>
                    <a:pt x="60" y="626"/>
                  </a:lnTo>
                  <a:lnTo>
                    <a:pt x="62" y="624"/>
                  </a:lnTo>
                  <a:lnTo>
                    <a:pt x="66" y="620"/>
                  </a:lnTo>
                  <a:lnTo>
                    <a:pt x="68" y="614"/>
                  </a:lnTo>
                  <a:lnTo>
                    <a:pt x="70" y="612"/>
                  </a:lnTo>
                  <a:lnTo>
                    <a:pt x="73" y="611"/>
                  </a:lnTo>
                  <a:lnTo>
                    <a:pt x="73" y="607"/>
                  </a:lnTo>
                  <a:lnTo>
                    <a:pt x="75" y="605"/>
                  </a:lnTo>
                  <a:lnTo>
                    <a:pt x="75" y="597"/>
                  </a:lnTo>
                  <a:lnTo>
                    <a:pt x="75" y="591"/>
                  </a:lnTo>
                  <a:lnTo>
                    <a:pt x="75" y="589"/>
                  </a:lnTo>
                  <a:lnTo>
                    <a:pt x="73" y="587"/>
                  </a:lnTo>
                  <a:lnTo>
                    <a:pt x="70" y="587"/>
                  </a:lnTo>
                  <a:lnTo>
                    <a:pt x="70" y="587"/>
                  </a:lnTo>
                  <a:lnTo>
                    <a:pt x="66" y="586"/>
                  </a:lnTo>
                  <a:lnTo>
                    <a:pt x="66" y="578"/>
                  </a:lnTo>
                  <a:lnTo>
                    <a:pt x="68" y="574"/>
                  </a:lnTo>
                  <a:lnTo>
                    <a:pt x="68" y="570"/>
                  </a:lnTo>
                  <a:lnTo>
                    <a:pt x="70" y="570"/>
                  </a:lnTo>
                  <a:lnTo>
                    <a:pt x="70" y="568"/>
                  </a:lnTo>
                  <a:lnTo>
                    <a:pt x="71" y="566"/>
                  </a:lnTo>
                  <a:lnTo>
                    <a:pt x="75" y="566"/>
                  </a:lnTo>
                  <a:lnTo>
                    <a:pt x="75" y="564"/>
                  </a:lnTo>
                  <a:lnTo>
                    <a:pt x="77" y="561"/>
                  </a:lnTo>
                  <a:lnTo>
                    <a:pt x="81" y="561"/>
                  </a:lnTo>
                  <a:lnTo>
                    <a:pt x="83" y="557"/>
                  </a:lnTo>
                  <a:lnTo>
                    <a:pt x="83" y="557"/>
                  </a:lnTo>
                  <a:lnTo>
                    <a:pt x="87" y="555"/>
                  </a:lnTo>
                  <a:lnTo>
                    <a:pt x="91" y="553"/>
                  </a:lnTo>
                  <a:lnTo>
                    <a:pt x="93" y="551"/>
                  </a:lnTo>
                  <a:lnTo>
                    <a:pt x="96" y="551"/>
                  </a:lnTo>
                  <a:lnTo>
                    <a:pt x="100" y="551"/>
                  </a:lnTo>
                  <a:lnTo>
                    <a:pt x="102" y="551"/>
                  </a:lnTo>
                  <a:lnTo>
                    <a:pt x="106" y="549"/>
                  </a:lnTo>
                  <a:lnTo>
                    <a:pt x="108" y="547"/>
                  </a:lnTo>
                  <a:lnTo>
                    <a:pt x="110" y="547"/>
                  </a:lnTo>
                  <a:lnTo>
                    <a:pt x="118" y="547"/>
                  </a:lnTo>
                  <a:lnTo>
                    <a:pt x="119" y="545"/>
                  </a:lnTo>
                  <a:lnTo>
                    <a:pt x="127" y="545"/>
                  </a:lnTo>
                  <a:lnTo>
                    <a:pt x="133" y="545"/>
                  </a:lnTo>
                  <a:lnTo>
                    <a:pt x="135" y="545"/>
                  </a:lnTo>
                  <a:lnTo>
                    <a:pt x="137" y="543"/>
                  </a:lnTo>
                  <a:lnTo>
                    <a:pt x="141" y="541"/>
                  </a:lnTo>
                  <a:lnTo>
                    <a:pt x="144" y="541"/>
                  </a:lnTo>
                  <a:lnTo>
                    <a:pt x="146" y="538"/>
                  </a:lnTo>
                  <a:lnTo>
                    <a:pt x="150" y="536"/>
                  </a:lnTo>
                  <a:lnTo>
                    <a:pt x="152" y="534"/>
                  </a:lnTo>
                  <a:lnTo>
                    <a:pt x="154" y="532"/>
                  </a:lnTo>
                  <a:lnTo>
                    <a:pt x="154" y="530"/>
                  </a:lnTo>
                  <a:lnTo>
                    <a:pt x="156" y="530"/>
                  </a:lnTo>
                  <a:lnTo>
                    <a:pt x="158" y="528"/>
                  </a:lnTo>
                  <a:lnTo>
                    <a:pt x="160" y="526"/>
                  </a:lnTo>
                  <a:lnTo>
                    <a:pt x="160" y="524"/>
                  </a:lnTo>
                  <a:lnTo>
                    <a:pt x="162" y="522"/>
                  </a:lnTo>
                  <a:lnTo>
                    <a:pt x="164" y="522"/>
                  </a:lnTo>
                  <a:lnTo>
                    <a:pt x="164" y="516"/>
                  </a:lnTo>
                  <a:lnTo>
                    <a:pt x="164" y="516"/>
                  </a:lnTo>
                  <a:lnTo>
                    <a:pt x="164" y="513"/>
                  </a:lnTo>
                  <a:lnTo>
                    <a:pt x="166" y="507"/>
                  </a:lnTo>
                  <a:lnTo>
                    <a:pt x="167" y="503"/>
                  </a:lnTo>
                  <a:lnTo>
                    <a:pt x="167" y="499"/>
                  </a:lnTo>
                  <a:lnTo>
                    <a:pt x="169" y="497"/>
                  </a:lnTo>
                  <a:lnTo>
                    <a:pt x="169" y="459"/>
                  </a:lnTo>
                  <a:lnTo>
                    <a:pt x="171" y="455"/>
                  </a:lnTo>
                  <a:lnTo>
                    <a:pt x="171" y="453"/>
                  </a:lnTo>
                  <a:lnTo>
                    <a:pt x="171" y="449"/>
                  </a:lnTo>
                  <a:lnTo>
                    <a:pt x="171" y="445"/>
                  </a:lnTo>
                  <a:lnTo>
                    <a:pt x="171" y="430"/>
                  </a:lnTo>
                  <a:lnTo>
                    <a:pt x="171" y="413"/>
                  </a:lnTo>
                  <a:lnTo>
                    <a:pt x="171" y="411"/>
                  </a:lnTo>
                  <a:lnTo>
                    <a:pt x="171" y="409"/>
                  </a:lnTo>
                  <a:lnTo>
                    <a:pt x="167" y="403"/>
                  </a:lnTo>
                  <a:lnTo>
                    <a:pt x="166" y="399"/>
                  </a:lnTo>
                  <a:lnTo>
                    <a:pt x="166" y="396"/>
                  </a:lnTo>
                  <a:lnTo>
                    <a:pt x="164" y="392"/>
                  </a:lnTo>
                  <a:lnTo>
                    <a:pt x="162" y="392"/>
                  </a:lnTo>
                  <a:lnTo>
                    <a:pt x="162" y="388"/>
                  </a:lnTo>
                  <a:lnTo>
                    <a:pt x="158" y="388"/>
                  </a:lnTo>
                  <a:lnTo>
                    <a:pt x="156" y="386"/>
                  </a:lnTo>
                  <a:lnTo>
                    <a:pt x="154" y="384"/>
                  </a:lnTo>
                  <a:lnTo>
                    <a:pt x="154" y="382"/>
                  </a:lnTo>
                  <a:lnTo>
                    <a:pt x="152" y="380"/>
                  </a:lnTo>
                  <a:lnTo>
                    <a:pt x="150" y="378"/>
                  </a:lnTo>
                  <a:lnTo>
                    <a:pt x="146" y="378"/>
                  </a:lnTo>
                  <a:lnTo>
                    <a:pt x="146" y="374"/>
                  </a:lnTo>
                  <a:lnTo>
                    <a:pt x="148" y="371"/>
                  </a:lnTo>
                  <a:lnTo>
                    <a:pt x="148" y="367"/>
                  </a:lnTo>
                  <a:lnTo>
                    <a:pt x="150" y="365"/>
                  </a:lnTo>
                  <a:lnTo>
                    <a:pt x="150" y="361"/>
                  </a:lnTo>
                  <a:lnTo>
                    <a:pt x="152" y="359"/>
                  </a:lnTo>
                  <a:lnTo>
                    <a:pt x="152" y="357"/>
                  </a:lnTo>
                  <a:lnTo>
                    <a:pt x="152" y="355"/>
                  </a:lnTo>
                  <a:lnTo>
                    <a:pt x="154" y="353"/>
                  </a:lnTo>
                  <a:lnTo>
                    <a:pt x="167" y="353"/>
                  </a:lnTo>
                  <a:lnTo>
                    <a:pt x="167" y="351"/>
                  </a:lnTo>
                  <a:lnTo>
                    <a:pt x="169" y="350"/>
                  </a:lnTo>
                  <a:lnTo>
                    <a:pt x="173" y="348"/>
                  </a:lnTo>
                  <a:lnTo>
                    <a:pt x="175" y="344"/>
                  </a:lnTo>
                  <a:lnTo>
                    <a:pt x="179" y="342"/>
                  </a:lnTo>
                  <a:lnTo>
                    <a:pt x="181" y="340"/>
                  </a:lnTo>
                  <a:lnTo>
                    <a:pt x="189" y="336"/>
                  </a:lnTo>
                  <a:lnTo>
                    <a:pt x="194" y="330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6" y="319"/>
                  </a:lnTo>
                  <a:lnTo>
                    <a:pt x="208" y="315"/>
                  </a:lnTo>
                  <a:lnTo>
                    <a:pt x="213" y="315"/>
                  </a:lnTo>
                  <a:lnTo>
                    <a:pt x="215" y="313"/>
                  </a:lnTo>
                  <a:lnTo>
                    <a:pt x="219" y="311"/>
                  </a:lnTo>
                  <a:lnTo>
                    <a:pt x="221" y="311"/>
                  </a:lnTo>
                  <a:lnTo>
                    <a:pt x="223" y="309"/>
                  </a:lnTo>
                  <a:lnTo>
                    <a:pt x="225" y="307"/>
                  </a:lnTo>
                  <a:lnTo>
                    <a:pt x="225" y="305"/>
                  </a:lnTo>
                  <a:lnTo>
                    <a:pt x="225" y="303"/>
                  </a:lnTo>
                  <a:lnTo>
                    <a:pt x="227" y="302"/>
                  </a:lnTo>
                  <a:lnTo>
                    <a:pt x="229" y="300"/>
                  </a:lnTo>
                  <a:lnTo>
                    <a:pt x="231" y="300"/>
                  </a:lnTo>
                  <a:lnTo>
                    <a:pt x="233" y="298"/>
                  </a:lnTo>
                  <a:lnTo>
                    <a:pt x="233" y="296"/>
                  </a:lnTo>
                  <a:lnTo>
                    <a:pt x="233" y="294"/>
                  </a:lnTo>
                  <a:lnTo>
                    <a:pt x="235" y="292"/>
                  </a:lnTo>
                  <a:lnTo>
                    <a:pt x="237" y="290"/>
                  </a:lnTo>
                  <a:lnTo>
                    <a:pt x="238" y="290"/>
                  </a:lnTo>
                  <a:lnTo>
                    <a:pt x="238" y="286"/>
                  </a:lnTo>
                  <a:lnTo>
                    <a:pt x="240" y="286"/>
                  </a:lnTo>
                  <a:lnTo>
                    <a:pt x="242" y="282"/>
                  </a:lnTo>
                  <a:lnTo>
                    <a:pt x="246" y="279"/>
                  </a:lnTo>
                  <a:lnTo>
                    <a:pt x="248" y="279"/>
                  </a:lnTo>
                  <a:lnTo>
                    <a:pt x="252" y="277"/>
                  </a:lnTo>
                  <a:lnTo>
                    <a:pt x="254" y="275"/>
                  </a:lnTo>
                  <a:lnTo>
                    <a:pt x="258" y="273"/>
                  </a:lnTo>
                  <a:lnTo>
                    <a:pt x="260" y="273"/>
                  </a:lnTo>
                  <a:lnTo>
                    <a:pt x="263" y="269"/>
                  </a:lnTo>
                  <a:lnTo>
                    <a:pt x="265" y="269"/>
                  </a:lnTo>
                  <a:lnTo>
                    <a:pt x="267" y="269"/>
                  </a:lnTo>
                  <a:lnTo>
                    <a:pt x="271" y="269"/>
                  </a:lnTo>
                  <a:lnTo>
                    <a:pt x="275" y="267"/>
                  </a:lnTo>
                  <a:lnTo>
                    <a:pt x="277" y="265"/>
                  </a:lnTo>
                  <a:lnTo>
                    <a:pt x="279" y="259"/>
                  </a:lnTo>
                  <a:lnTo>
                    <a:pt x="283" y="259"/>
                  </a:lnTo>
                  <a:lnTo>
                    <a:pt x="284" y="259"/>
                  </a:lnTo>
                  <a:lnTo>
                    <a:pt x="286" y="257"/>
                  </a:lnTo>
                  <a:lnTo>
                    <a:pt x="290" y="254"/>
                  </a:lnTo>
                  <a:lnTo>
                    <a:pt x="294" y="254"/>
                  </a:lnTo>
                  <a:lnTo>
                    <a:pt x="298" y="252"/>
                  </a:lnTo>
                  <a:lnTo>
                    <a:pt x="306" y="252"/>
                  </a:lnTo>
                  <a:lnTo>
                    <a:pt x="309" y="252"/>
                  </a:lnTo>
                  <a:lnTo>
                    <a:pt x="311" y="252"/>
                  </a:lnTo>
                  <a:lnTo>
                    <a:pt x="313" y="250"/>
                  </a:lnTo>
                  <a:lnTo>
                    <a:pt x="317" y="248"/>
                  </a:lnTo>
                  <a:lnTo>
                    <a:pt x="321" y="246"/>
                  </a:lnTo>
                  <a:lnTo>
                    <a:pt x="321" y="242"/>
                  </a:lnTo>
                  <a:lnTo>
                    <a:pt x="329" y="242"/>
                  </a:lnTo>
                  <a:lnTo>
                    <a:pt x="331" y="242"/>
                  </a:lnTo>
                  <a:lnTo>
                    <a:pt x="332" y="242"/>
                  </a:lnTo>
                  <a:lnTo>
                    <a:pt x="334" y="240"/>
                  </a:lnTo>
                  <a:lnTo>
                    <a:pt x="336" y="238"/>
                  </a:lnTo>
                  <a:lnTo>
                    <a:pt x="338" y="236"/>
                  </a:lnTo>
                  <a:lnTo>
                    <a:pt x="338" y="234"/>
                  </a:lnTo>
                  <a:lnTo>
                    <a:pt x="340" y="232"/>
                  </a:lnTo>
                  <a:lnTo>
                    <a:pt x="342" y="229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1"/>
                  </a:lnTo>
                  <a:lnTo>
                    <a:pt x="348" y="217"/>
                  </a:lnTo>
                  <a:lnTo>
                    <a:pt x="350" y="217"/>
                  </a:lnTo>
                  <a:lnTo>
                    <a:pt x="352" y="215"/>
                  </a:lnTo>
                  <a:lnTo>
                    <a:pt x="352" y="209"/>
                  </a:lnTo>
                  <a:lnTo>
                    <a:pt x="354" y="208"/>
                  </a:lnTo>
                  <a:lnTo>
                    <a:pt x="354" y="206"/>
                  </a:lnTo>
                  <a:lnTo>
                    <a:pt x="355" y="202"/>
                  </a:lnTo>
                  <a:lnTo>
                    <a:pt x="357" y="200"/>
                  </a:lnTo>
                  <a:lnTo>
                    <a:pt x="359" y="198"/>
                  </a:lnTo>
                  <a:lnTo>
                    <a:pt x="359" y="196"/>
                  </a:lnTo>
                  <a:lnTo>
                    <a:pt x="361" y="194"/>
                  </a:lnTo>
                  <a:lnTo>
                    <a:pt x="363" y="194"/>
                  </a:lnTo>
                  <a:lnTo>
                    <a:pt x="363" y="192"/>
                  </a:lnTo>
                  <a:lnTo>
                    <a:pt x="365" y="190"/>
                  </a:lnTo>
                  <a:lnTo>
                    <a:pt x="367" y="186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1"/>
                  </a:lnTo>
                  <a:lnTo>
                    <a:pt x="371" y="179"/>
                  </a:lnTo>
                  <a:lnTo>
                    <a:pt x="373" y="177"/>
                  </a:lnTo>
                  <a:lnTo>
                    <a:pt x="373" y="175"/>
                  </a:lnTo>
                  <a:lnTo>
                    <a:pt x="375" y="171"/>
                  </a:lnTo>
                  <a:lnTo>
                    <a:pt x="375" y="165"/>
                  </a:lnTo>
                  <a:lnTo>
                    <a:pt x="375" y="158"/>
                  </a:lnTo>
                  <a:lnTo>
                    <a:pt x="375" y="156"/>
                  </a:lnTo>
                  <a:lnTo>
                    <a:pt x="375" y="152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5" y="140"/>
                  </a:lnTo>
                  <a:lnTo>
                    <a:pt x="375" y="135"/>
                  </a:lnTo>
                  <a:lnTo>
                    <a:pt x="373" y="131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1" y="123"/>
                  </a:lnTo>
                  <a:lnTo>
                    <a:pt x="367" y="119"/>
                  </a:lnTo>
                  <a:lnTo>
                    <a:pt x="365" y="117"/>
                  </a:lnTo>
                  <a:lnTo>
                    <a:pt x="365" y="114"/>
                  </a:lnTo>
                  <a:lnTo>
                    <a:pt x="365" y="110"/>
                  </a:lnTo>
                  <a:lnTo>
                    <a:pt x="363" y="104"/>
                  </a:lnTo>
                  <a:lnTo>
                    <a:pt x="363" y="44"/>
                  </a:lnTo>
                  <a:lnTo>
                    <a:pt x="365" y="41"/>
                  </a:lnTo>
                  <a:lnTo>
                    <a:pt x="365" y="37"/>
                  </a:lnTo>
                  <a:lnTo>
                    <a:pt x="365" y="33"/>
                  </a:lnTo>
                  <a:lnTo>
                    <a:pt x="365" y="31"/>
                  </a:lnTo>
                  <a:lnTo>
                    <a:pt x="365" y="27"/>
                  </a:lnTo>
                  <a:lnTo>
                    <a:pt x="365" y="23"/>
                  </a:lnTo>
                  <a:lnTo>
                    <a:pt x="367" y="21"/>
                  </a:lnTo>
                  <a:lnTo>
                    <a:pt x="367" y="16"/>
                  </a:lnTo>
                  <a:lnTo>
                    <a:pt x="367" y="12"/>
                  </a:lnTo>
                  <a:lnTo>
                    <a:pt x="367" y="10"/>
                  </a:lnTo>
                  <a:lnTo>
                    <a:pt x="365" y="6"/>
                  </a:lnTo>
                  <a:lnTo>
                    <a:pt x="365" y="4"/>
                  </a:lnTo>
                  <a:lnTo>
                    <a:pt x="363" y="2"/>
                  </a:lnTo>
                  <a:lnTo>
                    <a:pt x="361" y="2"/>
                  </a:lnTo>
                  <a:lnTo>
                    <a:pt x="361" y="0"/>
                  </a:lnTo>
                  <a:lnTo>
                    <a:pt x="361" y="0"/>
                  </a:lnTo>
                  <a:lnTo>
                    <a:pt x="361" y="0"/>
                  </a:lnTo>
                  <a:lnTo>
                    <a:pt x="363" y="2"/>
                  </a:lnTo>
                  <a:lnTo>
                    <a:pt x="361" y="4"/>
                  </a:lnTo>
                  <a:lnTo>
                    <a:pt x="359" y="6"/>
                  </a:lnTo>
                  <a:lnTo>
                    <a:pt x="357" y="8"/>
                  </a:lnTo>
                  <a:lnTo>
                    <a:pt x="355" y="10"/>
                  </a:lnTo>
                  <a:lnTo>
                    <a:pt x="355" y="12"/>
                  </a:lnTo>
                  <a:lnTo>
                    <a:pt x="354" y="12"/>
                  </a:lnTo>
                  <a:lnTo>
                    <a:pt x="352" y="14"/>
                  </a:lnTo>
                  <a:lnTo>
                    <a:pt x="348" y="18"/>
                  </a:lnTo>
                  <a:lnTo>
                    <a:pt x="344" y="21"/>
                  </a:lnTo>
                  <a:lnTo>
                    <a:pt x="340" y="21"/>
                  </a:lnTo>
                  <a:lnTo>
                    <a:pt x="336" y="23"/>
                  </a:lnTo>
                  <a:lnTo>
                    <a:pt x="332" y="27"/>
                  </a:lnTo>
                  <a:lnTo>
                    <a:pt x="331" y="29"/>
                  </a:lnTo>
                  <a:lnTo>
                    <a:pt x="327" y="29"/>
                  </a:lnTo>
                  <a:lnTo>
                    <a:pt x="321" y="31"/>
                  </a:lnTo>
                  <a:lnTo>
                    <a:pt x="317" y="33"/>
                  </a:lnTo>
                  <a:lnTo>
                    <a:pt x="313" y="35"/>
                  </a:lnTo>
                  <a:lnTo>
                    <a:pt x="309" y="37"/>
                  </a:lnTo>
                  <a:lnTo>
                    <a:pt x="306" y="39"/>
                  </a:lnTo>
                  <a:lnTo>
                    <a:pt x="300" y="41"/>
                  </a:lnTo>
                  <a:lnTo>
                    <a:pt x="296" y="41"/>
                  </a:lnTo>
                  <a:lnTo>
                    <a:pt x="290" y="41"/>
                  </a:lnTo>
                  <a:lnTo>
                    <a:pt x="283" y="41"/>
                  </a:lnTo>
                  <a:lnTo>
                    <a:pt x="275" y="41"/>
                  </a:lnTo>
                  <a:lnTo>
                    <a:pt x="271" y="43"/>
                  </a:lnTo>
                  <a:lnTo>
                    <a:pt x="258" y="43"/>
                  </a:lnTo>
                  <a:lnTo>
                    <a:pt x="244" y="43"/>
                  </a:lnTo>
                  <a:lnTo>
                    <a:pt x="242" y="44"/>
                  </a:lnTo>
                  <a:lnTo>
                    <a:pt x="238" y="44"/>
                  </a:lnTo>
                  <a:lnTo>
                    <a:pt x="237" y="46"/>
                  </a:lnTo>
                  <a:lnTo>
                    <a:pt x="233" y="48"/>
                  </a:lnTo>
                  <a:lnTo>
                    <a:pt x="229" y="50"/>
                  </a:lnTo>
                  <a:lnTo>
                    <a:pt x="225" y="52"/>
                  </a:lnTo>
                  <a:lnTo>
                    <a:pt x="221" y="54"/>
                  </a:lnTo>
                  <a:lnTo>
                    <a:pt x="206" y="54"/>
                  </a:lnTo>
                  <a:lnTo>
                    <a:pt x="189" y="54"/>
                  </a:lnTo>
                  <a:lnTo>
                    <a:pt x="187" y="52"/>
                  </a:lnTo>
                  <a:lnTo>
                    <a:pt x="181" y="52"/>
                  </a:lnTo>
                  <a:lnTo>
                    <a:pt x="179" y="50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9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4" y="50"/>
                  </a:lnTo>
                  <a:lnTo>
                    <a:pt x="164" y="54"/>
                  </a:lnTo>
                  <a:lnTo>
                    <a:pt x="160" y="56"/>
                  </a:lnTo>
                  <a:lnTo>
                    <a:pt x="160" y="58"/>
                  </a:lnTo>
                  <a:lnTo>
                    <a:pt x="160" y="60"/>
                  </a:lnTo>
                  <a:lnTo>
                    <a:pt x="158" y="64"/>
                  </a:lnTo>
                  <a:lnTo>
                    <a:pt x="156" y="66"/>
                  </a:lnTo>
                  <a:lnTo>
                    <a:pt x="156" y="69"/>
                  </a:lnTo>
                  <a:lnTo>
                    <a:pt x="154" y="71"/>
                  </a:lnTo>
                  <a:lnTo>
                    <a:pt x="154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9"/>
                  </a:lnTo>
                  <a:lnTo>
                    <a:pt x="150" y="94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2" y="104"/>
                  </a:lnTo>
                  <a:lnTo>
                    <a:pt x="152" y="106"/>
                  </a:lnTo>
                  <a:lnTo>
                    <a:pt x="154" y="110"/>
                  </a:lnTo>
                  <a:lnTo>
                    <a:pt x="156" y="110"/>
                  </a:lnTo>
                  <a:lnTo>
                    <a:pt x="158" y="114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3"/>
                  </a:lnTo>
                  <a:lnTo>
                    <a:pt x="166" y="127"/>
                  </a:lnTo>
                  <a:lnTo>
                    <a:pt x="166" y="131"/>
                  </a:lnTo>
                  <a:lnTo>
                    <a:pt x="166" y="137"/>
                  </a:lnTo>
                  <a:lnTo>
                    <a:pt x="167" y="140"/>
                  </a:lnTo>
                  <a:lnTo>
                    <a:pt x="169" y="144"/>
                  </a:lnTo>
                  <a:lnTo>
                    <a:pt x="171" y="146"/>
                  </a:lnTo>
                  <a:lnTo>
                    <a:pt x="173" y="150"/>
                  </a:lnTo>
                  <a:lnTo>
                    <a:pt x="175" y="154"/>
                  </a:lnTo>
                  <a:lnTo>
                    <a:pt x="177" y="156"/>
                  </a:lnTo>
                  <a:lnTo>
                    <a:pt x="177" y="158"/>
                  </a:lnTo>
                  <a:lnTo>
                    <a:pt x="181" y="163"/>
                  </a:lnTo>
                  <a:lnTo>
                    <a:pt x="183" y="165"/>
                  </a:lnTo>
                  <a:lnTo>
                    <a:pt x="183" y="167"/>
                  </a:lnTo>
                  <a:lnTo>
                    <a:pt x="185" y="167"/>
                  </a:lnTo>
                  <a:lnTo>
                    <a:pt x="189" y="169"/>
                  </a:lnTo>
                  <a:lnTo>
                    <a:pt x="192" y="173"/>
                  </a:lnTo>
                  <a:lnTo>
                    <a:pt x="192" y="177"/>
                  </a:lnTo>
                  <a:lnTo>
                    <a:pt x="194" y="181"/>
                  </a:lnTo>
                  <a:lnTo>
                    <a:pt x="196" y="185"/>
                  </a:lnTo>
                  <a:lnTo>
                    <a:pt x="196" y="194"/>
                  </a:lnTo>
                  <a:lnTo>
                    <a:pt x="198" y="202"/>
                  </a:lnTo>
                  <a:lnTo>
                    <a:pt x="196" y="204"/>
                  </a:lnTo>
                  <a:lnTo>
                    <a:pt x="196" y="206"/>
                  </a:lnTo>
                  <a:lnTo>
                    <a:pt x="196" y="208"/>
                  </a:lnTo>
                  <a:lnTo>
                    <a:pt x="194" y="209"/>
                  </a:lnTo>
                  <a:lnTo>
                    <a:pt x="194" y="211"/>
                  </a:lnTo>
                  <a:lnTo>
                    <a:pt x="192" y="213"/>
                  </a:lnTo>
                  <a:lnTo>
                    <a:pt x="190" y="215"/>
                  </a:lnTo>
                  <a:lnTo>
                    <a:pt x="189" y="219"/>
                  </a:lnTo>
                  <a:lnTo>
                    <a:pt x="185" y="221"/>
                  </a:lnTo>
                  <a:lnTo>
                    <a:pt x="185" y="223"/>
                  </a:lnTo>
                  <a:lnTo>
                    <a:pt x="183" y="225"/>
                  </a:lnTo>
                  <a:lnTo>
                    <a:pt x="179" y="227"/>
                  </a:lnTo>
                  <a:lnTo>
                    <a:pt x="175" y="229"/>
                  </a:lnTo>
                  <a:lnTo>
                    <a:pt x="173" y="231"/>
                  </a:lnTo>
                  <a:lnTo>
                    <a:pt x="171" y="234"/>
                  </a:lnTo>
                  <a:lnTo>
                    <a:pt x="169" y="236"/>
                  </a:lnTo>
                  <a:lnTo>
                    <a:pt x="169" y="244"/>
                  </a:lnTo>
                  <a:lnTo>
                    <a:pt x="169" y="252"/>
                  </a:lnTo>
                  <a:lnTo>
                    <a:pt x="167" y="256"/>
                  </a:lnTo>
                  <a:lnTo>
                    <a:pt x="164" y="256"/>
                  </a:lnTo>
                  <a:lnTo>
                    <a:pt x="164" y="250"/>
                  </a:lnTo>
                  <a:lnTo>
                    <a:pt x="164" y="242"/>
                  </a:lnTo>
                  <a:lnTo>
                    <a:pt x="164" y="242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60" y="236"/>
                  </a:lnTo>
                  <a:lnTo>
                    <a:pt x="160" y="232"/>
                  </a:lnTo>
                  <a:lnTo>
                    <a:pt x="158" y="229"/>
                  </a:lnTo>
                  <a:lnTo>
                    <a:pt x="158" y="227"/>
                  </a:lnTo>
                  <a:lnTo>
                    <a:pt x="156" y="225"/>
                  </a:lnTo>
                  <a:lnTo>
                    <a:pt x="154" y="225"/>
                  </a:lnTo>
                  <a:lnTo>
                    <a:pt x="152" y="225"/>
                  </a:lnTo>
                  <a:lnTo>
                    <a:pt x="150" y="223"/>
                  </a:lnTo>
                  <a:lnTo>
                    <a:pt x="148" y="221"/>
                  </a:lnTo>
                  <a:lnTo>
                    <a:pt x="144" y="221"/>
                  </a:lnTo>
                  <a:lnTo>
                    <a:pt x="144" y="219"/>
                  </a:lnTo>
                  <a:lnTo>
                    <a:pt x="142" y="217"/>
                  </a:lnTo>
                  <a:lnTo>
                    <a:pt x="141" y="215"/>
                  </a:lnTo>
                  <a:lnTo>
                    <a:pt x="139" y="211"/>
                  </a:lnTo>
                  <a:lnTo>
                    <a:pt x="137" y="208"/>
                  </a:lnTo>
                  <a:lnTo>
                    <a:pt x="137" y="194"/>
                  </a:lnTo>
                  <a:lnTo>
                    <a:pt x="139" y="190"/>
                  </a:lnTo>
                  <a:lnTo>
                    <a:pt x="139" y="185"/>
                  </a:lnTo>
                  <a:lnTo>
                    <a:pt x="142" y="181"/>
                  </a:lnTo>
                  <a:lnTo>
                    <a:pt x="142" y="177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6" y="169"/>
                  </a:lnTo>
                  <a:lnTo>
                    <a:pt x="146" y="163"/>
                  </a:lnTo>
                  <a:lnTo>
                    <a:pt x="144" y="163"/>
                  </a:lnTo>
                  <a:lnTo>
                    <a:pt x="142" y="163"/>
                  </a:lnTo>
                  <a:lnTo>
                    <a:pt x="139" y="163"/>
                  </a:lnTo>
                  <a:lnTo>
                    <a:pt x="137" y="161"/>
                  </a:lnTo>
                  <a:lnTo>
                    <a:pt x="133" y="161"/>
                  </a:lnTo>
                  <a:lnTo>
                    <a:pt x="127" y="161"/>
                  </a:lnTo>
                  <a:lnTo>
                    <a:pt x="123" y="161"/>
                  </a:lnTo>
                  <a:lnTo>
                    <a:pt x="121" y="163"/>
                  </a:lnTo>
                  <a:lnTo>
                    <a:pt x="118" y="160"/>
                  </a:lnTo>
                  <a:lnTo>
                    <a:pt x="114" y="160"/>
                  </a:lnTo>
                  <a:lnTo>
                    <a:pt x="110" y="158"/>
                  </a:lnTo>
                  <a:lnTo>
                    <a:pt x="108" y="154"/>
                  </a:lnTo>
                  <a:lnTo>
                    <a:pt x="106" y="152"/>
                  </a:lnTo>
                  <a:lnTo>
                    <a:pt x="104" y="150"/>
                  </a:lnTo>
                  <a:lnTo>
                    <a:pt x="100" y="148"/>
                  </a:lnTo>
                  <a:lnTo>
                    <a:pt x="100" y="146"/>
                  </a:lnTo>
                  <a:lnTo>
                    <a:pt x="100" y="144"/>
                  </a:lnTo>
                  <a:lnTo>
                    <a:pt x="98" y="142"/>
                  </a:lnTo>
                  <a:lnTo>
                    <a:pt x="95" y="140"/>
                  </a:lnTo>
                  <a:lnTo>
                    <a:pt x="93" y="138"/>
                  </a:lnTo>
                  <a:lnTo>
                    <a:pt x="79" y="138"/>
                  </a:lnTo>
                  <a:lnTo>
                    <a:pt x="77" y="140"/>
                  </a:lnTo>
                  <a:lnTo>
                    <a:pt x="73" y="140"/>
                  </a:lnTo>
                  <a:lnTo>
                    <a:pt x="71" y="142"/>
                  </a:lnTo>
                  <a:lnTo>
                    <a:pt x="70" y="142"/>
                  </a:lnTo>
                  <a:lnTo>
                    <a:pt x="66" y="144"/>
                  </a:lnTo>
                  <a:lnTo>
                    <a:pt x="64" y="146"/>
                  </a:lnTo>
                  <a:lnTo>
                    <a:pt x="62" y="146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0" y="150"/>
                  </a:lnTo>
                  <a:lnTo>
                    <a:pt x="45" y="150"/>
                  </a:lnTo>
                  <a:lnTo>
                    <a:pt x="37" y="150"/>
                  </a:lnTo>
                  <a:lnTo>
                    <a:pt x="35" y="150"/>
                  </a:lnTo>
                  <a:lnTo>
                    <a:pt x="31" y="152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4" y="158"/>
                  </a:lnTo>
                  <a:lnTo>
                    <a:pt x="22" y="160"/>
                  </a:lnTo>
                  <a:lnTo>
                    <a:pt x="20" y="161"/>
                  </a:lnTo>
                  <a:lnTo>
                    <a:pt x="18" y="163"/>
                  </a:lnTo>
                  <a:lnTo>
                    <a:pt x="14" y="163"/>
                  </a:lnTo>
                  <a:lnTo>
                    <a:pt x="12" y="165"/>
                  </a:lnTo>
                  <a:lnTo>
                    <a:pt x="12" y="167"/>
                  </a:lnTo>
                  <a:lnTo>
                    <a:pt x="12" y="169"/>
                  </a:lnTo>
                  <a:lnTo>
                    <a:pt x="10" y="169"/>
                  </a:lnTo>
                  <a:lnTo>
                    <a:pt x="8" y="171"/>
                  </a:lnTo>
                  <a:lnTo>
                    <a:pt x="4" y="173"/>
                  </a:lnTo>
                  <a:lnTo>
                    <a:pt x="4" y="175"/>
                  </a:lnTo>
                  <a:lnTo>
                    <a:pt x="2" y="179"/>
                  </a:lnTo>
                  <a:lnTo>
                    <a:pt x="0" y="183"/>
                  </a:lnTo>
                  <a:lnTo>
                    <a:pt x="0" y="194"/>
                  </a:lnTo>
                  <a:lnTo>
                    <a:pt x="2" y="206"/>
                  </a:lnTo>
                  <a:lnTo>
                    <a:pt x="2" y="211"/>
                  </a:lnTo>
                  <a:lnTo>
                    <a:pt x="6" y="211"/>
                  </a:lnTo>
                  <a:lnTo>
                    <a:pt x="10" y="211"/>
                  </a:lnTo>
                  <a:lnTo>
                    <a:pt x="12" y="211"/>
                  </a:lnTo>
                  <a:lnTo>
                    <a:pt x="14" y="213"/>
                  </a:lnTo>
                  <a:lnTo>
                    <a:pt x="20" y="215"/>
                  </a:lnTo>
                  <a:lnTo>
                    <a:pt x="22" y="215"/>
                  </a:lnTo>
                  <a:lnTo>
                    <a:pt x="24" y="215"/>
                  </a:lnTo>
                  <a:lnTo>
                    <a:pt x="25" y="217"/>
                  </a:lnTo>
                  <a:lnTo>
                    <a:pt x="29" y="219"/>
                  </a:lnTo>
                  <a:lnTo>
                    <a:pt x="31" y="221"/>
                  </a:lnTo>
                  <a:lnTo>
                    <a:pt x="33" y="223"/>
                  </a:lnTo>
                  <a:lnTo>
                    <a:pt x="37" y="225"/>
                  </a:lnTo>
                  <a:lnTo>
                    <a:pt x="39" y="225"/>
                  </a:lnTo>
                  <a:lnTo>
                    <a:pt x="43" y="225"/>
                  </a:lnTo>
                  <a:lnTo>
                    <a:pt x="48" y="225"/>
                  </a:lnTo>
                  <a:lnTo>
                    <a:pt x="52" y="225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2" y="229"/>
                  </a:lnTo>
                  <a:lnTo>
                    <a:pt x="64" y="229"/>
                  </a:lnTo>
                  <a:lnTo>
                    <a:pt x="66" y="231"/>
                  </a:lnTo>
                  <a:lnTo>
                    <a:pt x="70" y="231"/>
                  </a:lnTo>
                  <a:lnTo>
                    <a:pt x="71" y="231"/>
                  </a:lnTo>
                  <a:lnTo>
                    <a:pt x="75" y="232"/>
                  </a:lnTo>
                  <a:lnTo>
                    <a:pt x="77" y="234"/>
                  </a:lnTo>
                  <a:lnTo>
                    <a:pt x="79" y="236"/>
                  </a:lnTo>
                  <a:lnTo>
                    <a:pt x="81" y="238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7" y="242"/>
                  </a:lnTo>
                  <a:lnTo>
                    <a:pt x="89" y="242"/>
                  </a:lnTo>
                  <a:lnTo>
                    <a:pt x="89" y="244"/>
                  </a:lnTo>
                  <a:lnTo>
                    <a:pt x="91" y="246"/>
                  </a:lnTo>
                  <a:lnTo>
                    <a:pt x="93" y="248"/>
                  </a:lnTo>
                  <a:lnTo>
                    <a:pt x="95" y="248"/>
                  </a:lnTo>
                  <a:lnTo>
                    <a:pt x="96" y="250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100" y="256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0" y="265"/>
                  </a:lnTo>
                  <a:lnTo>
                    <a:pt x="100" y="275"/>
                  </a:lnTo>
                  <a:lnTo>
                    <a:pt x="100" y="286"/>
                  </a:lnTo>
                  <a:lnTo>
                    <a:pt x="102" y="286"/>
                  </a:lnTo>
                  <a:lnTo>
                    <a:pt x="102" y="290"/>
                  </a:lnTo>
                  <a:lnTo>
                    <a:pt x="102" y="294"/>
                  </a:lnTo>
                  <a:lnTo>
                    <a:pt x="100" y="296"/>
                  </a:lnTo>
                  <a:lnTo>
                    <a:pt x="100" y="300"/>
                  </a:lnTo>
                  <a:lnTo>
                    <a:pt x="100" y="302"/>
                  </a:lnTo>
                  <a:lnTo>
                    <a:pt x="100" y="305"/>
                  </a:lnTo>
                  <a:lnTo>
                    <a:pt x="98" y="307"/>
                  </a:lnTo>
                  <a:lnTo>
                    <a:pt x="98" y="311"/>
                  </a:lnTo>
                  <a:lnTo>
                    <a:pt x="96" y="311"/>
                  </a:lnTo>
                  <a:lnTo>
                    <a:pt x="96" y="313"/>
                  </a:lnTo>
                  <a:lnTo>
                    <a:pt x="93" y="319"/>
                  </a:lnTo>
                  <a:lnTo>
                    <a:pt x="93" y="321"/>
                  </a:lnTo>
                  <a:lnTo>
                    <a:pt x="93" y="323"/>
                  </a:lnTo>
                  <a:lnTo>
                    <a:pt x="91" y="325"/>
                  </a:lnTo>
                  <a:lnTo>
                    <a:pt x="89" y="325"/>
                  </a:lnTo>
                  <a:lnTo>
                    <a:pt x="89" y="328"/>
                  </a:lnTo>
                  <a:lnTo>
                    <a:pt x="87" y="330"/>
                  </a:lnTo>
                  <a:lnTo>
                    <a:pt x="83" y="332"/>
                  </a:lnTo>
                  <a:lnTo>
                    <a:pt x="83" y="338"/>
                  </a:lnTo>
                  <a:lnTo>
                    <a:pt x="83" y="340"/>
                  </a:lnTo>
                  <a:lnTo>
                    <a:pt x="83" y="342"/>
                  </a:lnTo>
                  <a:lnTo>
                    <a:pt x="85" y="348"/>
                  </a:lnTo>
                  <a:lnTo>
                    <a:pt x="85" y="350"/>
                  </a:lnTo>
                  <a:lnTo>
                    <a:pt x="85" y="351"/>
                  </a:lnTo>
                  <a:lnTo>
                    <a:pt x="87" y="353"/>
                  </a:lnTo>
                  <a:lnTo>
                    <a:pt x="89" y="355"/>
                  </a:lnTo>
                  <a:lnTo>
                    <a:pt x="87" y="357"/>
                  </a:lnTo>
                  <a:lnTo>
                    <a:pt x="85" y="359"/>
                  </a:lnTo>
                  <a:lnTo>
                    <a:pt x="85" y="365"/>
                  </a:lnTo>
                  <a:lnTo>
                    <a:pt x="85" y="367"/>
                  </a:lnTo>
                  <a:lnTo>
                    <a:pt x="83" y="369"/>
                  </a:lnTo>
                  <a:lnTo>
                    <a:pt x="81" y="374"/>
                  </a:lnTo>
                  <a:lnTo>
                    <a:pt x="81" y="382"/>
                  </a:lnTo>
                  <a:lnTo>
                    <a:pt x="81" y="390"/>
                  </a:lnTo>
                  <a:lnTo>
                    <a:pt x="79" y="392"/>
                  </a:lnTo>
                  <a:lnTo>
                    <a:pt x="77" y="392"/>
                  </a:lnTo>
                  <a:lnTo>
                    <a:pt x="75" y="396"/>
                  </a:lnTo>
                  <a:lnTo>
                    <a:pt x="75" y="399"/>
                  </a:lnTo>
                  <a:lnTo>
                    <a:pt x="75" y="399"/>
                  </a:lnTo>
                  <a:lnTo>
                    <a:pt x="75" y="401"/>
                  </a:lnTo>
                  <a:lnTo>
                    <a:pt x="73" y="403"/>
                  </a:lnTo>
                  <a:lnTo>
                    <a:pt x="70" y="407"/>
                  </a:lnTo>
                  <a:lnTo>
                    <a:pt x="68" y="409"/>
                  </a:lnTo>
                  <a:lnTo>
                    <a:pt x="66" y="409"/>
                  </a:lnTo>
                  <a:lnTo>
                    <a:pt x="64" y="411"/>
                  </a:lnTo>
                  <a:lnTo>
                    <a:pt x="62" y="413"/>
                  </a:lnTo>
                  <a:lnTo>
                    <a:pt x="62" y="417"/>
                  </a:lnTo>
                  <a:lnTo>
                    <a:pt x="62" y="419"/>
                  </a:lnTo>
                  <a:lnTo>
                    <a:pt x="60" y="421"/>
                  </a:lnTo>
                  <a:lnTo>
                    <a:pt x="58" y="424"/>
                  </a:lnTo>
                  <a:lnTo>
                    <a:pt x="56" y="424"/>
                  </a:lnTo>
                  <a:lnTo>
                    <a:pt x="54" y="426"/>
                  </a:lnTo>
                  <a:lnTo>
                    <a:pt x="52" y="428"/>
                  </a:lnTo>
                  <a:lnTo>
                    <a:pt x="50" y="430"/>
                  </a:lnTo>
                  <a:lnTo>
                    <a:pt x="48" y="432"/>
                  </a:lnTo>
                  <a:lnTo>
                    <a:pt x="45" y="434"/>
                  </a:lnTo>
                  <a:lnTo>
                    <a:pt x="41" y="436"/>
                  </a:lnTo>
                  <a:lnTo>
                    <a:pt x="39" y="436"/>
                  </a:lnTo>
                  <a:lnTo>
                    <a:pt x="37" y="436"/>
                  </a:lnTo>
                  <a:lnTo>
                    <a:pt x="35" y="436"/>
                  </a:lnTo>
                  <a:lnTo>
                    <a:pt x="33" y="438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5" y="442"/>
                  </a:lnTo>
                  <a:lnTo>
                    <a:pt x="24" y="442"/>
                  </a:lnTo>
                  <a:lnTo>
                    <a:pt x="24" y="445"/>
                  </a:lnTo>
                  <a:lnTo>
                    <a:pt x="22" y="447"/>
                  </a:lnTo>
                  <a:lnTo>
                    <a:pt x="22" y="457"/>
                  </a:lnTo>
                  <a:lnTo>
                    <a:pt x="22" y="465"/>
                  </a:lnTo>
                  <a:lnTo>
                    <a:pt x="24" y="467"/>
                  </a:lnTo>
                  <a:lnTo>
                    <a:pt x="24" y="470"/>
                  </a:lnTo>
                  <a:lnTo>
                    <a:pt x="24" y="472"/>
                  </a:lnTo>
                  <a:lnTo>
                    <a:pt x="25" y="476"/>
                  </a:lnTo>
                  <a:lnTo>
                    <a:pt x="25" y="478"/>
                  </a:lnTo>
                  <a:lnTo>
                    <a:pt x="25" y="480"/>
                  </a:lnTo>
                  <a:lnTo>
                    <a:pt x="27" y="484"/>
                  </a:lnTo>
                  <a:lnTo>
                    <a:pt x="29" y="486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95"/>
                  </a:lnTo>
                  <a:lnTo>
                    <a:pt x="35" y="497"/>
                  </a:lnTo>
                  <a:lnTo>
                    <a:pt x="33" y="499"/>
                  </a:lnTo>
                  <a:lnTo>
                    <a:pt x="33" y="505"/>
                  </a:lnTo>
                  <a:lnTo>
                    <a:pt x="33" y="511"/>
                  </a:lnTo>
                  <a:lnTo>
                    <a:pt x="35" y="513"/>
                  </a:lnTo>
                  <a:lnTo>
                    <a:pt x="39" y="516"/>
                  </a:lnTo>
                  <a:lnTo>
                    <a:pt x="39" y="518"/>
                  </a:lnTo>
                  <a:lnTo>
                    <a:pt x="41" y="520"/>
                  </a:lnTo>
                  <a:lnTo>
                    <a:pt x="43" y="522"/>
                  </a:lnTo>
                  <a:lnTo>
                    <a:pt x="48" y="522"/>
                  </a:lnTo>
                  <a:lnTo>
                    <a:pt x="48" y="524"/>
                  </a:lnTo>
                  <a:lnTo>
                    <a:pt x="50" y="528"/>
                  </a:lnTo>
                  <a:lnTo>
                    <a:pt x="50" y="538"/>
                  </a:lnTo>
                  <a:lnTo>
                    <a:pt x="50" y="545"/>
                  </a:lnTo>
                  <a:lnTo>
                    <a:pt x="48" y="549"/>
                  </a:lnTo>
                  <a:lnTo>
                    <a:pt x="48" y="551"/>
                  </a:lnTo>
                  <a:lnTo>
                    <a:pt x="48" y="555"/>
                  </a:lnTo>
                  <a:lnTo>
                    <a:pt x="48" y="559"/>
                  </a:lnTo>
                  <a:lnTo>
                    <a:pt x="48" y="561"/>
                  </a:lnTo>
                  <a:lnTo>
                    <a:pt x="47" y="564"/>
                  </a:lnTo>
                  <a:lnTo>
                    <a:pt x="47" y="568"/>
                  </a:lnTo>
                  <a:lnTo>
                    <a:pt x="45" y="570"/>
                  </a:lnTo>
                  <a:lnTo>
                    <a:pt x="41" y="572"/>
                  </a:lnTo>
                  <a:lnTo>
                    <a:pt x="41" y="576"/>
                  </a:lnTo>
                  <a:lnTo>
                    <a:pt x="39" y="578"/>
                  </a:lnTo>
                  <a:lnTo>
                    <a:pt x="39" y="584"/>
                  </a:lnTo>
                  <a:lnTo>
                    <a:pt x="39" y="586"/>
                  </a:lnTo>
                  <a:lnTo>
                    <a:pt x="39" y="587"/>
                  </a:lnTo>
                  <a:lnTo>
                    <a:pt x="41" y="589"/>
                  </a:lnTo>
                  <a:lnTo>
                    <a:pt x="45" y="593"/>
                  </a:lnTo>
                  <a:lnTo>
                    <a:pt x="47" y="595"/>
                  </a:lnTo>
                  <a:lnTo>
                    <a:pt x="47" y="599"/>
                  </a:lnTo>
                  <a:lnTo>
                    <a:pt x="48" y="603"/>
                  </a:lnTo>
                  <a:lnTo>
                    <a:pt x="48" y="605"/>
                  </a:lnTo>
                  <a:lnTo>
                    <a:pt x="48" y="609"/>
                  </a:lnTo>
                  <a:lnTo>
                    <a:pt x="48" y="624"/>
                  </a:lnTo>
                  <a:lnTo>
                    <a:pt x="48" y="639"/>
                  </a:lnTo>
                  <a:lnTo>
                    <a:pt x="52" y="6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29" name="Freeform 16"/>
            <p:cNvSpPr>
              <a:spLocks/>
            </p:cNvSpPr>
            <p:nvPr/>
          </p:nvSpPr>
          <p:spPr bwMode="auto">
            <a:xfrm>
              <a:off x="2280" y="2702"/>
              <a:ext cx="375" cy="641"/>
            </a:xfrm>
            <a:custGeom>
              <a:avLst/>
              <a:gdLst/>
              <a:ahLst/>
              <a:cxnLst>
                <a:cxn ang="0">
                  <a:pos x="68" y="614"/>
                </a:cxn>
                <a:cxn ang="0">
                  <a:pos x="70" y="587"/>
                </a:cxn>
                <a:cxn ang="0">
                  <a:pos x="77" y="561"/>
                </a:cxn>
                <a:cxn ang="0">
                  <a:pos x="106" y="549"/>
                </a:cxn>
                <a:cxn ang="0">
                  <a:pos x="144" y="541"/>
                </a:cxn>
                <a:cxn ang="0">
                  <a:pos x="162" y="522"/>
                </a:cxn>
                <a:cxn ang="0">
                  <a:pos x="171" y="455"/>
                </a:cxn>
                <a:cxn ang="0">
                  <a:pos x="166" y="396"/>
                </a:cxn>
                <a:cxn ang="0">
                  <a:pos x="146" y="378"/>
                </a:cxn>
                <a:cxn ang="0">
                  <a:pos x="167" y="353"/>
                </a:cxn>
                <a:cxn ang="0">
                  <a:pos x="200" y="323"/>
                </a:cxn>
                <a:cxn ang="0">
                  <a:pos x="225" y="303"/>
                </a:cxn>
                <a:cxn ang="0">
                  <a:pos x="238" y="286"/>
                </a:cxn>
                <a:cxn ang="0">
                  <a:pos x="265" y="269"/>
                </a:cxn>
                <a:cxn ang="0">
                  <a:pos x="294" y="254"/>
                </a:cxn>
                <a:cxn ang="0">
                  <a:pos x="331" y="242"/>
                </a:cxn>
                <a:cxn ang="0">
                  <a:pos x="348" y="221"/>
                </a:cxn>
                <a:cxn ang="0">
                  <a:pos x="359" y="196"/>
                </a:cxn>
                <a:cxn ang="0">
                  <a:pos x="373" y="177"/>
                </a:cxn>
                <a:cxn ang="0">
                  <a:pos x="375" y="135"/>
                </a:cxn>
                <a:cxn ang="0">
                  <a:pos x="363" y="44"/>
                </a:cxn>
                <a:cxn ang="0">
                  <a:pos x="367" y="10"/>
                </a:cxn>
                <a:cxn ang="0">
                  <a:pos x="359" y="6"/>
                </a:cxn>
                <a:cxn ang="0">
                  <a:pos x="332" y="27"/>
                </a:cxn>
                <a:cxn ang="0">
                  <a:pos x="290" y="41"/>
                </a:cxn>
                <a:cxn ang="0">
                  <a:pos x="229" y="50"/>
                </a:cxn>
                <a:cxn ang="0">
                  <a:pos x="169" y="48"/>
                </a:cxn>
                <a:cxn ang="0">
                  <a:pos x="156" y="69"/>
                </a:cxn>
                <a:cxn ang="0">
                  <a:pos x="150" y="102"/>
                </a:cxn>
                <a:cxn ang="0">
                  <a:pos x="166" y="131"/>
                </a:cxn>
                <a:cxn ang="0">
                  <a:pos x="183" y="165"/>
                </a:cxn>
                <a:cxn ang="0">
                  <a:pos x="196" y="204"/>
                </a:cxn>
                <a:cxn ang="0">
                  <a:pos x="183" y="225"/>
                </a:cxn>
                <a:cxn ang="0">
                  <a:pos x="164" y="250"/>
                </a:cxn>
                <a:cxn ang="0">
                  <a:pos x="154" y="225"/>
                </a:cxn>
                <a:cxn ang="0">
                  <a:pos x="137" y="194"/>
                </a:cxn>
                <a:cxn ang="0">
                  <a:pos x="142" y="163"/>
                </a:cxn>
                <a:cxn ang="0">
                  <a:pos x="108" y="154"/>
                </a:cxn>
                <a:cxn ang="0">
                  <a:pos x="77" y="140"/>
                </a:cxn>
                <a:cxn ang="0">
                  <a:pos x="45" y="150"/>
                </a:cxn>
                <a:cxn ang="0">
                  <a:pos x="18" y="163"/>
                </a:cxn>
                <a:cxn ang="0">
                  <a:pos x="0" y="183"/>
                </a:cxn>
                <a:cxn ang="0">
                  <a:pos x="24" y="215"/>
                </a:cxn>
                <a:cxn ang="0">
                  <a:pos x="56" y="227"/>
                </a:cxn>
                <a:cxn ang="0">
                  <a:pos x="81" y="238"/>
                </a:cxn>
                <a:cxn ang="0">
                  <a:pos x="98" y="252"/>
                </a:cxn>
                <a:cxn ang="0">
                  <a:pos x="102" y="294"/>
                </a:cxn>
                <a:cxn ang="0">
                  <a:pos x="93" y="321"/>
                </a:cxn>
                <a:cxn ang="0">
                  <a:pos x="85" y="348"/>
                </a:cxn>
                <a:cxn ang="0">
                  <a:pos x="81" y="374"/>
                </a:cxn>
                <a:cxn ang="0">
                  <a:pos x="70" y="407"/>
                </a:cxn>
                <a:cxn ang="0">
                  <a:pos x="54" y="426"/>
                </a:cxn>
                <a:cxn ang="0">
                  <a:pos x="31" y="440"/>
                </a:cxn>
                <a:cxn ang="0">
                  <a:pos x="24" y="472"/>
                </a:cxn>
                <a:cxn ang="0">
                  <a:pos x="33" y="499"/>
                </a:cxn>
                <a:cxn ang="0">
                  <a:pos x="50" y="528"/>
                </a:cxn>
                <a:cxn ang="0">
                  <a:pos x="45" y="570"/>
                </a:cxn>
                <a:cxn ang="0">
                  <a:pos x="47" y="599"/>
                </a:cxn>
              </a:cxnLst>
              <a:rect l="0" t="0" r="r" b="b"/>
              <a:pathLst>
                <a:path w="375" h="641">
                  <a:moveTo>
                    <a:pt x="52" y="641"/>
                  </a:moveTo>
                  <a:lnTo>
                    <a:pt x="54" y="637"/>
                  </a:lnTo>
                  <a:lnTo>
                    <a:pt x="56" y="634"/>
                  </a:lnTo>
                  <a:lnTo>
                    <a:pt x="56" y="630"/>
                  </a:lnTo>
                  <a:lnTo>
                    <a:pt x="56" y="630"/>
                  </a:lnTo>
                  <a:lnTo>
                    <a:pt x="58" y="626"/>
                  </a:lnTo>
                  <a:lnTo>
                    <a:pt x="60" y="626"/>
                  </a:lnTo>
                  <a:lnTo>
                    <a:pt x="62" y="624"/>
                  </a:lnTo>
                  <a:lnTo>
                    <a:pt x="66" y="620"/>
                  </a:lnTo>
                  <a:lnTo>
                    <a:pt x="68" y="614"/>
                  </a:lnTo>
                  <a:lnTo>
                    <a:pt x="70" y="612"/>
                  </a:lnTo>
                  <a:lnTo>
                    <a:pt x="73" y="611"/>
                  </a:lnTo>
                  <a:lnTo>
                    <a:pt x="73" y="607"/>
                  </a:lnTo>
                  <a:lnTo>
                    <a:pt x="75" y="605"/>
                  </a:lnTo>
                  <a:lnTo>
                    <a:pt x="75" y="597"/>
                  </a:lnTo>
                  <a:lnTo>
                    <a:pt x="75" y="591"/>
                  </a:lnTo>
                  <a:lnTo>
                    <a:pt x="75" y="589"/>
                  </a:lnTo>
                  <a:lnTo>
                    <a:pt x="73" y="587"/>
                  </a:lnTo>
                  <a:lnTo>
                    <a:pt x="70" y="587"/>
                  </a:lnTo>
                  <a:lnTo>
                    <a:pt x="70" y="587"/>
                  </a:lnTo>
                  <a:lnTo>
                    <a:pt x="66" y="586"/>
                  </a:lnTo>
                  <a:lnTo>
                    <a:pt x="66" y="578"/>
                  </a:lnTo>
                  <a:lnTo>
                    <a:pt x="68" y="574"/>
                  </a:lnTo>
                  <a:lnTo>
                    <a:pt x="68" y="570"/>
                  </a:lnTo>
                  <a:lnTo>
                    <a:pt x="70" y="570"/>
                  </a:lnTo>
                  <a:lnTo>
                    <a:pt x="70" y="568"/>
                  </a:lnTo>
                  <a:lnTo>
                    <a:pt x="71" y="566"/>
                  </a:lnTo>
                  <a:lnTo>
                    <a:pt x="75" y="566"/>
                  </a:lnTo>
                  <a:lnTo>
                    <a:pt x="75" y="564"/>
                  </a:lnTo>
                  <a:lnTo>
                    <a:pt x="77" y="561"/>
                  </a:lnTo>
                  <a:lnTo>
                    <a:pt x="81" y="561"/>
                  </a:lnTo>
                  <a:lnTo>
                    <a:pt x="83" y="557"/>
                  </a:lnTo>
                  <a:lnTo>
                    <a:pt x="83" y="557"/>
                  </a:lnTo>
                  <a:lnTo>
                    <a:pt x="87" y="555"/>
                  </a:lnTo>
                  <a:lnTo>
                    <a:pt x="91" y="553"/>
                  </a:lnTo>
                  <a:lnTo>
                    <a:pt x="93" y="551"/>
                  </a:lnTo>
                  <a:lnTo>
                    <a:pt x="96" y="551"/>
                  </a:lnTo>
                  <a:lnTo>
                    <a:pt x="100" y="551"/>
                  </a:lnTo>
                  <a:lnTo>
                    <a:pt x="102" y="551"/>
                  </a:lnTo>
                  <a:lnTo>
                    <a:pt x="106" y="549"/>
                  </a:lnTo>
                  <a:lnTo>
                    <a:pt x="108" y="547"/>
                  </a:lnTo>
                  <a:lnTo>
                    <a:pt x="110" y="547"/>
                  </a:lnTo>
                  <a:lnTo>
                    <a:pt x="118" y="547"/>
                  </a:lnTo>
                  <a:lnTo>
                    <a:pt x="119" y="545"/>
                  </a:lnTo>
                  <a:lnTo>
                    <a:pt x="127" y="545"/>
                  </a:lnTo>
                  <a:lnTo>
                    <a:pt x="133" y="545"/>
                  </a:lnTo>
                  <a:lnTo>
                    <a:pt x="135" y="545"/>
                  </a:lnTo>
                  <a:lnTo>
                    <a:pt x="137" y="543"/>
                  </a:lnTo>
                  <a:lnTo>
                    <a:pt x="141" y="541"/>
                  </a:lnTo>
                  <a:lnTo>
                    <a:pt x="144" y="541"/>
                  </a:lnTo>
                  <a:lnTo>
                    <a:pt x="146" y="538"/>
                  </a:lnTo>
                  <a:lnTo>
                    <a:pt x="150" y="536"/>
                  </a:lnTo>
                  <a:lnTo>
                    <a:pt x="152" y="534"/>
                  </a:lnTo>
                  <a:lnTo>
                    <a:pt x="154" y="532"/>
                  </a:lnTo>
                  <a:lnTo>
                    <a:pt x="154" y="530"/>
                  </a:lnTo>
                  <a:lnTo>
                    <a:pt x="156" y="530"/>
                  </a:lnTo>
                  <a:lnTo>
                    <a:pt x="158" y="528"/>
                  </a:lnTo>
                  <a:lnTo>
                    <a:pt x="160" y="526"/>
                  </a:lnTo>
                  <a:lnTo>
                    <a:pt x="160" y="524"/>
                  </a:lnTo>
                  <a:lnTo>
                    <a:pt x="162" y="522"/>
                  </a:lnTo>
                  <a:lnTo>
                    <a:pt x="164" y="522"/>
                  </a:lnTo>
                  <a:lnTo>
                    <a:pt x="164" y="516"/>
                  </a:lnTo>
                  <a:lnTo>
                    <a:pt x="164" y="516"/>
                  </a:lnTo>
                  <a:lnTo>
                    <a:pt x="164" y="513"/>
                  </a:lnTo>
                  <a:lnTo>
                    <a:pt x="166" y="507"/>
                  </a:lnTo>
                  <a:lnTo>
                    <a:pt x="167" y="503"/>
                  </a:lnTo>
                  <a:lnTo>
                    <a:pt x="167" y="499"/>
                  </a:lnTo>
                  <a:lnTo>
                    <a:pt x="169" y="497"/>
                  </a:lnTo>
                  <a:lnTo>
                    <a:pt x="169" y="459"/>
                  </a:lnTo>
                  <a:lnTo>
                    <a:pt x="171" y="455"/>
                  </a:lnTo>
                  <a:lnTo>
                    <a:pt x="171" y="453"/>
                  </a:lnTo>
                  <a:lnTo>
                    <a:pt x="171" y="449"/>
                  </a:lnTo>
                  <a:lnTo>
                    <a:pt x="171" y="445"/>
                  </a:lnTo>
                  <a:lnTo>
                    <a:pt x="171" y="430"/>
                  </a:lnTo>
                  <a:lnTo>
                    <a:pt x="171" y="413"/>
                  </a:lnTo>
                  <a:lnTo>
                    <a:pt x="171" y="411"/>
                  </a:lnTo>
                  <a:lnTo>
                    <a:pt x="171" y="409"/>
                  </a:lnTo>
                  <a:lnTo>
                    <a:pt x="167" y="403"/>
                  </a:lnTo>
                  <a:lnTo>
                    <a:pt x="166" y="399"/>
                  </a:lnTo>
                  <a:lnTo>
                    <a:pt x="166" y="396"/>
                  </a:lnTo>
                  <a:lnTo>
                    <a:pt x="164" y="392"/>
                  </a:lnTo>
                  <a:lnTo>
                    <a:pt x="162" y="392"/>
                  </a:lnTo>
                  <a:lnTo>
                    <a:pt x="162" y="388"/>
                  </a:lnTo>
                  <a:lnTo>
                    <a:pt x="158" y="388"/>
                  </a:lnTo>
                  <a:lnTo>
                    <a:pt x="156" y="386"/>
                  </a:lnTo>
                  <a:lnTo>
                    <a:pt x="154" y="384"/>
                  </a:lnTo>
                  <a:lnTo>
                    <a:pt x="154" y="382"/>
                  </a:lnTo>
                  <a:lnTo>
                    <a:pt x="152" y="380"/>
                  </a:lnTo>
                  <a:lnTo>
                    <a:pt x="150" y="378"/>
                  </a:lnTo>
                  <a:lnTo>
                    <a:pt x="146" y="378"/>
                  </a:lnTo>
                  <a:lnTo>
                    <a:pt x="146" y="374"/>
                  </a:lnTo>
                  <a:lnTo>
                    <a:pt x="148" y="371"/>
                  </a:lnTo>
                  <a:lnTo>
                    <a:pt x="148" y="367"/>
                  </a:lnTo>
                  <a:lnTo>
                    <a:pt x="150" y="365"/>
                  </a:lnTo>
                  <a:lnTo>
                    <a:pt x="150" y="361"/>
                  </a:lnTo>
                  <a:lnTo>
                    <a:pt x="152" y="359"/>
                  </a:lnTo>
                  <a:lnTo>
                    <a:pt x="152" y="357"/>
                  </a:lnTo>
                  <a:lnTo>
                    <a:pt x="152" y="355"/>
                  </a:lnTo>
                  <a:lnTo>
                    <a:pt x="154" y="353"/>
                  </a:lnTo>
                  <a:lnTo>
                    <a:pt x="167" y="353"/>
                  </a:lnTo>
                  <a:lnTo>
                    <a:pt x="167" y="351"/>
                  </a:lnTo>
                  <a:lnTo>
                    <a:pt x="169" y="350"/>
                  </a:lnTo>
                  <a:lnTo>
                    <a:pt x="173" y="348"/>
                  </a:lnTo>
                  <a:lnTo>
                    <a:pt x="175" y="344"/>
                  </a:lnTo>
                  <a:lnTo>
                    <a:pt x="179" y="342"/>
                  </a:lnTo>
                  <a:lnTo>
                    <a:pt x="181" y="340"/>
                  </a:lnTo>
                  <a:lnTo>
                    <a:pt x="189" y="336"/>
                  </a:lnTo>
                  <a:lnTo>
                    <a:pt x="194" y="330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6" y="319"/>
                  </a:lnTo>
                  <a:lnTo>
                    <a:pt x="208" y="315"/>
                  </a:lnTo>
                  <a:lnTo>
                    <a:pt x="213" y="315"/>
                  </a:lnTo>
                  <a:lnTo>
                    <a:pt x="215" y="313"/>
                  </a:lnTo>
                  <a:lnTo>
                    <a:pt x="219" y="311"/>
                  </a:lnTo>
                  <a:lnTo>
                    <a:pt x="221" y="311"/>
                  </a:lnTo>
                  <a:lnTo>
                    <a:pt x="223" y="309"/>
                  </a:lnTo>
                  <a:lnTo>
                    <a:pt x="225" y="307"/>
                  </a:lnTo>
                  <a:lnTo>
                    <a:pt x="225" y="305"/>
                  </a:lnTo>
                  <a:lnTo>
                    <a:pt x="225" y="303"/>
                  </a:lnTo>
                  <a:lnTo>
                    <a:pt x="227" y="302"/>
                  </a:lnTo>
                  <a:lnTo>
                    <a:pt x="229" y="300"/>
                  </a:lnTo>
                  <a:lnTo>
                    <a:pt x="231" y="300"/>
                  </a:lnTo>
                  <a:lnTo>
                    <a:pt x="233" y="298"/>
                  </a:lnTo>
                  <a:lnTo>
                    <a:pt x="233" y="296"/>
                  </a:lnTo>
                  <a:lnTo>
                    <a:pt x="233" y="294"/>
                  </a:lnTo>
                  <a:lnTo>
                    <a:pt x="235" y="292"/>
                  </a:lnTo>
                  <a:lnTo>
                    <a:pt x="237" y="290"/>
                  </a:lnTo>
                  <a:lnTo>
                    <a:pt x="238" y="290"/>
                  </a:lnTo>
                  <a:lnTo>
                    <a:pt x="238" y="286"/>
                  </a:lnTo>
                  <a:lnTo>
                    <a:pt x="240" y="286"/>
                  </a:lnTo>
                  <a:lnTo>
                    <a:pt x="242" y="282"/>
                  </a:lnTo>
                  <a:lnTo>
                    <a:pt x="246" y="279"/>
                  </a:lnTo>
                  <a:lnTo>
                    <a:pt x="248" y="279"/>
                  </a:lnTo>
                  <a:lnTo>
                    <a:pt x="252" y="277"/>
                  </a:lnTo>
                  <a:lnTo>
                    <a:pt x="254" y="275"/>
                  </a:lnTo>
                  <a:lnTo>
                    <a:pt x="258" y="273"/>
                  </a:lnTo>
                  <a:lnTo>
                    <a:pt x="260" y="273"/>
                  </a:lnTo>
                  <a:lnTo>
                    <a:pt x="263" y="269"/>
                  </a:lnTo>
                  <a:lnTo>
                    <a:pt x="265" y="269"/>
                  </a:lnTo>
                  <a:lnTo>
                    <a:pt x="267" y="269"/>
                  </a:lnTo>
                  <a:lnTo>
                    <a:pt x="271" y="269"/>
                  </a:lnTo>
                  <a:lnTo>
                    <a:pt x="275" y="267"/>
                  </a:lnTo>
                  <a:lnTo>
                    <a:pt x="277" y="265"/>
                  </a:lnTo>
                  <a:lnTo>
                    <a:pt x="279" y="259"/>
                  </a:lnTo>
                  <a:lnTo>
                    <a:pt x="283" y="259"/>
                  </a:lnTo>
                  <a:lnTo>
                    <a:pt x="284" y="259"/>
                  </a:lnTo>
                  <a:lnTo>
                    <a:pt x="286" y="257"/>
                  </a:lnTo>
                  <a:lnTo>
                    <a:pt x="290" y="254"/>
                  </a:lnTo>
                  <a:lnTo>
                    <a:pt x="294" y="254"/>
                  </a:lnTo>
                  <a:lnTo>
                    <a:pt x="298" y="252"/>
                  </a:lnTo>
                  <a:lnTo>
                    <a:pt x="306" y="252"/>
                  </a:lnTo>
                  <a:lnTo>
                    <a:pt x="309" y="252"/>
                  </a:lnTo>
                  <a:lnTo>
                    <a:pt x="311" y="252"/>
                  </a:lnTo>
                  <a:lnTo>
                    <a:pt x="313" y="250"/>
                  </a:lnTo>
                  <a:lnTo>
                    <a:pt x="317" y="248"/>
                  </a:lnTo>
                  <a:lnTo>
                    <a:pt x="321" y="246"/>
                  </a:lnTo>
                  <a:lnTo>
                    <a:pt x="321" y="242"/>
                  </a:lnTo>
                  <a:lnTo>
                    <a:pt x="329" y="242"/>
                  </a:lnTo>
                  <a:lnTo>
                    <a:pt x="331" y="242"/>
                  </a:lnTo>
                  <a:lnTo>
                    <a:pt x="332" y="242"/>
                  </a:lnTo>
                  <a:lnTo>
                    <a:pt x="334" y="240"/>
                  </a:lnTo>
                  <a:lnTo>
                    <a:pt x="336" y="238"/>
                  </a:lnTo>
                  <a:lnTo>
                    <a:pt x="338" y="236"/>
                  </a:lnTo>
                  <a:lnTo>
                    <a:pt x="338" y="234"/>
                  </a:lnTo>
                  <a:lnTo>
                    <a:pt x="340" y="232"/>
                  </a:lnTo>
                  <a:lnTo>
                    <a:pt x="342" y="229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1"/>
                  </a:lnTo>
                  <a:lnTo>
                    <a:pt x="348" y="217"/>
                  </a:lnTo>
                  <a:lnTo>
                    <a:pt x="350" y="217"/>
                  </a:lnTo>
                  <a:lnTo>
                    <a:pt x="352" y="215"/>
                  </a:lnTo>
                  <a:lnTo>
                    <a:pt x="352" y="209"/>
                  </a:lnTo>
                  <a:lnTo>
                    <a:pt x="354" y="208"/>
                  </a:lnTo>
                  <a:lnTo>
                    <a:pt x="354" y="206"/>
                  </a:lnTo>
                  <a:lnTo>
                    <a:pt x="355" y="202"/>
                  </a:lnTo>
                  <a:lnTo>
                    <a:pt x="357" y="200"/>
                  </a:lnTo>
                  <a:lnTo>
                    <a:pt x="359" y="198"/>
                  </a:lnTo>
                  <a:lnTo>
                    <a:pt x="359" y="196"/>
                  </a:lnTo>
                  <a:lnTo>
                    <a:pt x="361" y="194"/>
                  </a:lnTo>
                  <a:lnTo>
                    <a:pt x="363" y="194"/>
                  </a:lnTo>
                  <a:lnTo>
                    <a:pt x="363" y="192"/>
                  </a:lnTo>
                  <a:lnTo>
                    <a:pt x="365" y="190"/>
                  </a:lnTo>
                  <a:lnTo>
                    <a:pt x="367" y="186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1"/>
                  </a:lnTo>
                  <a:lnTo>
                    <a:pt x="371" y="179"/>
                  </a:lnTo>
                  <a:lnTo>
                    <a:pt x="373" y="177"/>
                  </a:lnTo>
                  <a:lnTo>
                    <a:pt x="373" y="175"/>
                  </a:lnTo>
                  <a:lnTo>
                    <a:pt x="375" y="171"/>
                  </a:lnTo>
                  <a:lnTo>
                    <a:pt x="375" y="165"/>
                  </a:lnTo>
                  <a:lnTo>
                    <a:pt x="375" y="158"/>
                  </a:lnTo>
                  <a:lnTo>
                    <a:pt x="375" y="156"/>
                  </a:lnTo>
                  <a:lnTo>
                    <a:pt x="375" y="152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5" y="140"/>
                  </a:lnTo>
                  <a:lnTo>
                    <a:pt x="375" y="135"/>
                  </a:lnTo>
                  <a:lnTo>
                    <a:pt x="373" y="131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1" y="123"/>
                  </a:lnTo>
                  <a:lnTo>
                    <a:pt x="367" y="119"/>
                  </a:lnTo>
                  <a:lnTo>
                    <a:pt x="365" y="117"/>
                  </a:lnTo>
                  <a:lnTo>
                    <a:pt x="365" y="114"/>
                  </a:lnTo>
                  <a:lnTo>
                    <a:pt x="365" y="110"/>
                  </a:lnTo>
                  <a:lnTo>
                    <a:pt x="363" y="104"/>
                  </a:lnTo>
                  <a:lnTo>
                    <a:pt x="363" y="44"/>
                  </a:lnTo>
                  <a:lnTo>
                    <a:pt x="365" y="41"/>
                  </a:lnTo>
                  <a:lnTo>
                    <a:pt x="365" y="37"/>
                  </a:lnTo>
                  <a:lnTo>
                    <a:pt x="365" y="33"/>
                  </a:lnTo>
                  <a:lnTo>
                    <a:pt x="365" y="31"/>
                  </a:lnTo>
                  <a:lnTo>
                    <a:pt x="365" y="27"/>
                  </a:lnTo>
                  <a:lnTo>
                    <a:pt x="365" y="23"/>
                  </a:lnTo>
                  <a:lnTo>
                    <a:pt x="367" y="21"/>
                  </a:lnTo>
                  <a:lnTo>
                    <a:pt x="367" y="16"/>
                  </a:lnTo>
                  <a:lnTo>
                    <a:pt x="367" y="12"/>
                  </a:lnTo>
                  <a:lnTo>
                    <a:pt x="367" y="10"/>
                  </a:lnTo>
                  <a:lnTo>
                    <a:pt x="365" y="6"/>
                  </a:lnTo>
                  <a:lnTo>
                    <a:pt x="365" y="4"/>
                  </a:lnTo>
                  <a:lnTo>
                    <a:pt x="363" y="2"/>
                  </a:lnTo>
                  <a:lnTo>
                    <a:pt x="361" y="2"/>
                  </a:lnTo>
                  <a:lnTo>
                    <a:pt x="361" y="0"/>
                  </a:lnTo>
                  <a:lnTo>
                    <a:pt x="361" y="0"/>
                  </a:lnTo>
                  <a:lnTo>
                    <a:pt x="361" y="0"/>
                  </a:lnTo>
                  <a:lnTo>
                    <a:pt x="363" y="2"/>
                  </a:lnTo>
                  <a:lnTo>
                    <a:pt x="361" y="4"/>
                  </a:lnTo>
                  <a:lnTo>
                    <a:pt x="359" y="6"/>
                  </a:lnTo>
                  <a:lnTo>
                    <a:pt x="357" y="8"/>
                  </a:lnTo>
                  <a:lnTo>
                    <a:pt x="355" y="10"/>
                  </a:lnTo>
                  <a:lnTo>
                    <a:pt x="355" y="12"/>
                  </a:lnTo>
                  <a:lnTo>
                    <a:pt x="354" y="12"/>
                  </a:lnTo>
                  <a:lnTo>
                    <a:pt x="352" y="14"/>
                  </a:lnTo>
                  <a:lnTo>
                    <a:pt x="348" y="18"/>
                  </a:lnTo>
                  <a:lnTo>
                    <a:pt x="344" y="21"/>
                  </a:lnTo>
                  <a:lnTo>
                    <a:pt x="340" y="21"/>
                  </a:lnTo>
                  <a:lnTo>
                    <a:pt x="336" y="23"/>
                  </a:lnTo>
                  <a:lnTo>
                    <a:pt x="332" y="27"/>
                  </a:lnTo>
                  <a:lnTo>
                    <a:pt x="331" y="29"/>
                  </a:lnTo>
                  <a:lnTo>
                    <a:pt x="327" y="29"/>
                  </a:lnTo>
                  <a:lnTo>
                    <a:pt x="321" y="31"/>
                  </a:lnTo>
                  <a:lnTo>
                    <a:pt x="317" y="33"/>
                  </a:lnTo>
                  <a:lnTo>
                    <a:pt x="313" y="35"/>
                  </a:lnTo>
                  <a:lnTo>
                    <a:pt x="309" y="37"/>
                  </a:lnTo>
                  <a:lnTo>
                    <a:pt x="306" y="39"/>
                  </a:lnTo>
                  <a:lnTo>
                    <a:pt x="300" y="41"/>
                  </a:lnTo>
                  <a:lnTo>
                    <a:pt x="296" y="41"/>
                  </a:lnTo>
                  <a:lnTo>
                    <a:pt x="290" y="41"/>
                  </a:lnTo>
                  <a:lnTo>
                    <a:pt x="283" y="41"/>
                  </a:lnTo>
                  <a:lnTo>
                    <a:pt x="275" y="41"/>
                  </a:lnTo>
                  <a:lnTo>
                    <a:pt x="271" y="43"/>
                  </a:lnTo>
                  <a:lnTo>
                    <a:pt x="258" y="43"/>
                  </a:lnTo>
                  <a:lnTo>
                    <a:pt x="244" y="43"/>
                  </a:lnTo>
                  <a:lnTo>
                    <a:pt x="242" y="44"/>
                  </a:lnTo>
                  <a:lnTo>
                    <a:pt x="238" y="44"/>
                  </a:lnTo>
                  <a:lnTo>
                    <a:pt x="237" y="46"/>
                  </a:lnTo>
                  <a:lnTo>
                    <a:pt x="233" y="48"/>
                  </a:lnTo>
                  <a:lnTo>
                    <a:pt x="229" y="50"/>
                  </a:lnTo>
                  <a:lnTo>
                    <a:pt x="225" y="52"/>
                  </a:lnTo>
                  <a:lnTo>
                    <a:pt x="221" y="54"/>
                  </a:lnTo>
                  <a:lnTo>
                    <a:pt x="206" y="54"/>
                  </a:lnTo>
                  <a:lnTo>
                    <a:pt x="189" y="54"/>
                  </a:lnTo>
                  <a:lnTo>
                    <a:pt x="187" y="52"/>
                  </a:lnTo>
                  <a:lnTo>
                    <a:pt x="181" y="52"/>
                  </a:lnTo>
                  <a:lnTo>
                    <a:pt x="179" y="50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9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4" y="50"/>
                  </a:lnTo>
                  <a:lnTo>
                    <a:pt x="164" y="54"/>
                  </a:lnTo>
                  <a:lnTo>
                    <a:pt x="160" y="56"/>
                  </a:lnTo>
                  <a:lnTo>
                    <a:pt x="160" y="58"/>
                  </a:lnTo>
                  <a:lnTo>
                    <a:pt x="160" y="60"/>
                  </a:lnTo>
                  <a:lnTo>
                    <a:pt x="158" y="64"/>
                  </a:lnTo>
                  <a:lnTo>
                    <a:pt x="156" y="66"/>
                  </a:lnTo>
                  <a:lnTo>
                    <a:pt x="156" y="69"/>
                  </a:lnTo>
                  <a:lnTo>
                    <a:pt x="154" y="71"/>
                  </a:lnTo>
                  <a:lnTo>
                    <a:pt x="154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9"/>
                  </a:lnTo>
                  <a:lnTo>
                    <a:pt x="150" y="94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2" y="104"/>
                  </a:lnTo>
                  <a:lnTo>
                    <a:pt x="152" y="106"/>
                  </a:lnTo>
                  <a:lnTo>
                    <a:pt x="154" y="110"/>
                  </a:lnTo>
                  <a:lnTo>
                    <a:pt x="156" y="110"/>
                  </a:lnTo>
                  <a:lnTo>
                    <a:pt x="158" y="114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3"/>
                  </a:lnTo>
                  <a:lnTo>
                    <a:pt x="166" y="127"/>
                  </a:lnTo>
                  <a:lnTo>
                    <a:pt x="166" y="131"/>
                  </a:lnTo>
                  <a:lnTo>
                    <a:pt x="166" y="137"/>
                  </a:lnTo>
                  <a:lnTo>
                    <a:pt x="167" y="140"/>
                  </a:lnTo>
                  <a:lnTo>
                    <a:pt x="169" y="144"/>
                  </a:lnTo>
                  <a:lnTo>
                    <a:pt x="171" y="146"/>
                  </a:lnTo>
                  <a:lnTo>
                    <a:pt x="173" y="150"/>
                  </a:lnTo>
                  <a:lnTo>
                    <a:pt x="175" y="154"/>
                  </a:lnTo>
                  <a:lnTo>
                    <a:pt x="177" y="156"/>
                  </a:lnTo>
                  <a:lnTo>
                    <a:pt x="177" y="158"/>
                  </a:lnTo>
                  <a:lnTo>
                    <a:pt x="181" y="163"/>
                  </a:lnTo>
                  <a:lnTo>
                    <a:pt x="183" y="165"/>
                  </a:lnTo>
                  <a:lnTo>
                    <a:pt x="183" y="167"/>
                  </a:lnTo>
                  <a:lnTo>
                    <a:pt x="185" y="167"/>
                  </a:lnTo>
                  <a:lnTo>
                    <a:pt x="189" y="169"/>
                  </a:lnTo>
                  <a:lnTo>
                    <a:pt x="192" y="173"/>
                  </a:lnTo>
                  <a:lnTo>
                    <a:pt x="192" y="177"/>
                  </a:lnTo>
                  <a:lnTo>
                    <a:pt x="194" y="181"/>
                  </a:lnTo>
                  <a:lnTo>
                    <a:pt x="196" y="185"/>
                  </a:lnTo>
                  <a:lnTo>
                    <a:pt x="196" y="194"/>
                  </a:lnTo>
                  <a:lnTo>
                    <a:pt x="198" y="202"/>
                  </a:lnTo>
                  <a:lnTo>
                    <a:pt x="196" y="204"/>
                  </a:lnTo>
                  <a:lnTo>
                    <a:pt x="196" y="206"/>
                  </a:lnTo>
                  <a:lnTo>
                    <a:pt x="196" y="208"/>
                  </a:lnTo>
                  <a:lnTo>
                    <a:pt x="194" y="209"/>
                  </a:lnTo>
                  <a:lnTo>
                    <a:pt x="194" y="211"/>
                  </a:lnTo>
                  <a:lnTo>
                    <a:pt x="192" y="213"/>
                  </a:lnTo>
                  <a:lnTo>
                    <a:pt x="190" y="215"/>
                  </a:lnTo>
                  <a:lnTo>
                    <a:pt x="189" y="219"/>
                  </a:lnTo>
                  <a:lnTo>
                    <a:pt x="185" y="221"/>
                  </a:lnTo>
                  <a:lnTo>
                    <a:pt x="185" y="223"/>
                  </a:lnTo>
                  <a:lnTo>
                    <a:pt x="183" y="225"/>
                  </a:lnTo>
                  <a:lnTo>
                    <a:pt x="179" y="227"/>
                  </a:lnTo>
                  <a:lnTo>
                    <a:pt x="175" y="229"/>
                  </a:lnTo>
                  <a:lnTo>
                    <a:pt x="173" y="231"/>
                  </a:lnTo>
                  <a:lnTo>
                    <a:pt x="171" y="234"/>
                  </a:lnTo>
                  <a:lnTo>
                    <a:pt x="169" y="236"/>
                  </a:lnTo>
                  <a:lnTo>
                    <a:pt x="169" y="244"/>
                  </a:lnTo>
                  <a:lnTo>
                    <a:pt x="169" y="252"/>
                  </a:lnTo>
                  <a:lnTo>
                    <a:pt x="167" y="256"/>
                  </a:lnTo>
                  <a:lnTo>
                    <a:pt x="164" y="256"/>
                  </a:lnTo>
                  <a:lnTo>
                    <a:pt x="164" y="250"/>
                  </a:lnTo>
                  <a:lnTo>
                    <a:pt x="164" y="242"/>
                  </a:lnTo>
                  <a:lnTo>
                    <a:pt x="164" y="242"/>
                  </a:lnTo>
                  <a:lnTo>
                    <a:pt x="164" y="238"/>
                  </a:lnTo>
                  <a:lnTo>
                    <a:pt x="162" y="238"/>
                  </a:lnTo>
                  <a:lnTo>
                    <a:pt x="160" y="236"/>
                  </a:lnTo>
                  <a:lnTo>
                    <a:pt x="160" y="232"/>
                  </a:lnTo>
                  <a:lnTo>
                    <a:pt x="158" y="229"/>
                  </a:lnTo>
                  <a:lnTo>
                    <a:pt x="158" y="227"/>
                  </a:lnTo>
                  <a:lnTo>
                    <a:pt x="156" y="225"/>
                  </a:lnTo>
                  <a:lnTo>
                    <a:pt x="154" y="225"/>
                  </a:lnTo>
                  <a:lnTo>
                    <a:pt x="152" y="225"/>
                  </a:lnTo>
                  <a:lnTo>
                    <a:pt x="150" y="223"/>
                  </a:lnTo>
                  <a:lnTo>
                    <a:pt x="148" y="221"/>
                  </a:lnTo>
                  <a:lnTo>
                    <a:pt x="144" y="221"/>
                  </a:lnTo>
                  <a:lnTo>
                    <a:pt x="144" y="219"/>
                  </a:lnTo>
                  <a:lnTo>
                    <a:pt x="142" y="217"/>
                  </a:lnTo>
                  <a:lnTo>
                    <a:pt x="141" y="215"/>
                  </a:lnTo>
                  <a:lnTo>
                    <a:pt x="139" y="211"/>
                  </a:lnTo>
                  <a:lnTo>
                    <a:pt x="137" y="208"/>
                  </a:lnTo>
                  <a:lnTo>
                    <a:pt x="137" y="194"/>
                  </a:lnTo>
                  <a:lnTo>
                    <a:pt x="139" y="190"/>
                  </a:lnTo>
                  <a:lnTo>
                    <a:pt x="139" y="185"/>
                  </a:lnTo>
                  <a:lnTo>
                    <a:pt x="142" y="181"/>
                  </a:lnTo>
                  <a:lnTo>
                    <a:pt x="142" y="177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6" y="169"/>
                  </a:lnTo>
                  <a:lnTo>
                    <a:pt x="146" y="163"/>
                  </a:lnTo>
                  <a:lnTo>
                    <a:pt x="144" y="163"/>
                  </a:lnTo>
                  <a:lnTo>
                    <a:pt x="142" y="163"/>
                  </a:lnTo>
                  <a:lnTo>
                    <a:pt x="139" y="163"/>
                  </a:lnTo>
                  <a:lnTo>
                    <a:pt x="137" y="161"/>
                  </a:lnTo>
                  <a:lnTo>
                    <a:pt x="133" y="161"/>
                  </a:lnTo>
                  <a:lnTo>
                    <a:pt x="127" y="161"/>
                  </a:lnTo>
                  <a:lnTo>
                    <a:pt x="123" y="161"/>
                  </a:lnTo>
                  <a:lnTo>
                    <a:pt x="121" y="163"/>
                  </a:lnTo>
                  <a:lnTo>
                    <a:pt x="118" y="160"/>
                  </a:lnTo>
                  <a:lnTo>
                    <a:pt x="114" y="160"/>
                  </a:lnTo>
                  <a:lnTo>
                    <a:pt x="110" y="158"/>
                  </a:lnTo>
                  <a:lnTo>
                    <a:pt x="108" y="154"/>
                  </a:lnTo>
                  <a:lnTo>
                    <a:pt x="106" y="152"/>
                  </a:lnTo>
                  <a:lnTo>
                    <a:pt x="104" y="150"/>
                  </a:lnTo>
                  <a:lnTo>
                    <a:pt x="100" y="148"/>
                  </a:lnTo>
                  <a:lnTo>
                    <a:pt x="100" y="146"/>
                  </a:lnTo>
                  <a:lnTo>
                    <a:pt x="100" y="144"/>
                  </a:lnTo>
                  <a:lnTo>
                    <a:pt x="98" y="142"/>
                  </a:lnTo>
                  <a:lnTo>
                    <a:pt x="95" y="140"/>
                  </a:lnTo>
                  <a:lnTo>
                    <a:pt x="93" y="138"/>
                  </a:lnTo>
                  <a:lnTo>
                    <a:pt x="79" y="138"/>
                  </a:lnTo>
                  <a:lnTo>
                    <a:pt x="77" y="140"/>
                  </a:lnTo>
                  <a:lnTo>
                    <a:pt x="73" y="140"/>
                  </a:lnTo>
                  <a:lnTo>
                    <a:pt x="71" y="142"/>
                  </a:lnTo>
                  <a:lnTo>
                    <a:pt x="70" y="142"/>
                  </a:lnTo>
                  <a:lnTo>
                    <a:pt x="66" y="144"/>
                  </a:lnTo>
                  <a:lnTo>
                    <a:pt x="64" y="146"/>
                  </a:lnTo>
                  <a:lnTo>
                    <a:pt x="62" y="146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0" y="150"/>
                  </a:lnTo>
                  <a:lnTo>
                    <a:pt x="45" y="150"/>
                  </a:lnTo>
                  <a:lnTo>
                    <a:pt x="37" y="150"/>
                  </a:lnTo>
                  <a:lnTo>
                    <a:pt x="35" y="150"/>
                  </a:lnTo>
                  <a:lnTo>
                    <a:pt x="31" y="152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4" y="158"/>
                  </a:lnTo>
                  <a:lnTo>
                    <a:pt x="22" y="160"/>
                  </a:lnTo>
                  <a:lnTo>
                    <a:pt x="20" y="161"/>
                  </a:lnTo>
                  <a:lnTo>
                    <a:pt x="18" y="163"/>
                  </a:lnTo>
                  <a:lnTo>
                    <a:pt x="14" y="163"/>
                  </a:lnTo>
                  <a:lnTo>
                    <a:pt x="12" y="165"/>
                  </a:lnTo>
                  <a:lnTo>
                    <a:pt x="12" y="167"/>
                  </a:lnTo>
                  <a:lnTo>
                    <a:pt x="12" y="169"/>
                  </a:lnTo>
                  <a:lnTo>
                    <a:pt x="10" y="169"/>
                  </a:lnTo>
                  <a:lnTo>
                    <a:pt x="8" y="171"/>
                  </a:lnTo>
                  <a:lnTo>
                    <a:pt x="4" y="173"/>
                  </a:lnTo>
                  <a:lnTo>
                    <a:pt x="4" y="175"/>
                  </a:lnTo>
                  <a:lnTo>
                    <a:pt x="2" y="179"/>
                  </a:lnTo>
                  <a:lnTo>
                    <a:pt x="0" y="183"/>
                  </a:lnTo>
                  <a:lnTo>
                    <a:pt x="0" y="194"/>
                  </a:lnTo>
                  <a:lnTo>
                    <a:pt x="2" y="206"/>
                  </a:lnTo>
                  <a:lnTo>
                    <a:pt x="2" y="211"/>
                  </a:lnTo>
                  <a:lnTo>
                    <a:pt x="6" y="211"/>
                  </a:lnTo>
                  <a:lnTo>
                    <a:pt x="10" y="211"/>
                  </a:lnTo>
                  <a:lnTo>
                    <a:pt x="12" y="211"/>
                  </a:lnTo>
                  <a:lnTo>
                    <a:pt x="14" y="213"/>
                  </a:lnTo>
                  <a:lnTo>
                    <a:pt x="20" y="215"/>
                  </a:lnTo>
                  <a:lnTo>
                    <a:pt x="22" y="215"/>
                  </a:lnTo>
                  <a:lnTo>
                    <a:pt x="24" y="215"/>
                  </a:lnTo>
                  <a:lnTo>
                    <a:pt x="25" y="217"/>
                  </a:lnTo>
                  <a:lnTo>
                    <a:pt x="29" y="219"/>
                  </a:lnTo>
                  <a:lnTo>
                    <a:pt x="31" y="221"/>
                  </a:lnTo>
                  <a:lnTo>
                    <a:pt x="33" y="223"/>
                  </a:lnTo>
                  <a:lnTo>
                    <a:pt x="37" y="225"/>
                  </a:lnTo>
                  <a:lnTo>
                    <a:pt x="39" y="225"/>
                  </a:lnTo>
                  <a:lnTo>
                    <a:pt x="43" y="225"/>
                  </a:lnTo>
                  <a:lnTo>
                    <a:pt x="48" y="225"/>
                  </a:lnTo>
                  <a:lnTo>
                    <a:pt x="52" y="225"/>
                  </a:lnTo>
                  <a:lnTo>
                    <a:pt x="56" y="227"/>
                  </a:lnTo>
                  <a:lnTo>
                    <a:pt x="58" y="227"/>
                  </a:lnTo>
                  <a:lnTo>
                    <a:pt x="62" y="229"/>
                  </a:lnTo>
                  <a:lnTo>
                    <a:pt x="64" y="229"/>
                  </a:lnTo>
                  <a:lnTo>
                    <a:pt x="66" y="231"/>
                  </a:lnTo>
                  <a:lnTo>
                    <a:pt x="70" y="231"/>
                  </a:lnTo>
                  <a:lnTo>
                    <a:pt x="71" y="231"/>
                  </a:lnTo>
                  <a:lnTo>
                    <a:pt x="75" y="232"/>
                  </a:lnTo>
                  <a:lnTo>
                    <a:pt x="77" y="234"/>
                  </a:lnTo>
                  <a:lnTo>
                    <a:pt x="79" y="236"/>
                  </a:lnTo>
                  <a:lnTo>
                    <a:pt x="81" y="238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7" y="242"/>
                  </a:lnTo>
                  <a:lnTo>
                    <a:pt x="89" y="242"/>
                  </a:lnTo>
                  <a:lnTo>
                    <a:pt x="89" y="244"/>
                  </a:lnTo>
                  <a:lnTo>
                    <a:pt x="91" y="246"/>
                  </a:lnTo>
                  <a:lnTo>
                    <a:pt x="93" y="248"/>
                  </a:lnTo>
                  <a:lnTo>
                    <a:pt x="95" y="248"/>
                  </a:lnTo>
                  <a:lnTo>
                    <a:pt x="96" y="250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100" y="256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0" y="265"/>
                  </a:lnTo>
                  <a:lnTo>
                    <a:pt x="100" y="275"/>
                  </a:lnTo>
                  <a:lnTo>
                    <a:pt x="100" y="286"/>
                  </a:lnTo>
                  <a:lnTo>
                    <a:pt x="102" y="286"/>
                  </a:lnTo>
                  <a:lnTo>
                    <a:pt x="102" y="290"/>
                  </a:lnTo>
                  <a:lnTo>
                    <a:pt x="102" y="294"/>
                  </a:lnTo>
                  <a:lnTo>
                    <a:pt x="100" y="296"/>
                  </a:lnTo>
                  <a:lnTo>
                    <a:pt x="100" y="300"/>
                  </a:lnTo>
                  <a:lnTo>
                    <a:pt x="100" y="302"/>
                  </a:lnTo>
                  <a:lnTo>
                    <a:pt x="100" y="305"/>
                  </a:lnTo>
                  <a:lnTo>
                    <a:pt x="98" y="307"/>
                  </a:lnTo>
                  <a:lnTo>
                    <a:pt x="98" y="311"/>
                  </a:lnTo>
                  <a:lnTo>
                    <a:pt x="96" y="311"/>
                  </a:lnTo>
                  <a:lnTo>
                    <a:pt x="96" y="313"/>
                  </a:lnTo>
                  <a:lnTo>
                    <a:pt x="93" y="319"/>
                  </a:lnTo>
                  <a:lnTo>
                    <a:pt x="93" y="321"/>
                  </a:lnTo>
                  <a:lnTo>
                    <a:pt x="93" y="323"/>
                  </a:lnTo>
                  <a:lnTo>
                    <a:pt x="91" y="325"/>
                  </a:lnTo>
                  <a:lnTo>
                    <a:pt x="89" y="325"/>
                  </a:lnTo>
                  <a:lnTo>
                    <a:pt x="89" y="328"/>
                  </a:lnTo>
                  <a:lnTo>
                    <a:pt x="87" y="330"/>
                  </a:lnTo>
                  <a:lnTo>
                    <a:pt x="83" y="332"/>
                  </a:lnTo>
                  <a:lnTo>
                    <a:pt x="83" y="338"/>
                  </a:lnTo>
                  <a:lnTo>
                    <a:pt x="83" y="340"/>
                  </a:lnTo>
                  <a:lnTo>
                    <a:pt x="83" y="342"/>
                  </a:lnTo>
                  <a:lnTo>
                    <a:pt x="85" y="348"/>
                  </a:lnTo>
                  <a:lnTo>
                    <a:pt x="85" y="350"/>
                  </a:lnTo>
                  <a:lnTo>
                    <a:pt x="85" y="351"/>
                  </a:lnTo>
                  <a:lnTo>
                    <a:pt x="87" y="353"/>
                  </a:lnTo>
                  <a:lnTo>
                    <a:pt x="89" y="355"/>
                  </a:lnTo>
                  <a:lnTo>
                    <a:pt x="87" y="357"/>
                  </a:lnTo>
                  <a:lnTo>
                    <a:pt x="85" y="359"/>
                  </a:lnTo>
                  <a:lnTo>
                    <a:pt x="85" y="365"/>
                  </a:lnTo>
                  <a:lnTo>
                    <a:pt x="85" y="367"/>
                  </a:lnTo>
                  <a:lnTo>
                    <a:pt x="83" y="369"/>
                  </a:lnTo>
                  <a:lnTo>
                    <a:pt x="81" y="374"/>
                  </a:lnTo>
                  <a:lnTo>
                    <a:pt x="81" y="382"/>
                  </a:lnTo>
                  <a:lnTo>
                    <a:pt x="81" y="390"/>
                  </a:lnTo>
                  <a:lnTo>
                    <a:pt x="79" y="392"/>
                  </a:lnTo>
                  <a:lnTo>
                    <a:pt x="77" y="392"/>
                  </a:lnTo>
                  <a:lnTo>
                    <a:pt x="75" y="396"/>
                  </a:lnTo>
                  <a:lnTo>
                    <a:pt x="75" y="399"/>
                  </a:lnTo>
                  <a:lnTo>
                    <a:pt x="75" y="399"/>
                  </a:lnTo>
                  <a:lnTo>
                    <a:pt x="75" y="401"/>
                  </a:lnTo>
                  <a:lnTo>
                    <a:pt x="73" y="403"/>
                  </a:lnTo>
                  <a:lnTo>
                    <a:pt x="70" y="407"/>
                  </a:lnTo>
                  <a:lnTo>
                    <a:pt x="68" y="409"/>
                  </a:lnTo>
                  <a:lnTo>
                    <a:pt x="66" y="409"/>
                  </a:lnTo>
                  <a:lnTo>
                    <a:pt x="64" y="411"/>
                  </a:lnTo>
                  <a:lnTo>
                    <a:pt x="62" y="413"/>
                  </a:lnTo>
                  <a:lnTo>
                    <a:pt x="62" y="417"/>
                  </a:lnTo>
                  <a:lnTo>
                    <a:pt x="62" y="419"/>
                  </a:lnTo>
                  <a:lnTo>
                    <a:pt x="60" y="421"/>
                  </a:lnTo>
                  <a:lnTo>
                    <a:pt x="58" y="424"/>
                  </a:lnTo>
                  <a:lnTo>
                    <a:pt x="56" y="424"/>
                  </a:lnTo>
                  <a:lnTo>
                    <a:pt x="54" y="426"/>
                  </a:lnTo>
                  <a:lnTo>
                    <a:pt x="52" y="428"/>
                  </a:lnTo>
                  <a:lnTo>
                    <a:pt x="50" y="430"/>
                  </a:lnTo>
                  <a:lnTo>
                    <a:pt x="48" y="432"/>
                  </a:lnTo>
                  <a:lnTo>
                    <a:pt x="45" y="434"/>
                  </a:lnTo>
                  <a:lnTo>
                    <a:pt x="41" y="436"/>
                  </a:lnTo>
                  <a:lnTo>
                    <a:pt x="39" y="436"/>
                  </a:lnTo>
                  <a:lnTo>
                    <a:pt x="37" y="436"/>
                  </a:lnTo>
                  <a:lnTo>
                    <a:pt x="35" y="436"/>
                  </a:lnTo>
                  <a:lnTo>
                    <a:pt x="33" y="438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5" y="442"/>
                  </a:lnTo>
                  <a:lnTo>
                    <a:pt x="24" y="442"/>
                  </a:lnTo>
                  <a:lnTo>
                    <a:pt x="24" y="445"/>
                  </a:lnTo>
                  <a:lnTo>
                    <a:pt x="22" y="447"/>
                  </a:lnTo>
                  <a:lnTo>
                    <a:pt x="22" y="457"/>
                  </a:lnTo>
                  <a:lnTo>
                    <a:pt x="22" y="465"/>
                  </a:lnTo>
                  <a:lnTo>
                    <a:pt x="24" y="467"/>
                  </a:lnTo>
                  <a:lnTo>
                    <a:pt x="24" y="470"/>
                  </a:lnTo>
                  <a:lnTo>
                    <a:pt x="24" y="472"/>
                  </a:lnTo>
                  <a:lnTo>
                    <a:pt x="25" y="476"/>
                  </a:lnTo>
                  <a:lnTo>
                    <a:pt x="25" y="478"/>
                  </a:lnTo>
                  <a:lnTo>
                    <a:pt x="25" y="480"/>
                  </a:lnTo>
                  <a:lnTo>
                    <a:pt x="27" y="484"/>
                  </a:lnTo>
                  <a:lnTo>
                    <a:pt x="29" y="486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95"/>
                  </a:lnTo>
                  <a:lnTo>
                    <a:pt x="35" y="497"/>
                  </a:lnTo>
                  <a:lnTo>
                    <a:pt x="33" y="499"/>
                  </a:lnTo>
                  <a:lnTo>
                    <a:pt x="33" y="505"/>
                  </a:lnTo>
                  <a:lnTo>
                    <a:pt x="33" y="511"/>
                  </a:lnTo>
                  <a:lnTo>
                    <a:pt x="35" y="513"/>
                  </a:lnTo>
                  <a:lnTo>
                    <a:pt x="39" y="516"/>
                  </a:lnTo>
                  <a:lnTo>
                    <a:pt x="39" y="518"/>
                  </a:lnTo>
                  <a:lnTo>
                    <a:pt x="41" y="520"/>
                  </a:lnTo>
                  <a:lnTo>
                    <a:pt x="43" y="522"/>
                  </a:lnTo>
                  <a:lnTo>
                    <a:pt x="48" y="522"/>
                  </a:lnTo>
                  <a:lnTo>
                    <a:pt x="48" y="524"/>
                  </a:lnTo>
                  <a:lnTo>
                    <a:pt x="50" y="528"/>
                  </a:lnTo>
                  <a:lnTo>
                    <a:pt x="50" y="538"/>
                  </a:lnTo>
                  <a:lnTo>
                    <a:pt x="50" y="545"/>
                  </a:lnTo>
                  <a:lnTo>
                    <a:pt x="48" y="549"/>
                  </a:lnTo>
                  <a:lnTo>
                    <a:pt x="48" y="551"/>
                  </a:lnTo>
                  <a:lnTo>
                    <a:pt x="48" y="555"/>
                  </a:lnTo>
                  <a:lnTo>
                    <a:pt x="48" y="559"/>
                  </a:lnTo>
                  <a:lnTo>
                    <a:pt x="48" y="561"/>
                  </a:lnTo>
                  <a:lnTo>
                    <a:pt x="47" y="564"/>
                  </a:lnTo>
                  <a:lnTo>
                    <a:pt x="47" y="568"/>
                  </a:lnTo>
                  <a:lnTo>
                    <a:pt x="45" y="570"/>
                  </a:lnTo>
                  <a:lnTo>
                    <a:pt x="41" y="572"/>
                  </a:lnTo>
                  <a:lnTo>
                    <a:pt x="41" y="576"/>
                  </a:lnTo>
                  <a:lnTo>
                    <a:pt x="39" y="578"/>
                  </a:lnTo>
                  <a:lnTo>
                    <a:pt x="39" y="584"/>
                  </a:lnTo>
                  <a:lnTo>
                    <a:pt x="39" y="586"/>
                  </a:lnTo>
                  <a:lnTo>
                    <a:pt x="39" y="587"/>
                  </a:lnTo>
                  <a:lnTo>
                    <a:pt x="41" y="589"/>
                  </a:lnTo>
                  <a:lnTo>
                    <a:pt x="45" y="593"/>
                  </a:lnTo>
                  <a:lnTo>
                    <a:pt x="47" y="595"/>
                  </a:lnTo>
                  <a:lnTo>
                    <a:pt x="47" y="599"/>
                  </a:lnTo>
                  <a:lnTo>
                    <a:pt x="48" y="603"/>
                  </a:lnTo>
                  <a:lnTo>
                    <a:pt x="48" y="605"/>
                  </a:lnTo>
                  <a:lnTo>
                    <a:pt x="48" y="609"/>
                  </a:lnTo>
                  <a:lnTo>
                    <a:pt x="48" y="624"/>
                  </a:lnTo>
                  <a:lnTo>
                    <a:pt x="48" y="639"/>
                  </a:lnTo>
                  <a:lnTo>
                    <a:pt x="52" y="641"/>
                  </a:lnTo>
                </a:path>
              </a:pathLst>
            </a:custGeom>
            <a:no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0" name="Freeform 17"/>
            <p:cNvSpPr>
              <a:spLocks/>
            </p:cNvSpPr>
            <p:nvPr/>
          </p:nvSpPr>
          <p:spPr bwMode="auto">
            <a:xfrm>
              <a:off x="2369" y="2674"/>
              <a:ext cx="109" cy="287"/>
            </a:xfrm>
            <a:custGeom>
              <a:avLst/>
              <a:gdLst/>
              <a:ahLst/>
              <a:cxnLst>
                <a:cxn ang="0">
                  <a:pos x="82" y="270"/>
                </a:cxn>
                <a:cxn ang="0">
                  <a:pos x="82" y="259"/>
                </a:cxn>
                <a:cxn ang="0">
                  <a:pos x="92" y="253"/>
                </a:cxn>
                <a:cxn ang="0">
                  <a:pos x="100" y="243"/>
                </a:cxn>
                <a:cxn ang="0">
                  <a:pos x="105" y="232"/>
                </a:cxn>
                <a:cxn ang="0">
                  <a:pos x="109" y="222"/>
                </a:cxn>
                <a:cxn ang="0">
                  <a:pos x="105" y="213"/>
                </a:cxn>
                <a:cxn ang="0">
                  <a:pos x="100" y="201"/>
                </a:cxn>
                <a:cxn ang="0">
                  <a:pos x="98" y="191"/>
                </a:cxn>
                <a:cxn ang="0">
                  <a:pos x="92" y="186"/>
                </a:cxn>
                <a:cxn ang="0">
                  <a:pos x="86" y="178"/>
                </a:cxn>
                <a:cxn ang="0">
                  <a:pos x="80" y="168"/>
                </a:cxn>
                <a:cxn ang="0">
                  <a:pos x="78" y="157"/>
                </a:cxn>
                <a:cxn ang="0">
                  <a:pos x="77" y="149"/>
                </a:cxn>
                <a:cxn ang="0">
                  <a:pos x="71" y="142"/>
                </a:cxn>
                <a:cxn ang="0">
                  <a:pos x="67" y="132"/>
                </a:cxn>
                <a:cxn ang="0">
                  <a:pos x="61" y="124"/>
                </a:cxn>
                <a:cxn ang="0">
                  <a:pos x="65" y="94"/>
                </a:cxn>
                <a:cxn ang="0">
                  <a:pos x="69" y="84"/>
                </a:cxn>
                <a:cxn ang="0">
                  <a:pos x="75" y="76"/>
                </a:cxn>
                <a:cxn ang="0">
                  <a:pos x="75" y="69"/>
                </a:cxn>
                <a:cxn ang="0">
                  <a:pos x="73" y="59"/>
                </a:cxn>
                <a:cxn ang="0">
                  <a:pos x="71" y="46"/>
                </a:cxn>
                <a:cxn ang="0">
                  <a:pos x="73" y="28"/>
                </a:cxn>
                <a:cxn ang="0">
                  <a:pos x="65" y="17"/>
                </a:cxn>
                <a:cxn ang="0">
                  <a:pos x="61" y="9"/>
                </a:cxn>
                <a:cxn ang="0">
                  <a:pos x="55" y="1"/>
                </a:cxn>
                <a:cxn ang="0">
                  <a:pos x="13" y="13"/>
                </a:cxn>
                <a:cxn ang="0">
                  <a:pos x="19" y="19"/>
                </a:cxn>
                <a:cxn ang="0">
                  <a:pos x="21" y="32"/>
                </a:cxn>
                <a:cxn ang="0">
                  <a:pos x="30" y="44"/>
                </a:cxn>
                <a:cxn ang="0">
                  <a:pos x="30" y="69"/>
                </a:cxn>
                <a:cxn ang="0">
                  <a:pos x="25" y="80"/>
                </a:cxn>
                <a:cxn ang="0">
                  <a:pos x="15" y="86"/>
                </a:cxn>
                <a:cxn ang="0">
                  <a:pos x="13" y="101"/>
                </a:cxn>
                <a:cxn ang="0">
                  <a:pos x="11" y="138"/>
                </a:cxn>
                <a:cxn ang="0">
                  <a:pos x="4" y="161"/>
                </a:cxn>
                <a:cxn ang="0">
                  <a:pos x="0" y="165"/>
                </a:cxn>
                <a:cxn ang="0">
                  <a:pos x="13" y="170"/>
                </a:cxn>
                <a:cxn ang="0">
                  <a:pos x="17" y="180"/>
                </a:cxn>
                <a:cxn ang="0">
                  <a:pos x="23" y="188"/>
                </a:cxn>
                <a:cxn ang="0">
                  <a:pos x="55" y="189"/>
                </a:cxn>
                <a:cxn ang="0">
                  <a:pos x="57" y="197"/>
                </a:cxn>
                <a:cxn ang="0">
                  <a:pos x="55" y="205"/>
                </a:cxn>
                <a:cxn ang="0">
                  <a:pos x="50" y="213"/>
                </a:cxn>
                <a:cxn ang="0">
                  <a:pos x="48" y="232"/>
                </a:cxn>
                <a:cxn ang="0">
                  <a:pos x="52" y="241"/>
                </a:cxn>
                <a:cxn ang="0">
                  <a:pos x="55" y="251"/>
                </a:cxn>
                <a:cxn ang="0">
                  <a:pos x="67" y="255"/>
                </a:cxn>
                <a:cxn ang="0">
                  <a:pos x="73" y="264"/>
                </a:cxn>
                <a:cxn ang="0">
                  <a:pos x="75" y="276"/>
                </a:cxn>
                <a:cxn ang="0">
                  <a:pos x="78" y="285"/>
                </a:cxn>
              </a:cxnLst>
              <a:rect l="0" t="0" r="r" b="b"/>
              <a:pathLst>
                <a:path w="109" h="287">
                  <a:moveTo>
                    <a:pt x="78" y="287"/>
                  </a:moveTo>
                  <a:lnTo>
                    <a:pt x="82" y="284"/>
                  </a:lnTo>
                  <a:lnTo>
                    <a:pt x="82" y="280"/>
                  </a:lnTo>
                  <a:lnTo>
                    <a:pt x="82" y="270"/>
                  </a:lnTo>
                  <a:lnTo>
                    <a:pt x="82" y="268"/>
                  </a:lnTo>
                  <a:lnTo>
                    <a:pt x="82" y="264"/>
                  </a:lnTo>
                  <a:lnTo>
                    <a:pt x="82" y="260"/>
                  </a:lnTo>
                  <a:lnTo>
                    <a:pt x="82" y="259"/>
                  </a:lnTo>
                  <a:lnTo>
                    <a:pt x="84" y="259"/>
                  </a:lnTo>
                  <a:lnTo>
                    <a:pt x="86" y="255"/>
                  </a:lnTo>
                  <a:lnTo>
                    <a:pt x="88" y="255"/>
                  </a:lnTo>
                  <a:lnTo>
                    <a:pt x="92" y="253"/>
                  </a:lnTo>
                  <a:lnTo>
                    <a:pt x="94" y="251"/>
                  </a:lnTo>
                  <a:lnTo>
                    <a:pt x="96" y="251"/>
                  </a:lnTo>
                  <a:lnTo>
                    <a:pt x="100" y="245"/>
                  </a:lnTo>
                  <a:lnTo>
                    <a:pt x="100" y="243"/>
                  </a:lnTo>
                  <a:lnTo>
                    <a:pt x="101" y="239"/>
                  </a:lnTo>
                  <a:lnTo>
                    <a:pt x="103" y="236"/>
                  </a:lnTo>
                  <a:lnTo>
                    <a:pt x="105" y="234"/>
                  </a:lnTo>
                  <a:lnTo>
                    <a:pt x="105" y="232"/>
                  </a:lnTo>
                  <a:lnTo>
                    <a:pt x="107" y="230"/>
                  </a:lnTo>
                  <a:lnTo>
                    <a:pt x="109" y="228"/>
                  </a:lnTo>
                  <a:lnTo>
                    <a:pt x="109" y="226"/>
                  </a:lnTo>
                  <a:lnTo>
                    <a:pt x="109" y="222"/>
                  </a:lnTo>
                  <a:lnTo>
                    <a:pt x="109" y="218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05" y="213"/>
                  </a:lnTo>
                  <a:lnTo>
                    <a:pt x="105" y="211"/>
                  </a:lnTo>
                  <a:lnTo>
                    <a:pt x="103" y="209"/>
                  </a:lnTo>
                  <a:lnTo>
                    <a:pt x="100" y="207"/>
                  </a:lnTo>
                  <a:lnTo>
                    <a:pt x="100" y="201"/>
                  </a:lnTo>
                  <a:lnTo>
                    <a:pt x="100" y="199"/>
                  </a:lnTo>
                  <a:lnTo>
                    <a:pt x="100" y="197"/>
                  </a:lnTo>
                  <a:lnTo>
                    <a:pt x="98" y="195"/>
                  </a:lnTo>
                  <a:lnTo>
                    <a:pt x="98" y="191"/>
                  </a:lnTo>
                  <a:lnTo>
                    <a:pt x="96" y="189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2" y="186"/>
                  </a:lnTo>
                  <a:lnTo>
                    <a:pt x="92" y="182"/>
                  </a:lnTo>
                  <a:lnTo>
                    <a:pt x="90" y="182"/>
                  </a:lnTo>
                  <a:lnTo>
                    <a:pt x="88" y="178"/>
                  </a:lnTo>
                  <a:lnTo>
                    <a:pt x="86" y="178"/>
                  </a:lnTo>
                  <a:lnTo>
                    <a:pt x="82" y="176"/>
                  </a:lnTo>
                  <a:lnTo>
                    <a:pt x="82" y="174"/>
                  </a:lnTo>
                  <a:lnTo>
                    <a:pt x="80" y="172"/>
                  </a:lnTo>
                  <a:lnTo>
                    <a:pt x="80" y="168"/>
                  </a:lnTo>
                  <a:lnTo>
                    <a:pt x="80" y="166"/>
                  </a:lnTo>
                  <a:lnTo>
                    <a:pt x="78" y="163"/>
                  </a:lnTo>
                  <a:lnTo>
                    <a:pt x="78" y="161"/>
                  </a:lnTo>
                  <a:lnTo>
                    <a:pt x="78" y="157"/>
                  </a:lnTo>
                  <a:lnTo>
                    <a:pt x="77" y="157"/>
                  </a:lnTo>
                  <a:lnTo>
                    <a:pt x="77" y="153"/>
                  </a:lnTo>
                  <a:lnTo>
                    <a:pt x="77" y="151"/>
                  </a:lnTo>
                  <a:lnTo>
                    <a:pt x="77" y="149"/>
                  </a:lnTo>
                  <a:lnTo>
                    <a:pt x="75" y="145"/>
                  </a:lnTo>
                  <a:lnTo>
                    <a:pt x="75" y="143"/>
                  </a:lnTo>
                  <a:lnTo>
                    <a:pt x="73" y="143"/>
                  </a:lnTo>
                  <a:lnTo>
                    <a:pt x="71" y="142"/>
                  </a:lnTo>
                  <a:lnTo>
                    <a:pt x="71" y="138"/>
                  </a:lnTo>
                  <a:lnTo>
                    <a:pt x="69" y="138"/>
                  </a:lnTo>
                  <a:lnTo>
                    <a:pt x="67" y="136"/>
                  </a:lnTo>
                  <a:lnTo>
                    <a:pt x="67" y="132"/>
                  </a:lnTo>
                  <a:lnTo>
                    <a:pt x="65" y="132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4"/>
                  </a:lnTo>
                  <a:lnTo>
                    <a:pt x="61" y="113"/>
                  </a:lnTo>
                  <a:lnTo>
                    <a:pt x="61" y="99"/>
                  </a:lnTo>
                  <a:lnTo>
                    <a:pt x="63" y="95"/>
                  </a:lnTo>
                  <a:lnTo>
                    <a:pt x="65" y="94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6"/>
                  </a:lnTo>
                  <a:lnTo>
                    <a:pt x="69" y="84"/>
                  </a:lnTo>
                  <a:lnTo>
                    <a:pt x="69" y="82"/>
                  </a:lnTo>
                  <a:lnTo>
                    <a:pt x="71" y="80"/>
                  </a:lnTo>
                  <a:lnTo>
                    <a:pt x="75" y="78"/>
                  </a:lnTo>
                  <a:lnTo>
                    <a:pt x="75" y="76"/>
                  </a:lnTo>
                  <a:lnTo>
                    <a:pt x="77" y="76"/>
                  </a:lnTo>
                  <a:lnTo>
                    <a:pt x="77" y="72"/>
                  </a:lnTo>
                  <a:lnTo>
                    <a:pt x="75" y="71"/>
                  </a:lnTo>
                  <a:lnTo>
                    <a:pt x="75" y="69"/>
                  </a:lnTo>
                  <a:lnTo>
                    <a:pt x="75" y="67"/>
                  </a:lnTo>
                  <a:lnTo>
                    <a:pt x="75" y="63"/>
                  </a:lnTo>
                  <a:lnTo>
                    <a:pt x="75" y="61"/>
                  </a:lnTo>
                  <a:lnTo>
                    <a:pt x="73" y="59"/>
                  </a:lnTo>
                  <a:lnTo>
                    <a:pt x="73" y="55"/>
                  </a:lnTo>
                  <a:lnTo>
                    <a:pt x="73" y="51"/>
                  </a:lnTo>
                  <a:lnTo>
                    <a:pt x="71" y="49"/>
                  </a:lnTo>
                  <a:lnTo>
                    <a:pt x="71" y="46"/>
                  </a:lnTo>
                  <a:lnTo>
                    <a:pt x="71" y="40"/>
                  </a:lnTo>
                  <a:lnTo>
                    <a:pt x="73" y="38"/>
                  </a:lnTo>
                  <a:lnTo>
                    <a:pt x="73" y="32"/>
                  </a:lnTo>
                  <a:lnTo>
                    <a:pt x="73" y="28"/>
                  </a:lnTo>
                  <a:lnTo>
                    <a:pt x="71" y="24"/>
                  </a:lnTo>
                  <a:lnTo>
                    <a:pt x="69" y="21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3" y="13"/>
                  </a:lnTo>
                  <a:lnTo>
                    <a:pt x="61" y="13"/>
                  </a:lnTo>
                  <a:lnTo>
                    <a:pt x="61" y="9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5" y="3"/>
                  </a:lnTo>
                  <a:lnTo>
                    <a:pt x="55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13" y="0"/>
                  </a:lnTo>
                  <a:lnTo>
                    <a:pt x="13" y="13"/>
                  </a:lnTo>
                  <a:lnTo>
                    <a:pt x="15" y="13"/>
                  </a:lnTo>
                  <a:lnTo>
                    <a:pt x="15" y="15"/>
                  </a:lnTo>
                  <a:lnTo>
                    <a:pt x="17" y="17"/>
                  </a:lnTo>
                  <a:lnTo>
                    <a:pt x="19" y="19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8"/>
                  </a:lnTo>
                  <a:lnTo>
                    <a:pt x="21" y="32"/>
                  </a:lnTo>
                  <a:lnTo>
                    <a:pt x="23" y="34"/>
                  </a:lnTo>
                  <a:lnTo>
                    <a:pt x="23" y="38"/>
                  </a:lnTo>
                  <a:lnTo>
                    <a:pt x="27" y="42"/>
                  </a:lnTo>
                  <a:lnTo>
                    <a:pt x="30" y="44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9"/>
                  </a:lnTo>
                  <a:lnTo>
                    <a:pt x="29" y="71"/>
                  </a:lnTo>
                  <a:lnTo>
                    <a:pt x="29" y="74"/>
                  </a:lnTo>
                  <a:lnTo>
                    <a:pt x="27" y="78"/>
                  </a:lnTo>
                  <a:lnTo>
                    <a:pt x="25" y="80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1" y="90"/>
                  </a:lnTo>
                  <a:lnTo>
                    <a:pt x="11" y="94"/>
                  </a:lnTo>
                  <a:lnTo>
                    <a:pt x="11" y="97"/>
                  </a:lnTo>
                  <a:lnTo>
                    <a:pt x="13" y="101"/>
                  </a:lnTo>
                  <a:lnTo>
                    <a:pt x="13" y="111"/>
                  </a:lnTo>
                  <a:lnTo>
                    <a:pt x="13" y="120"/>
                  </a:lnTo>
                  <a:lnTo>
                    <a:pt x="11" y="120"/>
                  </a:lnTo>
                  <a:lnTo>
                    <a:pt x="11" y="138"/>
                  </a:lnTo>
                  <a:lnTo>
                    <a:pt x="11" y="153"/>
                  </a:lnTo>
                  <a:lnTo>
                    <a:pt x="11" y="157"/>
                  </a:lnTo>
                  <a:lnTo>
                    <a:pt x="7" y="159"/>
                  </a:lnTo>
                  <a:lnTo>
                    <a:pt x="4" y="161"/>
                  </a:lnTo>
                  <a:lnTo>
                    <a:pt x="4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7" y="165"/>
                  </a:lnTo>
                  <a:lnTo>
                    <a:pt x="9" y="166"/>
                  </a:lnTo>
                  <a:lnTo>
                    <a:pt x="11" y="168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3" y="174"/>
                  </a:lnTo>
                  <a:lnTo>
                    <a:pt x="15" y="178"/>
                  </a:lnTo>
                  <a:lnTo>
                    <a:pt x="17" y="180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1" y="186"/>
                  </a:lnTo>
                  <a:lnTo>
                    <a:pt x="23" y="188"/>
                  </a:lnTo>
                  <a:lnTo>
                    <a:pt x="30" y="188"/>
                  </a:lnTo>
                  <a:lnTo>
                    <a:pt x="34" y="189"/>
                  </a:lnTo>
                  <a:lnTo>
                    <a:pt x="46" y="189"/>
                  </a:lnTo>
                  <a:lnTo>
                    <a:pt x="55" y="189"/>
                  </a:lnTo>
                  <a:lnTo>
                    <a:pt x="61" y="191"/>
                  </a:lnTo>
                  <a:lnTo>
                    <a:pt x="59" y="193"/>
                  </a:lnTo>
                  <a:lnTo>
                    <a:pt x="59" y="195"/>
                  </a:lnTo>
                  <a:lnTo>
                    <a:pt x="57" y="197"/>
                  </a:lnTo>
                  <a:lnTo>
                    <a:pt x="57" y="199"/>
                  </a:lnTo>
                  <a:lnTo>
                    <a:pt x="57" y="199"/>
                  </a:lnTo>
                  <a:lnTo>
                    <a:pt x="55" y="201"/>
                  </a:lnTo>
                  <a:lnTo>
                    <a:pt x="55" y="205"/>
                  </a:lnTo>
                  <a:lnTo>
                    <a:pt x="53" y="205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0" y="213"/>
                  </a:lnTo>
                  <a:lnTo>
                    <a:pt x="50" y="214"/>
                  </a:lnTo>
                  <a:lnTo>
                    <a:pt x="48" y="218"/>
                  </a:lnTo>
                  <a:lnTo>
                    <a:pt x="48" y="226"/>
                  </a:lnTo>
                  <a:lnTo>
                    <a:pt x="48" y="232"/>
                  </a:lnTo>
                  <a:lnTo>
                    <a:pt x="50" y="234"/>
                  </a:lnTo>
                  <a:lnTo>
                    <a:pt x="50" y="236"/>
                  </a:lnTo>
                  <a:lnTo>
                    <a:pt x="50" y="239"/>
                  </a:lnTo>
                  <a:lnTo>
                    <a:pt x="52" y="241"/>
                  </a:lnTo>
                  <a:lnTo>
                    <a:pt x="52" y="243"/>
                  </a:lnTo>
                  <a:lnTo>
                    <a:pt x="52" y="245"/>
                  </a:lnTo>
                  <a:lnTo>
                    <a:pt x="53" y="247"/>
                  </a:lnTo>
                  <a:lnTo>
                    <a:pt x="55" y="251"/>
                  </a:lnTo>
                  <a:lnTo>
                    <a:pt x="59" y="251"/>
                  </a:lnTo>
                  <a:lnTo>
                    <a:pt x="65" y="251"/>
                  </a:lnTo>
                  <a:lnTo>
                    <a:pt x="67" y="253"/>
                  </a:lnTo>
                  <a:lnTo>
                    <a:pt x="67" y="255"/>
                  </a:lnTo>
                  <a:lnTo>
                    <a:pt x="69" y="257"/>
                  </a:lnTo>
                  <a:lnTo>
                    <a:pt x="69" y="260"/>
                  </a:lnTo>
                  <a:lnTo>
                    <a:pt x="71" y="262"/>
                  </a:lnTo>
                  <a:lnTo>
                    <a:pt x="73" y="264"/>
                  </a:lnTo>
                  <a:lnTo>
                    <a:pt x="73" y="268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5" y="276"/>
                  </a:lnTo>
                  <a:lnTo>
                    <a:pt x="77" y="280"/>
                  </a:lnTo>
                  <a:lnTo>
                    <a:pt x="77" y="282"/>
                  </a:lnTo>
                  <a:lnTo>
                    <a:pt x="77" y="284"/>
                  </a:lnTo>
                  <a:lnTo>
                    <a:pt x="78" y="285"/>
                  </a:lnTo>
                  <a:lnTo>
                    <a:pt x="78" y="28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1" name="Freeform 18"/>
            <p:cNvSpPr>
              <a:spLocks/>
            </p:cNvSpPr>
            <p:nvPr/>
          </p:nvSpPr>
          <p:spPr bwMode="auto">
            <a:xfrm>
              <a:off x="2369" y="2674"/>
              <a:ext cx="109" cy="287"/>
            </a:xfrm>
            <a:custGeom>
              <a:avLst/>
              <a:gdLst/>
              <a:ahLst/>
              <a:cxnLst>
                <a:cxn ang="0">
                  <a:pos x="82" y="270"/>
                </a:cxn>
                <a:cxn ang="0">
                  <a:pos x="82" y="259"/>
                </a:cxn>
                <a:cxn ang="0">
                  <a:pos x="92" y="253"/>
                </a:cxn>
                <a:cxn ang="0">
                  <a:pos x="100" y="243"/>
                </a:cxn>
                <a:cxn ang="0">
                  <a:pos x="105" y="232"/>
                </a:cxn>
                <a:cxn ang="0">
                  <a:pos x="109" y="222"/>
                </a:cxn>
                <a:cxn ang="0">
                  <a:pos x="105" y="213"/>
                </a:cxn>
                <a:cxn ang="0">
                  <a:pos x="100" y="201"/>
                </a:cxn>
                <a:cxn ang="0">
                  <a:pos x="98" y="191"/>
                </a:cxn>
                <a:cxn ang="0">
                  <a:pos x="92" y="186"/>
                </a:cxn>
                <a:cxn ang="0">
                  <a:pos x="86" y="178"/>
                </a:cxn>
                <a:cxn ang="0">
                  <a:pos x="80" y="168"/>
                </a:cxn>
                <a:cxn ang="0">
                  <a:pos x="78" y="157"/>
                </a:cxn>
                <a:cxn ang="0">
                  <a:pos x="77" y="149"/>
                </a:cxn>
                <a:cxn ang="0">
                  <a:pos x="71" y="142"/>
                </a:cxn>
                <a:cxn ang="0">
                  <a:pos x="67" y="132"/>
                </a:cxn>
                <a:cxn ang="0">
                  <a:pos x="61" y="124"/>
                </a:cxn>
                <a:cxn ang="0">
                  <a:pos x="65" y="94"/>
                </a:cxn>
                <a:cxn ang="0">
                  <a:pos x="69" y="84"/>
                </a:cxn>
                <a:cxn ang="0">
                  <a:pos x="75" y="76"/>
                </a:cxn>
                <a:cxn ang="0">
                  <a:pos x="75" y="69"/>
                </a:cxn>
                <a:cxn ang="0">
                  <a:pos x="73" y="59"/>
                </a:cxn>
                <a:cxn ang="0">
                  <a:pos x="71" y="46"/>
                </a:cxn>
                <a:cxn ang="0">
                  <a:pos x="73" y="28"/>
                </a:cxn>
                <a:cxn ang="0">
                  <a:pos x="65" y="17"/>
                </a:cxn>
                <a:cxn ang="0">
                  <a:pos x="61" y="9"/>
                </a:cxn>
                <a:cxn ang="0">
                  <a:pos x="55" y="1"/>
                </a:cxn>
                <a:cxn ang="0">
                  <a:pos x="13" y="13"/>
                </a:cxn>
                <a:cxn ang="0">
                  <a:pos x="19" y="19"/>
                </a:cxn>
                <a:cxn ang="0">
                  <a:pos x="21" y="32"/>
                </a:cxn>
                <a:cxn ang="0">
                  <a:pos x="30" y="44"/>
                </a:cxn>
                <a:cxn ang="0">
                  <a:pos x="30" y="69"/>
                </a:cxn>
                <a:cxn ang="0">
                  <a:pos x="25" y="80"/>
                </a:cxn>
                <a:cxn ang="0">
                  <a:pos x="15" y="86"/>
                </a:cxn>
                <a:cxn ang="0">
                  <a:pos x="13" y="101"/>
                </a:cxn>
                <a:cxn ang="0">
                  <a:pos x="11" y="138"/>
                </a:cxn>
                <a:cxn ang="0">
                  <a:pos x="4" y="161"/>
                </a:cxn>
                <a:cxn ang="0">
                  <a:pos x="0" y="165"/>
                </a:cxn>
                <a:cxn ang="0">
                  <a:pos x="13" y="170"/>
                </a:cxn>
                <a:cxn ang="0">
                  <a:pos x="17" y="180"/>
                </a:cxn>
                <a:cxn ang="0">
                  <a:pos x="23" y="188"/>
                </a:cxn>
                <a:cxn ang="0">
                  <a:pos x="55" y="189"/>
                </a:cxn>
                <a:cxn ang="0">
                  <a:pos x="57" y="197"/>
                </a:cxn>
                <a:cxn ang="0">
                  <a:pos x="55" y="205"/>
                </a:cxn>
                <a:cxn ang="0">
                  <a:pos x="50" y="213"/>
                </a:cxn>
                <a:cxn ang="0">
                  <a:pos x="48" y="232"/>
                </a:cxn>
                <a:cxn ang="0">
                  <a:pos x="52" y="241"/>
                </a:cxn>
                <a:cxn ang="0">
                  <a:pos x="55" y="251"/>
                </a:cxn>
                <a:cxn ang="0">
                  <a:pos x="67" y="255"/>
                </a:cxn>
                <a:cxn ang="0">
                  <a:pos x="73" y="264"/>
                </a:cxn>
                <a:cxn ang="0">
                  <a:pos x="75" y="276"/>
                </a:cxn>
                <a:cxn ang="0">
                  <a:pos x="78" y="285"/>
                </a:cxn>
              </a:cxnLst>
              <a:rect l="0" t="0" r="r" b="b"/>
              <a:pathLst>
                <a:path w="109" h="287">
                  <a:moveTo>
                    <a:pt x="78" y="287"/>
                  </a:moveTo>
                  <a:lnTo>
                    <a:pt x="82" y="284"/>
                  </a:lnTo>
                  <a:lnTo>
                    <a:pt x="82" y="280"/>
                  </a:lnTo>
                  <a:lnTo>
                    <a:pt x="82" y="270"/>
                  </a:lnTo>
                  <a:lnTo>
                    <a:pt x="82" y="268"/>
                  </a:lnTo>
                  <a:lnTo>
                    <a:pt x="82" y="264"/>
                  </a:lnTo>
                  <a:lnTo>
                    <a:pt x="82" y="260"/>
                  </a:lnTo>
                  <a:lnTo>
                    <a:pt x="82" y="259"/>
                  </a:lnTo>
                  <a:lnTo>
                    <a:pt x="84" y="259"/>
                  </a:lnTo>
                  <a:lnTo>
                    <a:pt x="86" y="255"/>
                  </a:lnTo>
                  <a:lnTo>
                    <a:pt x="88" y="255"/>
                  </a:lnTo>
                  <a:lnTo>
                    <a:pt x="92" y="253"/>
                  </a:lnTo>
                  <a:lnTo>
                    <a:pt x="94" y="251"/>
                  </a:lnTo>
                  <a:lnTo>
                    <a:pt x="96" y="251"/>
                  </a:lnTo>
                  <a:lnTo>
                    <a:pt x="100" y="245"/>
                  </a:lnTo>
                  <a:lnTo>
                    <a:pt x="100" y="243"/>
                  </a:lnTo>
                  <a:lnTo>
                    <a:pt x="101" y="239"/>
                  </a:lnTo>
                  <a:lnTo>
                    <a:pt x="103" y="236"/>
                  </a:lnTo>
                  <a:lnTo>
                    <a:pt x="105" y="234"/>
                  </a:lnTo>
                  <a:lnTo>
                    <a:pt x="105" y="232"/>
                  </a:lnTo>
                  <a:lnTo>
                    <a:pt x="107" y="230"/>
                  </a:lnTo>
                  <a:lnTo>
                    <a:pt x="109" y="228"/>
                  </a:lnTo>
                  <a:lnTo>
                    <a:pt x="109" y="226"/>
                  </a:lnTo>
                  <a:lnTo>
                    <a:pt x="109" y="222"/>
                  </a:lnTo>
                  <a:lnTo>
                    <a:pt x="109" y="218"/>
                  </a:lnTo>
                  <a:lnTo>
                    <a:pt x="109" y="214"/>
                  </a:lnTo>
                  <a:lnTo>
                    <a:pt x="109" y="213"/>
                  </a:lnTo>
                  <a:lnTo>
                    <a:pt x="105" y="213"/>
                  </a:lnTo>
                  <a:lnTo>
                    <a:pt x="105" y="211"/>
                  </a:lnTo>
                  <a:lnTo>
                    <a:pt x="103" y="209"/>
                  </a:lnTo>
                  <a:lnTo>
                    <a:pt x="100" y="207"/>
                  </a:lnTo>
                  <a:lnTo>
                    <a:pt x="100" y="201"/>
                  </a:lnTo>
                  <a:lnTo>
                    <a:pt x="100" y="199"/>
                  </a:lnTo>
                  <a:lnTo>
                    <a:pt x="100" y="197"/>
                  </a:lnTo>
                  <a:lnTo>
                    <a:pt x="98" y="195"/>
                  </a:lnTo>
                  <a:lnTo>
                    <a:pt x="98" y="191"/>
                  </a:lnTo>
                  <a:lnTo>
                    <a:pt x="96" y="189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2" y="186"/>
                  </a:lnTo>
                  <a:lnTo>
                    <a:pt x="92" y="182"/>
                  </a:lnTo>
                  <a:lnTo>
                    <a:pt x="90" y="182"/>
                  </a:lnTo>
                  <a:lnTo>
                    <a:pt x="88" y="178"/>
                  </a:lnTo>
                  <a:lnTo>
                    <a:pt x="86" y="178"/>
                  </a:lnTo>
                  <a:lnTo>
                    <a:pt x="82" y="176"/>
                  </a:lnTo>
                  <a:lnTo>
                    <a:pt x="82" y="174"/>
                  </a:lnTo>
                  <a:lnTo>
                    <a:pt x="80" y="172"/>
                  </a:lnTo>
                  <a:lnTo>
                    <a:pt x="80" y="168"/>
                  </a:lnTo>
                  <a:lnTo>
                    <a:pt x="80" y="166"/>
                  </a:lnTo>
                  <a:lnTo>
                    <a:pt x="78" y="163"/>
                  </a:lnTo>
                  <a:lnTo>
                    <a:pt x="78" y="161"/>
                  </a:lnTo>
                  <a:lnTo>
                    <a:pt x="78" y="157"/>
                  </a:lnTo>
                  <a:lnTo>
                    <a:pt x="77" y="157"/>
                  </a:lnTo>
                  <a:lnTo>
                    <a:pt x="77" y="153"/>
                  </a:lnTo>
                  <a:lnTo>
                    <a:pt x="77" y="151"/>
                  </a:lnTo>
                  <a:lnTo>
                    <a:pt x="77" y="149"/>
                  </a:lnTo>
                  <a:lnTo>
                    <a:pt x="75" y="145"/>
                  </a:lnTo>
                  <a:lnTo>
                    <a:pt x="75" y="143"/>
                  </a:lnTo>
                  <a:lnTo>
                    <a:pt x="73" y="143"/>
                  </a:lnTo>
                  <a:lnTo>
                    <a:pt x="71" y="142"/>
                  </a:lnTo>
                  <a:lnTo>
                    <a:pt x="71" y="138"/>
                  </a:lnTo>
                  <a:lnTo>
                    <a:pt x="69" y="138"/>
                  </a:lnTo>
                  <a:lnTo>
                    <a:pt x="67" y="136"/>
                  </a:lnTo>
                  <a:lnTo>
                    <a:pt x="67" y="132"/>
                  </a:lnTo>
                  <a:lnTo>
                    <a:pt x="65" y="132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4"/>
                  </a:lnTo>
                  <a:lnTo>
                    <a:pt x="61" y="113"/>
                  </a:lnTo>
                  <a:lnTo>
                    <a:pt x="61" y="99"/>
                  </a:lnTo>
                  <a:lnTo>
                    <a:pt x="63" y="95"/>
                  </a:lnTo>
                  <a:lnTo>
                    <a:pt x="65" y="94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6"/>
                  </a:lnTo>
                  <a:lnTo>
                    <a:pt x="69" y="84"/>
                  </a:lnTo>
                  <a:lnTo>
                    <a:pt x="69" y="82"/>
                  </a:lnTo>
                  <a:lnTo>
                    <a:pt x="71" y="80"/>
                  </a:lnTo>
                  <a:lnTo>
                    <a:pt x="75" y="78"/>
                  </a:lnTo>
                  <a:lnTo>
                    <a:pt x="75" y="76"/>
                  </a:lnTo>
                  <a:lnTo>
                    <a:pt x="77" y="76"/>
                  </a:lnTo>
                  <a:lnTo>
                    <a:pt x="77" y="72"/>
                  </a:lnTo>
                  <a:lnTo>
                    <a:pt x="75" y="71"/>
                  </a:lnTo>
                  <a:lnTo>
                    <a:pt x="75" y="69"/>
                  </a:lnTo>
                  <a:lnTo>
                    <a:pt x="75" y="67"/>
                  </a:lnTo>
                  <a:lnTo>
                    <a:pt x="75" y="63"/>
                  </a:lnTo>
                  <a:lnTo>
                    <a:pt x="75" y="61"/>
                  </a:lnTo>
                  <a:lnTo>
                    <a:pt x="73" y="59"/>
                  </a:lnTo>
                  <a:lnTo>
                    <a:pt x="73" y="55"/>
                  </a:lnTo>
                  <a:lnTo>
                    <a:pt x="73" y="51"/>
                  </a:lnTo>
                  <a:lnTo>
                    <a:pt x="71" y="49"/>
                  </a:lnTo>
                  <a:lnTo>
                    <a:pt x="71" y="46"/>
                  </a:lnTo>
                  <a:lnTo>
                    <a:pt x="71" y="40"/>
                  </a:lnTo>
                  <a:lnTo>
                    <a:pt x="73" y="38"/>
                  </a:lnTo>
                  <a:lnTo>
                    <a:pt x="73" y="32"/>
                  </a:lnTo>
                  <a:lnTo>
                    <a:pt x="73" y="28"/>
                  </a:lnTo>
                  <a:lnTo>
                    <a:pt x="71" y="24"/>
                  </a:lnTo>
                  <a:lnTo>
                    <a:pt x="69" y="21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3" y="13"/>
                  </a:lnTo>
                  <a:lnTo>
                    <a:pt x="61" y="13"/>
                  </a:lnTo>
                  <a:lnTo>
                    <a:pt x="61" y="9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5" y="3"/>
                  </a:lnTo>
                  <a:lnTo>
                    <a:pt x="55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13" y="0"/>
                  </a:lnTo>
                  <a:lnTo>
                    <a:pt x="13" y="13"/>
                  </a:lnTo>
                  <a:lnTo>
                    <a:pt x="15" y="13"/>
                  </a:lnTo>
                  <a:lnTo>
                    <a:pt x="15" y="15"/>
                  </a:lnTo>
                  <a:lnTo>
                    <a:pt x="17" y="17"/>
                  </a:lnTo>
                  <a:lnTo>
                    <a:pt x="19" y="19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8"/>
                  </a:lnTo>
                  <a:lnTo>
                    <a:pt x="21" y="32"/>
                  </a:lnTo>
                  <a:lnTo>
                    <a:pt x="23" y="34"/>
                  </a:lnTo>
                  <a:lnTo>
                    <a:pt x="23" y="38"/>
                  </a:lnTo>
                  <a:lnTo>
                    <a:pt x="27" y="42"/>
                  </a:lnTo>
                  <a:lnTo>
                    <a:pt x="30" y="44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65"/>
                  </a:lnTo>
                  <a:lnTo>
                    <a:pt x="30" y="69"/>
                  </a:lnTo>
                  <a:lnTo>
                    <a:pt x="29" y="71"/>
                  </a:lnTo>
                  <a:lnTo>
                    <a:pt x="29" y="74"/>
                  </a:lnTo>
                  <a:lnTo>
                    <a:pt x="27" y="78"/>
                  </a:lnTo>
                  <a:lnTo>
                    <a:pt x="25" y="80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1" y="90"/>
                  </a:lnTo>
                  <a:lnTo>
                    <a:pt x="11" y="94"/>
                  </a:lnTo>
                  <a:lnTo>
                    <a:pt x="11" y="97"/>
                  </a:lnTo>
                  <a:lnTo>
                    <a:pt x="13" y="101"/>
                  </a:lnTo>
                  <a:lnTo>
                    <a:pt x="13" y="111"/>
                  </a:lnTo>
                  <a:lnTo>
                    <a:pt x="13" y="120"/>
                  </a:lnTo>
                  <a:lnTo>
                    <a:pt x="11" y="120"/>
                  </a:lnTo>
                  <a:lnTo>
                    <a:pt x="11" y="138"/>
                  </a:lnTo>
                  <a:lnTo>
                    <a:pt x="11" y="153"/>
                  </a:lnTo>
                  <a:lnTo>
                    <a:pt x="11" y="157"/>
                  </a:lnTo>
                  <a:lnTo>
                    <a:pt x="7" y="159"/>
                  </a:lnTo>
                  <a:lnTo>
                    <a:pt x="4" y="161"/>
                  </a:lnTo>
                  <a:lnTo>
                    <a:pt x="4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7" y="165"/>
                  </a:lnTo>
                  <a:lnTo>
                    <a:pt x="9" y="166"/>
                  </a:lnTo>
                  <a:lnTo>
                    <a:pt x="11" y="168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3" y="174"/>
                  </a:lnTo>
                  <a:lnTo>
                    <a:pt x="15" y="178"/>
                  </a:lnTo>
                  <a:lnTo>
                    <a:pt x="17" y="180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1" y="186"/>
                  </a:lnTo>
                  <a:lnTo>
                    <a:pt x="23" y="188"/>
                  </a:lnTo>
                  <a:lnTo>
                    <a:pt x="30" y="188"/>
                  </a:lnTo>
                  <a:lnTo>
                    <a:pt x="34" y="189"/>
                  </a:lnTo>
                  <a:lnTo>
                    <a:pt x="46" y="189"/>
                  </a:lnTo>
                  <a:lnTo>
                    <a:pt x="55" y="189"/>
                  </a:lnTo>
                  <a:lnTo>
                    <a:pt x="61" y="191"/>
                  </a:lnTo>
                  <a:lnTo>
                    <a:pt x="59" y="193"/>
                  </a:lnTo>
                  <a:lnTo>
                    <a:pt x="59" y="195"/>
                  </a:lnTo>
                  <a:lnTo>
                    <a:pt x="57" y="197"/>
                  </a:lnTo>
                  <a:lnTo>
                    <a:pt x="57" y="199"/>
                  </a:lnTo>
                  <a:lnTo>
                    <a:pt x="57" y="199"/>
                  </a:lnTo>
                  <a:lnTo>
                    <a:pt x="55" y="201"/>
                  </a:lnTo>
                  <a:lnTo>
                    <a:pt x="55" y="205"/>
                  </a:lnTo>
                  <a:lnTo>
                    <a:pt x="53" y="205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0" y="213"/>
                  </a:lnTo>
                  <a:lnTo>
                    <a:pt x="50" y="214"/>
                  </a:lnTo>
                  <a:lnTo>
                    <a:pt x="48" y="218"/>
                  </a:lnTo>
                  <a:lnTo>
                    <a:pt x="48" y="226"/>
                  </a:lnTo>
                  <a:lnTo>
                    <a:pt x="48" y="232"/>
                  </a:lnTo>
                  <a:lnTo>
                    <a:pt x="50" y="234"/>
                  </a:lnTo>
                  <a:lnTo>
                    <a:pt x="50" y="236"/>
                  </a:lnTo>
                  <a:lnTo>
                    <a:pt x="50" y="239"/>
                  </a:lnTo>
                  <a:lnTo>
                    <a:pt x="52" y="241"/>
                  </a:lnTo>
                  <a:lnTo>
                    <a:pt x="52" y="243"/>
                  </a:lnTo>
                  <a:lnTo>
                    <a:pt x="52" y="245"/>
                  </a:lnTo>
                  <a:lnTo>
                    <a:pt x="53" y="247"/>
                  </a:lnTo>
                  <a:lnTo>
                    <a:pt x="55" y="251"/>
                  </a:lnTo>
                  <a:lnTo>
                    <a:pt x="59" y="251"/>
                  </a:lnTo>
                  <a:lnTo>
                    <a:pt x="65" y="251"/>
                  </a:lnTo>
                  <a:lnTo>
                    <a:pt x="67" y="253"/>
                  </a:lnTo>
                  <a:lnTo>
                    <a:pt x="67" y="255"/>
                  </a:lnTo>
                  <a:lnTo>
                    <a:pt x="69" y="257"/>
                  </a:lnTo>
                  <a:lnTo>
                    <a:pt x="69" y="260"/>
                  </a:lnTo>
                  <a:lnTo>
                    <a:pt x="71" y="262"/>
                  </a:lnTo>
                  <a:lnTo>
                    <a:pt x="73" y="264"/>
                  </a:lnTo>
                  <a:lnTo>
                    <a:pt x="73" y="268"/>
                  </a:lnTo>
                  <a:lnTo>
                    <a:pt x="75" y="270"/>
                  </a:lnTo>
                  <a:lnTo>
                    <a:pt x="75" y="270"/>
                  </a:lnTo>
                  <a:lnTo>
                    <a:pt x="75" y="276"/>
                  </a:lnTo>
                  <a:lnTo>
                    <a:pt x="77" y="280"/>
                  </a:lnTo>
                  <a:lnTo>
                    <a:pt x="77" y="282"/>
                  </a:lnTo>
                  <a:lnTo>
                    <a:pt x="77" y="284"/>
                  </a:lnTo>
                  <a:lnTo>
                    <a:pt x="78" y="285"/>
                  </a:lnTo>
                  <a:lnTo>
                    <a:pt x="78" y="287"/>
                  </a:lnTo>
                </a:path>
              </a:pathLst>
            </a:custGeom>
            <a:no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/>
          </p:nvSpPr>
          <p:spPr bwMode="auto">
            <a:xfrm>
              <a:off x="2256" y="2355"/>
              <a:ext cx="389" cy="401"/>
            </a:xfrm>
            <a:custGeom>
              <a:avLst/>
              <a:gdLst/>
              <a:ahLst/>
              <a:cxnLst>
                <a:cxn ang="0">
                  <a:pos x="372" y="332"/>
                </a:cxn>
                <a:cxn ang="0">
                  <a:pos x="355" y="317"/>
                </a:cxn>
                <a:cxn ang="0">
                  <a:pos x="345" y="290"/>
                </a:cxn>
                <a:cxn ang="0">
                  <a:pos x="355" y="272"/>
                </a:cxn>
                <a:cxn ang="0">
                  <a:pos x="351" y="255"/>
                </a:cxn>
                <a:cxn ang="0">
                  <a:pos x="360" y="240"/>
                </a:cxn>
                <a:cxn ang="0">
                  <a:pos x="356" y="221"/>
                </a:cxn>
                <a:cxn ang="0">
                  <a:pos x="343" y="209"/>
                </a:cxn>
                <a:cxn ang="0">
                  <a:pos x="341" y="188"/>
                </a:cxn>
                <a:cxn ang="0">
                  <a:pos x="347" y="167"/>
                </a:cxn>
                <a:cxn ang="0">
                  <a:pos x="356" y="148"/>
                </a:cxn>
                <a:cxn ang="0">
                  <a:pos x="349" y="136"/>
                </a:cxn>
                <a:cxn ang="0">
                  <a:pos x="331" y="123"/>
                </a:cxn>
                <a:cxn ang="0">
                  <a:pos x="314" y="113"/>
                </a:cxn>
                <a:cxn ang="0">
                  <a:pos x="308" y="94"/>
                </a:cxn>
                <a:cxn ang="0">
                  <a:pos x="287" y="79"/>
                </a:cxn>
                <a:cxn ang="0">
                  <a:pos x="266" y="67"/>
                </a:cxn>
                <a:cxn ang="0">
                  <a:pos x="245" y="61"/>
                </a:cxn>
                <a:cxn ang="0">
                  <a:pos x="224" y="42"/>
                </a:cxn>
                <a:cxn ang="0">
                  <a:pos x="201" y="29"/>
                </a:cxn>
                <a:cxn ang="0">
                  <a:pos x="186" y="21"/>
                </a:cxn>
                <a:cxn ang="0">
                  <a:pos x="168" y="6"/>
                </a:cxn>
                <a:cxn ang="0">
                  <a:pos x="134" y="2"/>
                </a:cxn>
                <a:cxn ang="0">
                  <a:pos x="99" y="6"/>
                </a:cxn>
                <a:cxn ang="0">
                  <a:pos x="71" y="6"/>
                </a:cxn>
                <a:cxn ang="0">
                  <a:pos x="44" y="6"/>
                </a:cxn>
                <a:cxn ang="0">
                  <a:pos x="42" y="11"/>
                </a:cxn>
                <a:cxn ang="0">
                  <a:pos x="57" y="36"/>
                </a:cxn>
                <a:cxn ang="0">
                  <a:pos x="63" y="59"/>
                </a:cxn>
                <a:cxn ang="0">
                  <a:pos x="48" y="69"/>
                </a:cxn>
                <a:cxn ang="0">
                  <a:pos x="55" y="90"/>
                </a:cxn>
                <a:cxn ang="0">
                  <a:pos x="53" y="113"/>
                </a:cxn>
                <a:cxn ang="0">
                  <a:pos x="44" y="136"/>
                </a:cxn>
                <a:cxn ang="0">
                  <a:pos x="24" y="153"/>
                </a:cxn>
                <a:cxn ang="0">
                  <a:pos x="1" y="167"/>
                </a:cxn>
                <a:cxn ang="0">
                  <a:pos x="1" y="194"/>
                </a:cxn>
                <a:cxn ang="0">
                  <a:pos x="9" y="219"/>
                </a:cxn>
                <a:cxn ang="0">
                  <a:pos x="21" y="242"/>
                </a:cxn>
                <a:cxn ang="0">
                  <a:pos x="42" y="263"/>
                </a:cxn>
                <a:cxn ang="0">
                  <a:pos x="48" y="272"/>
                </a:cxn>
                <a:cxn ang="0">
                  <a:pos x="61" y="286"/>
                </a:cxn>
                <a:cxn ang="0">
                  <a:pos x="76" y="299"/>
                </a:cxn>
                <a:cxn ang="0">
                  <a:pos x="92" y="303"/>
                </a:cxn>
                <a:cxn ang="0">
                  <a:pos x="111" y="311"/>
                </a:cxn>
                <a:cxn ang="0">
                  <a:pos x="134" y="319"/>
                </a:cxn>
                <a:cxn ang="0">
                  <a:pos x="165" y="319"/>
                </a:cxn>
                <a:cxn ang="0">
                  <a:pos x="180" y="338"/>
                </a:cxn>
                <a:cxn ang="0">
                  <a:pos x="188" y="355"/>
                </a:cxn>
                <a:cxn ang="0">
                  <a:pos x="186" y="382"/>
                </a:cxn>
                <a:cxn ang="0">
                  <a:pos x="195" y="395"/>
                </a:cxn>
                <a:cxn ang="0">
                  <a:pos x="216" y="401"/>
                </a:cxn>
                <a:cxn ang="0">
                  <a:pos x="241" y="399"/>
                </a:cxn>
                <a:cxn ang="0">
                  <a:pos x="257" y="390"/>
                </a:cxn>
                <a:cxn ang="0">
                  <a:pos x="282" y="388"/>
                </a:cxn>
                <a:cxn ang="0">
                  <a:pos x="301" y="388"/>
                </a:cxn>
                <a:cxn ang="0">
                  <a:pos x="330" y="388"/>
                </a:cxn>
                <a:cxn ang="0">
                  <a:pos x="355" y="376"/>
                </a:cxn>
                <a:cxn ang="0">
                  <a:pos x="370" y="363"/>
                </a:cxn>
                <a:cxn ang="0">
                  <a:pos x="387" y="349"/>
                </a:cxn>
              </a:cxnLst>
              <a:rect l="0" t="0" r="r" b="b"/>
              <a:pathLst>
                <a:path w="389" h="401">
                  <a:moveTo>
                    <a:pt x="389" y="349"/>
                  </a:moveTo>
                  <a:lnTo>
                    <a:pt x="385" y="345"/>
                  </a:lnTo>
                  <a:lnTo>
                    <a:pt x="379" y="342"/>
                  </a:lnTo>
                  <a:lnTo>
                    <a:pt x="379" y="338"/>
                  </a:lnTo>
                  <a:lnTo>
                    <a:pt x="378" y="336"/>
                  </a:lnTo>
                  <a:lnTo>
                    <a:pt x="376" y="334"/>
                  </a:lnTo>
                  <a:lnTo>
                    <a:pt x="374" y="334"/>
                  </a:lnTo>
                  <a:lnTo>
                    <a:pt x="372" y="332"/>
                  </a:lnTo>
                  <a:lnTo>
                    <a:pt x="370" y="332"/>
                  </a:lnTo>
                  <a:lnTo>
                    <a:pt x="368" y="332"/>
                  </a:lnTo>
                  <a:lnTo>
                    <a:pt x="366" y="328"/>
                  </a:lnTo>
                  <a:lnTo>
                    <a:pt x="364" y="326"/>
                  </a:lnTo>
                  <a:lnTo>
                    <a:pt x="362" y="324"/>
                  </a:lnTo>
                  <a:lnTo>
                    <a:pt x="358" y="322"/>
                  </a:lnTo>
                  <a:lnTo>
                    <a:pt x="355" y="319"/>
                  </a:lnTo>
                  <a:lnTo>
                    <a:pt x="355" y="317"/>
                  </a:lnTo>
                  <a:lnTo>
                    <a:pt x="355" y="311"/>
                  </a:lnTo>
                  <a:lnTo>
                    <a:pt x="353" y="307"/>
                  </a:lnTo>
                  <a:lnTo>
                    <a:pt x="351" y="303"/>
                  </a:lnTo>
                  <a:lnTo>
                    <a:pt x="351" y="299"/>
                  </a:lnTo>
                  <a:lnTo>
                    <a:pt x="349" y="299"/>
                  </a:lnTo>
                  <a:lnTo>
                    <a:pt x="347" y="297"/>
                  </a:lnTo>
                  <a:lnTo>
                    <a:pt x="345" y="294"/>
                  </a:lnTo>
                  <a:lnTo>
                    <a:pt x="345" y="290"/>
                  </a:lnTo>
                  <a:lnTo>
                    <a:pt x="345" y="288"/>
                  </a:lnTo>
                  <a:lnTo>
                    <a:pt x="345" y="284"/>
                  </a:lnTo>
                  <a:lnTo>
                    <a:pt x="347" y="282"/>
                  </a:lnTo>
                  <a:lnTo>
                    <a:pt x="349" y="280"/>
                  </a:lnTo>
                  <a:lnTo>
                    <a:pt x="351" y="280"/>
                  </a:lnTo>
                  <a:lnTo>
                    <a:pt x="351" y="276"/>
                  </a:lnTo>
                  <a:lnTo>
                    <a:pt x="355" y="274"/>
                  </a:lnTo>
                  <a:lnTo>
                    <a:pt x="355" y="272"/>
                  </a:lnTo>
                  <a:lnTo>
                    <a:pt x="355" y="271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3" y="259"/>
                  </a:lnTo>
                  <a:lnTo>
                    <a:pt x="353" y="257"/>
                  </a:lnTo>
                  <a:lnTo>
                    <a:pt x="351" y="255"/>
                  </a:lnTo>
                  <a:lnTo>
                    <a:pt x="351" y="255"/>
                  </a:lnTo>
                  <a:lnTo>
                    <a:pt x="351" y="255"/>
                  </a:lnTo>
                  <a:lnTo>
                    <a:pt x="353" y="255"/>
                  </a:lnTo>
                  <a:lnTo>
                    <a:pt x="353" y="251"/>
                  </a:lnTo>
                  <a:lnTo>
                    <a:pt x="353" y="249"/>
                  </a:lnTo>
                  <a:lnTo>
                    <a:pt x="355" y="248"/>
                  </a:lnTo>
                  <a:lnTo>
                    <a:pt x="355" y="248"/>
                  </a:lnTo>
                  <a:lnTo>
                    <a:pt x="356" y="246"/>
                  </a:lnTo>
                  <a:lnTo>
                    <a:pt x="358" y="244"/>
                  </a:lnTo>
                  <a:lnTo>
                    <a:pt x="360" y="240"/>
                  </a:lnTo>
                  <a:lnTo>
                    <a:pt x="362" y="238"/>
                  </a:lnTo>
                  <a:lnTo>
                    <a:pt x="362" y="236"/>
                  </a:lnTo>
                  <a:lnTo>
                    <a:pt x="364" y="232"/>
                  </a:lnTo>
                  <a:lnTo>
                    <a:pt x="364" y="228"/>
                  </a:lnTo>
                  <a:lnTo>
                    <a:pt x="362" y="226"/>
                  </a:lnTo>
                  <a:lnTo>
                    <a:pt x="362" y="223"/>
                  </a:lnTo>
                  <a:lnTo>
                    <a:pt x="358" y="223"/>
                  </a:lnTo>
                  <a:lnTo>
                    <a:pt x="356" y="221"/>
                  </a:lnTo>
                  <a:lnTo>
                    <a:pt x="356" y="219"/>
                  </a:lnTo>
                  <a:lnTo>
                    <a:pt x="355" y="219"/>
                  </a:lnTo>
                  <a:lnTo>
                    <a:pt x="351" y="217"/>
                  </a:lnTo>
                  <a:lnTo>
                    <a:pt x="349" y="215"/>
                  </a:lnTo>
                  <a:lnTo>
                    <a:pt x="347" y="213"/>
                  </a:lnTo>
                  <a:lnTo>
                    <a:pt x="347" y="211"/>
                  </a:lnTo>
                  <a:lnTo>
                    <a:pt x="345" y="211"/>
                  </a:lnTo>
                  <a:lnTo>
                    <a:pt x="343" y="209"/>
                  </a:lnTo>
                  <a:lnTo>
                    <a:pt x="341" y="207"/>
                  </a:lnTo>
                  <a:lnTo>
                    <a:pt x="339" y="203"/>
                  </a:lnTo>
                  <a:lnTo>
                    <a:pt x="337" y="201"/>
                  </a:lnTo>
                  <a:lnTo>
                    <a:pt x="337" y="198"/>
                  </a:lnTo>
                  <a:lnTo>
                    <a:pt x="337" y="194"/>
                  </a:lnTo>
                  <a:lnTo>
                    <a:pt x="339" y="194"/>
                  </a:lnTo>
                  <a:lnTo>
                    <a:pt x="341" y="192"/>
                  </a:lnTo>
                  <a:lnTo>
                    <a:pt x="341" y="188"/>
                  </a:lnTo>
                  <a:lnTo>
                    <a:pt x="343" y="186"/>
                  </a:lnTo>
                  <a:lnTo>
                    <a:pt x="345" y="184"/>
                  </a:lnTo>
                  <a:lnTo>
                    <a:pt x="345" y="182"/>
                  </a:lnTo>
                  <a:lnTo>
                    <a:pt x="345" y="178"/>
                  </a:lnTo>
                  <a:lnTo>
                    <a:pt x="345" y="175"/>
                  </a:lnTo>
                  <a:lnTo>
                    <a:pt x="345" y="173"/>
                  </a:lnTo>
                  <a:lnTo>
                    <a:pt x="347" y="169"/>
                  </a:lnTo>
                  <a:lnTo>
                    <a:pt x="347" y="167"/>
                  </a:lnTo>
                  <a:lnTo>
                    <a:pt x="347" y="163"/>
                  </a:lnTo>
                  <a:lnTo>
                    <a:pt x="347" y="161"/>
                  </a:lnTo>
                  <a:lnTo>
                    <a:pt x="349" y="157"/>
                  </a:lnTo>
                  <a:lnTo>
                    <a:pt x="351" y="155"/>
                  </a:lnTo>
                  <a:lnTo>
                    <a:pt x="353" y="153"/>
                  </a:lnTo>
                  <a:lnTo>
                    <a:pt x="355" y="152"/>
                  </a:lnTo>
                  <a:lnTo>
                    <a:pt x="355" y="150"/>
                  </a:lnTo>
                  <a:lnTo>
                    <a:pt x="356" y="148"/>
                  </a:lnTo>
                  <a:lnTo>
                    <a:pt x="358" y="146"/>
                  </a:lnTo>
                  <a:lnTo>
                    <a:pt x="360" y="146"/>
                  </a:lnTo>
                  <a:lnTo>
                    <a:pt x="360" y="142"/>
                  </a:lnTo>
                  <a:lnTo>
                    <a:pt x="356" y="142"/>
                  </a:lnTo>
                  <a:lnTo>
                    <a:pt x="355" y="140"/>
                  </a:lnTo>
                  <a:lnTo>
                    <a:pt x="353" y="140"/>
                  </a:lnTo>
                  <a:lnTo>
                    <a:pt x="351" y="136"/>
                  </a:lnTo>
                  <a:lnTo>
                    <a:pt x="349" y="136"/>
                  </a:lnTo>
                  <a:lnTo>
                    <a:pt x="345" y="136"/>
                  </a:lnTo>
                  <a:lnTo>
                    <a:pt x="343" y="134"/>
                  </a:lnTo>
                  <a:lnTo>
                    <a:pt x="339" y="132"/>
                  </a:lnTo>
                  <a:lnTo>
                    <a:pt x="339" y="130"/>
                  </a:lnTo>
                  <a:lnTo>
                    <a:pt x="337" y="130"/>
                  </a:lnTo>
                  <a:lnTo>
                    <a:pt x="335" y="129"/>
                  </a:lnTo>
                  <a:lnTo>
                    <a:pt x="333" y="125"/>
                  </a:lnTo>
                  <a:lnTo>
                    <a:pt x="331" y="123"/>
                  </a:lnTo>
                  <a:lnTo>
                    <a:pt x="330" y="123"/>
                  </a:lnTo>
                  <a:lnTo>
                    <a:pt x="328" y="123"/>
                  </a:lnTo>
                  <a:lnTo>
                    <a:pt x="324" y="123"/>
                  </a:lnTo>
                  <a:lnTo>
                    <a:pt x="320" y="121"/>
                  </a:lnTo>
                  <a:lnTo>
                    <a:pt x="318" y="119"/>
                  </a:lnTo>
                  <a:lnTo>
                    <a:pt x="316" y="117"/>
                  </a:lnTo>
                  <a:lnTo>
                    <a:pt x="314" y="115"/>
                  </a:lnTo>
                  <a:lnTo>
                    <a:pt x="314" y="113"/>
                  </a:lnTo>
                  <a:lnTo>
                    <a:pt x="310" y="113"/>
                  </a:lnTo>
                  <a:lnTo>
                    <a:pt x="308" y="111"/>
                  </a:lnTo>
                  <a:lnTo>
                    <a:pt x="308" y="107"/>
                  </a:lnTo>
                  <a:lnTo>
                    <a:pt x="308" y="106"/>
                  </a:lnTo>
                  <a:lnTo>
                    <a:pt x="308" y="102"/>
                  </a:lnTo>
                  <a:lnTo>
                    <a:pt x="308" y="98"/>
                  </a:lnTo>
                  <a:lnTo>
                    <a:pt x="308" y="96"/>
                  </a:lnTo>
                  <a:lnTo>
                    <a:pt x="308" y="94"/>
                  </a:lnTo>
                  <a:lnTo>
                    <a:pt x="307" y="90"/>
                  </a:lnTo>
                  <a:lnTo>
                    <a:pt x="305" y="88"/>
                  </a:lnTo>
                  <a:lnTo>
                    <a:pt x="303" y="88"/>
                  </a:lnTo>
                  <a:lnTo>
                    <a:pt x="301" y="88"/>
                  </a:lnTo>
                  <a:lnTo>
                    <a:pt x="295" y="84"/>
                  </a:lnTo>
                  <a:lnTo>
                    <a:pt x="293" y="82"/>
                  </a:lnTo>
                  <a:lnTo>
                    <a:pt x="291" y="79"/>
                  </a:lnTo>
                  <a:lnTo>
                    <a:pt x="287" y="79"/>
                  </a:lnTo>
                  <a:lnTo>
                    <a:pt x="284" y="77"/>
                  </a:lnTo>
                  <a:lnTo>
                    <a:pt x="284" y="75"/>
                  </a:lnTo>
                  <a:lnTo>
                    <a:pt x="280" y="73"/>
                  </a:lnTo>
                  <a:lnTo>
                    <a:pt x="276" y="71"/>
                  </a:lnTo>
                  <a:lnTo>
                    <a:pt x="274" y="69"/>
                  </a:lnTo>
                  <a:lnTo>
                    <a:pt x="272" y="67"/>
                  </a:lnTo>
                  <a:lnTo>
                    <a:pt x="270" y="67"/>
                  </a:lnTo>
                  <a:lnTo>
                    <a:pt x="266" y="67"/>
                  </a:lnTo>
                  <a:lnTo>
                    <a:pt x="264" y="65"/>
                  </a:lnTo>
                  <a:lnTo>
                    <a:pt x="261" y="65"/>
                  </a:lnTo>
                  <a:lnTo>
                    <a:pt x="257" y="65"/>
                  </a:lnTo>
                  <a:lnTo>
                    <a:pt x="255" y="65"/>
                  </a:lnTo>
                  <a:lnTo>
                    <a:pt x="253" y="65"/>
                  </a:lnTo>
                  <a:lnTo>
                    <a:pt x="249" y="63"/>
                  </a:lnTo>
                  <a:lnTo>
                    <a:pt x="249" y="61"/>
                  </a:lnTo>
                  <a:lnTo>
                    <a:pt x="245" y="61"/>
                  </a:lnTo>
                  <a:lnTo>
                    <a:pt x="243" y="59"/>
                  </a:lnTo>
                  <a:lnTo>
                    <a:pt x="241" y="58"/>
                  </a:lnTo>
                  <a:lnTo>
                    <a:pt x="239" y="56"/>
                  </a:lnTo>
                  <a:lnTo>
                    <a:pt x="237" y="54"/>
                  </a:lnTo>
                  <a:lnTo>
                    <a:pt x="234" y="52"/>
                  </a:lnTo>
                  <a:lnTo>
                    <a:pt x="230" y="48"/>
                  </a:lnTo>
                  <a:lnTo>
                    <a:pt x="226" y="44"/>
                  </a:lnTo>
                  <a:lnTo>
                    <a:pt x="224" y="42"/>
                  </a:lnTo>
                  <a:lnTo>
                    <a:pt x="222" y="40"/>
                  </a:lnTo>
                  <a:lnTo>
                    <a:pt x="218" y="38"/>
                  </a:lnTo>
                  <a:lnTo>
                    <a:pt x="214" y="38"/>
                  </a:lnTo>
                  <a:lnTo>
                    <a:pt x="213" y="35"/>
                  </a:lnTo>
                  <a:lnTo>
                    <a:pt x="209" y="35"/>
                  </a:lnTo>
                  <a:lnTo>
                    <a:pt x="205" y="33"/>
                  </a:lnTo>
                  <a:lnTo>
                    <a:pt x="203" y="31"/>
                  </a:lnTo>
                  <a:lnTo>
                    <a:pt x="201" y="29"/>
                  </a:lnTo>
                  <a:lnTo>
                    <a:pt x="197" y="29"/>
                  </a:lnTo>
                  <a:lnTo>
                    <a:pt x="197" y="27"/>
                  </a:lnTo>
                  <a:lnTo>
                    <a:pt x="195" y="27"/>
                  </a:lnTo>
                  <a:lnTo>
                    <a:pt x="193" y="25"/>
                  </a:lnTo>
                  <a:lnTo>
                    <a:pt x="190" y="25"/>
                  </a:lnTo>
                  <a:lnTo>
                    <a:pt x="190" y="23"/>
                  </a:lnTo>
                  <a:lnTo>
                    <a:pt x="188" y="21"/>
                  </a:lnTo>
                  <a:lnTo>
                    <a:pt x="186" y="21"/>
                  </a:lnTo>
                  <a:lnTo>
                    <a:pt x="184" y="19"/>
                  </a:lnTo>
                  <a:lnTo>
                    <a:pt x="182" y="17"/>
                  </a:lnTo>
                  <a:lnTo>
                    <a:pt x="178" y="17"/>
                  </a:lnTo>
                  <a:lnTo>
                    <a:pt x="178" y="13"/>
                  </a:lnTo>
                  <a:lnTo>
                    <a:pt x="174" y="11"/>
                  </a:lnTo>
                  <a:lnTo>
                    <a:pt x="172" y="10"/>
                  </a:lnTo>
                  <a:lnTo>
                    <a:pt x="170" y="8"/>
                  </a:lnTo>
                  <a:lnTo>
                    <a:pt x="168" y="6"/>
                  </a:lnTo>
                  <a:lnTo>
                    <a:pt x="165" y="4"/>
                  </a:lnTo>
                  <a:lnTo>
                    <a:pt x="161" y="4"/>
                  </a:lnTo>
                  <a:lnTo>
                    <a:pt x="157" y="2"/>
                  </a:lnTo>
                  <a:lnTo>
                    <a:pt x="151" y="2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128" y="2"/>
                  </a:lnTo>
                  <a:lnTo>
                    <a:pt x="126" y="2"/>
                  </a:lnTo>
                  <a:lnTo>
                    <a:pt x="124" y="2"/>
                  </a:lnTo>
                  <a:lnTo>
                    <a:pt x="11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3" y="4"/>
                  </a:lnTo>
                  <a:lnTo>
                    <a:pt x="99" y="6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2" y="6"/>
                  </a:lnTo>
                  <a:lnTo>
                    <a:pt x="71" y="6"/>
                  </a:lnTo>
                  <a:lnTo>
                    <a:pt x="67" y="6"/>
                  </a:lnTo>
                  <a:lnTo>
                    <a:pt x="63" y="6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2" y="11"/>
                  </a:lnTo>
                  <a:lnTo>
                    <a:pt x="42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21"/>
                  </a:lnTo>
                  <a:lnTo>
                    <a:pt x="49" y="25"/>
                  </a:lnTo>
                  <a:lnTo>
                    <a:pt x="53" y="29"/>
                  </a:lnTo>
                  <a:lnTo>
                    <a:pt x="57" y="33"/>
                  </a:lnTo>
                  <a:lnTo>
                    <a:pt x="57" y="36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8"/>
                  </a:lnTo>
                  <a:lnTo>
                    <a:pt x="63" y="52"/>
                  </a:lnTo>
                  <a:lnTo>
                    <a:pt x="63" y="54"/>
                  </a:lnTo>
                  <a:lnTo>
                    <a:pt x="63" y="56"/>
                  </a:lnTo>
                  <a:lnTo>
                    <a:pt x="63" y="59"/>
                  </a:lnTo>
                  <a:lnTo>
                    <a:pt x="61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5" y="63"/>
                  </a:lnTo>
                  <a:lnTo>
                    <a:pt x="53" y="65"/>
                  </a:lnTo>
                  <a:lnTo>
                    <a:pt x="51" y="65"/>
                  </a:lnTo>
                  <a:lnTo>
                    <a:pt x="49" y="67"/>
                  </a:lnTo>
                  <a:lnTo>
                    <a:pt x="48" y="69"/>
                  </a:lnTo>
                  <a:lnTo>
                    <a:pt x="48" y="71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8" y="79"/>
                  </a:lnTo>
                  <a:lnTo>
                    <a:pt x="51" y="81"/>
                  </a:lnTo>
                  <a:lnTo>
                    <a:pt x="55" y="84"/>
                  </a:lnTo>
                  <a:lnTo>
                    <a:pt x="55" y="86"/>
                  </a:lnTo>
                  <a:lnTo>
                    <a:pt x="55" y="90"/>
                  </a:lnTo>
                  <a:lnTo>
                    <a:pt x="55" y="94"/>
                  </a:lnTo>
                  <a:lnTo>
                    <a:pt x="55" y="96"/>
                  </a:lnTo>
                  <a:lnTo>
                    <a:pt x="55" y="100"/>
                  </a:lnTo>
                  <a:lnTo>
                    <a:pt x="55" y="102"/>
                  </a:lnTo>
                  <a:lnTo>
                    <a:pt x="55" y="106"/>
                  </a:lnTo>
                  <a:lnTo>
                    <a:pt x="55" y="106"/>
                  </a:lnTo>
                  <a:lnTo>
                    <a:pt x="55" y="109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21"/>
                  </a:lnTo>
                  <a:lnTo>
                    <a:pt x="51" y="123"/>
                  </a:lnTo>
                  <a:lnTo>
                    <a:pt x="51" y="125"/>
                  </a:lnTo>
                  <a:lnTo>
                    <a:pt x="49" y="127"/>
                  </a:lnTo>
                  <a:lnTo>
                    <a:pt x="49" y="129"/>
                  </a:lnTo>
                  <a:lnTo>
                    <a:pt x="48" y="130"/>
                  </a:lnTo>
                  <a:lnTo>
                    <a:pt x="44" y="136"/>
                  </a:lnTo>
                  <a:lnTo>
                    <a:pt x="42" y="140"/>
                  </a:lnTo>
                  <a:lnTo>
                    <a:pt x="38" y="140"/>
                  </a:lnTo>
                  <a:lnTo>
                    <a:pt x="36" y="144"/>
                  </a:lnTo>
                  <a:lnTo>
                    <a:pt x="36" y="146"/>
                  </a:lnTo>
                  <a:lnTo>
                    <a:pt x="32" y="146"/>
                  </a:lnTo>
                  <a:lnTo>
                    <a:pt x="30" y="150"/>
                  </a:lnTo>
                  <a:lnTo>
                    <a:pt x="28" y="152"/>
                  </a:lnTo>
                  <a:lnTo>
                    <a:pt x="24" y="153"/>
                  </a:lnTo>
                  <a:lnTo>
                    <a:pt x="23" y="153"/>
                  </a:lnTo>
                  <a:lnTo>
                    <a:pt x="21" y="155"/>
                  </a:lnTo>
                  <a:lnTo>
                    <a:pt x="19" y="157"/>
                  </a:lnTo>
                  <a:lnTo>
                    <a:pt x="15" y="159"/>
                  </a:lnTo>
                  <a:lnTo>
                    <a:pt x="11" y="159"/>
                  </a:lnTo>
                  <a:lnTo>
                    <a:pt x="7" y="165"/>
                  </a:lnTo>
                  <a:lnTo>
                    <a:pt x="3" y="167"/>
                  </a:lnTo>
                  <a:lnTo>
                    <a:pt x="1" y="167"/>
                  </a:lnTo>
                  <a:lnTo>
                    <a:pt x="0" y="167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1" y="184"/>
                  </a:lnTo>
                  <a:lnTo>
                    <a:pt x="1" y="190"/>
                  </a:lnTo>
                  <a:lnTo>
                    <a:pt x="1" y="194"/>
                  </a:lnTo>
                  <a:lnTo>
                    <a:pt x="3" y="198"/>
                  </a:lnTo>
                  <a:lnTo>
                    <a:pt x="5" y="201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7" y="211"/>
                  </a:lnTo>
                  <a:lnTo>
                    <a:pt x="7" y="213"/>
                  </a:lnTo>
                  <a:lnTo>
                    <a:pt x="7" y="217"/>
                  </a:lnTo>
                  <a:lnTo>
                    <a:pt x="9" y="219"/>
                  </a:lnTo>
                  <a:lnTo>
                    <a:pt x="9" y="221"/>
                  </a:lnTo>
                  <a:lnTo>
                    <a:pt x="9" y="224"/>
                  </a:lnTo>
                  <a:lnTo>
                    <a:pt x="9" y="224"/>
                  </a:lnTo>
                  <a:lnTo>
                    <a:pt x="11" y="228"/>
                  </a:lnTo>
                  <a:lnTo>
                    <a:pt x="11" y="230"/>
                  </a:lnTo>
                  <a:lnTo>
                    <a:pt x="13" y="234"/>
                  </a:lnTo>
                  <a:lnTo>
                    <a:pt x="19" y="238"/>
                  </a:lnTo>
                  <a:lnTo>
                    <a:pt x="21" y="242"/>
                  </a:lnTo>
                  <a:lnTo>
                    <a:pt x="23" y="246"/>
                  </a:lnTo>
                  <a:lnTo>
                    <a:pt x="26" y="248"/>
                  </a:lnTo>
                  <a:lnTo>
                    <a:pt x="28" y="253"/>
                  </a:lnTo>
                  <a:lnTo>
                    <a:pt x="30" y="255"/>
                  </a:lnTo>
                  <a:lnTo>
                    <a:pt x="36" y="255"/>
                  </a:lnTo>
                  <a:lnTo>
                    <a:pt x="36" y="259"/>
                  </a:lnTo>
                  <a:lnTo>
                    <a:pt x="40" y="261"/>
                  </a:lnTo>
                  <a:lnTo>
                    <a:pt x="42" y="263"/>
                  </a:lnTo>
                  <a:lnTo>
                    <a:pt x="42" y="267"/>
                  </a:lnTo>
                  <a:lnTo>
                    <a:pt x="44" y="269"/>
                  </a:lnTo>
                  <a:lnTo>
                    <a:pt x="44" y="271"/>
                  </a:lnTo>
                  <a:lnTo>
                    <a:pt x="44" y="272"/>
                  </a:lnTo>
                  <a:lnTo>
                    <a:pt x="46" y="274"/>
                  </a:lnTo>
                  <a:lnTo>
                    <a:pt x="48" y="274"/>
                  </a:lnTo>
                  <a:lnTo>
                    <a:pt x="46" y="274"/>
                  </a:lnTo>
                  <a:lnTo>
                    <a:pt x="48" y="272"/>
                  </a:lnTo>
                  <a:lnTo>
                    <a:pt x="49" y="274"/>
                  </a:lnTo>
                  <a:lnTo>
                    <a:pt x="49" y="274"/>
                  </a:lnTo>
                  <a:lnTo>
                    <a:pt x="51" y="274"/>
                  </a:lnTo>
                  <a:lnTo>
                    <a:pt x="53" y="278"/>
                  </a:lnTo>
                  <a:lnTo>
                    <a:pt x="53" y="280"/>
                  </a:lnTo>
                  <a:lnTo>
                    <a:pt x="55" y="280"/>
                  </a:lnTo>
                  <a:lnTo>
                    <a:pt x="57" y="282"/>
                  </a:lnTo>
                  <a:lnTo>
                    <a:pt x="61" y="286"/>
                  </a:lnTo>
                  <a:lnTo>
                    <a:pt x="63" y="288"/>
                  </a:lnTo>
                  <a:lnTo>
                    <a:pt x="65" y="290"/>
                  </a:lnTo>
                  <a:lnTo>
                    <a:pt x="67" y="290"/>
                  </a:lnTo>
                  <a:lnTo>
                    <a:pt x="69" y="294"/>
                  </a:lnTo>
                  <a:lnTo>
                    <a:pt x="69" y="295"/>
                  </a:lnTo>
                  <a:lnTo>
                    <a:pt x="71" y="297"/>
                  </a:lnTo>
                  <a:lnTo>
                    <a:pt x="72" y="299"/>
                  </a:lnTo>
                  <a:lnTo>
                    <a:pt x="76" y="299"/>
                  </a:lnTo>
                  <a:lnTo>
                    <a:pt x="78" y="297"/>
                  </a:lnTo>
                  <a:lnTo>
                    <a:pt x="80" y="297"/>
                  </a:lnTo>
                  <a:lnTo>
                    <a:pt x="84" y="297"/>
                  </a:lnTo>
                  <a:lnTo>
                    <a:pt x="86" y="297"/>
                  </a:lnTo>
                  <a:lnTo>
                    <a:pt x="88" y="299"/>
                  </a:lnTo>
                  <a:lnTo>
                    <a:pt x="88" y="299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5"/>
                  </a:lnTo>
                  <a:lnTo>
                    <a:pt x="97" y="305"/>
                  </a:lnTo>
                  <a:lnTo>
                    <a:pt x="99" y="303"/>
                  </a:lnTo>
                  <a:lnTo>
                    <a:pt x="101" y="303"/>
                  </a:lnTo>
                  <a:lnTo>
                    <a:pt x="105" y="305"/>
                  </a:lnTo>
                  <a:lnTo>
                    <a:pt x="107" y="307"/>
                  </a:lnTo>
                  <a:lnTo>
                    <a:pt x="109" y="311"/>
                  </a:lnTo>
                  <a:lnTo>
                    <a:pt x="111" y="311"/>
                  </a:lnTo>
                  <a:lnTo>
                    <a:pt x="113" y="313"/>
                  </a:lnTo>
                  <a:lnTo>
                    <a:pt x="113" y="315"/>
                  </a:lnTo>
                  <a:lnTo>
                    <a:pt x="117" y="317"/>
                  </a:lnTo>
                  <a:lnTo>
                    <a:pt x="119" y="317"/>
                  </a:lnTo>
                  <a:lnTo>
                    <a:pt x="122" y="317"/>
                  </a:lnTo>
                  <a:lnTo>
                    <a:pt x="124" y="317"/>
                  </a:lnTo>
                  <a:lnTo>
                    <a:pt x="130" y="319"/>
                  </a:lnTo>
                  <a:lnTo>
                    <a:pt x="134" y="319"/>
                  </a:lnTo>
                  <a:lnTo>
                    <a:pt x="140" y="319"/>
                  </a:lnTo>
                  <a:lnTo>
                    <a:pt x="143" y="319"/>
                  </a:lnTo>
                  <a:lnTo>
                    <a:pt x="147" y="319"/>
                  </a:lnTo>
                  <a:lnTo>
                    <a:pt x="151" y="319"/>
                  </a:lnTo>
                  <a:lnTo>
                    <a:pt x="157" y="319"/>
                  </a:lnTo>
                  <a:lnTo>
                    <a:pt x="161" y="319"/>
                  </a:lnTo>
                  <a:lnTo>
                    <a:pt x="163" y="319"/>
                  </a:lnTo>
                  <a:lnTo>
                    <a:pt x="165" y="319"/>
                  </a:lnTo>
                  <a:lnTo>
                    <a:pt x="168" y="319"/>
                  </a:lnTo>
                  <a:lnTo>
                    <a:pt x="170" y="322"/>
                  </a:lnTo>
                  <a:lnTo>
                    <a:pt x="174" y="324"/>
                  </a:lnTo>
                  <a:lnTo>
                    <a:pt x="174" y="328"/>
                  </a:lnTo>
                  <a:lnTo>
                    <a:pt x="176" y="330"/>
                  </a:lnTo>
                  <a:lnTo>
                    <a:pt x="178" y="334"/>
                  </a:lnTo>
                  <a:lnTo>
                    <a:pt x="180" y="336"/>
                  </a:lnTo>
                  <a:lnTo>
                    <a:pt x="180" y="338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90" y="343"/>
                  </a:lnTo>
                  <a:lnTo>
                    <a:pt x="188" y="347"/>
                  </a:lnTo>
                  <a:lnTo>
                    <a:pt x="188" y="351"/>
                  </a:lnTo>
                  <a:lnTo>
                    <a:pt x="188" y="353"/>
                  </a:lnTo>
                  <a:lnTo>
                    <a:pt x="188" y="355"/>
                  </a:lnTo>
                  <a:lnTo>
                    <a:pt x="188" y="359"/>
                  </a:lnTo>
                  <a:lnTo>
                    <a:pt x="188" y="361"/>
                  </a:lnTo>
                  <a:lnTo>
                    <a:pt x="188" y="365"/>
                  </a:lnTo>
                  <a:lnTo>
                    <a:pt x="186" y="368"/>
                  </a:lnTo>
                  <a:lnTo>
                    <a:pt x="186" y="370"/>
                  </a:lnTo>
                  <a:lnTo>
                    <a:pt x="184" y="376"/>
                  </a:lnTo>
                  <a:lnTo>
                    <a:pt x="184" y="382"/>
                  </a:lnTo>
                  <a:lnTo>
                    <a:pt x="186" y="382"/>
                  </a:lnTo>
                  <a:lnTo>
                    <a:pt x="188" y="384"/>
                  </a:lnTo>
                  <a:lnTo>
                    <a:pt x="188" y="388"/>
                  </a:lnTo>
                  <a:lnTo>
                    <a:pt x="188" y="390"/>
                  </a:lnTo>
                  <a:lnTo>
                    <a:pt x="188" y="391"/>
                  </a:lnTo>
                  <a:lnTo>
                    <a:pt x="190" y="393"/>
                  </a:lnTo>
                  <a:lnTo>
                    <a:pt x="191" y="395"/>
                  </a:lnTo>
                  <a:lnTo>
                    <a:pt x="193" y="395"/>
                  </a:lnTo>
                  <a:lnTo>
                    <a:pt x="195" y="395"/>
                  </a:lnTo>
                  <a:lnTo>
                    <a:pt x="199" y="395"/>
                  </a:lnTo>
                  <a:lnTo>
                    <a:pt x="201" y="395"/>
                  </a:lnTo>
                  <a:lnTo>
                    <a:pt x="205" y="395"/>
                  </a:lnTo>
                  <a:lnTo>
                    <a:pt x="205" y="397"/>
                  </a:lnTo>
                  <a:lnTo>
                    <a:pt x="209" y="399"/>
                  </a:lnTo>
                  <a:lnTo>
                    <a:pt x="211" y="399"/>
                  </a:lnTo>
                  <a:lnTo>
                    <a:pt x="214" y="399"/>
                  </a:lnTo>
                  <a:lnTo>
                    <a:pt x="216" y="401"/>
                  </a:lnTo>
                  <a:lnTo>
                    <a:pt x="220" y="401"/>
                  </a:lnTo>
                  <a:lnTo>
                    <a:pt x="222" y="401"/>
                  </a:lnTo>
                  <a:lnTo>
                    <a:pt x="226" y="401"/>
                  </a:lnTo>
                  <a:lnTo>
                    <a:pt x="230" y="399"/>
                  </a:lnTo>
                  <a:lnTo>
                    <a:pt x="232" y="399"/>
                  </a:lnTo>
                  <a:lnTo>
                    <a:pt x="236" y="399"/>
                  </a:lnTo>
                  <a:lnTo>
                    <a:pt x="239" y="399"/>
                  </a:lnTo>
                  <a:lnTo>
                    <a:pt x="241" y="399"/>
                  </a:lnTo>
                  <a:lnTo>
                    <a:pt x="243" y="397"/>
                  </a:lnTo>
                  <a:lnTo>
                    <a:pt x="245" y="397"/>
                  </a:lnTo>
                  <a:lnTo>
                    <a:pt x="249" y="397"/>
                  </a:lnTo>
                  <a:lnTo>
                    <a:pt x="251" y="395"/>
                  </a:lnTo>
                  <a:lnTo>
                    <a:pt x="253" y="395"/>
                  </a:lnTo>
                  <a:lnTo>
                    <a:pt x="253" y="39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61" y="388"/>
                  </a:lnTo>
                  <a:lnTo>
                    <a:pt x="264" y="388"/>
                  </a:lnTo>
                  <a:lnTo>
                    <a:pt x="266" y="388"/>
                  </a:lnTo>
                  <a:lnTo>
                    <a:pt x="270" y="388"/>
                  </a:lnTo>
                  <a:lnTo>
                    <a:pt x="272" y="388"/>
                  </a:lnTo>
                  <a:lnTo>
                    <a:pt x="276" y="388"/>
                  </a:lnTo>
                  <a:lnTo>
                    <a:pt x="278" y="388"/>
                  </a:lnTo>
                  <a:lnTo>
                    <a:pt x="282" y="388"/>
                  </a:lnTo>
                  <a:lnTo>
                    <a:pt x="284" y="388"/>
                  </a:lnTo>
                  <a:lnTo>
                    <a:pt x="285" y="388"/>
                  </a:lnTo>
                  <a:lnTo>
                    <a:pt x="289" y="390"/>
                  </a:lnTo>
                  <a:lnTo>
                    <a:pt x="293" y="390"/>
                  </a:lnTo>
                  <a:lnTo>
                    <a:pt x="295" y="390"/>
                  </a:lnTo>
                  <a:lnTo>
                    <a:pt x="299" y="388"/>
                  </a:lnTo>
                  <a:lnTo>
                    <a:pt x="301" y="388"/>
                  </a:lnTo>
                  <a:lnTo>
                    <a:pt x="301" y="388"/>
                  </a:lnTo>
                  <a:lnTo>
                    <a:pt x="305" y="388"/>
                  </a:lnTo>
                  <a:lnTo>
                    <a:pt x="308" y="388"/>
                  </a:lnTo>
                  <a:lnTo>
                    <a:pt x="312" y="388"/>
                  </a:lnTo>
                  <a:lnTo>
                    <a:pt x="316" y="388"/>
                  </a:lnTo>
                  <a:lnTo>
                    <a:pt x="320" y="388"/>
                  </a:lnTo>
                  <a:lnTo>
                    <a:pt x="324" y="388"/>
                  </a:lnTo>
                  <a:lnTo>
                    <a:pt x="328" y="388"/>
                  </a:lnTo>
                  <a:lnTo>
                    <a:pt x="330" y="388"/>
                  </a:lnTo>
                  <a:lnTo>
                    <a:pt x="331" y="388"/>
                  </a:lnTo>
                  <a:lnTo>
                    <a:pt x="335" y="386"/>
                  </a:lnTo>
                  <a:lnTo>
                    <a:pt x="337" y="382"/>
                  </a:lnTo>
                  <a:lnTo>
                    <a:pt x="343" y="380"/>
                  </a:lnTo>
                  <a:lnTo>
                    <a:pt x="345" y="380"/>
                  </a:lnTo>
                  <a:lnTo>
                    <a:pt x="349" y="378"/>
                  </a:lnTo>
                  <a:lnTo>
                    <a:pt x="353" y="376"/>
                  </a:lnTo>
                  <a:lnTo>
                    <a:pt x="355" y="376"/>
                  </a:lnTo>
                  <a:lnTo>
                    <a:pt x="360" y="374"/>
                  </a:lnTo>
                  <a:lnTo>
                    <a:pt x="364" y="372"/>
                  </a:lnTo>
                  <a:lnTo>
                    <a:pt x="364" y="370"/>
                  </a:lnTo>
                  <a:lnTo>
                    <a:pt x="366" y="370"/>
                  </a:lnTo>
                  <a:lnTo>
                    <a:pt x="366" y="368"/>
                  </a:lnTo>
                  <a:lnTo>
                    <a:pt x="370" y="368"/>
                  </a:lnTo>
                  <a:lnTo>
                    <a:pt x="370" y="365"/>
                  </a:lnTo>
                  <a:lnTo>
                    <a:pt x="370" y="363"/>
                  </a:lnTo>
                  <a:lnTo>
                    <a:pt x="372" y="361"/>
                  </a:lnTo>
                  <a:lnTo>
                    <a:pt x="376" y="361"/>
                  </a:lnTo>
                  <a:lnTo>
                    <a:pt x="378" y="357"/>
                  </a:lnTo>
                  <a:lnTo>
                    <a:pt x="379" y="355"/>
                  </a:lnTo>
                  <a:lnTo>
                    <a:pt x="381" y="353"/>
                  </a:lnTo>
                  <a:lnTo>
                    <a:pt x="383" y="351"/>
                  </a:lnTo>
                  <a:lnTo>
                    <a:pt x="383" y="351"/>
                  </a:lnTo>
                  <a:lnTo>
                    <a:pt x="387" y="349"/>
                  </a:lnTo>
                  <a:lnTo>
                    <a:pt x="389" y="34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3" name="Freeform 20"/>
            <p:cNvSpPr>
              <a:spLocks/>
            </p:cNvSpPr>
            <p:nvPr/>
          </p:nvSpPr>
          <p:spPr bwMode="auto">
            <a:xfrm>
              <a:off x="2256" y="2355"/>
              <a:ext cx="389" cy="401"/>
            </a:xfrm>
            <a:custGeom>
              <a:avLst/>
              <a:gdLst/>
              <a:ahLst/>
              <a:cxnLst>
                <a:cxn ang="0">
                  <a:pos x="372" y="332"/>
                </a:cxn>
                <a:cxn ang="0">
                  <a:pos x="355" y="317"/>
                </a:cxn>
                <a:cxn ang="0">
                  <a:pos x="345" y="290"/>
                </a:cxn>
                <a:cxn ang="0">
                  <a:pos x="355" y="272"/>
                </a:cxn>
                <a:cxn ang="0">
                  <a:pos x="351" y="255"/>
                </a:cxn>
                <a:cxn ang="0">
                  <a:pos x="360" y="240"/>
                </a:cxn>
                <a:cxn ang="0">
                  <a:pos x="356" y="221"/>
                </a:cxn>
                <a:cxn ang="0">
                  <a:pos x="343" y="209"/>
                </a:cxn>
                <a:cxn ang="0">
                  <a:pos x="341" y="188"/>
                </a:cxn>
                <a:cxn ang="0">
                  <a:pos x="347" y="167"/>
                </a:cxn>
                <a:cxn ang="0">
                  <a:pos x="356" y="148"/>
                </a:cxn>
                <a:cxn ang="0">
                  <a:pos x="349" y="136"/>
                </a:cxn>
                <a:cxn ang="0">
                  <a:pos x="331" y="123"/>
                </a:cxn>
                <a:cxn ang="0">
                  <a:pos x="314" y="113"/>
                </a:cxn>
                <a:cxn ang="0">
                  <a:pos x="308" y="94"/>
                </a:cxn>
                <a:cxn ang="0">
                  <a:pos x="287" y="79"/>
                </a:cxn>
                <a:cxn ang="0">
                  <a:pos x="266" y="67"/>
                </a:cxn>
                <a:cxn ang="0">
                  <a:pos x="245" y="61"/>
                </a:cxn>
                <a:cxn ang="0">
                  <a:pos x="224" y="42"/>
                </a:cxn>
                <a:cxn ang="0">
                  <a:pos x="201" y="29"/>
                </a:cxn>
                <a:cxn ang="0">
                  <a:pos x="186" y="21"/>
                </a:cxn>
                <a:cxn ang="0">
                  <a:pos x="168" y="6"/>
                </a:cxn>
                <a:cxn ang="0">
                  <a:pos x="134" y="2"/>
                </a:cxn>
                <a:cxn ang="0">
                  <a:pos x="99" y="6"/>
                </a:cxn>
                <a:cxn ang="0">
                  <a:pos x="71" y="6"/>
                </a:cxn>
                <a:cxn ang="0">
                  <a:pos x="44" y="6"/>
                </a:cxn>
                <a:cxn ang="0">
                  <a:pos x="42" y="11"/>
                </a:cxn>
                <a:cxn ang="0">
                  <a:pos x="57" y="36"/>
                </a:cxn>
                <a:cxn ang="0">
                  <a:pos x="63" y="59"/>
                </a:cxn>
                <a:cxn ang="0">
                  <a:pos x="48" y="69"/>
                </a:cxn>
                <a:cxn ang="0">
                  <a:pos x="55" y="90"/>
                </a:cxn>
                <a:cxn ang="0">
                  <a:pos x="53" y="113"/>
                </a:cxn>
                <a:cxn ang="0">
                  <a:pos x="44" y="136"/>
                </a:cxn>
                <a:cxn ang="0">
                  <a:pos x="24" y="153"/>
                </a:cxn>
                <a:cxn ang="0">
                  <a:pos x="1" y="167"/>
                </a:cxn>
                <a:cxn ang="0">
                  <a:pos x="1" y="194"/>
                </a:cxn>
                <a:cxn ang="0">
                  <a:pos x="9" y="219"/>
                </a:cxn>
                <a:cxn ang="0">
                  <a:pos x="21" y="242"/>
                </a:cxn>
                <a:cxn ang="0">
                  <a:pos x="42" y="263"/>
                </a:cxn>
                <a:cxn ang="0">
                  <a:pos x="48" y="272"/>
                </a:cxn>
                <a:cxn ang="0">
                  <a:pos x="61" y="286"/>
                </a:cxn>
                <a:cxn ang="0">
                  <a:pos x="76" y="299"/>
                </a:cxn>
                <a:cxn ang="0">
                  <a:pos x="92" y="303"/>
                </a:cxn>
                <a:cxn ang="0">
                  <a:pos x="111" y="311"/>
                </a:cxn>
                <a:cxn ang="0">
                  <a:pos x="134" y="319"/>
                </a:cxn>
                <a:cxn ang="0">
                  <a:pos x="165" y="319"/>
                </a:cxn>
                <a:cxn ang="0">
                  <a:pos x="180" y="338"/>
                </a:cxn>
                <a:cxn ang="0">
                  <a:pos x="188" y="355"/>
                </a:cxn>
                <a:cxn ang="0">
                  <a:pos x="186" y="382"/>
                </a:cxn>
                <a:cxn ang="0">
                  <a:pos x="195" y="395"/>
                </a:cxn>
                <a:cxn ang="0">
                  <a:pos x="216" y="401"/>
                </a:cxn>
                <a:cxn ang="0">
                  <a:pos x="241" y="399"/>
                </a:cxn>
                <a:cxn ang="0">
                  <a:pos x="257" y="390"/>
                </a:cxn>
                <a:cxn ang="0">
                  <a:pos x="282" y="388"/>
                </a:cxn>
                <a:cxn ang="0">
                  <a:pos x="301" y="388"/>
                </a:cxn>
                <a:cxn ang="0">
                  <a:pos x="330" y="388"/>
                </a:cxn>
                <a:cxn ang="0">
                  <a:pos x="355" y="376"/>
                </a:cxn>
                <a:cxn ang="0">
                  <a:pos x="370" y="363"/>
                </a:cxn>
                <a:cxn ang="0">
                  <a:pos x="387" y="349"/>
                </a:cxn>
              </a:cxnLst>
              <a:rect l="0" t="0" r="r" b="b"/>
              <a:pathLst>
                <a:path w="389" h="401">
                  <a:moveTo>
                    <a:pt x="389" y="349"/>
                  </a:moveTo>
                  <a:lnTo>
                    <a:pt x="385" y="345"/>
                  </a:lnTo>
                  <a:lnTo>
                    <a:pt x="379" y="342"/>
                  </a:lnTo>
                  <a:lnTo>
                    <a:pt x="379" y="338"/>
                  </a:lnTo>
                  <a:lnTo>
                    <a:pt x="378" y="336"/>
                  </a:lnTo>
                  <a:lnTo>
                    <a:pt x="376" y="334"/>
                  </a:lnTo>
                  <a:lnTo>
                    <a:pt x="374" y="334"/>
                  </a:lnTo>
                  <a:lnTo>
                    <a:pt x="372" y="332"/>
                  </a:lnTo>
                  <a:lnTo>
                    <a:pt x="370" y="332"/>
                  </a:lnTo>
                  <a:lnTo>
                    <a:pt x="368" y="332"/>
                  </a:lnTo>
                  <a:lnTo>
                    <a:pt x="366" y="328"/>
                  </a:lnTo>
                  <a:lnTo>
                    <a:pt x="364" y="326"/>
                  </a:lnTo>
                  <a:lnTo>
                    <a:pt x="362" y="324"/>
                  </a:lnTo>
                  <a:lnTo>
                    <a:pt x="358" y="322"/>
                  </a:lnTo>
                  <a:lnTo>
                    <a:pt x="355" y="319"/>
                  </a:lnTo>
                  <a:lnTo>
                    <a:pt x="355" y="317"/>
                  </a:lnTo>
                  <a:lnTo>
                    <a:pt x="355" y="311"/>
                  </a:lnTo>
                  <a:lnTo>
                    <a:pt x="353" y="307"/>
                  </a:lnTo>
                  <a:lnTo>
                    <a:pt x="351" y="303"/>
                  </a:lnTo>
                  <a:lnTo>
                    <a:pt x="351" y="299"/>
                  </a:lnTo>
                  <a:lnTo>
                    <a:pt x="349" y="299"/>
                  </a:lnTo>
                  <a:lnTo>
                    <a:pt x="347" y="297"/>
                  </a:lnTo>
                  <a:lnTo>
                    <a:pt x="345" y="294"/>
                  </a:lnTo>
                  <a:lnTo>
                    <a:pt x="345" y="290"/>
                  </a:lnTo>
                  <a:lnTo>
                    <a:pt x="345" y="288"/>
                  </a:lnTo>
                  <a:lnTo>
                    <a:pt x="345" y="284"/>
                  </a:lnTo>
                  <a:lnTo>
                    <a:pt x="347" y="282"/>
                  </a:lnTo>
                  <a:lnTo>
                    <a:pt x="349" y="280"/>
                  </a:lnTo>
                  <a:lnTo>
                    <a:pt x="351" y="280"/>
                  </a:lnTo>
                  <a:lnTo>
                    <a:pt x="351" y="276"/>
                  </a:lnTo>
                  <a:lnTo>
                    <a:pt x="355" y="274"/>
                  </a:lnTo>
                  <a:lnTo>
                    <a:pt x="355" y="272"/>
                  </a:lnTo>
                  <a:lnTo>
                    <a:pt x="355" y="271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3" y="259"/>
                  </a:lnTo>
                  <a:lnTo>
                    <a:pt x="353" y="257"/>
                  </a:lnTo>
                  <a:lnTo>
                    <a:pt x="351" y="255"/>
                  </a:lnTo>
                  <a:lnTo>
                    <a:pt x="351" y="255"/>
                  </a:lnTo>
                  <a:lnTo>
                    <a:pt x="351" y="255"/>
                  </a:lnTo>
                  <a:lnTo>
                    <a:pt x="353" y="255"/>
                  </a:lnTo>
                  <a:lnTo>
                    <a:pt x="353" y="251"/>
                  </a:lnTo>
                  <a:lnTo>
                    <a:pt x="353" y="249"/>
                  </a:lnTo>
                  <a:lnTo>
                    <a:pt x="355" y="248"/>
                  </a:lnTo>
                  <a:lnTo>
                    <a:pt x="355" y="248"/>
                  </a:lnTo>
                  <a:lnTo>
                    <a:pt x="356" y="246"/>
                  </a:lnTo>
                  <a:lnTo>
                    <a:pt x="358" y="244"/>
                  </a:lnTo>
                  <a:lnTo>
                    <a:pt x="360" y="240"/>
                  </a:lnTo>
                  <a:lnTo>
                    <a:pt x="362" y="238"/>
                  </a:lnTo>
                  <a:lnTo>
                    <a:pt x="362" y="236"/>
                  </a:lnTo>
                  <a:lnTo>
                    <a:pt x="364" y="232"/>
                  </a:lnTo>
                  <a:lnTo>
                    <a:pt x="364" y="228"/>
                  </a:lnTo>
                  <a:lnTo>
                    <a:pt x="362" y="226"/>
                  </a:lnTo>
                  <a:lnTo>
                    <a:pt x="362" y="223"/>
                  </a:lnTo>
                  <a:lnTo>
                    <a:pt x="358" y="223"/>
                  </a:lnTo>
                  <a:lnTo>
                    <a:pt x="356" y="221"/>
                  </a:lnTo>
                  <a:lnTo>
                    <a:pt x="356" y="219"/>
                  </a:lnTo>
                  <a:lnTo>
                    <a:pt x="355" y="219"/>
                  </a:lnTo>
                  <a:lnTo>
                    <a:pt x="351" y="217"/>
                  </a:lnTo>
                  <a:lnTo>
                    <a:pt x="349" y="215"/>
                  </a:lnTo>
                  <a:lnTo>
                    <a:pt x="347" y="213"/>
                  </a:lnTo>
                  <a:lnTo>
                    <a:pt x="347" y="211"/>
                  </a:lnTo>
                  <a:lnTo>
                    <a:pt x="345" y="211"/>
                  </a:lnTo>
                  <a:lnTo>
                    <a:pt x="343" y="209"/>
                  </a:lnTo>
                  <a:lnTo>
                    <a:pt x="341" y="207"/>
                  </a:lnTo>
                  <a:lnTo>
                    <a:pt x="339" y="203"/>
                  </a:lnTo>
                  <a:lnTo>
                    <a:pt x="337" y="201"/>
                  </a:lnTo>
                  <a:lnTo>
                    <a:pt x="337" y="198"/>
                  </a:lnTo>
                  <a:lnTo>
                    <a:pt x="337" y="194"/>
                  </a:lnTo>
                  <a:lnTo>
                    <a:pt x="339" y="194"/>
                  </a:lnTo>
                  <a:lnTo>
                    <a:pt x="341" y="192"/>
                  </a:lnTo>
                  <a:lnTo>
                    <a:pt x="341" y="188"/>
                  </a:lnTo>
                  <a:lnTo>
                    <a:pt x="343" y="186"/>
                  </a:lnTo>
                  <a:lnTo>
                    <a:pt x="345" y="184"/>
                  </a:lnTo>
                  <a:lnTo>
                    <a:pt x="345" y="182"/>
                  </a:lnTo>
                  <a:lnTo>
                    <a:pt x="345" y="178"/>
                  </a:lnTo>
                  <a:lnTo>
                    <a:pt x="345" y="175"/>
                  </a:lnTo>
                  <a:lnTo>
                    <a:pt x="345" y="173"/>
                  </a:lnTo>
                  <a:lnTo>
                    <a:pt x="347" y="169"/>
                  </a:lnTo>
                  <a:lnTo>
                    <a:pt x="347" y="167"/>
                  </a:lnTo>
                  <a:lnTo>
                    <a:pt x="347" y="163"/>
                  </a:lnTo>
                  <a:lnTo>
                    <a:pt x="347" y="161"/>
                  </a:lnTo>
                  <a:lnTo>
                    <a:pt x="349" y="157"/>
                  </a:lnTo>
                  <a:lnTo>
                    <a:pt x="351" y="155"/>
                  </a:lnTo>
                  <a:lnTo>
                    <a:pt x="353" y="153"/>
                  </a:lnTo>
                  <a:lnTo>
                    <a:pt x="355" y="152"/>
                  </a:lnTo>
                  <a:lnTo>
                    <a:pt x="355" y="150"/>
                  </a:lnTo>
                  <a:lnTo>
                    <a:pt x="356" y="148"/>
                  </a:lnTo>
                  <a:lnTo>
                    <a:pt x="358" y="146"/>
                  </a:lnTo>
                  <a:lnTo>
                    <a:pt x="360" y="146"/>
                  </a:lnTo>
                  <a:lnTo>
                    <a:pt x="360" y="142"/>
                  </a:lnTo>
                  <a:lnTo>
                    <a:pt x="356" y="142"/>
                  </a:lnTo>
                  <a:lnTo>
                    <a:pt x="355" y="140"/>
                  </a:lnTo>
                  <a:lnTo>
                    <a:pt x="353" y="140"/>
                  </a:lnTo>
                  <a:lnTo>
                    <a:pt x="351" y="136"/>
                  </a:lnTo>
                  <a:lnTo>
                    <a:pt x="349" y="136"/>
                  </a:lnTo>
                  <a:lnTo>
                    <a:pt x="345" y="136"/>
                  </a:lnTo>
                  <a:lnTo>
                    <a:pt x="343" y="134"/>
                  </a:lnTo>
                  <a:lnTo>
                    <a:pt x="339" y="132"/>
                  </a:lnTo>
                  <a:lnTo>
                    <a:pt x="339" y="130"/>
                  </a:lnTo>
                  <a:lnTo>
                    <a:pt x="337" y="130"/>
                  </a:lnTo>
                  <a:lnTo>
                    <a:pt x="335" y="129"/>
                  </a:lnTo>
                  <a:lnTo>
                    <a:pt x="333" y="125"/>
                  </a:lnTo>
                  <a:lnTo>
                    <a:pt x="331" y="123"/>
                  </a:lnTo>
                  <a:lnTo>
                    <a:pt x="330" y="123"/>
                  </a:lnTo>
                  <a:lnTo>
                    <a:pt x="328" y="123"/>
                  </a:lnTo>
                  <a:lnTo>
                    <a:pt x="324" y="123"/>
                  </a:lnTo>
                  <a:lnTo>
                    <a:pt x="320" y="121"/>
                  </a:lnTo>
                  <a:lnTo>
                    <a:pt x="318" y="119"/>
                  </a:lnTo>
                  <a:lnTo>
                    <a:pt x="316" y="117"/>
                  </a:lnTo>
                  <a:lnTo>
                    <a:pt x="314" y="115"/>
                  </a:lnTo>
                  <a:lnTo>
                    <a:pt x="314" y="113"/>
                  </a:lnTo>
                  <a:lnTo>
                    <a:pt x="310" y="113"/>
                  </a:lnTo>
                  <a:lnTo>
                    <a:pt x="308" y="111"/>
                  </a:lnTo>
                  <a:lnTo>
                    <a:pt x="308" y="107"/>
                  </a:lnTo>
                  <a:lnTo>
                    <a:pt x="308" y="106"/>
                  </a:lnTo>
                  <a:lnTo>
                    <a:pt x="308" y="102"/>
                  </a:lnTo>
                  <a:lnTo>
                    <a:pt x="308" y="98"/>
                  </a:lnTo>
                  <a:lnTo>
                    <a:pt x="308" y="96"/>
                  </a:lnTo>
                  <a:lnTo>
                    <a:pt x="308" y="94"/>
                  </a:lnTo>
                  <a:lnTo>
                    <a:pt x="307" y="90"/>
                  </a:lnTo>
                  <a:lnTo>
                    <a:pt x="305" y="88"/>
                  </a:lnTo>
                  <a:lnTo>
                    <a:pt x="303" y="88"/>
                  </a:lnTo>
                  <a:lnTo>
                    <a:pt x="301" y="88"/>
                  </a:lnTo>
                  <a:lnTo>
                    <a:pt x="295" y="84"/>
                  </a:lnTo>
                  <a:lnTo>
                    <a:pt x="293" y="82"/>
                  </a:lnTo>
                  <a:lnTo>
                    <a:pt x="291" y="79"/>
                  </a:lnTo>
                  <a:lnTo>
                    <a:pt x="287" y="79"/>
                  </a:lnTo>
                  <a:lnTo>
                    <a:pt x="284" y="77"/>
                  </a:lnTo>
                  <a:lnTo>
                    <a:pt x="284" y="75"/>
                  </a:lnTo>
                  <a:lnTo>
                    <a:pt x="280" y="73"/>
                  </a:lnTo>
                  <a:lnTo>
                    <a:pt x="276" y="71"/>
                  </a:lnTo>
                  <a:lnTo>
                    <a:pt x="274" y="69"/>
                  </a:lnTo>
                  <a:lnTo>
                    <a:pt x="272" y="67"/>
                  </a:lnTo>
                  <a:lnTo>
                    <a:pt x="270" y="67"/>
                  </a:lnTo>
                  <a:lnTo>
                    <a:pt x="266" y="67"/>
                  </a:lnTo>
                  <a:lnTo>
                    <a:pt x="264" y="65"/>
                  </a:lnTo>
                  <a:lnTo>
                    <a:pt x="261" y="65"/>
                  </a:lnTo>
                  <a:lnTo>
                    <a:pt x="257" y="65"/>
                  </a:lnTo>
                  <a:lnTo>
                    <a:pt x="255" y="65"/>
                  </a:lnTo>
                  <a:lnTo>
                    <a:pt x="253" y="65"/>
                  </a:lnTo>
                  <a:lnTo>
                    <a:pt x="249" y="63"/>
                  </a:lnTo>
                  <a:lnTo>
                    <a:pt x="249" y="61"/>
                  </a:lnTo>
                  <a:lnTo>
                    <a:pt x="245" y="61"/>
                  </a:lnTo>
                  <a:lnTo>
                    <a:pt x="243" y="59"/>
                  </a:lnTo>
                  <a:lnTo>
                    <a:pt x="241" y="58"/>
                  </a:lnTo>
                  <a:lnTo>
                    <a:pt x="239" y="56"/>
                  </a:lnTo>
                  <a:lnTo>
                    <a:pt x="237" y="54"/>
                  </a:lnTo>
                  <a:lnTo>
                    <a:pt x="234" y="52"/>
                  </a:lnTo>
                  <a:lnTo>
                    <a:pt x="230" y="48"/>
                  </a:lnTo>
                  <a:lnTo>
                    <a:pt x="226" y="44"/>
                  </a:lnTo>
                  <a:lnTo>
                    <a:pt x="224" y="42"/>
                  </a:lnTo>
                  <a:lnTo>
                    <a:pt x="222" y="40"/>
                  </a:lnTo>
                  <a:lnTo>
                    <a:pt x="218" y="38"/>
                  </a:lnTo>
                  <a:lnTo>
                    <a:pt x="214" y="38"/>
                  </a:lnTo>
                  <a:lnTo>
                    <a:pt x="213" y="35"/>
                  </a:lnTo>
                  <a:lnTo>
                    <a:pt x="209" y="35"/>
                  </a:lnTo>
                  <a:lnTo>
                    <a:pt x="205" y="33"/>
                  </a:lnTo>
                  <a:lnTo>
                    <a:pt x="203" y="31"/>
                  </a:lnTo>
                  <a:lnTo>
                    <a:pt x="201" y="29"/>
                  </a:lnTo>
                  <a:lnTo>
                    <a:pt x="197" y="29"/>
                  </a:lnTo>
                  <a:lnTo>
                    <a:pt x="197" y="27"/>
                  </a:lnTo>
                  <a:lnTo>
                    <a:pt x="195" y="27"/>
                  </a:lnTo>
                  <a:lnTo>
                    <a:pt x="193" y="25"/>
                  </a:lnTo>
                  <a:lnTo>
                    <a:pt x="190" y="25"/>
                  </a:lnTo>
                  <a:lnTo>
                    <a:pt x="190" y="23"/>
                  </a:lnTo>
                  <a:lnTo>
                    <a:pt x="188" y="21"/>
                  </a:lnTo>
                  <a:lnTo>
                    <a:pt x="186" y="21"/>
                  </a:lnTo>
                  <a:lnTo>
                    <a:pt x="184" y="19"/>
                  </a:lnTo>
                  <a:lnTo>
                    <a:pt x="182" y="17"/>
                  </a:lnTo>
                  <a:lnTo>
                    <a:pt x="178" y="17"/>
                  </a:lnTo>
                  <a:lnTo>
                    <a:pt x="178" y="13"/>
                  </a:lnTo>
                  <a:lnTo>
                    <a:pt x="174" y="11"/>
                  </a:lnTo>
                  <a:lnTo>
                    <a:pt x="172" y="10"/>
                  </a:lnTo>
                  <a:lnTo>
                    <a:pt x="170" y="8"/>
                  </a:lnTo>
                  <a:lnTo>
                    <a:pt x="168" y="6"/>
                  </a:lnTo>
                  <a:lnTo>
                    <a:pt x="165" y="4"/>
                  </a:lnTo>
                  <a:lnTo>
                    <a:pt x="161" y="4"/>
                  </a:lnTo>
                  <a:lnTo>
                    <a:pt x="157" y="2"/>
                  </a:lnTo>
                  <a:lnTo>
                    <a:pt x="151" y="2"/>
                  </a:lnTo>
                  <a:lnTo>
                    <a:pt x="147" y="0"/>
                  </a:lnTo>
                  <a:lnTo>
                    <a:pt x="143" y="0"/>
                  </a:lnTo>
                  <a:lnTo>
                    <a:pt x="138" y="0"/>
                  </a:lnTo>
                  <a:lnTo>
                    <a:pt x="134" y="2"/>
                  </a:lnTo>
                  <a:lnTo>
                    <a:pt x="128" y="2"/>
                  </a:lnTo>
                  <a:lnTo>
                    <a:pt x="126" y="2"/>
                  </a:lnTo>
                  <a:lnTo>
                    <a:pt x="124" y="2"/>
                  </a:lnTo>
                  <a:lnTo>
                    <a:pt x="11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3" y="4"/>
                  </a:lnTo>
                  <a:lnTo>
                    <a:pt x="99" y="6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88" y="6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6" y="6"/>
                  </a:lnTo>
                  <a:lnTo>
                    <a:pt x="72" y="6"/>
                  </a:lnTo>
                  <a:lnTo>
                    <a:pt x="71" y="6"/>
                  </a:lnTo>
                  <a:lnTo>
                    <a:pt x="67" y="6"/>
                  </a:lnTo>
                  <a:lnTo>
                    <a:pt x="63" y="6"/>
                  </a:lnTo>
                  <a:lnTo>
                    <a:pt x="61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38" y="6"/>
                  </a:lnTo>
                  <a:lnTo>
                    <a:pt x="36" y="8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0" y="8"/>
                  </a:lnTo>
                  <a:lnTo>
                    <a:pt x="42" y="11"/>
                  </a:lnTo>
                  <a:lnTo>
                    <a:pt x="42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21"/>
                  </a:lnTo>
                  <a:lnTo>
                    <a:pt x="49" y="25"/>
                  </a:lnTo>
                  <a:lnTo>
                    <a:pt x="53" y="29"/>
                  </a:lnTo>
                  <a:lnTo>
                    <a:pt x="57" y="33"/>
                  </a:lnTo>
                  <a:lnTo>
                    <a:pt x="57" y="36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8"/>
                  </a:lnTo>
                  <a:lnTo>
                    <a:pt x="63" y="52"/>
                  </a:lnTo>
                  <a:lnTo>
                    <a:pt x="63" y="54"/>
                  </a:lnTo>
                  <a:lnTo>
                    <a:pt x="63" y="56"/>
                  </a:lnTo>
                  <a:lnTo>
                    <a:pt x="63" y="59"/>
                  </a:lnTo>
                  <a:lnTo>
                    <a:pt x="61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5" y="63"/>
                  </a:lnTo>
                  <a:lnTo>
                    <a:pt x="53" y="65"/>
                  </a:lnTo>
                  <a:lnTo>
                    <a:pt x="51" y="65"/>
                  </a:lnTo>
                  <a:lnTo>
                    <a:pt x="49" y="67"/>
                  </a:lnTo>
                  <a:lnTo>
                    <a:pt x="48" y="69"/>
                  </a:lnTo>
                  <a:lnTo>
                    <a:pt x="48" y="71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8" y="79"/>
                  </a:lnTo>
                  <a:lnTo>
                    <a:pt x="51" y="81"/>
                  </a:lnTo>
                  <a:lnTo>
                    <a:pt x="55" y="84"/>
                  </a:lnTo>
                  <a:lnTo>
                    <a:pt x="55" y="86"/>
                  </a:lnTo>
                  <a:lnTo>
                    <a:pt x="55" y="90"/>
                  </a:lnTo>
                  <a:lnTo>
                    <a:pt x="55" y="94"/>
                  </a:lnTo>
                  <a:lnTo>
                    <a:pt x="55" y="96"/>
                  </a:lnTo>
                  <a:lnTo>
                    <a:pt x="55" y="100"/>
                  </a:lnTo>
                  <a:lnTo>
                    <a:pt x="55" y="102"/>
                  </a:lnTo>
                  <a:lnTo>
                    <a:pt x="55" y="106"/>
                  </a:lnTo>
                  <a:lnTo>
                    <a:pt x="55" y="106"/>
                  </a:lnTo>
                  <a:lnTo>
                    <a:pt x="55" y="109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21"/>
                  </a:lnTo>
                  <a:lnTo>
                    <a:pt x="51" y="123"/>
                  </a:lnTo>
                  <a:lnTo>
                    <a:pt x="51" y="125"/>
                  </a:lnTo>
                  <a:lnTo>
                    <a:pt x="49" y="127"/>
                  </a:lnTo>
                  <a:lnTo>
                    <a:pt x="49" y="129"/>
                  </a:lnTo>
                  <a:lnTo>
                    <a:pt x="48" y="130"/>
                  </a:lnTo>
                  <a:lnTo>
                    <a:pt x="44" y="136"/>
                  </a:lnTo>
                  <a:lnTo>
                    <a:pt x="42" y="140"/>
                  </a:lnTo>
                  <a:lnTo>
                    <a:pt x="38" y="140"/>
                  </a:lnTo>
                  <a:lnTo>
                    <a:pt x="36" y="144"/>
                  </a:lnTo>
                  <a:lnTo>
                    <a:pt x="36" y="146"/>
                  </a:lnTo>
                  <a:lnTo>
                    <a:pt x="32" y="146"/>
                  </a:lnTo>
                  <a:lnTo>
                    <a:pt x="30" y="150"/>
                  </a:lnTo>
                  <a:lnTo>
                    <a:pt x="28" y="152"/>
                  </a:lnTo>
                  <a:lnTo>
                    <a:pt x="24" y="153"/>
                  </a:lnTo>
                  <a:lnTo>
                    <a:pt x="23" y="153"/>
                  </a:lnTo>
                  <a:lnTo>
                    <a:pt x="21" y="155"/>
                  </a:lnTo>
                  <a:lnTo>
                    <a:pt x="19" y="157"/>
                  </a:lnTo>
                  <a:lnTo>
                    <a:pt x="15" y="159"/>
                  </a:lnTo>
                  <a:lnTo>
                    <a:pt x="11" y="159"/>
                  </a:lnTo>
                  <a:lnTo>
                    <a:pt x="7" y="165"/>
                  </a:lnTo>
                  <a:lnTo>
                    <a:pt x="3" y="167"/>
                  </a:lnTo>
                  <a:lnTo>
                    <a:pt x="1" y="167"/>
                  </a:lnTo>
                  <a:lnTo>
                    <a:pt x="0" y="167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8"/>
                  </a:lnTo>
                  <a:lnTo>
                    <a:pt x="0" y="180"/>
                  </a:lnTo>
                  <a:lnTo>
                    <a:pt x="1" y="184"/>
                  </a:lnTo>
                  <a:lnTo>
                    <a:pt x="1" y="190"/>
                  </a:lnTo>
                  <a:lnTo>
                    <a:pt x="1" y="194"/>
                  </a:lnTo>
                  <a:lnTo>
                    <a:pt x="3" y="198"/>
                  </a:lnTo>
                  <a:lnTo>
                    <a:pt x="5" y="201"/>
                  </a:lnTo>
                  <a:lnTo>
                    <a:pt x="5" y="205"/>
                  </a:lnTo>
                  <a:lnTo>
                    <a:pt x="7" y="207"/>
                  </a:lnTo>
                  <a:lnTo>
                    <a:pt x="7" y="211"/>
                  </a:lnTo>
                  <a:lnTo>
                    <a:pt x="7" y="213"/>
                  </a:lnTo>
                  <a:lnTo>
                    <a:pt x="7" y="217"/>
                  </a:lnTo>
                  <a:lnTo>
                    <a:pt x="9" y="219"/>
                  </a:lnTo>
                  <a:lnTo>
                    <a:pt x="9" y="221"/>
                  </a:lnTo>
                  <a:lnTo>
                    <a:pt x="9" y="224"/>
                  </a:lnTo>
                  <a:lnTo>
                    <a:pt x="9" y="224"/>
                  </a:lnTo>
                  <a:lnTo>
                    <a:pt x="11" y="228"/>
                  </a:lnTo>
                  <a:lnTo>
                    <a:pt x="11" y="230"/>
                  </a:lnTo>
                  <a:lnTo>
                    <a:pt x="13" y="234"/>
                  </a:lnTo>
                  <a:lnTo>
                    <a:pt x="19" y="238"/>
                  </a:lnTo>
                  <a:lnTo>
                    <a:pt x="21" y="242"/>
                  </a:lnTo>
                  <a:lnTo>
                    <a:pt x="23" y="246"/>
                  </a:lnTo>
                  <a:lnTo>
                    <a:pt x="26" y="248"/>
                  </a:lnTo>
                  <a:lnTo>
                    <a:pt x="28" y="253"/>
                  </a:lnTo>
                  <a:lnTo>
                    <a:pt x="30" y="255"/>
                  </a:lnTo>
                  <a:lnTo>
                    <a:pt x="36" y="255"/>
                  </a:lnTo>
                  <a:lnTo>
                    <a:pt x="36" y="259"/>
                  </a:lnTo>
                  <a:lnTo>
                    <a:pt x="40" y="261"/>
                  </a:lnTo>
                  <a:lnTo>
                    <a:pt x="42" y="263"/>
                  </a:lnTo>
                  <a:lnTo>
                    <a:pt x="42" y="267"/>
                  </a:lnTo>
                  <a:lnTo>
                    <a:pt x="44" y="269"/>
                  </a:lnTo>
                  <a:lnTo>
                    <a:pt x="44" y="271"/>
                  </a:lnTo>
                  <a:lnTo>
                    <a:pt x="44" y="272"/>
                  </a:lnTo>
                  <a:lnTo>
                    <a:pt x="46" y="274"/>
                  </a:lnTo>
                  <a:lnTo>
                    <a:pt x="48" y="274"/>
                  </a:lnTo>
                  <a:lnTo>
                    <a:pt x="46" y="274"/>
                  </a:lnTo>
                  <a:lnTo>
                    <a:pt x="48" y="272"/>
                  </a:lnTo>
                  <a:lnTo>
                    <a:pt x="49" y="274"/>
                  </a:lnTo>
                  <a:lnTo>
                    <a:pt x="49" y="274"/>
                  </a:lnTo>
                  <a:lnTo>
                    <a:pt x="51" y="274"/>
                  </a:lnTo>
                  <a:lnTo>
                    <a:pt x="53" y="278"/>
                  </a:lnTo>
                  <a:lnTo>
                    <a:pt x="53" y="280"/>
                  </a:lnTo>
                  <a:lnTo>
                    <a:pt x="55" y="280"/>
                  </a:lnTo>
                  <a:lnTo>
                    <a:pt x="57" y="282"/>
                  </a:lnTo>
                  <a:lnTo>
                    <a:pt x="61" y="286"/>
                  </a:lnTo>
                  <a:lnTo>
                    <a:pt x="63" y="288"/>
                  </a:lnTo>
                  <a:lnTo>
                    <a:pt x="65" y="290"/>
                  </a:lnTo>
                  <a:lnTo>
                    <a:pt x="67" y="290"/>
                  </a:lnTo>
                  <a:lnTo>
                    <a:pt x="69" y="294"/>
                  </a:lnTo>
                  <a:lnTo>
                    <a:pt x="69" y="295"/>
                  </a:lnTo>
                  <a:lnTo>
                    <a:pt x="71" y="297"/>
                  </a:lnTo>
                  <a:lnTo>
                    <a:pt x="72" y="299"/>
                  </a:lnTo>
                  <a:lnTo>
                    <a:pt x="76" y="299"/>
                  </a:lnTo>
                  <a:lnTo>
                    <a:pt x="78" y="297"/>
                  </a:lnTo>
                  <a:lnTo>
                    <a:pt x="80" y="297"/>
                  </a:lnTo>
                  <a:lnTo>
                    <a:pt x="84" y="297"/>
                  </a:lnTo>
                  <a:lnTo>
                    <a:pt x="86" y="297"/>
                  </a:lnTo>
                  <a:lnTo>
                    <a:pt x="88" y="299"/>
                  </a:lnTo>
                  <a:lnTo>
                    <a:pt x="88" y="299"/>
                  </a:lnTo>
                  <a:lnTo>
                    <a:pt x="90" y="301"/>
                  </a:lnTo>
                  <a:lnTo>
                    <a:pt x="92" y="303"/>
                  </a:lnTo>
                  <a:lnTo>
                    <a:pt x="94" y="305"/>
                  </a:lnTo>
                  <a:lnTo>
                    <a:pt x="97" y="305"/>
                  </a:lnTo>
                  <a:lnTo>
                    <a:pt x="99" y="303"/>
                  </a:lnTo>
                  <a:lnTo>
                    <a:pt x="101" y="303"/>
                  </a:lnTo>
                  <a:lnTo>
                    <a:pt x="105" y="305"/>
                  </a:lnTo>
                  <a:lnTo>
                    <a:pt x="107" y="307"/>
                  </a:lnTo>
                  <a:lnTo>
                    <a:pt x="109" y="311"/>
                  </a:lnTo>
                  <a:lnTo>
                    <a:pt x="111" y="311"/>
                  </a:lnTo>
                  <a:lnTo>
                    <a:pt x="113" y="313"/>
                  </a:lnTo>
                  <a:lnTo>
                    <a:pt x="113" y="315"/>
                  </a:lnTo>
                  <a:lnTo>
                    <a:pt x="117" y="317"/>
                  </a:lnTo>
                  <a:lnTo>
                    <a:pt x="119" y="317"/>
                  </a:lnTo>
                  <a:lnTo>
                    <a:pt x="122" y="317"/>
                  </a:lnTo>
                  <a:lnTo>
                    <a:pt x="124" y="317"/>
                  </a:lnTo>
                  <a:lnTo>
                    <a:pt x="130" y="319"/>
                  </a:lnTo>
                  <a:lnTo>
                    <a:pt x="134" y="319"/>
                  </a:lnTo>
                  <a:lnTo>
                    <a:pt x="140" y="319"/>
                  </a:lnTo>
                  <a:lnTo>
                    <a:pt x="143" y="319"/>
                  </a:lnTo>
                  <a:lnTo>
                    <a:pt x="147" y="319"/>
                  </a:lnTo>
                  <a:lnTo>
                    <a:pt x="151" y="319"/>
                  </a:lnTo>
                  <a:lnTo>
                    <a:pt x="157" y="319"/>
                  </a:lnTo>
                  <a:lnTo>
                    <a:pt x="161" y="319"/>
                  </a:lnTo>
                  <a:lnTo>
                    <a:pt x="163" y="319"/>
                  </a:lnTo>
                  <a:lnTo>
                    <a:pt x="165" y="319"/>
                  </a:lnTo>
                  <a:lnTo>
                    <a:pt x="168" y="319"/>
                  </a:lnTo>
                  <a:lnTo>
                    <a:pt x="170" y="322"/>
                  </a:lnTo>
                  <a:lnTo>
                    <a:pt x="174" y="324"/>
                  </a:lnTo>
                  <a:lnTo>
                    <a:pt x="174" y="328"/>
                  </a:lnTo>
                  <a:lnTo>
                    <a:pt x="176" y="330"/>
                  </a:lnTo>
                  <a:lnTo>
                    <a:pt x="178" y="334"/>
                  </a:lnTo>
                  <a:lnTo>
                    <a:pt x="180" y="336"/>
                  </a:lnTo>
                  <a:lnTo>
                    <a:pt x="180" y="338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90" y="343"/>
                  </a:lnTo>
                  <a:lnTo>
                    <a:pt x="188" y="347"/>
                  </a:lnTo>
                  <a:lnTo>
                    <a:pt x="188" y="351"/>
                  </a:lnTo>
                  <a:lnTo>
                    <a:pt x="188" y="353"/>
                  </a:lnTo>
                  <a:lnTo>
                    <a:pt x="188" y="355"/>
                  </a:lnTo>
                  <a:lnTo>
                    <a:pt x="188" y="359"/>
                  </a:lnTo>
                  <a:lnTo>
                    <a:pt x="188" y="361"/>
                  </a:lnTo>
                  <a:lnTo>
                    <a:pt x="188" y="365"/>
                  </a:lnTo>
                  <a:lnTo>
                    <a:pt x="186" y="368"/>
                  </a:lnTo>
                  <a:lnTo>
                    <a:pt x="186" y="370"/>
                  </a:lnTo>
                  <a:lnTo>
                    <a:pt x="184" y="376"/>
                  </a:lnTo>
                  <a:lnTo>
                    <a:pt x="184" y="382"/>
                  </a:lnTo>
                  <a:lnTo>
                    <a:pt x="186" y="382"/>
                  </a:lnTo>
                  <a:lnTo>
                    <a:pt x="188" y="384"/>
                  </a:lnTo>
                  <a:lnTo>
                    <a:pt x="188" y="388"/>
                  </a:lnTo>
                  <a:lnTo>
                    <a:pt x="188" y="390"/>
                  </a:lnTo>
                  <a:lnTo>
                    <a:pt x="188" y="391"/>
                  </a:lnTo>
                  <a:lnTo>
                    <a:pt x="190" y="393"/>
                  </a:lnTo>
                  <a:lnTo>
                    <a:pt x="191" y="395"/>
                  </a:lnTo>
                  <a:lnTo>
                    <a:pt x="193" y="395"/>
                  </a:lnTo>
                  <a:lnTo>
                    <a:pt x="195" y="395"/>
                  </a:lnTo>
                  <a:lnTo>
                    <a:pt x="199" y="395"/>
                  </a:lnTo>
                  <a:lnTo>
                    <a:pt x="201" y="395"/>
                  </a:lnTo>
                  <a:lnTo>
                    <a:pt x="205" y="395"/>
                  </a:lnTo>
                  <a:lnTo>
                    <a:pt x="205" y="397"/>
                  </a:lnTo>
                  <a:lnTo>
                    <a:pt x="209" y="399"/>
                  </a:lnTo>
                  <a:lnTo>
                    <a:pt x="211" y="399"/>
                  </a:lnTo>
                  <a:lnTo>
                    <a:pt x="214" y="399"/>
                  </a:lnTo>
                  <a:lnTo>
                    <a:pt x="216" y="401"/>
                  </a:lnTo>
                  <a:lnTo>
                    <a:pt x="220" y="401"/>
                  </a:lnTo>
                  <a:lnTo>
                    <a:pt x="222" y="401"/>
                  </a:lnTo>
                  <a:lnTo>
                    <a:pt x="226" y="401"/>
                  </a:lnTo>
                  <a:lnTo>
                    <a:pt x="230" y="399"/>
                  </a:lnTo>
                  <a:lnTo>
                    <a:pt x="232" y="399"/>
                  </a:lnTo>
                  <a:lnTo>
                    <a:pt x="236" y="399"/>
                  </a:lnTo>
                  <a:lnTo>
                    <a:pt x="239" y="399"/>
                  </a:lnTo>
                  <a:lnTo>
                    <a:pt x="241" y="399"/>
                  </a:lnTo>
                  <a:lnTo>
                    <a:pt x="243" y="397"/>
                  </a:lnTo>
                  <a:lnTo>
                    <a:pt x="245" y="397"/>
                  </a:lnTo>
                  <a:lnTo>
                    <a:pt x="249" y="397"/>
                  </a:lnTo>
                  <a:lnTo>
                    <a:pt x="251" y="395"/>
                  </a:lnTo>
                  <a:lnTo>
                    <a:pt x="253" y="395"/>
                  </a:lnTo>
                  <a:lnTo>
                    <a:pt x="253" y="393"/>
                  </a:lnTo>
                  <a:lnTo>
                    <a:pt x="257" y="393"/>
                  </a:lnTo>
                  <a:lnTo>
                    <a:pt x="257" y="390"/>
                  </a:lnTo>
                  <a:lnTo>
                    <a:pt x="261" y="388"/>
                  </a:lnTo>
                  <a:lnTo>
                    <a:pt x="264" y="388"/>
                  </a:lnTo>
                  <a:lnTo>
                    <a:pt x="266" y="388"/>
                  </a:lnTo>
                  <a:lnTo>
                    <a:pt x="270" y="388"/>
                  </a:lnTo>
                  <a:lnTo>
                    <a:pt x="272" y="388"/>
                  </a:lnTo>
                  <a:lnTo>
                    <a:pt x="276" y="388"/>
                  </a:lnTo>
                  <a:lnTo>
                    <a:pt x="278" y="388"/>
                  </a:lnTo>
                  <a:lnTo>
                    <a:pt x="282" y="388"/>
                  </a:lnTo>
                  <a:lnTo>
                    <a:pt x="284" y="388"/>
                  </a:lnTo>
                  <a:lnTo>
                    <a:pt x="285" y="388"/>
                  </a:lnTo>
                  <a:lnTo>
                    <a:pt x="289" y="390"/>
                  </a:lnTo>
                  <a:lnTo>
                    <a:pt x="293" y="390"/>
                  </a:lnTo>
                  <a:lnTo>
                    <a:pt x="295" y="390"/>
                  </a:lnTo>
                  <a:lnTo>
                    <a:pt x="299" y="388"/>
                  </a:lnTo>
                  <a:lnTo>
                    <a:pt x="301" y="388"/>
                  </a:lnTo>
                  <a:lnTo>
                    <a:pt x="301" y="388"/>
                  </a:lnTo>
                  <a:lnTo>
                    <a:pt x="305" y="388"/>
                  </a:lnTo>
                  <a:lnTo>
                    <a:pt x="308" y="388"/>
                  </a:lnTo>
                  <a:lnTo>
                    <a:pt x="312" y="388"/>
                  </a:lnTo>
                  <a:lnTo>
                    <a:pt x="316" y="388"/>
                  </a:lnTo>
                  <a:lnTo>
                    <a:pt x="320" y="388"/>
                  </a:lnTo>
                  <a:lnTo>
                    <a:pt x="324" y="388"/>
                  </a:lnTo>
                  <a:lnTo>
                    <a:pt x="328" y="388"/>
                  </a:lnTo>
                  <a:lnTo>
                    <a:pt x="330" y="388"/>
                  </a:lnTo>
                  <a:lnTo>
                    <a:pt x="331" y="388"/>
                  </a:lnTo>
                  <a:lnTo>
                    <a:pt x="335" y="386"/>
                  </a:lnTo>
                  <a:lnTo>
                    <a:pt x="337" y="382"/>
                  </a:lnTo>
                  <a:lnTo>
                    <a:pt x="343" y="380"/>
                  </a:lnTo>
                  <a:lnTo>
                    <a:pt x="345" y="380"/>
                  </a:lnTo>
                  <a:lnTo>
                    <a:pt x="349" y="378"/>
                  </a:lnTo>
                  <a:lnTo>
                    <a:pt x="353" y="376"/>
                  </a:lnTo>
                  <a:lnTo>
                    <a:pt x="355" y="376"/>
                  </a:lnTo>
                  <a:lnTo>
                    <a:pt x="360" y="374"/>
                  </a:lnTo>
                  <a:lnTo>
                    <a:pt x="364" y="372"/>
                  </a:lnTo>
                  <a:lnTo>
                    <a:pt x="364" y="370"/>
                  </a:lnTo>
                  <a:lnTo>
                    <a:pt x="366" y="370"/>
                  </a:lnTo>
                  <a:lnTo>
                    <a:pt x="366" y="368"/>
                  </a:lnTo>
                  <a:lnTo>
                    <a:pt x="370" y="368"/>
                  </a:lnTo>
                  <a:lnTo>
                    <a:pt x="370" y="365"/>
                  </a:lnTo>
                  <a:lnTo>
                    <a:pt x="370" y="363"/>
                  </a:lnTo>
                  <a:lnTo>
                    <a:pt x="372" y="361"/>
                  </a:lnTo>
                  <a:lnTo>
                    <a:pt x="376" y="361"/>
                  </a:lnTo>
                  <a:lnTo>
                    <a:pt x="378" y="357"/>
                  </a:lnTo>
                  <a:lnTo>
                    <a:pt x="379" y="355"/>
                  </a:lnTo>
                  <a:lnTo>
                    <a:pt x="381" y="353"/>
                  </a:lnTo>
                  <a:lnTo>
                    <a:pt x="383" y="351"/>
                  </a:lnTo>
                  <a:lnTo>
                    <a:pt x="383" y="351"/>
                  </a:lnTo>
                  <a:lnTo>
                    <a:pt x="387" y="349"/>
                  </a:lnTo>
                  <a:lnTo>
                    <a:pt x="389" y="34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4" name="Freeform 21"/>
            <p:cNvSpPr>
              <a:spLocks/>
            </p:cNvSpPr>
            <p:nvPr/>
          </p:nvSpPr>
          <p:spPr bwMode="auto">
            <a:xfrm>
              <a:off x="2409" y="2144"/>
              <a:ext cx="305" cy="353"/>
            </a:xfrm>
            <a:custGeom>
              <a:avLst/>
              <a:gdLst/>
              <a:ahLst/>
              <a:cxnLst>
                <a:cxn ang="0">
                  <a:pos x="213" y="336"/>
                </a:cxn>
                <a:cxn ang="0">
                  <a:pos x="223" y="324"/>
                </a:cxn>
                <a:cxn ang="0">
                  <a:pos x="232" y="309"/>
                </a:cxn>
                <a:cxn ang="0">
                  <a:pos x="242" y="297"/>
                </a:cxn>
                <a:cxn ang="0">
                  <a:pos x="248" y="280"/>
                </a:cxn>
                <a:cxn ang="0">
                  <a:pos x="257" y="267"/>
                </a:cxn>
                <a:cxn ang="0">
                  <a:pos x="280" y="261"/>
                </a:cxn>
                <a:cxn ang="0">
                  <a:pos x="286" y="249"/>
                </a:cxn>
                <a:cxn ang="0">
                  <a:pos x="286" y="236"/>
                </a:cxn>
                <a:cxn ang="0">
                  <a:pos x="273" y="224"/>
                </a:cxn>
                <a:cxn ang="0">
                  <a:pos x="265" y="207"/>
                </a:cxn>
                <a:cxn ang="0">
                  <a:pos x="263" y="175"/>
                </a:cxn>
                <a:cxn ang="0">
                  <a:pos x="271" y="71"/>
                </a:cxn>
                <a:cxn ang="0">
                  <a:pos x="280" y="61"/>
                </a:cxn>
                <a:cxn ang="0">
                  <a:pos x="288" y="50"/>
                </a:cxn>
                <a:cxn ang="0">
                  <a:pos x="297" y="36"/>
                </a:cxn>
                <a:cxn ang="0">
                  <a:pos x="290" y="31"/>
                </a:cxn>
                <a:cxn ang="0">
                  <a:pos x="273" y="31"/>
                </a:cxn>
                <a:cxn ang="0">
                  <a:pos x="263" y="23"/>
                </a:cxn>
                <a:cxn ang="0">
                  <a:pos x="242" y="29"/>
                </a:cxn>
                <a:cxn ang="0">
                  <a:pos x="226" y="38"/>
                </a:cxn>
                <a:cxn ang="0">
                  <a:pos x="215" y="50"/>
                </a:cxn>
                <a:cxn ang="0">
                  <a:pos x="202" y="61"/>
                </a:cxn>
                <a:cxn ang="0">
                  <a:pos x="184" y="56"/>
                </a:cxn>
                <a:cxn ang="0">
                  <a:pos x="169" y="52"/>
                </a:cxn>
                <a:cxn ang="0">
                  <a:pos x="155" y="42"/>
                </a:cxn>
                <a:cxn ang="0">
                  <a:pos x="150" y="33"/>
                </a:cxn>
                <a:cxn ang="0">
                  <a:pos x="136" y="21"/>
                </a:cxn>
                <a:cxn ang="0">
                  <a:pos x="123" y="15"/>
                </a:cxn>
                <a:cxn ang="0">
                  <a:pos x="104" y="11"/>
                </a:cxn>
                <a:cxn ang="0">
                  <a:pos x="88" y="4"/>
                </a:cxn>
                <a:cxn ang="0">
                  <a:pos x="71" y="2"/>
                </a:cxn>
                <a:cxn ang="0">
                  <a:pos x="44" y="4"/>
                </a:cxn>
                <a:cxn ang="0">
                  <a:pos x="33" y="8"/>
                </a:cxn>
                <a:cxn ang="0">
                  <a:pos x="19" y="15"/>
                </a:cxn>
                <a:cxn ang="0">
                  <a:pos x="10" y="27"/>
                </a:cxn>
                <a:cxn ang="0">
                  <a:pos x="0" y="40"/>
                </a:cxn>
                <a:cxn ang="0">
                  <a:pos x="17" y="48"/>
                </a:cxn>
                <a:cxn ang="0">
                  <a:pos x="23" y="61"/>
                </a:cxn>
                <a:cxn ang="0">
                  <a:pos x="25" y="79"/>
                </a:cxn>
                <a:cxn ang="0">
                  <a:pos x="35" y="92"/>
                </a:cxn>
                <a:cxn ang="0">
                  <a:pos x="37" y="117"/>
                </a:cxn>
                <a:cxn ang="0">
                  <a:pos x="40" y="134"/>
                </a:cxn>
                <a:cxn ang="0">
                  <a:pos x="31" y="151"/>
                </a:cxn>
                <a:cxn ang="0">
                  <a:pos x="17" y="161"/>
                </a:cxn>
                <a:cxn ang="0">
                  <a:pos x="10" y="175"/>
                </a:cxn>
                <a:cxn ang="0">
                  <a:pos x="13" y="196"/>
                </a:cxn>
                <a:cxn ang="0">
                  <a:pos x="10" y="215"/>
                </a:cxn>
                <a:cxn ang="0">
                  <a:pos x="23" y="228"/>
                </a:cxn>
                <a:cxn ang="0">
                  <a:pos x="38" y="236"/>
                </a:cxn>
                <a:cxn ang="0">
                  <a:pos x="52" y="246"/>
                </a:cxn>
                <a:cxn ang="0">
                  <a:pos x="65" y="251"/>
                </a:cxn>
                <a:cxn ang="0">
                  <a:pos x="79" y="259"/>
                </a:cxn>
                <a:cxn ang="0">
                  <a:pos x="94" y="269"/>
                </a:cxn>
                <a:cxn ang="0">
                  <a:pos x="109" y="274"/>
                </a:cxn>
                <a:cxn ang="0">
                  <a:pos x="123" y="284"/>
                </a:cxn>
                <a:cxn ang="0">
                  <a:pos x="134" y="293"/>
                </a:cxn>
                <a:cxn ang="0">
                  <a:pos x="150" y="299"/>
                </a:cxn>
                <a:cxn ang="0">
                  <a:pos x="155" y="318"/>
                </a:cxn>
                <a:cxn ang="0">
                  <a:pos x="167" y="328"/>
                </a:cxn>
                <a:cxn ang="0">
                  <a:pos x="184" y="336"/>
                </a:cxn>
                <a:cxn ang="0">
                  <a:pos x="194" y="345"/>
                </a:cxn>
                <a:cxn ang="0">
                  <a:pos x="205" y="353"/>
                </a:cxn>
              </a:cxnLst>
              <a:rect l="0" t="0" r="r" b="b"/>
              <a:pathLst>
                <a:path w="305" h="353">
                  <a:moveTo>
                    <a:pt x="207" y="351"/>
                  </a:moveTo>
                  <a:lnTo>
                    <a:pt x="209" y="347"/>
                  </a:lnTo>
                  <a:lnTo>
                    <a:pt x="211" y="341"/>
                  </a:lnTo>
                  <a:lnTo>
                    <a:pt x="213" y="341"/>
                  </a:lnTo>
                  <a:lnTo>
                    <a:pt x="213" y="340"/>
                  </a:lnTo>
                  <a:lnTo>
                    <a:pt x="213" y="336"/>
                  </a:lnTo>
                  <a:lnTo>
                    <a:pt x="215" y="334"/>
                  </a:lnTo>
                  <a:lnTo>
                    <a:pt x="215" y="330"/>
                  </a:lnTo>
                  <a:lnTo>
                    <a:pt x="217" y="328"/>
                  </a:lnTo>
                  <a:lnTo>
                    <a:pt x="219" y="324"/>
                  </a:lnTo>
                  <a:lnTo>
                    <a:pt x="221" y="324"/>
                  </a:lnTo>
                  <a:lnTo>
                    <a:pt x="223" y="324"/>
                  </a:lnTo>
                  <a:lnTo>
                    <a:pt x="225" y="320"/>
                  </a:lnTo>
                  <a:lnTo>
                    <a:pt x="226" y="318"/>
                  </a:lnTo>
                  <a:lnTo>
                    <a:pt x="228" y="317"/>
                  </a:lnTo>
                  <a:lnTo>
                    <a:pt x="230" y="315"/>
                  </a:lnTo>
                  <a:lnTo>
                    <a:pt x="230" y="313"/>
                  </a:lnTo>
                  <a:lnTo>
                    <a:pt x="232" y="309"/>
                  </a:lnTo>
                  <a:lnTo>
                    <a:pt x="234" y="307"/>
                  </a:lnTo>
                  <a:lnTo>
                    <a:pt x="236" y="305"/>
                  </a:lnTo>
                  <a:lnTo>
                    <a:pt x="236" y="301"/>
                  </a:lnTo>
                  <a:lnTo>
                    <a:pt x="236" y="301"/>
                  </a:lnTo>
                  <a:lnTo>
                    <a:pt x="238" y="297"/>
                  </a:lnTo>
                  <a:lnTo>
                    <a:pt x="242" y="297"/>
                  </a:lnTo>
                  <a:lnTo>
                    <a:pt x="244" y="295"/>
                  </a:lnTo>
                  <a:lnTo>
                    <a:pt x="246" y="293"/>
                  </a:lnTo>
                  <a:lnTo>
                    <a:pt x="246" y="290"/>
                  </a:lnTo>
                  <a:lnTo>
                    <a:pt x="246" y="286"/>
                  </a:lnTo>
                  <a:lnTo>
                    <a:pt x="246" y="282"/>
                  </a:lnTo>
                  <a:lnTo>
                    <a:pt x="248" y="280"/>
                  </a:lnTo>
                  <a:lnTo>
                    <a:pt x="248" y="278"/>
                  </a:lnTo>
                  <a:lnTo>
                    <a:pt x="249" y="274"/>
                  </a:lnTo>
                  <a:lnTo>
                    <a:pt x="251" y="272"/>
                  </a:lnTo>
                  <a:lnTo>
                    <a:pt x="253" y="270"/>
                  </a:lnTo>
                  <a:lnTo>
                    <a:pt x="255" y="269"/>
                  </a:lnTo>
                  <a:lnTo>
                    <a:pt x="257" y="267"/>
                  </a:lnTo>
                  <a:lnTo>
                    <a:pt x="259" y="263"/>
                  </a:lnTo>
                  <a:lnTo>
                    <a:pt x="265" y="263"/>
                  </a:lnTo>
                  <a:lnTo>
                    <a:pt x="273" y="263"/>
                  </a:lnTo>
                  <a:lnTo>
                    <a:pt x="274" y="263"/>
                  </a:lnTo>
                  <a:lnTo>
                    <a:pt x="278" y="263"/>
                  </a:lnTo>
                  <a:lnTo>
                    <a:pt x="280" y="261"/>
                  </a:lnTo>
                  <a:lnTo>
                    <a:pt x="282" y="259"/>
                  </a:lnTo>
                  <a:lnTo>
                    <a:pt x="282" y="255"/>
                  </a:lnTo>
                  <a:lnTo>
                    <a:pt x="284" y="253"/>
                  </a:lnTo>
                  <a:lnTo>
                    <a:pt x="284" y="253"/>
                  </a:lnTo>
                  <a:lnTo>
                    <a:pt x="284" y="249"/>
                  </a:lnTo>
                  <a:lnTo>
                    <a:pt x="286" y="249"/>
                  </a:lnTo>
                  <a:lnTo>
                    <a:pt x="288" y="247"/>
                  </a:lnTo>
                  <a:lnTo>
                    <a:pt x="288" y="244"/>
                  </a:lnTo>
                  <a:lnTo>
                    <a:pt x="288" y="242"/>
                  </a:lnTo>
                  <a:lnTo>
                    <a:pt x="290" y="240"/>
                  </a:lnTo>
                  <a:lnTo>
                    <a:pt x="290" y="236"/>
                  </a:lnTo>
                  <a:lnTo>
                    <a:pt x="286" y="236"/>
                  </a:lnTo>
                  <a:lnTo>
                    <a:pt x="282" y="232"/>
                  </a:lnTo>
                  <a:lnTo>
                    <a:pt x="280" y="230"/>
                  </a:lnTo>
                  <a:lnTo>
                    <a:pt x="278" y="228"/>
                  </a:lnTo>
                  <a:lnTo>
                    <a:pt x="276" y="226"/>
                  </a:lnTo>
                  <a:lnTo>
                    <a:pt x="274" y="224"/>
                  </a:lnTo>
                  <a:lnTo>
                    <a:pt x="273" y="224"/>
                  </a:lnTo>
                  <a:lnTo>
                    <a:pt x="273" y="221"/>
                  </a:lnTo>
                  <a:lnTo>
                    <a:pt x="269" y="219"/>
                  </a:lnTo>
                  <a:lnTo>
                    <a:pt x="267" y="217"/>
                  </a:lnTo>
                  <a:lnTo>
                    <a:pt x="267" y="211"/>
                  </a:lnTo>
                  <a:lnTo>
                    <a:pt x="265" y="209"/>
                  </a:lnTo>
                  <a:lnTo>
                    <a:pt x="265" y="207"/>
                  </a:lnTo>
                  <a:lnTo>
                    <a:pt x="263" y="203"/>
                  </a:lnTo>
                  <a:lnTo>
                    <a:pt x="263" y="201"/>
                  </a:lnTo>
                  <a:lnTo>
                    <a:pt x="263" y="198"/>
                  </a:lnTo>
                  <a:lnTo>
                    <a:pt x="263" y="194"/>
                  </a:lnTo>
                  <a:lnTo>
                    <a:pt x="263" y="184"/>
                  </a:lnTo>
                  <a:lnTo>
                    <a:pt x="263" y="175"/>
                  </a:lnTo>
                  <a:lnTo>
                    <a:pt x="265" y="157"/>
                  </a:lnTo>
                  <a:lnTo>
                    <a:pt x="265" y="140"/>
                  </a:lnTo>
                  <a:lnTo>
                    <a:pt x="265" y="79"/>
                  </a:lnTo>
                  <a:lnTo>
                    <a:pt x="267" y="75"/>
                  </a:lnTo>
                  <a:lnTo>
                    <a:pt x="269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3" y="69"/>
                  </a:lnTo>
                  <a:lnTo>
                    <a:pt x="274" y="67"/>
                  </a:lnTo>
                  <a:lnTo>
                    <a:pt x="274" y="65"/>
                  </a:lnTo>
                  <a:lnTo>
                    <a:pt x="278" y="63"/>
                  </a:lnTo>
                  <a:lnTo>
                    <a:pt x="280" y="61"/>
                  </a:lnTo>
                  <a:lnTo>
                    <a:pt x="282" y="59"/>
                  </a:lnTo>
                  <a:lnTo>
                    <a:pt x="282" y="57"/>
                  </a:lnTo>
                  <a:lnTo>
                    <a:pt x="284" y="57"/>
                  </a:lnTo>
                  <a:lnTo>
                    <a:pt x="286" y="56"/>
                  </a:lnTo>
                  <a:lnTo>
                    <a:pt x="288" y="52"/>
                  </a:lnTo>
                  <a:lnTo>
                    <a:pt x="288" y="50"/>
                  </a:lnTo>
                  <a:lnTo>
                    <a:pt x="290" y="48"/>
                  </a:lnTo>
                  <a:lnTo>
                    <a:pt x="292" y="44"/>
                  </a:lnTo>
                  <a:lnTo>
                    <a:pt x="292" y="42"/>
                  </a:lnTo>
                  <a:lnTo>
                    <a:pt x="294" y="40"/>
                  </a:lnTo>
                  <a:lnTo>
                    <a:pt x="296" y="38"/>
                  </a:lnTo>
                  <a:lnTo>
                    <a:pt x="297" y="36"/>
                  </a:lnTo>
                  <a:lnTo>
                    <a:pt x="299" y="34"/>
                  </a:lnTo>
                  <a:lnTo>
                    <a:pt x="301" y="34"/>
                  </a:lnTo>
                  <a:lnTo>
                    <a:pt x="303" y="31"/>
                  </a:lnTo>
                  <a:lnTo>
                    <a:pt x="305" y="29"/>
                  </a:lnTo>
                  <a:lnTo>
                    <a:pt x="292" y="29"/>
                  </a:lnTo>
                  <a:lnTo>
                    <a:pt x="290" y="31"/>
                  </a:lnTo>
                  <a:lnTo>
                    <a:pt x="286" y="31"/>
                  </a:lnTo>
                  <a:lnTo>
                    <a:pt x="282" y="31"/>
                  </a:lnTo>
                  <a:lnTo>
                    <a:pt x="280" y="33"/>
                  </a:lnTo>
                  <a:lnTo>
                    <a:pt x="276" y="33"/>
                  </a:lnTo>
                  <a:lnTo>
                    <a:pt x="274" y="31"/>
                  </a:lnTo>
                  <a:lnTo>
                    <a:pt x="273" y="31"/>
                  </a:lnTo>
                  <a:lnTo>
                    <a:pt x="271" y="29"/>
                  </a:lnTo>
                  <a:lnTo>
                    <a:pt x="271" y="27"/>
                  </a:lnTo>
                  <a:lnTo>
                    <a:pt x="267" y="27"/>
                  </a:lnTo>
                  <a:lnTo>
                    <a:pt x="267" y="25"/>
                  </a:lnTo>
                  <a:lnTo>
                    <a:pt x="265" y="25"/>
                  </a:lnTo>
                  <a:lnTo>
                    <a:pt x="263" y="23"/>
                  </a:lnTo>
                  <a:lnTo>
                    <a:pt x="261" y="21"/>
                  </a:lnTo>
                  <a:lnTo>
                    <a:pt x="255" y="21"/>
                  </a:lnTo>
                  <a:lnTo>
                    <a:pt x="249" y="23"/>
                  </a:lnTo>
                  <a:lnTo>
                    <a:pt x="246" y="25"/>
                  </a:lnTo>
                  <a:lnTo>
                    <a:pt x="246" y="27"/>
                  </a:lnTo>
                  <a:lnTo>
                    <a:pt x="242" y="29"/>
                  </a:lnTo>
                  <a:lnTo>
                    <a:pt x="240" y="31"/>
                  </a:lnTo>
                  <a:lnTo>
                    <a:pt x="236" y="34"/>
                  </a:lnTo>
                  <a:lnTo>
                    <a:pt x="232" y="34"/>
                  </a:lnTo>
                  <a:lnTo>
                    <a:pt x="230" y="34"/>
                  </a:lnTo>
                  <a:lnTo>
                    <a:pt x="226" y="34"/>
                  </a:lnTo>
                  <a:lnTo>
                    <a:pt x="226" y="38"/>
                  </a:lnTo>
                  <a:lnTo>
                    <a:pt x="225" y="40"/>
                  </a:lnTo>
                  <a:lnTo>
                    <a:pt x="223" y="42"/>
                  </a:lnTo>
                  <a:lnTo>
                    <a:pt x="219" y="42"/>
                  </a:lnTo>
                  <a:lnTo>
                    <a:pt x="217" y="46"/>
                  </a:lnTo>
                  <a:lnTo>
                    <a:pt x="217" y="48"/>
                  </a:lnTo>
                  <a:lnTo>
                    <a:pt x="215" y="50"/>
                  </a:lnTo>
                  <a:lnTo>
                    <a:pt x="213" y="52"/>
                  </a:lnTo>
                  <a:lnTo>
                    <a:pt x="211" y="52"/>
                  </a:lnTo>
                  <a:lnTo>
                    <a:pt x="209" y="54"/>
                  </a:lnTo>
                  <a:lnTo>
                    <a:pt x="207" y="57"/>
                  </a:lnTo>
                  <a:lnTo>
                    <a:pt x="203" y="59"/>
                  </a:lnTo>
                  <a:lnTo>
                    <a:pt x="202" y="61"/>
                  </a:lnTo>
                  <a:lnTo>
                    <a:pt x="200" y="59"/>
                  </a:lnTo>
                  <a:lnTo>
                    <a:pt x="196" y="59"/>
                  </a:lnTo>
                  <a:lnTo>
                    <a:pt x="192" y="59"/>
                  </a:lnTo>
                  <a:lnTo>
                    <a:pt x="190" y="56"/>
                  </a:lnTo>
                  <a:lnTo>
                    <a:pt x="188" y="56"/>
                  </a:lnTo>
                  <a:lnTo>
                    <a:pt x="184" y="56"/>
                  </a:lnTo>
                  <a:lnTo>
                    <a:pt x="182" y="54"/>
                  </a:lnTo>
                  <a:lnTo>
                    <a:pt x="178" y="54"/>
                  </a:lnTo>
                  <a:lnTo>
                    <a:pt x="175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7" y="50"/>
                  </a:lnTo>
                  <a:lnTo>
                    <a:pt x="163" y="50"/>
                  </a:lnTo>
                  <a:lnTo>
                    <a:pt x="161" y="48"/>
                  </a:lnTo>
                  <a:lnTo>
                    <a:pt x="159" y="48"/>
                  </a:lnTo>
                  <a:lnTo>
                    <a:pt x="157" y="46"/>
                  </a:lnTo>
                  <a:lnTo>
                    <a:pt x="155" y="42"/>
                  </a:lnTo>
                  <a:lnTo>
                    <a:pt x="152" y="42"/>
                  </a:lnTo>
                  <a:lnTo>
                    <a:pt x="155" y="40"/>
                  </a:lnTo>
                  <a:lnTo>
                    <a:pt x="154" y="38"/>
                  </a:lnTo>
                  <a:lnTo>
                    <a:pt x="154" y="36"/>
                  </a:lnTo>
                  <a:lnTo>
                    <a:pt x="152" y="34"/>
                  </a:lnTo>
                  <a:lnTo>
                    <a:pt x="150" y="33"/>
                  </a:lnTo>
                  <a:lnTo>
                    <a:pt x="148" y="29"/>
                  </a:lnTo>
                  <a:lnTo>
                    <a:pt x="146" y="27"/>
                  </a:lnTo>
                  <a:lnTo>
                    <a:pt x="142" y="25"/>
                  </a:lnTo>
                  <a:lnTo>
                    <a:pt x="140" y="25"/>
                  </a:lnTo>
                  <a:lnTo>
                    <a:pt x="138" y="21"/>
                  </a:lnTo>
                  <a:lnTo>
                    <a:pt x="136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1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23" y="15"/>
                  </a:lnTo>
                  <a:lnTo>
                    <a:pt x="119" y="15"/>
                  </a:lnTo>
                  <a:lnTo>
                    <a:pt x="115" y="13"/>
                  </a:lnTo>
                  <a:lnTo>
                    <a:pt x="111" y="13"/>
                  </a:lnTo>
                  <a:lnTo>
                    <a:pt x="108" y="13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0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3" y="4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0" y="0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7" y="8"/>
                  </a:lnTo>
                  <a:lnTo>
                    <a:pt x="35" y="8"/>
                  </a:lnTo>
                  <a:lnTo>
                    <a:pt x="33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19" y="15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2" y="25"/>
                  </a:lnTo>
                  <a:lnTo>
                    <a:pt x="10" y="27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2" y="36"/>
                  </a:lnTo>
                  <a:lnTo>
                    <a:pt x="0" y="40"/>
                  </a:lnTo>
                  <a:lnTo>
                    <a:pt x="6" y="40"/>
                  </a:lnTo>
                  <a:lnTo>
                    <a:pt x="10" y="40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6"/>
                  </a:lnTo>
                  <a:lnTo>
                    <a:pt x="17" y="48"/>
                  </a:lnTo>
                  <a:lnTo>
                    <a:pt x="21" y="50"/>
                  </a:lnTo>
                  <a:lnTo>
                    <a:pt x="23" y="52"/>
                  </a:lnTo>
                  <a:lnTo>
                    <a:pt x="25" y="52"/>
                  </a:lnTo>
                  <a:lnTo>
                    <a:pt x="23" y="56"/>
                  </a:lnTo>
                  <a:lnTo>
                    <a:pt x="23" y="59"/>
                  </a:lnTo>
                  <a:lnTo>
                    <a:pt x="23" y="61"/>
                  </a:lnTo>
                  <a:lnTo>
                    <a:pt x="21" y="65"/>
                  </a:lnTo>
                  <a:lnTo>
                    <a:pt x="21" y="69"/>
                  </a:lnTo>
                  <a:lnTo>
                    <a:pt x="21" y="73"/>
                  </a:lnTo>
                  <a:lnTo>
                    <a:pt x="23" y="77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7" y="79"/>
                  </a:lnTo>
                  <a:lnTo>
                    <a:pt x="27" y="82"/>
                  </a:lnTo>
                  <a:lnTo>
                    <a:pt x="29" y="84"/>
                  </a:lnTo>
                  <a:lnTo>
                    <a:pt x="33" y="86"/>
                  </a:lnTo>
                  <a:lnTo>
                    <a:pt x="33" y="90"/>
                  </a:lnTo>
                  <a:lnTo>
                    <a:pt x="35" y="92"/>
                  </a:lnTo>
                  <a:lnTo>
                    <a:pt x="35" y="96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5" y="109"/>
                  </a:lnTo>
                  <a:lnTo>
                    <a:pt x="35" y="115"/>
                  </a:lnTo>
                  <a:lnTo>
                    <a:pt x="37" y="117"/>
                  </a:lnTo>
                  <a:lnTo>
                    <a:pt x="37" y="121"/>
                  </a:lnTo>
                  <a:lnTo>
                    <a:pt x="38" y="123"/>
                  </a:lnTo>
                  <a:lnTo>
                    <a:pt x="38" y="127"/>
                  </a:lnTo>
                  <a:lnTo>
                    <a:pt x="40" y="128"/>
                  </a:lnTo>
                  <a:lnTo>
                    <a:pt x="42" y="130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38" y="142"/>
                  </a:lnTo>
                  <a:lnTo>
                    <a:pt x="38" y="144"/>
                  </a:lnTo>
                  <a:lnTo>
                    <a:pt x="35" y="148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3" y="157"/>
                  </a:lnTo>
                  <a:lnTo>
                    <a:pt x="19" y="157"/>
                  </a:lnTo>
                  <a:lnTo>
                    <a:pt x="19" y="159"/>
                  </a:lnTo>
                  <a:lnTo>
                    <a:pt x="17" y="161"/>
                  </a:lnTo>
                  <a:lnTo>
                    <a:pt x="15" y="161"/>
                  </a:lnTo>
                  <a:lnTo>
                    <a:pt x="13" y="163"/>
                  </a:lnTo>
                  <a:lnTo>
                    <a:pt x="12" y="165"/>
                  </a:lnTo>
                  <a:lnTo>
                    <a:pt x="12" y="169"/>
                  </a:lnTo>
                  <a:lnTo>
                    <a:pt x="12" y="175"/>
                  </a:lnTo>
                  <a:lnTo>
                    <a:pt x="10" y="175"/>
                  </a:lnTo>
                  <a:lnTo>
                    <a:pt x="10" y="180"/>
                  </a:lnTo>
                  <a:lnTo>
                    <a:pt x="10" y="186"/>
                  </a:lnTo>
                  <a:lnTo>
                    <a:pt x="12" y="188"/>
                  </a:lnTo>
                  <a:lnTo>
                    <a:pt x="12" y="190"/>
                  </a:lnTo>
                  <a:lnTo>
                    <a:pt x="12" y="192"/>
                  </a:lnTo>
                  <a:lnTo>
                    <a:pt x="13" y="196"/>
                  </a:lnTo>
                  <a:lnTo>
                    <a:pt x="13" y="199"/>
                  </a:lnTo>
                  <a:lnTo>
                    <a:pt x="13" y="201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1"/>
                  </a:lnTo>
                  <a:lnTo>
                    <a:pt x="10" y="215"/>
                  </a:lnTo>
                  <a:lnTo>
                    <a:pt x="12" y="215"/>
                  </a:lnTo>
                  <a:lnTo>
                    <a:pt x="13" y="219"/>
                  </a:lnTo>
                  <a:lnTo>
                    <a:pt x="17" y="219"/>
                  </a:lnTo>
                  <a:lnTo>
                    <a:pt x="21" y="222"/>
                  </a:lnTo>
                  <a:lnTo>
                    <a:pt x="23" y="224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9" y="230"/>
                  </a:lnTo>
                  <a:lnTo>
                    <a:pt x="31" y="230"/>
                  </a:lnTo>
                  <a:lnTo>
                    <a:pt x="35" y="234"/>
                  </a:lnTo>
                  <a:lnTo>
                    <a:pt x="37" y="236"/>
                  </a:lnTo>
                  <a:lnTo>
                    <a:pt x="38" y="236"/>
                  </a:lnTo>
                  <a:lnTo>
                    <a:pt x="40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4" y="247"/>
                  </a:lnTo>
                  <a:lnTo>
                    <a:pt x="60" y="247"/>
                  </a:lnTo>
                  <a:lnTo>
                    <a:pt x="61" y="249"/>
                  </a:lnTo>
                  <a:lnTo>
                    <a:pt x="63" y="249"/>
                  </a:lnTo>
                  <a:lnTo>
                    <a:pt x="65" y="251"/>
                  </a:lnTo>
                  <a:lnTo>
                    <a:pt x="69" y="251"/>
                  </a:lnTo>
                  <a:lnTo>
                    <a:pt x="69" y="253"/>
                  </a:lnTo>
                  <a:lnTo>
                    <a:pt x="71" y="253"/>
                  </a:lnTo>
                  <a:lnTo>
                    <a:pt x="73" y="255"/>
                  </a:lnTo>
                  <a:lnTo>
                    <a:pt x="77" y="255"/>
                  </a:lnTo>
                  <a:lnTo>
                    <a:pt x="79" y="259"/>
                  </a:lnTo>
                  <a:lnTo>
                    <a:pt x="81" y="263"/>
                  </a:lnTo>
                  <a:lnTo>
                    <a:pt x="84" y="263"/>
                  </a:lnTo>
                  <a:lnTo>
                    <a:pt x="86" y="267"/>
                  </a:lnTo>
                  <a:lnTo>
                    <a:pt x="86" y="267"/>
                  </a:lnTo>
                  <a:lnTo>
                    <a:pt x="90" y="269"/>
                  </a:lnTo>
                  <a:lnTo>
                    <a:pt x="94" y="269"/>
                  </a:lnTo>
                  <a:lnTo>
                    <a:pt x="94" y="270"/>
                  </a:lnTo>
                  <a:lnTo>
                    <a:pt x="96" y="272"/>
                  </a:lnTo>
                  <a:lnTo>
                    <a:pt x="98" y="272"/>
                  </a:lnTo>
                  <a:lnTo>
                    <a:pt x="102" y="272"/>
                  </a:lnTo>
                  <a:lnTo>
                    <a:pt x="104" y="274"/>
                  </a:lnTo>
                  <a:lnTo>
                    <a:pt x="109" y="274"/>
                  </a:lnTo>
                  <a:lnTo>
                    <a:pt x="115" y="274"/>
                  </a:lnTo>
                  <a:lnTo>
                    <a:pt x="115" y="278"/>
                  </a:lnTo>
                  <a:lnTo>
                    <a:pt x="119" y="280"/>
                  </a:lnTo>
                  <a:lnTo>
                    <a:pt x="119" y="280"/>
                  </a:lnTo>
                  <a:lnTo>
                    <a:pt x="121" y="282"/>
                  </a:lnTo>
                  <a:lnTo>
                    <a:pt x="123" y="284"/>
                  </a:lnTo>
                  <a:lnTo>
                    <a:pt x="125" y="284"/>
                  </a:lnTo>
                  <a:lnTo>
                    <a:pt x="127" y="286"/>
                  </a:lnTo>
                  <a:lnTo>
                    <a:pt x="131" y="288"/>
                  </a:lnTo>
                  <a:lnTo>
                    <a:pt x="131" y="290"/>
                  </a:lnTo>
                  <a:lnTo>
                    <a:pt x="132" y="290"/>
                  </a:lnTo>
                  <a:lnTo>
                    <a:pt x="134" y="293"/>
                  </a:lnTo>
                  <a:lnTo>
                    <a:pt x="136" y="293"/>
                  </a:lnTo>
                  <a:lnTo>
                    <a:pt x="140" y="293"/>
                  </a:lnTo>
                  <a:lnTo>
                    <a:pt x="140" y="295"/>
                  </a:lnTo>
                  <a:lnTo>
                    <a:pt x="142" y="297"/>
                  </a:lnTo>
                  <a:lnTo>
                    <a:pt x="148" y="297"/>
                  </a:lnTo>
                  <a:lnTo>
                    <a:pt x="150" y="299"/>
                  </a:lnTo>
                  <a:lnTo>
                    <a:pt x="152" y="299"/>
                  </a:lnTo>
                  <a:lnTo>
                    <a:pt x="154" y="301"/>
                  </a:lnTo>
                  <a:lnTo>
                    <a:pt x="154" y="307"/>
                  </a:lnTo>
                  <a:lnTo>
                    <a:pt x="154" y="315"/>
                  </a:lnTo>
                  <a:lnTo>
                    <a:pt x="154" y="317"/>
                  </a:lnTo>
                  <a:lnTo>
                    <a:pt x="155" y="318"/>
                  </a:lnTo>
                  <a:lnTo>
                    <a:pt x="155" y="320"/>
                  </a:lnTo>
                  <a:lnTo>
                    <a:pt x="157" y="324"/>
                  </a:lnTo>
                  <a:lnTo>
                    <a:pt x="159" y="324"/>
                  </a:lnTo>
                  <a:lnTo>
                    <a:pt x="163" y="324"/>
                  </a:lnTo>
                  <a:lnTo>
                    <a:pt x="165" y="328"/>
                  </a:lnTo>
                  <a:lnTo>
                    <a:pt x="167" y="328"/>
                  </a:lnTo>
                  <a:lnTo>
                    <a:pt x="169" y="330"/>
                  </a:lnTo>
                  <a:lnTo>
                    <a:pt x="169" y="332"/>
                  </a:lnTo>
                  <a:lnTo>
                    <a:pt x="173" y="332"/>
                  </a:lnTo>
                  <a:lnTo>
                    <a:pt x="175" y="334"/>
                  </a:lnTo>
                  <a:lnTo>
                    <a:pt x="177" y="336"/>
                  </a:lnTo>
                  <a:lnTo>
                    <a:pt x="184" y="336"/>
                  </a:lnTo>
                  <a:lnTo>
                    <a:pt x="184" y="338"/>
                  </a:lnTo>
                  <a:lnTo>
                    <a:pt x="188" y="338"/>
                  </a:lnTo>
                  <a:lnTo>
                    <a:pt x="190" y="338"/>
                  </a:lnTo>
                  <a:lnTo>
                    <a:pt x="192" y="340"/>
                  </a:lnTo>
                  <a:lnTo>
                    <a:pt x="192" y="341"/>
                  </a:lnTo>
                  <a:lnTo>
                    <a:pt x="194" y="345"/>
                  </a:lnTo>
                  <a:lnTo>
                    <a:pt x="198" y="345"/>
                  </a:lnTo>
                  <a:lnTo>
                    <a:pt x="200" y="345"/>
                  </a:lnTo>
                  <a:lnTo>
                    <a:pt x="202" y="349"/>
                  </a:lnTo>
                  <a:lnTo>
                    <a:pt x="202" y="351"/>
                  </a:lnTo>
                  <a:lnTo>
                    <a:pt x="203" y="351"/>
                  </a:lnTo>
                  <a:lnTo>
                    <a:pt x="205" y="353"/>
                  </a:lnTo>
                  <a:lnTo>
                    <a:pt x="207" y="3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5" name="Freeform 22"/>
            <p:cNvSpPr>
              <a:spLocks/>
            </p:cNvSpPr>
            <p:nvPr/>
          </p:nvSpPr>
          <p:spPr bwMode="auto">
            <a:xfrm>
              <a:off x="2409" y="2144"/>
              <a:ext cx="305" cy="353"/>
            </a:xfrm>
            <a:custGeom>
              <a:avLst/>
              <a:gdLst/>
              <a:ahLst/>
              <a:cxnLst>
                <a:cxn ang="0">
                  <a:pos x="213" y="336"/>
                </a:cxn>
                <a:cxn ang="0">
                  <a:pos x="223" y="324"/>
                </a:cxn>
                <a:cxn ang="0">
                  <a:pos x="232" y="309"/>
                </a:cxn>
                <a:cxn ang="0">
                  <a:pos x="242" y="297"/>
                </a:cxn>
                <a:cxn ang="0">
                  <a:pos x="248" y="280"/>
                </a:cxn>
                <a:cxn ang="0">
                  <a:pos x="257" y="267"/>
                </a:cxn>
                <a:cxn ang="0">
                  <a:pos x="280" y="261"/>
                </a:cxn>
                <a:cxn ang="0">
                  <a:pos x="286" y="249"/>
                </a:cxn>
                <a:cxn ang="0">
                  <a:pos x="286" y="236"/>
                </a:cxn>
                <a:cxn ang="0">
                  <a:pos x="273" y="224"/>
                </a:cxn>
                <a:cxn ang="0">
                  <a:pos x="265" y="207"/>
                </a:cxn>
                <a:cxn ang="0">
                  <a:pos x="263" y="175"/>
                </a:cxn>
                <a:cxn ang="0">
                  <a:pos x="271" y="71"/>
                </a:cxn>
                <a:cxn ang="0">
                  <a:pos x="280" y="61"/>
                </a:cxn>
                <a:cxn ang="0">
                  <a:pos x="288" y="50"/>
                </a:cxn>
                <a:cxn ang="0">
                  <a:pos x="297" y="36"/>
                </a:cxn>
                <a:cxn ang="0">
                  <a:pos x="290" y="31"/>
                </a:cxn>
                <a:cxn ang="0">
                  <a:pos x="273" y="31"/>
                </a:cxn>
                <a:cxn ang="0">
                  <a:pos x="263" y="23"/>
                </a:cxn>
                <a:cxn ang="0">
                  <a:pos x="242" y="29"/>
                </a:cxn>
                <a:cxn ang="0">
                  <a:pos x="226" y="38"/>
                </a:cxn>
                <a:cxn ang="0">
                  <a:pos x="215" y="50"/>
                </a:cxn>
                <a:cxn ang="0">
                  <a:pos x="202" y="61"/>
                </a:cxn>
                <a:cxn ang="0">
                  <a:pos x="184" y="56"/>
                </a:cxn>
                <a:cxn ang="0">
                  <a:pos x="169" y="52"/>
                </a:cxn>
                <a:cxn ang="0">
                  <a:pos x="155" y="42"/>
                </a:cxn>
                <a:cxn ang="0">
                  <a:pos x="150" y="33"/>
                </a:cxn>
                <a:cxn ang="0">
                  <a:pos x="136" y="21"/>
                </a:cxn>
                <a:cxn ang="0">
                  <a:pos x="123" y="15"/>
                </a:cxn>
                <a:cxn ang="0">
                  <a:pos x="104" y="11"/>
                </a:cxn>
                <a:cxn ang="0">
                  <a:pos x="88" y="4"/>
                </a:cxn>
                <a:cxn ang="0">
                  <a:pos x="71" y="2"/>
                </a:cxn>
                <a:cxn ang="0">
                  <a:pos x="44" y="4"/>
                </a:cxn>
                <a:cxn ang="0">
                  <a:pos x="33" y="8"/>
                </a:cxn>
                <a:cxn ang="0">
                  <a:pos x="19" y="15"/>
                </a:cxn>
                <a:cxn ang="0">
                  <a:pos x="10" y="27"/>
                </a:cxn>
                <a:cxn ang="0">
                  <a:pos x="0" y="40"/>
                </a:cxn>
                <a:cxn ang="0">
                  <a:pos x="17" y="48"/>
                </a:cxn>
                <a:cxn ang="0">
                  <a:pos x="23" y="61"/>
                </a:cxn>
                <a:cxn ang="0">
                  <a:pos x="25" y="79"/>
                </a:cxn>
                <a:cxn ang="0">
                  <a:pos x="35" y="92"/>
                </a:cxn>
                <a:cxn ang="0">
                  <a:pos x="37" y="117"/>
                </a:cxn>
                <a:cxn ang="0">
                  <a:pos x="40" y="134"/>
                </a:cxn>
                <a:cxn ang="0">
                  <a:pos x="31" y="151"/>
                </a:cxn>
                <a:cxn ang="0">
                  <a:pos x="17" y="161"/>
                </a:cxn>
                <a:cxn ang="0">
                  <a:pos x="10" y="175"/>
                </a:cxn>
                <a:cxn ang="0">
                  <a:pos x="13" y="196"/>
                </a:cxn>
                <a:cxn ang="0">
                  <a:pos x="10" y="215"/>
                </a:cxn>
                <a:cxn ang="0">
                  <a:pos x="23" y="228"/>
                </a:cxn>
                <a:cxn ang="0">
                  <a:pos x="38" y="236"/>
                </a:cxn>
                <a:cxn ang="0">
                  <a:pos x="52" y="246"/>
                </a:cxn>
                <a:cxn ang="0">
                  <a:pos x="65" y="251"/>
                </a:cxn>
                <a:cxn ang="0">
                  <a:pos x="79" y="259"/>
                </a:cxn>
                <a:cxn ang="0">
                  <a:pos x="94" y="269"/>
                </a:cxn>
                <a:cxn ang="0">
                  <a:pos x="109" y="274"/>
                </a:cxn>
                <a:cxn ang="0">
                  <a:pos x="123" y="284"/>
                </a:cxn>
                <a:cxn ang="0">
                  <a:pos x="134" y="293"/>
                </a:cxn>
                <a:cxn ang="0">
                  <a:pos x="150" y="299"/>
                </a:cxn>
                <a:cxn ang="0">
                  <a:pos x="155" y="318"/>
                </a:cxn>
                <a:cxn ang="0">
                  <a:pos x="167" y="328"/>
                </a:cxn>
                <a:cxn ang="0">
                  <a:pos x="184" y="336"/>
                </a:cxn>
                <a:cxn ang="0">
                  <a:pos x="194" y="345"/>
                </a:cxn>
                <a:cxn ang="0">
                  <a:pos x="205" y="353"/>
                </a:cxn>
              </a:cxnLst>
              <a:rect l="0" t="0" r="r" b="b"/>
              <a:pathLst>
                <a:path w="305" h="353">
                  <a:moveTo>
                    <a:pt x="207" y="351"/>
                  </a:moveTo>
                  <a:lnTo>
                    <a:pt x="209" y="347"/>
                  </a:lnTo>
                  <a:lnTo>
                    <a:pt x="211" y="341"/>
                  </a:lnTo>
                  <a:lnTo>
                    <a:pt x="213" y="341"/>
                  </a:lnTo>
                  <a:lnTo>
                    <a:pt x="213" y="340"/>
                  </a:lnTo>
                  <a:lnTo>
                    <a:pt x="213" y="336"/>
                  </a:lnTo>
                  <a:lnTo>
                    <a:pt x="215" y="334"/>
                  </a:lnTo>
                  <a:lnTo>
                    <a:pt x="215" y="330"/>
                  </a:lnTo>
                  <a:lnTo>
                    <a:pt x="217" y="328"/>
                  </a:lnTo>
                  <a:lnTo>
                    <a:pt x="219" y="324"/>
                  </a:lnTo>
                  <a:lnTo>
                    <a:pt x="221" y="324"/>
                  </a:lnTo>
                  <a:lnTo>
                    <a:pt x="223" y="324"/>
                  </a:lnTo>
                  <a:lnTo>
                    <a:pt x="225" y="320"/>
                  </a:lnTo>
                  <a:lnTo>
                    <a:pt x="226" y="318"/>
                  </a:lnTo>
                  <a:lnTo>
                    <a:pt x="228" y="317"/>
                  </a:lnTo>
                  <a:lnTo>
                    <a:pt x="230" y="315"/>
                  </a:lnTo>
                  <a:lnTo>
                    <a:pt x="230" y="313"/>
                  </a:lnTo>
                  <a:lnTo>
                    <a:pt x="232" y="309"/>
                  </a:lnTo>
                  <a:lnTo>
                    <a:pt x="234" y="307"/>
                  </a:lnTo>
                  <a:lnTo>
                    <a:pt x="236" y="305"/>
                  </a:lnTo>
                  <a:lnTo>
                    <a:pt x="236" y="301"/>
                  </a:lnTo>
                  <a:lnTo>
                    <a:pt x="236" y="301"/>
                  </a:lnTo>
                  <a:lnTo>
                    <a:pt x="238" y="297"/>
                  </a:lnTo>
                  <a:lnTo>
                    <a:pt x="242" y="297"/>
                  </a:lnTo>
                  <a:lnTo>
                    <a:pt x="244" y="295"/>
                  </a:lnTo>
                  <a:lnTo>
                    <a:pt x="246" y="293"/>
                  </a:lnTo>
                  <a:lnTo>
                    <a:pt x="246" y="290"/>
                  </a:lnTo>
                  <a:lnTo>
                    <a:pt x="246" y="286"/>
                  </a:lnTo>
                  <a:lnTo>
                    <a:pt x="246" y="282"/>
                  </a:lnTo>
                  <a:lnTo>
                    <a:pt x="248" y="280"/>
                  </a:lnTo>
                  <a:lnTo>
                    <a:pt x="248" y="278"/>
                  </a:lnTo>
                  <a:lnTo>
                    <a:pt x="249" y="274"/>
                  </a:lnTo>
                  <a:lnTo>
                    <a:pt x="251" y="272"/>
                  </a:lnTo>
                  <a:lnTo>
                    <a:pt x="253" y="270"/>
                  </a:lnTo>
                  <a:lnTo>
                    <a:pt x="255" y="269"/>
                  </a:lnTo>
                  <a:lnTo>
                    <a:pt x="257" y="267"/>
                  </a:lnTo>
                  <a:lnTo>
                    <a:pt x="259" y="263"/>
                  </a:lnTo>
                  <a:lnTo>
                    <a:pt x="265" y="263"/>
                  </a:lnTo>
                  <a:lnTo>
                    <a:pt x="273" y="263"/>
                  </a:lnTo>
                  <a:lnTo>
                    <a:pt x="274" y="263"/>
                  </a:lnTo>
                  <a:lnTo>
                    <a:pt x="278" y="263"/>
                  </a:lnTo>
                  <a:lnTo>
                    <a:pt x="280" y="261"/>
                  </a:lnTo>
                  <a:lnTo>
                    <a:pt x="282" y="259"/>
                  </a:lnTo>
                  <a:lnTo>
                    <a:pt x="282" y="255"/>
                  </a:lnTo>
                  <a:lnTo>
                    <a:pt x="284" y="253"/>
                  </a:lnTo>
                  <a:lnTo>
                    <a:pt x="284" y="253"/>
                  </a:lnTo>
                  <a:lnTo>
                    <a:pt x="284" y="249"/>
                  </a:lnTo>
                  <a:lnTo>
                    <a:pt x="286" y="249"/>
                  </a:lnTo>
                  <a:lnTo>
                    <a:pt x="288" y="247"/>
                  </a:lnTo>
                  <a:lnTo>
                    <a:pt x="288" y="244"/>
                  </a:lnTo>
                  <a:lnTo>
                    <a:pt x="288" y="242"/>
                  </a:lnTo>
                  <a:lnTo>
                    <a:pt x="290" y="240"/>
                  </a:lnTo>
                  <a:lnTo>
                    <a:pt x="290" y="236"/>
                  </a:lnTo>
                  <a:lnTo>
                    <a:pt x="286" y="236"/>
                  </a:lnTo>
                  <a:lnTo>
                    <a:pt x="282" y="232"/>
                  </a:lnTo>
                  <a:lnTo>
                    <a:pt x="280" y="230"/>
                  </a:lnTo>
                  <a:lnTo>
                    <a:pt x="278" y="228"/>
                  </a:lnTo>
                  <a:lnTo>
                    <a:pt x="276" y="226"/>
                  </a:lnTo>
                  <a:lnTo>
                    <a:pt x="274" y="224"/>
                  </a:lnTo>
                  <a:lnTo>
                    <a:pt x="273" y="224"/>
                  </a:lnTo>
                  <a:lnTo>
                    <a:pt x="273" y="221"/>
                  </a:lnTo>
                  <a:lnTo>
                    <a:pt x="269" y="219"/>
                  </a:lnTo>
                  <a:lnTo>
                    <a:pt x="267" y="217"/>
                  </a:lnTo>
                  <a:lnTo>
                    <a:pt x="267" y="211"/>
                  </a:lnTo>
                  <a:lnTo>
                    <a:pt x="265" y="209"/>
                  </a:lnTo>
                  <a:lnTo>
                    <a:pt x="265" y="207"/>
                  </a:lnTo>
                  <a:lnTo>
                    <a:pt x="263" y="203"/>
                  </a:lnTo>
                  <a:lnTo>
                    <a:pt x="263" y="201"/>
                  </a:lnTo>
                  <a:lnTo>
                    <a:pt x="263" y="198"/>
                  </a:lnTo>
                  <a:lnTo>
                    <a:pt x="263" y="194"/>
                  </a:lnTo>
                  <a:lnTo>
                    <a:pt x="263" y="184"/>
                  </a:lnTo>
                  <a:lnTo>
                    <a:pt x="263" y="175"/>
                  </a:lnTo>
                  <a:lnTo>
                    <a:pt x="265" y="157"/>
                  </a:lnTo>
                  <a:lnTo>
                    <a:pt x="265" y="140"/>
                  </a:lnTo>
                  <a:lnTo>
                    <a:pt x="265" y="79"/>
                  </a:lnTo>
                  <a:lnTo>
                    <a:pt x="267" y="75"/>
                  </a:lnTo>
                  <a:lnTo>
                    <a:pt x="269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3" y="69"/>
                  </a:lnTo>
                  <a:lnTo>
                    <a:pt x="274" y="67"/>
                  </a:lnTo>
                  <a:lnTo>
                    <a:pt x="274" y="65"/>
                  </a:lnTo>
                  <a:lnTo>
                    <a:pt x="278" y="63"/>
                  </a:lnTo>
                  <a:lnTo>
                    <a:pt x="280" y="61"/>
                  </a:lnTo>
                  <a:lnTo>
                    <a:pt x="282" y="59"/>
                  </a:lnTo>
                  <a:lnTo>
                    <a:pt x="282" y="57"/>
                  </a:lnTo>
                  <a:lnTo>
                    <a:pt x="284" y="57"/>
                  </a:lnTo>
                  <a:lnTo>
                    <a:pt x="286" y="56"/>
                  </a:lnTo>
                  <a:lnTo>
                    <a:pt x="288" y="52"/>
                  </a:lnTo>
                  <a:lnTo>
                    <a:pt x="288" y="50"/>
                  </a:lnTo>
                  <a:lnTo>
                    <a:pt x="290" y="48"/>
                  </a:lnTo>
                  <a:lnTo>
                    <a:pt x="292" y="44"/>
                  </a:lnTo>
                  <a:lnTo>
                    <a:pt x="292" y="42"/>
                  </a:lnTo>
                  <a:lnTo>
                    <a:pt x="294" y="40"/>
                  </a:lnTo>
                  <a:lnTo>
                    <a:pt x="296" y="38"/>
                  </a:lnTo>
                  <a:lnTo>
                    <a:pt x="297" y="36"/>
                  </a:lnTo>
                  <a:lnTo>
                    <a:pt x="299" y="34"/>
                  </a:lnTo>
                  <a:lnTo>
                    <a:pt x="301" y="34"/>
                  </a:lnTo>
                  <a:lnTo>
                    <a:pt x="303" y="31"/>
                  </a:lnTo>
                  <a:lnTo>
                    <a:pt x="305" y="29"/>
                  </a:lnTo>
                  <a:lnTo>
                    <a:pt x="292" y="29"/>
                  </a:lnTo>
                  <a:lnTo>
                    <a:pt x="290" y="31"/>
                  </a:lnTo>
                  <a:lnTo>
                    <a:pt x="286" y="31"/>
                  </a:lnTo>
                  <a:lnTo>
                    <a:pt x="282" y="31"/>
                  </a:lnTo>
                  <a:lnTo>
                    <a:pt x="280" y="33"/>
                  </a:lnTo>
                  <a:lnTo>
                    <a:pt x="276" y="33"/>
                  </a:lnTo>
                  <a:lnTo>
                    <a:pt x="274" y="31"/>
                  </a:lnTo>
                  <a:lnTo>
                    <a:pt x="273" y="31"/>
                  </a:lnTo>
                  <a:lnTo>
                    <a:pt x="271" y="29"/>
                  </a:lnTo>
                  <a:lnTo>
                    <a:pt x="271" y="27"/>
                  </a:lnTo>
                  <a:lnTo>
                    <a:pt x="267" y="27"/>
                  </a:lnTo>
                  <a:lnTo>
                    <a:pt x="267" y="25"/>
                  </a:lnTo>
                  <a:lnTo>
                    <a:pt x="265" y="25"/>
                  </a:lnTo>
                  <a:lnTo>
                    <a:pt x="263" y="23"/>
                  </a:lnTo>
                  <a:lnTo>
                    <a:pt x="261" y="21"/>
                  </a:lnTo>
                  <a:lnTo>
                    <a:pt x="255" y="21"/>
                  </a:lnTo>
                  <a:lnTo>
                    <a:pt x="249" y="23"/>
                  </a:lnTo>
                  <a:lnTo>
                    <a:pt x="246" y="25"/>
                  </a:lnTo>
                  <a:lnTo>
                    <a:pt x="246" y="27"/>
                  </a:lnTo>
                  <a:lnTo>
                    <a:pt x="242" y="29"/>
                  </a:lnTo>
                  <a:lnTo>
                    <a:pt x="240" y="31"/>
                  </a:lnTo>
                  <a:lnTo>
                    <a:pt x="236" y="34"/>
                  </a:lnTo>
                  <a:lnTo>
                    <a:pt x="232" y="34"/>
                  </a:lnTo>
                  <a:lnTo>
                    <a:pt x="230" y="34"/>
                  </a:lnTo>
                  <a:lnTo>
                    <a:pt x="226" y="34"/>
                  </a:lnTo>
                  <a:lnTo>
                    <a:pt x="226" y="38"/>
                  </a:lnTo>
                  <a:lnTo>
                    <a:pt x="225" y="40"/>
                  </a:lnTo>
                  <a:lnTo>
                    <a:pt x="223" y="42"/>
                  </a:lnTo>
                  <a:lnTo>
                    <a:pt x="219" y="42"/>
                  </a:lnTo>
                  <a:lnTo>
                    <a:pt x="217" y="46"/>
                  </a:lnTo>
                  <a:lnTo>
                    <a:pt x="217" y="48"/>
                  </a:lnTo>
                  <a:lnTo>
                    <a:pt x="215" y="50"/>
                  </a:lnTo>
                  <a:lnTo>
                    <a:pt x="213" y="52"/>
                  </a:lnTo>
                  <a:lnTo>
                    <a:pt x="211" y="52"/>
                  </a:lnTo>
                  <a:lnTo>
                    <a:pt x="209" y="54"/>
                  </a:lnTo>
                  <a:lnTo>
                    <a:pt x="207" y="57"/>
                  </a:lnTo>
                  <a:lnTo>
                    <a:pt x="203" y="59"/>
                  </a:lnTo>
                  <a:lnTo>
                    <a:pt x="202" y="61"/>
                  </a:lnTo>
                  <a:lnTo>
                    <a:pt x="200" y="59"/>
                  </a:lnTo>
                  <a:lnTo>
                    <a:pt x="196" y="59"/>
                  </a:lnTo>
                  <a:lnTo>
                    <a:pt x="192" y="59"/>
                  </a:lnTo>
                  <a:lnTo>
                    <a:pt x="190" y="56"/>
                  </a:lnTo>
                  <a:lnTo>
                    <a:pt x="188" y="56"/>
                  </a:lnTo>
                  <a:lnTo>
                    <a:pt x="184" y="56"/>
                  </a:lnTo>
                  <a:lnTo>
                    <a:pt x="182" y="54"/>
                  </a:lnTo>
                  <a:lnTo>
                    <a:pt x="178" y="54"/>
                  </a:lnTo>
                  <a:lnTo>
                    <a:pt x="175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7" y="50"/>
                  </a:lnTo>
                  <a:lnTo>
                    <a:pt x="163" y="50"/>
                  </a:lnTo>
                  <a:lnTo>
                    <a:pt x="161" y="48"/>
                  </a:lnTo>
                  <a:lnTo>
                    <a:pt x="159" y="48"/>
                  </a:lnTo>
                  <a:lnTo>
                    <a:pt x="157" y="46"/>
                  </a:lnTo>
                  <a:lnTo>
                    <a:pt x="155" y="42"/>
                  </a:lnTo>
                  <a:lnTo>
                    <a:pt x="152" y="42"/>
                  </a:lnTo>
                  <a:lnTo>
                    <a:pt x="155" y="40"/>
                  </a:lnTo>
                  <a:lnTo>
                    <a:pt x="154" y="38"/>
                  </a:lnTo>
                  <a:lnTo>
                    <a:pt x="154" y="36"/>
                  </a:lnTo>
                  <a:lnTo>
                    <a:pt x="152" y="34"/>
                  </a:lnTo>
                  <a:lnTo>
                    <a:pt x="150" y="33"/>
                  </a:lnTo>
                  <a:lnTo>
                    <a:pt x="148" y="29"/>
                  </a:lnTo>
                  <a:lnTo>
                    <a:pt x="146" y="27"/>
                  </a:lnTo>
                  <a:lnTo>
                    <a:pt x="142" y="25"/>
                  </a:lnTo>
                  <a:lnTo>
                    <a:pt x="140" y="25"/>
                  </a:lnTo>
                  <a:lnTo>
                    <a:pt x="138" y="21"/>
                  </a:lnTo>
                  <a:lnTo>
                    <a:pt x="136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1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23" y="15"/>
                  </a:lnTo>
                  <a:lnTo>
                    <a:pt x="119" y="15"/>
                  </a:lnTo>
                  <a:lnTo>
                    <a:pt x="115" y="13"/>
                  </a:lnTo>
                  <a:lnTo>
                    <a:pt x="111" y="13"/>
                  </a:lnTo>
                  <a:lnTo>
                    <a:pt x="108" y="13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0" y="10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4" y="6"/>
                  </a:lnTo>
                  <a:lnTo>
                    <a:pt x="90" y="6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3" y="4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0" y="0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6"/>
                  </a:lnTo>
                  <a:lnTo>
                    <a:pt x="37" y="8"/>
                  </a:lnTo>
                  <a:lnTo>
                    <a:pt x="35" y="8"/>
                  </a:lnTo>
                  <a:lnTo>
                    <a:pt x="33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19" y="15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2" y="25"/>
                  </a:lnTo>
                  <a:lnTo>
                    <a:pt x="10" y="27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2" y="36"/>
                  </a:lnTo>
                  <a:lnTo>
                    <a:pt x="0" y="40"/>
                  </a:lnTo>
                  <a:lnTo>
                    <a:pt x="6" y="40"/>
                  </a:lnTo>
                  <a:lnTo>
                    <a:pt x="10" y="40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6"/>
                  </a:lnTo>
                  <a:lnTo>
                    <a:pt x="17" y="48"/>
                  </a:lnTo>
                  <a:lnTo>
                    <a:pt x="21" y="50"/>
                  </a:lnTo>
                  <a:lnTo>
                    <a:pt x="23" y="52"/>
                  </a:lnTo>
                  <a:lnTo>
                    <a:pt x="25" y="52"/>
                  </a:lnTo>
                  <a:lnTo>
                    <a:pt x="23" y="56"/>
                  </a:lnTo>
                  <a:lnTo>
                    <a:pt x="23" y="59"/>
                  </a:lnTo>
                  <a:lnTo>
                    <a:pt x="23" y="61"/>
                  </a:lnTo>
                  <a:lnTo>
                    <a:pt x="21" y="65"/>
                  </a:lnTo>
                  <a:lnTo>
                    <a:pt x="21" y="69"/>
                  </a:lnTo>
                  <a:lnTo>
                    <a:pt x="21" y="73"/>
                  </a:lnTo>
                  <a:lnTo>
                    <a:pt x="23" y="77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7" y="79"/>
                  </a:lnTo>
                  <a:lnTo>
                    <a:pt x="27" y="82"/>
                  </a:lnTo>
                  <a:lnTo>
                    <a:pt x="29" y="84"/>
                  </a:lnTo>
                  <a:lnTo>
                    <a:pt x="33" y="86"/>
                  </a:lnTo>
                  <a:lnTo>
                    <a:pt x="33" y="90"/>
                  </a:lnTo>
                  <a:lnTo>
                    <a:pt x="35" y="92"/>
                  </a:lnTo>
                  <a:lnTo>
                    <a:pt x="35" y="96"/>
                  </a:lnTo>
                  <a:lnTo>
                    <a:pt x="35" y="102"/>
                  </a:lnTo>
                  <a:lnTo>
                    <a:pt x="35" y="104"/>
                  </a:lnTo>
                  <a:lnTo>
                    <a:pt x="35" y="109"/>
                  </a:lnTo>
                  <a:lnTo>
                    <a:pt x="35" y="115"/>
                  </a:lnTo>
                  <a:lnTo>
                    <a:pt x="37" y="117"/>
                  </a:lnTo>
                  <a:lnTo>
                    <a:pt x="37" y="121"/>
                  </a:lnTo>
                  <a:lnTo>
                    <a:pt x="38" y="123"/>
                  </a:lnTo>
                  <a:lnTo>
                    <a:pt x="38" y="127"/>
                  </a:lnTo>
                  <a:lnTo>
                    <a:pt x="40" y="128"/>
                  </a:lnTo>
                  <a:lnTo>
                    <a:pt x="42" y="130"/>
                  </a:lnTo>
                  <a:lnTo>
                    <a:pt x="40" y="134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38" y="142"/>
                  </a:lnTo>
                  <a:lnTo>
                    <a:pt x="38" y="144"/>
                  </a:lnTo>
                  <a:lnTo>
                    <a:pt x="35" y="148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3" y="157"/>
                  </a:lnTo>
                  <a:lnTo>
                    <a:pt x="19" y="157"/>
                  </a:lnTo>
                  <a:lnTo>
                    <a:pt x="19" y="159"/>
                  </a:lnTo>
                  <a:lnTo>
                    <a:pt x="17" y="161"/>
                  </a:lnTo>
                  <a:lnTo>
                    <a:pt x="15" y="161"/>
                  </a:lnTo>
                  <a:lnTo>
                    <a:pt x="13" y="163"/>
                  </a:lnTo>
                  <a:lnTo>
                    <a:pt x="12" y="165"/>
                  </a:lnTo>
                  <a:lnTo>
                    <a:pt x="12" y="169"/>
                  </a:lnTo>
                  <a:lnTo>
                    <a:pt x="12" y="175"/>
                  </a:lnTo>
                  <a:lnTo>
                    <a:pt x="10" y="175"/>
                  </a:lnTo>
                  <a:lnTo>
                    <a:pt x="10" y="180"/>
                  </a:lnTo>
                  <a:lnTo>
                    <a:pt x="10" y="186"/>
                  </a:lnTo>
                  <a:lnTo>
                    <a:pt x="12" y="188"/>
                  </a:lnTo>
                  <a:lnTo>
                    <a:pt x="12" y="190"/>
                  </a:lnTo>
                  <a:lnTo>
                    <a:pt x="12" y="192"/>
                  </a:lnTo>
                  <a:lnTo>
                    <a:pt x="13" y="196"/>
                  </a:lnTo>
                  <a:lnTo>
                    <a:pt x="13" y="199"/>
                  </a:lnTo>
                  <a:lnTo>
                    <a:pt x="13" y="201"/>
                  </a:lnTo>
                  <a:lnTo>
                    <a:pt x="12" y="205"/>
                  </a:lnTo>
                  <a:lnTo>
                    <a:pt x="12" y="209"/>
                  </a:lnTo>
                  <a:lnTo>
                    <a:pt x="10" y="211"/>
                  </a:lnTo>
                  <a:lnTo>
                    <a:pt x="10" y="215"/>
                  </a:lnTo>
                  <a:lnTo>
                    <a:pt x="12" y="215"/>
                  </a:lnTo>
                  <a:lnTo>
                    <a:pt x="13" y="219"/>
                  </a:lnTo>
                  <a:lnTo>
                    <a:pt x="17" y="219"/>
                  </a:lnTo>
                  <a:lnTo>
                    <a:pt x="21" y="222"/>
                  </a:lnTo>
                  <a:lnTo>
                    <a:pt x="23" y="224"/>
                  </a:lnTo>
                  <a:lnTo>
                    <a:pt x="23" y="228"/>
                  </a:lnTo>
                  <a:lnTo>
                    <a:pt x="25" y="228"/>
                  </a:lnTo>
                  <a:lnTo>
                    <a:pt x="29" y="230"/>
                  </a:lnTo>
                  <a:lnTo>
                    <a:pt x="31" y="230"/>
                  </a:lnTo>
                  <a:lnTo>
                    <a:pt x="35" y="234"/>
                  </a:lnTo>
                  <a:lnTo>
                    <a:pt x="37" y="236"/>
                  </a:lnTo>
                  <a:lnTo>
                    <a:pt x="38" y="236"/>
                  </a:lnTo>
                  <a:lnTo>
                    <a:pt x="40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6" y="244"/>
                  </a:lnTo>
                  <a:lnTo>
                    <a:pt x="48" y="244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4" y="247"/>
                  </a:lnTo>
                  <a:lnTo>
                    <a:pt x="60" y="247"/>
                  </a:lnTo>
                  <a:lnTo>
                    <a:pt x="61" y="249"/>
                  </a:lnTo>
                  <a:lnTo>
                    <a:pt x="63" y="249"/>
                  </a:lnTo>
                  <a:lnTo>
                    <a:pt x="65" y="251"/>
                  </a:lnTo>
                  <a:lnTo>
                    <a:pt x="69" y="251"/>
                  </a:lnTo>
                  <a:lnTo>
                    <a:pt x="69" y="253"/>
                  </a:lnTo>
                  <a:lnTo>
                    <a:pt x="71" y="253"/>
                  </a:lnTo>
                  <a:lnTo>
                    <a:pt x="73" y="255"/>
                  </a:lnTo>
                  <a:lnTo>
                    <a:pt x="77" y="255"/>
                  </a:lnTo>
                  <a:lnTo>
                    <a:pt x="79" y="259"/>
                  </a:lnTo>
                  <a:lnTo>
                    <a:pt x="81" y="263"/>
                  </a:lnTo>
                  <a:lnTo>
                    <a:pt x="84" y="263"/>
                  </a:lnTo>
                  <a:lnTo>
                    <a:pt x="86" y="267"/>
                  </a:lnTo>
                  <a:lnTo>
                    <a:pt x="86" y="267"/>
                  </a:lnTo>
                  <a:lnTo>
                    <a:pt x="90" y="269"/>
                  </a:lnTo>
                  <a:lnTo>
                    <a:pt x="94" y="269"/>
                  </a:lnTo>
                  <a:lnTo>
                    <a:pt x="94" y="270"/>
                  </a:lnTo>
                  <a:lnTo>
                    <a:pt x="96" y="272"/>
                  </a:lnTo>
                  <a:lnTo>
                    <a:pt x="98" y="272"/>
                  </a:lnTo>
                  <a:lnTo>
                    <a:pt x="102" y="272"/>
                  </a:lnTo>
                  <a:lnTo>
                    <a:pt x="104" y="274"/>
                  </a:lnTo>
                  <a:lnTo>
                    <a:pt x="109" y="274"/>
                  </a:lnTo>
                  <a:lnTo>
                    <a:pt x="115" y="274"/>
                  </a:lnTo>
                  <a:lnTo>
                    <a:pt x="115" y="278"/>
                  </a:lnTo>
                  <a:lnTo>
                    <a:pt x="119" y="280"/>
                  </a:lnTo>
                  <a:lnTo>
                    <a:pt x="119" y="280"/>
                  </a:lnTo>
                  <a:lnTo>
                    <a:pt x="121" y="282"/>
                  </a:lnTo>
                  <a:lnTo>
                    <a:pt x="123" y="284"/>
                  </a:lnTo>
                  <a:lnTo>
                    <a:pt x="125" y="284"/>
                  </a:lnTo>
                  <a:lnTo>
                    <a:pt x="127" y="286"/>
                  </a:lnTo>
                  <a:lnTo>
                    <a:pt x="131" y="288"/>
                  </a:lnTo>
                  <a:lnTo>
                    <a:pt x="131" y="290"/>
                  </a:lnTo>
                  <a:lnTo>
                    <a:pt x="132" y="290"/>
                  </a:lnTo>
                  <a:lnTo>
                    <a:pt x="134" y="293"/>
                  </a:lnTo>
                  <a:lnTo>
                    <a:pt x="136" y="293"/>
                  </a:lnTo>
                  <a:lnTo>
                    <a:pt x="140" y="293"/>
                  </a:lnTo>
                  <a:lnTo>
                    <a:pt x="140" y="295"/>
                  </a:lnTo>
                  <a:lnTo>
                    <a:pt x="142" y="297"/>
                  </a:lnTo>
                  <a:lnTo>
                    <a:pt x="148" y="297"/>
                  </a:lnTo>
                  <a:lnTo>
                    <a:pt x="150" y="299"/>
                  </a:lnTo>
                  <a:lnTo>
                    <a:pt x="152" y="299"/>
                  </a:lnTo>
                  <a:lnTo>
                    <a:pt x="154" y="301"/>
                  </a:lnTo>
                  <a:lnTo>
                    <a:pt x="154" y="307"/>
                  </a:lnTo>
                  <a:lnTo>
                    <a:pt x="154" y="315"/>
                  </a:lnTo>
                  <a:lnTo>
                    <a:pt x="154" y="317"/>
                  </a:lnTo>
                  <a:lnTo>
                    <a:pt x="155" y="318"/>
                  </a:lnTo>
                  <a:lnTo>
                    <a:pt x="155" y="320"/>
                  </a:lnTo>
                  <a:lnTo>
                    <a:pt x="157" y="324"/>
                  </a:lnTo>
                  <a:lnTo>
                    <a:pt x="159" y="324"/>
                  </a:lnTo>
                  <a:lnTo>
                    <a:pt x="163" y="324"/>
                  </a:lnTo>
                  <a:lnTo>
                    <a:pt x="165" y="328"/>
                  </a:lnTo>
                  <a:lnTo>
                    <a:pt x="167" y="328"/>
                  </a:lnTo>
                  <a:lnTo>
                    <a:pt x="169" y="330"/>
                  </a:lnTo>
                  <a:lnTo>
                    <a:pt x="169" y="332"/>
                  </a:lnTo>
                  <a:lnTo>
                    <a:pt x="173" y="332"/>
                  </a:lnTo>
                  <a:lnTo>
                    <a:pt x="175" y="334"/>
                  </a:lnTo>
                  <a:lnTo>
                    <a:pt x="177" y="336"/>
                  </a:lnTo>
                  <a:lnTo>
                    <a:pt x="184" y="336"/>
                  </a:lnTo>
                  <a:lnTo>
                    <a:pt x="184" y="338"/>
                  </a:lnTo>
                  <a:lnTo>
                    <a:pt x="188" y="338"/>
                  </a:lnTo>
                  <a:lnTo>
                    <a:pt x="190" y="338"/>
                  </a:lnTo>
                  <a:lnTo>
                    <a:pt x="192" y="340"/>
                  </a:lnTo>
                  <a:lnTo>
                    <a:pt x="192" y="341"/>
                  </a:lnTo>
                  <a:lnTo>
                    <a:pt x="194" y="345"/>
                  </a:lnTo>
                  <a:lnTo>
                    <a:pt x="198" y="345"/>
                  </a:lnTo>
                  <a:lnTo>
                    <a:pt x="200" y="345"/>
                  </a:lnTo>
                  <a:lnTo>
                    <a:pt x="202" y="349"/>
                  </a:lnTo>
                  <a:lnTo>
                    <a:pt x="202" y="351"/>
                  </a:lnTo>
                  <a:lnTo>
                    <a:pt x="203" y="351"/>
                  </a:lnTo>
                  <a:lnTo>
                    <a:pt x="205" y="353"/>
                  </a:lnTo>
                  <a:lnTo>
                    <a:pt x="207" y="35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6" name="Freeform 23"/>
            <p:cNvSpPr>
              <a:spLocks/>
            </p:cNvSpPr>
            <p:nvPr/>
          </p:nvSpPr>
          <p:spPr bwMode="auto">
            <a:xfrm>
              <a:off x="2246" y="2182"/>
              <a:ext cx="205" cy="202"/>
            </a:xfrm>
            <a:custGeom>
              <a:avLst/>
              <a:gdLst/>
              <a:ahLst/>
              <a:cxnLst>
                <a:cxn ang="0">
                  <a:pos x="153" y="8"/>
                </a:cxn>
                <a:cxn ang="0">
                  <a:pos x="136" y="8"/>
                </a:cxn>
                <a:cxn ang="0">
                  <a:pos x="121" y="8"/>
                </a:cxn>
                <a:cxn ang="0">
                  <a:pos x="109" y="10"/>
                </a:cxn>
                <a:cxn ang="0">
                  <a:pos x="100" y="18"/>
                </a:cxn>
                <a:cxn ang="0">
                  <a:pos x="90" y="12"/>
                </a:cxn>
                <a:cxn ang="0">
                  <a:pos x="81" y="4"/>
                </a:cxn>
                <a:cxn ang="0">
                  <a:pos x="71" y="8"/>
                </a:cxn>
                <a:cxn ang="0">
                  <a:pos x="58" y="10"/>
                </a:cxn>
                <a:cxn ang="0">
                  <a:pos x="54" y="16"/>
                </a:cxn>
                <a:cxn ang="0">
                  <a:pos x="56" y="29"/>
                </a:cxn>
                <a:cxn ang="0">
                  <a:pos x="44" y="41"/>
                </a:cxn>
                <a:cxn ang="0">
                  <a:pos x="46" y="56"/>
                </a:cxn>
                <a:cxn ang="0">
                  <a:pos x="56" y="66"/>
                </a:cxn>
                <a:cxn ang="0">
                  <a:pos x="52" y="83"/>
                </a:cxn>
                <a:cxn ang="0">
                  <a:pos x="56" y="92"/>
                </a:cxn>
                <a:cxn ang="0">
                  <a:pos x="52" y="102"/>
                </a:cxn>
                <a:cxn ang="0">
                  <a:pos x="46" y="110"/>
                </a:cxn>
                <a:cxn ang="0">
                  <a:pos x="33" y="113"/>
                </a:cxn>
                <a:cxn ang="0">
                  <a:pos x="17" y="119"/>
                </a:cxn>
                <a:cxn ang="0">
                  <a:pos x="11" y="137"/>
                </a:cxn>
                <a:cxn ang="0">
                  <a:pos x="10" y="148"/>
                </a:cxn>
                <a:cxn ang="0">
                  <a:pos x="2" y="161"/>
                </a:cxn>
                <a:cxn ang="0">
                  <a:pos x="0" y="173"/>
                </a:cxn>
                <a:cxn ang="0">
                  <a:pos x="2" y="186"/>
                </a:cxn>
                <a:cxn ang="0">
                  <a:pos x="2" y="198"/>
                </a:cxn>
                <a:cxn ang="0">
                  <a:pos x="15" y="200"/>
                </a:cxn>
                <a:cxn ang="0">
                  <a:pos x="29" y="198"/>
                </a:cxn>
                <a:cxn ang="0">
                  <a:pos x="38" y="190"/>
                </a:cxn>
                <a:cxn ang="0">
                  <a:pos x="46" y="181"/>
                </a:cxn>
                <a:cxn ang="0">
                  <a:pos x="58" y="179"/>
                </a:cxn>
                <a:cxn ang="0">
                  <a:pos x="73" y="177"/>
                </a:cxn>
                <a:cxn ang="0">
                  <a:pos x="86" y="173"/>
                </a:cxn>
                <a:cxn ang="0">
                  <a:pos x="100" y="175"/>
                </a:cxn>
                <a:cxn ang="0">
                  <a:pos x="117" y="177"/>
                </a:cxn>
                <a:cxn ang="0">
                  <a:pos x="130" y="173"/>
                </a:cxn>
                <a:cxn ang="0">
                  <a:pos x="148" y="173"/>
                </a:cxn>
                <a:cxn ang="0">
                  <a:pos x="165" y="173"/>
                </a:cxn>
                <a:cxn ang="0">
                  <a:pos x="176" y="177"/>
                </a:cxn>
                <a:cxn ang="0">
                  <a:pos x="173" y="163"/>
                </a:cxn>
                <a:cxn ang="0">
                  <a:pos x="176" y="152"/>
                </a:cxn>
                <a:cxn ang="0">
                  <a:pos x="176" y="140"/>
                </a:cxn>
                <a:cxn ang="0">
                  <a:pos x="175" y="125"/>
                </a:cxn>
                <a:cxn ang="0">
                  <a:pos x="188" y="117"/>
                </a:cxn>
                <a:cxn ang="0">
                  <a:pos x="198" y="110"/>
                </a:cxn>
                <a:cxn ang="0">
                  <a:pos x="205" y="100"/>
                </a:cxn>
                <a:cxn ang="0">
                  <a:pos x="201" y="89"/>
                </a:cxn>
                <a:cxn ang="0">
                  <a:pos x="200" y="75"/>
                </a:cxn>
                <a:cxn ang="0">
                  <a:pos x="198" y="60"/>
                </a:cxn>
                <a:cxn ang="0">
                  <a:pos x="196" y="48"/>
                </a:cxn>
                <a:cxn ang="0">
                  <a:pos x="188" y="39"/>
                </a:cxn>
                <a:cxn ang="0">
                  <a:pos x="186" y="27"/>
                </a:cxn>
                <a:cxn ang="0">
                  <a:pos x="186" y="16"/>
                </a:cxn>
                <a:cxn ang="0">
                  <a:pos x="178" y="8"/>
                </a:cxn>
                <a:cxn ang="0">
                  <a:pos x="171" y="2"/>
                </a:cxn>
              </a:cxnLst>
              <a:rect l="0" t="0" r="r" b="b"/>
              <a:pathLst>
                <a:path w="205" h="202">
                  <a:moveTo>
                    <a:pt x="165" y="0"/>
                  </a:moveTo>
                  <a:lnTo>
                    <a:pt x="161" y="2"/>
                  </a:lnTo>
                  <a:lnTo>
                    <a:pt x="157" y="6"/>
                  </a:lnTo>
                  <a:lnTo>
                    <a:pt x="153" y="6"/>
                  </a:lnTo>
                  <a:lnTo>
                    <a:pt x="153" y="8"/>
                  </a:lnTo>
                  <a:lnTo>
                    <a:pt x="150" y="8"/>
                  </a:lnTo>
                  <a:lnTo>
                    <a:pt x="146" y="8"/>
                  </a:lnTo>
                  <a:lnTo>
                    <a:pt x="144" y="8"/>
                  </a:lnTo>
                  <a:lnTo>
                    <a:pt x="140" y="8"/>
                  </a:lnTo>
                  <a:lnTo>
                    <a:pt x="136" y="8"/>
                  </a:lnTo>
                  <a:lnTo>
                    <a:pt x="134" y="8"/>
                  </a:lnTo>
                  <a:lnTo>
                    <a:pt x="130" y="8"/>
                  </a:lnTo>
                  <a:lnTo>
                    <a:pt x="127" y="8"/>
                  </a:lnTo>
                  <a:lnTo>
                    <a:pt x="125" y="8"/>
                  </a:lnTo>
                  <a:lnTo>
                    <a:pt x="121" y="8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13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4" y="16"/>
                  </a:lnTo>
                  <a:lnTo>
                    <a:pt x="100" y="18"/>
                  </a:lnTo>
                  <a:lnTo>
                    <a:pt x="98" y="18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2" y="14"/>
                  </a:lnTo>
                  <a:lnTo>
                    <a:pt x="90" y="12"/>
                  </a:lnTo>
                  <a:lnTo>
                    <a:pt x="88" y="10"/>
                  </a:lnTo>
                  <a:lnTo>
                    <a:pt x="84" y="10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1" y="4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7" y="6"/>
                  </a:lnTo>
                  <a:lnTo>
                    <a:pt x="73" y="8"/>
                  </a:lnTo>
                  <a:lnTo>
                    <a:pt x="71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1" y="10"/>
                  </a:lnTo>
                  <a:lnTo>
                    <a:pt x="58" y="10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4" y="21"/>
                  </a:lnTo>
                  <a:lnTo>
                    <a:pt x="56" y="21"/>
                  </a:lnTo>
                  <a:lnTo>
                    <a:pt x="56" y="25"/>
                  </a:lnTo>
                  <a:lnTo>
                    <a:pt x="56" y="29"/>
                  </a:lnTo>
                  <a:lnTo>
                    <a:pt x="52" y="33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46" y="39"/>
                  </a:lnTo>
                  <a:lnTo>
                    <a:pt x="44" y="41"/>
                  </a:lnTo>
                  <a:lnTo>
                    <a:pt x="42" y="44"/>
                  </a:lnTo>
                  <a:lnTo>
                    <a:pt x="42" y="48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6" y="56"/>
                  </a:lnTo>
                  <a:lnTo>
                    <a:pt x="46" y="58"/>
                  </a:lnTo>
                  <a:lnTo>
                    <a:pt x="50" y="58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6" y="66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5"/>
                  </a:lnTo>
                  <a:lnTo>
                    <a:pt x="54" y="87"/>
                  </a:lnTo>
                  <a:lnTo>
                    <a:pt x="56" y="89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4" y="96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8" y="108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4" y="112"/>
                  </a:lnTo>
                  <a:lnTo>
                    <a:pt x="42" y="112"/>
                  </a:lnTo>
                  <a:lnTo>
                    <a:pt x="38" y="112"/>
                  </a:lnTo>
                  <a:lnTo>
                    <a:pt x="36" y="113"/>
                  </a:lnTo>
                  <a:lnTo>
                    <a:pt x="33" y="113"/>
                  </a:lnTo>
                  <a:lnTo>
                    <a:pt x="29" y="113"/>
                  </a:lnTo>
                  <a:lnTo>
                    <a:pt x="25" y="115"/>
                  </a:lnTo>
                  <a:lnTo>
                    <a:pt x="23" y="117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5" y="123"/>
                  </a:lnTo>
                  <a:lnTo>
                    <a:pt x="13" y="125"/>
                  </a:lnTo>
                  <a:lnTo>
                    <a:pt x="13" y="131"/>
                  </a:lnTo>
                  <a:lnTo>
                    <a:pt x="11" y="135"/>
                  </a:lnTo>
                  <a:lnTo>
                    <a:pt x="11" y="137"/>
                  </a:lnTo>
                  <a:lnTo>
                    <a:pt x="11" y="138"/>
                  </a:lnTo>
                  <a:lnTo>
                    <a:pt x="11" y="140"/>
                  </a:lnTo>
                  <a:lnTo>
                    <a:pt x="11" y="144"/>
                  </a:lnTo>
                  <a:lnTo>
                    <a:pt x="11" y="146"/>
                  </a:lnTo>
                  <a:lnTo>
                    <a:pt x="10" y="148"/>
                  </a:lnTo>
                  <a:lnTo>
                    <a:pt x="10" y="152"/>
                  </a:lnTo>
                  <a:lnTo>
                    <a:pt x="8" y="154"/>
                  </a:lnTo>
                  <a:lnTo>
                    <a:pt x="6" y="156"/>
                  </a:lnTo>
                  <a:lnTo>
                    <a:pt x="6" y="160"/>
                  </a:lnTo>
                  <a:lnTo>
                    <a:pt x="2" y="161"/>
                  </a:lnTo>
                  <a:lnTo>
                    <a:pt x="2" y="163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9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7"/>
                  </a:lnTo>
                  <a:lnTo>
                    <a:pt x="2" y="181"/>
                  </a:lnTo>
                  <a:lnTo>
                    <a:pt x="2" y="184"/>
                  </a:lnTo>
                  <a:lnTo>
                    <a:pt x="2" y="186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4" y="194"/>
                  </a:lnTo>
                  <a:lnTo>
                    <a:pt x="4" y="196"/>
                  </a:lnTo>
                  <a:lnTo>
                    <a:pt x="2" y="198"/>
                  </a:lnTo>
                  <a:lnTo>
                    <a:pt x="4" y="198"/>
                  </a:lnTo>
                  <a:lnTo>
                    <a:pt x="8" y="198"/>
                  </a:lnTo>
                  <a:lnTo>
                    <a:pt x="10" y="198"/>
                  </a:lnTo>
                  <a:lnTo>
                    <a:pt x="11" y="198"/>
                  </a:lnTo>
                  <a:lnTo>
                    <a:pt x="15" y="200"/>
                  </a:lnTo>
                  <a:lnTo>
                    <a:pt x="19" y="200"/>
                  </a:lnTo>
                  <a:lnTo>
                    <a:pt x="21" y="202"/>
                  </a:lnTo>
                  <a:lnTo>
                    <a:pt x="23" y="202"/>
                  </a:lnTo>
                  <a:lnTo>
                    <a:pt x="27" y="198"/>
                  </a:lnTo>
                  <a:lnTo>
                    <a:pt x="29" y="198"/>
                  </a:lnTo>
                  <a:lnTo>
                    <a:pt x="33" y="198"/>
                  </a:lnTo>
                  <a:lnTo>
                    <a:pt x="34" y="194"/>
                  </a:lnTo>
                  <a:lnTo>
                    <a:pt x="36" y="192"/>
                  </a:lnTo>
                  <a:lnTo>
                    <a:pt x="38" y="192"/>
                  </a:lnTo>
                  <a:lnTo>
                    <a:pt x="38" y="190"/>
                  </a:lnTo>
                  <a:lnTo>
                    <a:pt x="40" y="188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4" y="183"/>
                  </a:lnTo>
                  <a:lnTo>
                    <a:pt x="46" y="181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58" y="179"/>
                  </a:lnTo>
                  <a:lnTo>
                    <a:pt x="61" y="179"/>
                  </a:lnTo>
                  <a:lnTo>
                    <a:pt x="65" y="179"/>
                  </a:lnTo>
                  <a:lnTo>
                    <a:pt x="67" y="177"/>
                  </a:lnTo>
                  <a:lnTo>
                    <a:pt x="69" y="177"/>
                  </a:lnTo>
                  <a:lnTo>
                    <a:pt x="73" y="177"/>
                  </a:lnTo>
                  <a:lnTo>
                    <a:pt x="77" y="175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4" y="175"/>
                  </a:lnTo>
                  <a:lnTo>
                    <a:pt x="86" y="173"/>
                  </a:lnTo>
                  <a:lnTo>
                    <a:pt x="90" y="173"/>
                  </a:lnTo>
                  <a:lnTo>
                    <a:pt x="92" y="173"/>
                  </a:lnTo>
                  <a:lnTo>
                    <a:pt x="94" y="173"/>
                  </a:lnTo>
                  <a:lnTo>
                    <a:pt x="96" y="175"/>
                  </a:lnTo>
                  <a:lnTo>
                    <a:pt x="100" y="175"/>
                  </a:lnTo>
                  <a:lnTo>
                    <a:pt x="102" y="177"/>
                  </a:lnTo>
                  <a:lnTo>
                    <a:pt x="105" y="177"/>
                  </a:lnTo>
                  <a:lnTo>
                    <a:pt x="109" y="177"/>
                  </a:lnTo>
                  <a:lnTo>
                    <a:pt x="113" y="177"/>
                  </a:lnTo>
                  <a:lnTo>
                    <a:pt x="117" y="177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30" y="173"/>
                  </a:lnTo>
                  <a:lnTo>
                    <a:pt x="134" y="173"/>
                  </a:lnTo>
                  <a:lnTo>
                    <a:pt x="138" y="173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8" y="173"/>
                  </a:lnTo>
                  <a:lnTo>
                    <a:pt x="152" y="173"/>
                  </a:lnTo>
                  <a:lnTo>
                    <a:pt x="153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5" y="173"/>
                  </a:lnTo>
                  <a:lnTo>
                    <a:pt x="171" y="173"/>
                  </a:lnTo>
                  <a:lnTo>
                    <a:pt x="173" y="173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6" y="177"/>
                  </a:lnTo>
                  <a:lnTo>
                    <a:pt x="173" y="177"/>
                  </a:lnTo>
                  <a:lnTo>
                    <a:pt x="173" y="173"/>
                  </a:lnTo>
                  <a:lnTo>
                    <a:pt x="173" y="171"/>
                  </a:lnTo>
                  <a:lnTo>
                    <a:pt x="173" y="167"/>
                  </a:lnTo>
                  <a:lnTo>
                    <a:pt x="173" y="163"/>
                  </a:lnTo>
                  <a:lnTo>
                    <a:pt x="175" y="161"/>
                  </a:lnTo>
                  <a:lnTo>
                    <a:pt x="175" y="160"/>
                  </a:lnTo>
                  <a:lnTo>
                    <a:pt x="175" y="156"/>
                  </a:lnTo>
                  <a:lnTo>
                    <a:pt x="175" y="154"/>
                  </a:lnTo>
                  <a:lnTo>
                    <a:pt x="176" y="152"/>
                  </a:lnTo>
                  <a:lnTo>
                    <a:pt x="178" y="150"/>
                  </a:lnTo>
                  <a:lnTo>
                    <a:pt x="178" y="146"/>
                  </a:lnTo>
                  <a:lnTo>
                    <a:pt x="178" y="144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6" y="137"/>
                  </a:lnTo>
                  <a:lnTo>
                    <a:pt x="176" y="135"/>
                  </a:lnTo>
                  <a:lnTo>
                    <a:pt x="175" y="131"/>
                  </a:lnTo>
                  <a:lnTo>
                    <a:pt x="175" y="129"/>
                  </a:lnTo>
                  <a:lnTo>
                    <a:pt x="175" y="125"/>
                  </a:lnTo>
                  <a:lnTo>
                    <a:pt x="176" y="123"/>
                  </a:lnTo>
                  <a:lnTo>
                    <a:pt x="178" y="121"/>
                  </a:lnTo>
                  <a:lnTo>
                    <a:pt x="182" y="119"/>
                  </a:lnTo>
                  <a:lnTo>
                    <a:pt x="184" y="117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5"/>
                  </a:lnTo>
                  <a:lnTo>
                    <a:pt x="192" y="113"/>
                  </a:lnTo>
                  <a:lnTo>
                    <a:pt x="196" y="112"/>
                  </a:lnTo>
                  <a:lnTo>
                    <a:pt x="198" y="110"/>
                  </a:lnTo>
                  <a:lnTo>
                    <a:pt x="200" y="108"/>
                  </a:lnTo>
                  <a:lnTo>
                    <a:pt x="200" y="106"/>
                  </a:lnTo>
                  <a:lnTo>
                    <a:pt x="201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5" y="98"/>
                  </a:lnTo>
                  <a:lnTo>
                    <a:pt x="203" y="96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201" y="89"/>
                  </a:lnTo>
                  <a:lnTo>
                    <a:pt x="201" y="85"/>
                  </a:lnTo>
                  <a:lnTo>
                    <a:pt x="201" y="83"/>
                  </a:lnTo>
                  <a:lnTo>
                    <a:pt x="200" y="81"/>
                  </a:lnTo>
                  <a:lnTo>
                    <a:pt x="200" y="77"/>
                  </a:lnTo>
                  <a:lnTo>
                    <a:pt x="200" y="75"/>
                  </a:lnTo>
                  <a:lnTo>
                    <a:pt x="200" y="71"/>
                  </a:lnTo>
                  <a:lnTo>
                    <a:pt x="200" y="67"/>
                  </a:lnTo>
                  <a:lnTo>
                    <a:pt x="200" y="66"/>
                  </a:lnTo>
                  <a:lnTo>
                    <a:pt x="198" y="64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198" y="56"/>
                  </a:lnTo>
                  <a:lnTo>
                    <a:pt x="198" y="54"/>
                  </a:lnTo>
                  <a:lnTo>
                    <a:pt x="198" y="50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90" y="46"/>
                  </a:lnTo>
                  <a:lnTo>
                    <a:pt x="190" y="43"/>
                  </a:lnTo>
                  <a:lnTo>
                    <a:pt x="188" y="41"/>
                  </a:lnTo>
                  <a:lnTo>
                    <a:pt x="188" y="39"/>
                  </a:lnTo>
                  <a:lnTo>
                    <a:pt x="188" y="37"/>
                  </a:lnTo>
                  <a:lnTo>
                    <a:pt x="188" y="35"/>
                  </a:lnTo>
                  <a:lnTo>
                    <a:pt x="186" y="33"/>
                  </a:lnTo>
                  <a:lnTo>
                    <a:pt x="186" y="31"/>
                  </a:lnTo>
                  <a:lnTo>
                    <a:pt x="186" y="27"/>
                  </a:lnTo>
                  <a:lnTo>
                    <a:pt x="186" y="25"/>
                  </a:lnTo>
                  <a:lnTo>
                    <a:pt x="188" y="23"/>
                  </a:lnTo>
                  <a:lnTo>
                    <a:pt x="188" y="21"/>
                  </a:lnTo>
                  <a:lnTo>
                    <a:pt x="188" y="18"/>
                  </a:lnTo>
                  <a:lnTo>
                    <a:pt x="186" y="16"/>
                  </a:lnTo>
                  <a:lnTo>
                    <a:pt x="186" y="14"/>
                  </a:lnTo>
                  <a:lnTo>
                    <a:pt x="184" y="14"/>
                  </a:lnTo>
                  <a:lnTo>
                    <a:pt x="180" y="14"/>
                  </a:lnTo>
                  <a:lnTo>
                    <a:pt x="178" y="12"/>
                  </a:lnTo>
                  <a:lnTo>
                    <a:pt x="178" y="8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5" y="4"/>
                  </a:lnTo>
                  <a:lnTo>
                    <a:pt x="175" y="2"/>
                  </a:lnTo>
                  <a:lnTo>
                    <a:pt x="171" y="2"/>
                  </a:lnTo>
                  <a:lnTo>
                    <a:pt x="169" y="2"/>
                  </a:lnTo>
                  <a:lnTo>
                    <a:pt x="16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7" name="Freeform 24"/>
            <p:cNvSpPr>
              <a:spLocks/>
            </p:cNvSpPr>
            <p:nvPr/>
          </p:nvSpPr>
          <p:spPr bwMode="auto">
            <a:xfrm>
              <a:off x="2246" y="2182"/>
              <a:ext cx="205" cy="202"/>
            </a:xfrm>
            <a:custGeom>
              <a:avLst/>
              <a:gdLst/>
              <a:ahLst/>
              <a:cxnLst>
                <a:cxn ang="0">
                  <a:pos x="153" y="8"/>
                </a:cxn>
                <a:cxn ang="0">
                  <a:pos x="136" y="8"/>
                </a:cxn>
                <a:cxn ang="0">
                  <a:pos x="121" y="8"/>
                </a:cxn>
                <a:cxn ang="0">
                  <a:pos x="109" y="10"/>
                </a:cxn>
                <a:cxn ang="0">
                  <a:pos x="100" y="18"/>
                </a:cxn>
                <a:cxn ang="0">
                  <a:pos x="90" y="12"/>
                </a:cxn>
                <a:cxn ang="0">
                  <a:pos x="81" y="4"/>
                </a:cxn>
                <a:cxn ang="0">
                  <a:pos x="71" y="8"/>
                </a:cxn>
                <a:cxn ang="0">
                  <a:pos x="58" y="10"/>
                </a:cxn>
                <a:cxn ang="0">
                  <a:pos x="54" y="16"/>
                </a:cxn>
                <a:cxn ang="0">
                  <a:pos x="56" y="29"/>
                </a:cxn>
                <a:cxn ang="0">
                  <a:pos x="44" y="41"/>
                </a:cxn>
                <a:cxn ang="0">
                  <a:pos x="46" y="56"/>
                </a:cxn>
                <a:cxn ang="0">
                  <a:pos x="56" y="66"/>
                </a:cxn>
                <a:cxn ang="0">
                  <a:pos x="52" y="83"/>
                </a:cxn>
                <a:cxn ang="0">
                  <a:pos x="56" y="92"/>
                </a:cxn>
                <a:cxn ang="0">
                  <a:pos x="52" y="102"/>
                </a:cxn>
                <a:cxn ang="0">
                  <a:pos x="46" y="110"/>
                </a:cxn>
                <a:cxn ang="0">
                  <a:pos x="33" y="113"/>
                </a:cxn>
                <a:cxn ang="0">
                  <a:pos x="17" y="119"/>
                </a:cxn>
                <a:cxn ang="0">
                  <a:pos x="11" y="137"/>
                </a:cxn>
                <a:cxn ang="0">
                  <a:pos x="10" y="148"/>
                </a:cxn>
                <a:cxn ang="0">
                  <a:pos x="2" y="161"/>
                </a:cxn>
                <a:cxn ang="0">
                  <a:pos x="0" y="173"/>
                </a:cxn>
                <a:cxn ang="0">
                  <a:pos x="2" y="186"/>
                </a:cxn>
                <a:cxn ang="0">
                  <a:pos x="2" y="198"/>
                </a:cxn>
                <a:cxn ang="0">
                  <a:pos x="15" y="200"/>
                </a:cxn>
                <a:cxn ang="0">
                  <a:pos x="29" y="198"/>
                </a:cxn>
                <a:cxn ang="0">
                  <a:pos x="38" y="190"/>
                </a:cxn>
                <a:cxn ang="0">
                  <a:pos x="46" y="181"/>
                </a:cxn>
                <a:cxn ang="0">
                  <a:pos x="58" y="179"/>
                </a:cxn>
                <a:cxn ang="0">
                  <a:pos x="73" y="177"/>
                </a:cxn>
                <a:cxn ang="0">
                  <a:pos x="86" y="173"/>
                </a:cxn>
                <a:cxn ang="0">
                  <a:pos x="100" y="175"/>
                </a:cxn>
                <a:cxn ang="0">
                  <a:pos x="117" y="177"/>
                </a:cxn>
                <a:cxn ang="0">
                  <a:pos x="130" y="173"/>
                </a:cxn>
                <a:cxn ang="0">
                  <a:pos x="148" y="173"/>
                </a:cxn>
                <a:cxn ang="0">
                  <a:pos x="165" y="173"/>
                </a:cxn>
                <a:cxn ang="0">
                  <a:pos x="176" y="177"/>
                </a:cxn>
                <a:cxn ang="0">
                  <a:pos x="173" y="163"/>
                </a:cxn>
                <a:cxn ang="0">
                  <a:pos x="176" y="152"/>
                </a:cxn>
                <a:cxn ang="0">
                  <a:pos x="176" y="140"/>
                </a:cxn>
                <a:cxn ang="0">
                  <a:pos x="175" y="125"/>
                </a:cxn>
                <a:cxn ang="0">
                  <a:pos x="188" y="117"/>
                </a:cxn>
                <a:cxn ang="0">
                  <a:pos x="198" y="110"/>
                </a:cxn>
                <a:cxn ang="0">
                  <a:pos x="205" y="100"/>
                </a:cxn>
                <a:cxn ang="0">
                  <a:pos x="201" y="89"/>
                </a:cxn>
                <a:cxn ang="0">
                  <a:pos x="200" y="75"/>
                </a:cxn>
                <a:cxn ang="0">
                  <a:pos x="198" y="60"/>
                </a:cxn>
                <a:cxn ang="0">
                  <a:pos x="196" y="48"/>
                </a:cxn>
                <a:cxn ang="0">
                  <a:pos x="188" y="39"/>
                </a:cxn>
                <a:cxn ang="0">
                  <a:pos x="186" y="27"/>
                </a:cxn>
                <a:cxn ang="0">
                  <a:pos x="186" y="16"/>
                </a:cxn>
                <a:cxn ang="0">
                  <a:pos x="178" y="8"/>
                </a:cxn>
                <a:cxn ang="0">
                  <a:pos x="171" y="2"/>
                </a:cxn>
              </a:cxnLst>
              <a:rect l="0" t="0" r="r" b="b"/>
              <a:pathLst>
                <a:path w="205" h="202">
                  <a:moveTo>
                    <a:pt x="165" y="0"/>
                  </a:moveTo>
                  <a:lnTo>
                    <a:pt x="161" y="2"/>
                  </a:lnTo>
                  <a:lnTo>
                    <a:pt x="157" y="6"/>
                  </a:lnTo>
                  <a:lnTo>
                    <a:pt x="153" y="6"/>
                  </a:lnTo>
                  <a:lnTo>
                    <a:pt x="153" y="8"/>
                  </a:lnTo>
                  <a:lnTo>
                    <a:pt x="150" y="8"/>
                  </a:lnTo>
                  <a:lnTo>
                    <a:pt x="146" y="8"/>
                  </a:lnTo>
                  <a:lnTo>
                    <a:pt x="144" y="8"/>
                  </a:lnTo>
                  <a:lnTo>
                    <a:pt x="140" y="8"/>
                  </a:lnTo>
                  <a:lnTo>
                    <a:pt x="136" y="8"/>
                  </a:lnTo>
                  <a:lnTo>
                    <a:pt x="134" y="8"/>
                  </a:lnTo>
                  <a:lnTo>
                    <a:pt x="130" y="8"/>
                  </a:lnTo>
                  <a:lnTo>
                    <a:pt x="127" y="8"/>
                  </a:lnTo>
                  <a:lnTo>
                    <a:pt x="125" y="8"/>
                  </a:lnTo>
                  <a:lnTo>
                    <a:pt x="121" y="8"/>
                  </a:lnTo>
                  <a:lnTo>
                    <a:pt x="117" y="8"/>
                  </a:lnTo>
                  <a:lnTo>
                    <a:pt x="115" y="8"/>
                  </a:lnTo>
                  <a:lnTo>
                    <a:pt x="113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4" y="16"/>
                  </a:lnTo>
                  <a:lnTo>
                    <a:pt x="100" y="18"/>
                  </a:lnTo>
                  <a:lnTo>
                    <a:pt x="98" y="18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2" y="14"/>
                  </a:lnTo>
                  <a:lnTo>
                    <a:pt x="90" y="12"/>
                  </a:lnTo>
                  <a:lnTo>
                    <a:pt x="88" y="10"/>
                  </a:lnTo>
                  <a:lnTo>
                    <a:pt x="84" y="10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1" y="4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7" y="6"/>
                  </a:lnTo>
                  <a:lnTo>
                    <a:pt x="73" y="8"/>
                  </a:lnTo>
                  <a:lnTo>
                    <a:pt x="71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1" y="10"/>
                  </a:lnTo>
                  <a:lnTo>
                    <a:pt x="58" y="10"/>
                  </a:lnTo>
                  <a:lnTo>
                    <a:pt x="56" y="8"/>
                  </a:lnTo>
                  <a:lnTo>
                    <a:pt x="56" y="10"/>
                  </a:lnTo>
                  <a:lnTo>
                    <a:pt x="54" y="10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4" y="21"/>
                  </a:lnTo>
                  <a:lnTo>
                    <a:pt x="56" y="21"/>
                  </a:lnTo>
                  <a:lnTo>
                    <a:pt x="56" y="25"/>
                  </a:lnTo>
                  <a:lnTo>
                    <a:pt x="56" y="29"/>
                  </a:lnTo>
                  <a:lnTo>
                    <a:pt x="52" y="33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46" y="39"/>
                  </a:lnTo>
                  <a:lnTo>
                    <a:pt x="44" y="41"/>
                  </a:lnTo>
                  <a:lnTo>
                    <a:pt x="42" y="44"/>
                  </a:lnTo>
                  <a:lnTo>
                    <a:pt x="42" y="48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6" y="56"/>
                  </a:lnTo>
                  <a:lnTo>
                    <a:pt x="46" y="58"/>
                  </a:lnTo>
                  <a:lnTo>
                    <a:pt x="50" y="58"/>
                  </a:lnTo>
                  <a:lnTo>
                    <a:pt x="52" y="62"/>
                  </a:lnTo>
                  <a:lnTo>
                    <a:pt x="54" y="64"/>
                  </a:lnTo>
                  <a:lnTo>
                    <a:pt x="56" y="66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5"/>
                  </a:lnTo>
                  <a:lnTo>
                    <a:pt x="54" y="87"/>
                  </a:lnTo>
                  <a:lnTo>
                    <a:pt x="56" y="89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4"/>
                  </a:lnTo>
                  <a:lnTo>
                    <a:pt x="54" y="96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50" y="104"/>
                  </a:lnTo>
                  <a:lnTo>
                    <a:pt x="48" y="108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4" y="112"/>
                  </a:lnTo>
                  <a:lnTo>
                    <a:pt x="42" y="112"/>
                  </a:lnTo>
                  <a:lnTo>
                    <a:pt x="38" y="112"/>
                  </a:lnTo>
                  <a:lnTo>
                    <a:pt x="36" y="113"/>
                  </a:lnTo>
                  <a:lnTo>
                    <a:pt x="33" y="113"/>
                  </a:lnTo>
                  <a:lnTo>
                    <a:pt x="29" y="113"/>
                  </a:lnTo>
                  <a:lnTo>
                    <a:pt x="25" y="115"/>
                  </a:lnTo>
                  <a:lnTo>
                    <a:pt x="23" y="117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5" y="123"/>
                  </a:lnTo>
                  <a:lnTo>
                    <a:pt x="13" y="125"/>
                  </a:lnTo>
                  <a:lnTo>
                    <a:pt x="13" y="131"/>
                  </a:lnTo>
                  <a:lnTo>
                    <a:pt x="11" y="135"/>
                  </a:lnTo>
                  <a:lnTo>
                    <a:pt x="11" y="137"/>
                  </a:lnTo>
                  <a:lnTo>
                    <a:pt x="11" y="138"/>
                  </a:lnTo>
                  <a:lnTo>
                    <a:pt x="11" y="140"/>
                  </a:lnTo>
                  <a:lnTo>
                    <a:pt x="11" y="144"/>
                  </a:lnTo>
                  <a:lnTo>
                    <a:pt x="11" y="146"/>
                  </a:lnTo>
                  <a:lnTo>
                    <a:pt x="10" y="148"/>
                  </a:lnTo>
                  <a:lnTo>
                    <a:pt x="10" y="152"/>
                  </a:lnTo>
                  <a:lnTo>
                    <a:pt x="8" y="154"/>
                  </a:lnTo>
                  <a:lnTo>
                    <a:pt x="6" y="156"/>
                  </a:lnTo>
                  <a:lnTo>
                    <a:pt x="6" y="160"/>
                  </a:lnTo>
                  <a:lnTo>
                    <a:pt x="2" y="161"/>
                  </a:lnTo>
                  <a:lnTo>
                    <a:pt x="2" y="163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9"/>
                  </a:lnTo>
                  <a:lnTo>
                    <a:pt x="0" y="173"/>
                  </a:lnTo>
                  <a:lnTo>
                    <a:pt x="0" y="175"/>
                  </a:lnTo>
                  <a:lnTo>
                    <a:pt x="0" y="177"/>
                  </a:lnTo>
                  <a:lnTo>
                    <a:pt x="2" y="181"/>
                  </a:lnTo>
                  <a:lnTo>
                    <a:pt x="2" y="184"/>
                  </a:lnTo>
                  <a:lnTo>
                    <a:pt x="2" y="186"/>
                  </a:lnTo>
                  <a:lnTo>
                    <a:pt x="4" y="190"/>
                  </a:lnTo>
                  <a:lnTo>
                    <a:pt x="4" y="192"/>
                  </a:lnTo>
                  <a:lnTo>
                    <a:pt x="4" y="194"/>
                  </a:lnTo>
                  <a:lnTo>
                    <a:pt x="4" y="196"/>
                  </a:lnTo>
                  <a:lnTo>
                    <a:pt x="2" y="198"/>
                  </a:lnTo>
                  <a:lnTo>
                    <a:pt x="4" y="198"/>
                  </a:lnTo>
                  <a:lnTo>
                    <a:pt x="8" y="198"/>
                  </a:lnTo>
                  <a:lnTo>
                    <a:pt x="10" y="198"/>
                  </a:lnTo>
                  <a:lnTo>
                    <a:pt x="11" y="198"/>
                  </a:lnTo>
                  <a:lnTo>
                    <a:pt x="15" y="200"/>
                  </a:lnTo>
                  <a:lnTo>
                    <a:pt x="19" y="200"/>
                  </a:lnTo>
                  <a:lnTo>
                    <a:pt x="21" y="202"/>
                  </a:lnTo>
                  <a:lnTo>
                    <a:pt x="23" y="202"/>
                  </a:lnTo>
                  <a:lnTo>
                    <a:pt x="27" y="198"/>
                  </a:lnTo>
                  <a:lnTo>
                    <a:pt x="29" y="198"/>
                  </a:lnTo>
                  <a:lnTo>
                    <a:pt x="33" y="198"/>
                  </a:lnTo>
                  <a:lnTo>
                    <a:pt x="34" y="194"/>
                  </a:lnTo>
                  <a:lnTo>
                    <a:pt x="36" y="192"/>
                  </a:lnTo>
                  <a:lnTo>
                    <a:pt x="38" y="192"/>
                  </a:lnTo>
                  <a:lnTo>
                    <a:pt x="38" y="190"/>
                  </a:lnTo>
                  <a:lnTo>
                    <a:pt x="40" y="188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4" y="183"/>
                  </a:lnTo>
                  <a:lnTo>
                    <a:pt x="46" y="181"/>
                  </a:lnTo>
                  <a:lnTo>
                    <a:pt x="48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58" y="179"/>
                  </a:lnTo>
                  <a:lnTo>
                    <a:pt x="61" y="179"/>
                  </a:lnTo>
                  <a:lnTo>
                    <a:pt x="65" y="179"/>
                  </a:lnTo>
                  <a:lnTo>
                    <a:pt x="67" y="177"/>
                  </a:lnTo>
                  <a:lnTo>
                    <a:pt x="69" y="177"/>
                  </a:lnTo>
                  <a:lnTo>
                    <a:pt x="73" y="177"/>
                  </a:lnTo>
                  <a:lnTo>
                    <a:pt x="77" y="175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4" y="175"/>
                  </a:lnTo>
                  <a:lnTo>
                    <a:pt x="86" y="173"/>
                  </a:lnTo>
                  <a:lnTo>
                    <a:pt x="90" y="173"/>
                  </a:lnTo>
                  <a:lnTo>
                    <a:pt x="92" y="173"/>
                  </a:lnTo>
                  <a:lnTo>
                    <a:pt x="94" y="173"/>
                  </a:lnTo>
                  <a:lnTo>
                    <a:pt x="96" y="175"/>
                  </a:lnTo>
                  <a:lnTo>
                    <a:pt x="100" y="175"/>
                  </a:lnTo>
                  <a:lnTo>
                    <a:pt x="102" y="177"/>
                  </a:lnTo>
                  <a:lnTo>
                    <a:pt x="105" y="177"/>
                  </a:lnTo>
                  <a:lnTo>
                    <a:pt x="109" y="177"/>
                  </a:lnTo>
                  <a:lnTo>
                    <a:pt x="113" y="177"/>
                  </a:lnTo>
                  <a:lnTo>
                    <a:pt x="117" y="177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30" y="173"/>
                  </a:lnTo>
                  <a:lnTo>
                    <a:pt x="134" y="173"/>
                  </a:lnTo>
                  <a:lnTo>
                    <a:pt x="138" y="173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8" y="173"/>
                  </a:lnTo>
                  <a:lnTo>
                    <a:pt x="152" y="173"/>
                  </a:lnTo>
                  <a:lnTo>
                    <a:pt x="153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5" y="173"/>
                  </a:lnTo>
                  <a:lnTo>
                    <a:pt x="171" y="173"/>
                  </a:lnTo>
                  <a:lnTo>
                    <a:pt x="173" y="173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6" y="177"/>
                  </a:lnTo>
                  <a:lnTo>
                    <a:pt x="173" y="177"/>
                  </a:lnTo>
                  <a:lnTo>
                    <a:pt x="173" y="173"/>
                  </a:lnTo>
                  <a:lnTo>
                    <a:pt x="173" y="171"/>
                  </a:lnTo>
                  <a:lnTo>
                    <a:pt x="173" y="167"/>
                  </a:lnTo>
                  <a:lnTo>
                    <a:pt x="173" y="163"/>
                  </a:lnTo>
                  <a:lnTo>
                    <a:pt x="175" y="161"/>
                  </a:lnTo>
                  <a:lnTo>
                    <a:pt x="175" y="160"/>
                  </a:lnTo>
                  <a:lnTo>
                    <a:pt x="175" y="156"/>
                  </a:lnTo>
                  <a:lnTo>
                    <a:pt x="175" y="154"/>
                  </a:lnTo>
                  <a:lnTo>
                    <a:pt x="176" y="152"/>
                  </a:lnTo>
                  <a:lnTo>
                    <a:pt x="178" y="150"/>
                  </a:lnTo>
                  <a:lnTo>
                    <a:pt x="178" y="146"/>
                  </a:lnTo>
                  <a:lnTo>
                    <a:pt x="178" y="144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6" y="137"/>
                  </a:lnTo>
                  <a:lnTo>
                    <a:pt x="176" y="135"/>
                  </a:lnTo>
                  <a:lnTo>
                    <a:pt x="175" y="131"/>
                  </a:lnTo>
                  <a:lnTo>
                    <a:pt x="175" y="129"/>
                  </a:lnTo>
                  <a:lnTo>
                    <a:pt x="175" y="125"/>
                  </a:lnTo>
                  <a:lnTo>
                    <a:pt x="176" y="123"/>
                  </a:lnTo>
                  <a:lnTo>
                    <a:pt x="178" y="121"/>
                  </a:lnTo>
                  <a:lnTo>
                    <a:pt x="182" y="119"/>
                  </a:lnTo>
                  <a:lnTo>
                    <a:pt x="184" y="117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5"/>
                  </a:lnTo>
                  <a:lnTo>
                    <a:pt x="192" y="113"/>
                  </a:lnTo>
                  <a:lnTo>
                    <a:pt x="196" y="112"/>
                  </a:lnTo>
                  <a:lnTo>
                    <a:pt x="198" y="110"/>
                  </a:lnTo>
                  <a:lnTo>
                    <a:pt x="200" y="108"/>
                  </a:lnTo>
                  <a:lnTo>
                    <a:pt x="200" y="106"/>
                  </a:lnTo>
                  <a:lnTo>
                    <a:pt x="201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5" y="98"/>
                  </a:lnTo>
                  <a:lnTo>
                    <a:pt x="203" y="96"/>
                  </a:lnTo>
                  <a:lnTo>
                    <a:pt x="203" y="92"/>
                  </a:lnTo>
                  <a:lnTo>
                    <a:pt x="201" y="92"/>
                  </a:lnTo>
                  <a:lnTo>
                    <a:pt x="201" y="89"/>
                  </a:lnTo>
                  <a:lnTo>
                    <a:pt x="201" y="85"/>
                  </a:lnTo>
                  <a:lnTo>
                    <a:pt x="201" y="83"/>
                  </a:lnTo>
                  <a:lnTo>
                    <a:pt x="200" y="81"/>
                  </a:lnTo>
                  <a:lnTo>
                    <a:pt x="200" y="77"/>
                  </a:lnTo>
                  <a:lnTo>
                    <a:pt x="200" y="75"/>
                  </a:lnTo>
                  <a:lnTo>
                    <a:pt x="200" y="71"/>
                  </a:lnTo>
                  <a:lnTo>
                    <a:pt x="200" y="67"/>
                  </a:lnTo>
                  <a:lnTo>
                    <a:pt x="200" y="66"/>
                  </a:lnTo>
                  <a:lnTo>
                    <a:pt x="198" y="64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198" y="56"/>
                  </a:lnTo>
                  <a:lnTo>
                    <a:pt x="198" y="54"/>
                  </a:lnTo>
                  <a:lnTo>
                    <a:pt x="198" y="50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90" y="46"/>
                  </a:lnTo>
                  <a:lnTo>
                    <a:pt x="190" y="43"/>
                  </a:lnTo>
                  <a:lnTo>
                    <a:pt x="188" y="41"/>
                  </a:lnTo>
                  <a:lnTo>
                    <a:pt x="188" y="39"/>
                  </a:lnTo>
                  <a:lnTo>
                    <a:pt x="188" y="37"/>
                  </a:lnTo>
                  <a:lnTo>
                    <a:pt x="188" y="35"/>
                  </a:lnTo>
                  <a:lnTo>
                    <a:pt x="186" y="33"/>
                  </a:lnTo>
                  <a:lnTo>
                    <a:pt x="186" y="31"/>
                  </a:lnTo>
                  <a:lnTo>
                    <a:pt x="186" y="27"/>
                  </a:lnTo>
                  <a:lnTo>
                    <a:pt x="186" y="25"/>
                  </a:lnTo>
                  <a:lnTo>
                    <a:pt x="188" y="23"/>
                  </a:lnTo>
                  <a:lnTo>
                    <a:pt x="188" y="21"/>
                  </a:lnTo>
                  <a:lnTo>
                    <a:pt x="188" y="18"/>
                  </a:lnTo>
                  <a:lnTo>
                    <a:pt x="186" y="16"/>
                  </a:lnTo>
                  <a:lnTo>
                    <a:pt x="186" y="14"/>
                  </a:lnTo>
                  <a:lnTo>
                    <a:pt x="184" y="14"/>
                  </a:lnTo>
                  <a:lnTo>
                    <a:pt x="180" y="14"/>
                  </a:lnTo>
                  <a:lnTo>
                    <a:pt x="178" y="12"/>
                  </a:lnTo>
                  <a:lnTo>
                    <a:pt x="178" y="8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5" y="4"/>
                  </a:lnTo>
                  <a:lnTo>
                    <a:pt x="175" y="2"/>
                  </a:lnTo>
                  <a:lnTo>
                    <a:pt x="171" y="2"/>
                  </a:lnTo>
                  <a:lnTo>
                    <a:pt x="169" y="2"/>
                  </a:lnTo>
                  <a:lnTo>
                    <a:pt x="165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8" name="Freeform 25"/>
            <p:cNvSpPr>
              <a:spLocks/>
            </p:cNvSpPr>
            <p:nvPr/>
          </p:nvSpPr>
          <p:spPr bwMode="auto">
            <a:xfrm>
              <a:off x="2229" y="2363"/>
              <a:ext cx="90" cy="74"/>
            </a:xfrm>
            <a:custGeom>
              <a:avLst/>
              <a:gdLst/>
              <a:ahLst/>
              <a:cxnLst>
                <a:cxn ang="0">
                  <a:pos x="19" y="19"/>
                </a:cxn>
                <a:cxn ang="0">
                  <a:pos x="17" y="27"/>
                </a:cxn>
                <a:cxn ang="0">
                  <a:pos x="17" y="34"/>
                </a:cxn>
                <a:cxn ang="0">
                  <a:pos x="15" y="36"/>
                </a:cxn>
                <a:cxn ang="0">
                  <a:pos x="11" y="44"/>
                </a:cxn>
                <a:cxn ang="0">
                  <a:pos x="5" y="50"/>
                </a:cxn>
                <a:cxn ang="0">
                  <a:pos x="2" y="53"/>
                </a:cxn>
                <a:cxn ang="0">
                  <a:pos x="2" y="57"/>
                </a:cxn>
                <a:cxn ang="0">
                  <a:pos x="0" y="63"/>
                </a:cxn>
                <a:cxn ang="0">
                  <a:pos x="0" y="71"/>
                </a:cxn>
                <a:cxn ang="0">
                  <a:pos x="2" y="71"/>
                </a:cxn>
                <a:cxn ang="0">
                  <a:pos x="7" y="71"/>
                </a:cxn>
                <a:cxn ang="0">
                  <a:pos x="11" y="71"/>
                </a:cxn>
                <a:cxn ang="0">
                  <a:pos x="15" y="69"/>
                </a:cxn>
                <a:cxn ang="0">
                  <a:pos x="21" y="69"/>
                </a:cxn>
                <a:cxn ang="0">
                  <a:pos x="27" y="71"/>
                </a:cxn>
                <a:cxn ang="0">
                  <a:pos x="28" y="74"/>
                </a:cxn>
                <a:cxn ang="0">
                  <a:pos x="34" y="74"/>
                </a:cxn>
                <a:cxn ang="0">
                  <a:pos x="40" y="71"/>
                </a:cxn>
                <a:cxn ang="0">
                  <a:pos x="42" y="67"/>
                </a:cxn>
                <a:cxn ang="0">
                  <a:pos x="46" y="63"/>
                </a:cxn>
                <a:cxn ang="0">
                  <a:pos x="50" y="59"/>
                </a:cxn>
                <a:cxn ang="0">
                  <a:pos x="55" y="57"/>
                </a:cxn>
                <a:cxn ang="0">
                  <a:pos x="63" y="57"/>
                </a:cxn>
                <a:cxn ang="0">
                  <a:pos x="69" y="57"/>
                </a:cxn>
                <a:cxn ang="0">
                  <a:pos x="75" y="57"/>
                </a:cxn>
                <a:cxn ang="0">
                  <a:pos x="80" y="57"/>
                </a:cxn>
                <a:cxn ang="0">
                  <a:pos x="84" y="55"/>
                </a:cxn>
                <a:cxn ang="0">
                  <a:pos x="90" y="51"/>
                </a:cxn>
                <a:cxn ang="0">
                  <a:pos x="90" y="48"/>
                </a:cxn>
                <a:cxn ang="0">
                  <a:pos x="90" y="44"/>
                </a:cxn>
                <a:cxn ang="0">
                  <a:pos x="88" y="38"/>
                </a:cxn>
                <a:cxn ang="0">
                  <a:pos x="86" y="30"/>
                </a:cxn>
                <a:cxn ang="0">
                  <a:pos x="84" y="27"/>
                </a:cxn>
                <a:cxn ang="0">
                  <a:pos x="82" y="21"/>
                </a:cxn>
                <a:cxn ang="0">
                  <a:pos x="80" y="19"/>
                </a:cxn>
                <a:cxn ang="0">
                  <a:pos x="78" y="15"/>
                </a:cxn>
                <a:cxn ang="0">
                  <a:pos x="75" y="13"/>
                </a:cxn>
                <a:cxn ang="0">
                  <a:pos x="73" y="9"/>
                </a:cxn>
                <a:cxn ang="0">
                  <a:pos x="69" y="3"/>
                </a:cxn>
                <a:cxn ang="0">
                  <a:pos x="67" y="0"/>
                </a:cxn>
                <a:cxn ang="0">
                  <a:pos x="61" y="0"/>
                </a:cxn>
                <a:cxn ang="0">
                  <a:pos x="59" y="5"/>
                </a:cxn>
                <a:cxn ang="0">
                  <a:pos x="55" y="11"/>
                </a:cxn>
                <a:cxn ang="0">
                  <a:pos x="51" y="15"/>
                </a:cxn>
                <a:cxn ang="0">
                  <a:pos x="48" y="17"/>
                </a:cxn>
                <a:cxn ang="0">
                  <a:pos x="42" y="19"/>
                </a:cxn>
                <a:cxn ang="0">
                  <a:pos x="38" y="21"/>
                </a:cxn>
                <a:cxn ang="0">
                  <a:pos x="32" y="21"/>
                </a:cxn>
                <a:cxn ang="0">
                  <a:pos x="28" y="17"/>
                </a:cxn>
                <a:cxn ang="0">
                  <a:pos x="23" y="17"/>
                </a:cxn>
                <a:cxn ang="0">
                  <a:pos x="19" y="15"/>
                </a:cxn>
              </a:cxnLst>
              <a:rect l="0" t="0" r="r" b="b"/>
              <a:pathLst>
                <a:path w="90" h="74">
                  <a:moveTo>
                    <a:pt x="19" y="15"/>
                  </a:moveTo>
                  <a:lnTo>
                    <a:pt x="19" y="19"/>
                  </a:lnTo>
                  <a:lnTo>
                    <a:pt x="19" y="25"/>
                  </a:lnTo>
                  <a:lnTo>
                    <a:pt x="17" y="27"/>
                  </a:lnTo>
                  <a:lnTo>
                    <a:pt x="17" y="30"/>
                  </a:lnTo>
                  <a:lnTo>
                    <a:pt x="17" y="34"/>
                  </a:lnTo>
                  <a:lnTo>
                    <a:pt x="15" y="34"/>
                  </a:lnTo>
                  <a:lnTo>
                    <a:pt x="15" y="36"/>
                  </a:lnTo>
                  <a:lnTo>
                    <a:pt x="11" y="40"/>
                  </a:lnTo>
                  <a:lnTo>
                    <a:pt x="11" y="44"/>
                  </a:lnTo>
                  <a:lnTo>
                    <a:pt x="7" y="46"/>
                  </a:lnTo>
                  <a:lnTo>
                    <a:pt x="5" y="50"/>
                  </a:lnTo>
                  <a:lnTo>
                    <a:pt x="4" y="51"/>
                  </a:lnTo>
                  <a:lnTo>
                    <a:pt x="2" y="53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2" y="61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0" y="73"/>
                  </a:lnTo>
                  <a:lnTo>
                    <a:pt x="2" y="71"/>
                  </a:lnTo>
                  <a:lnTo>
                    <a:pt x="4" y="71"/>
                  </a:lnTo>
                  <a:lnTo>
                    <a:pt x="7" y="71"/>
                  </a:lnTo>
                  <a:lnTo>
                    <a:pt x="9" y="71"/>
                  </a:lnTo>
                  <a:lnTo>
                    <a:pt x="11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32" y="74"/>
                  </a:lnTo>
                  <a:lnTo>
                    <a:pt x="34" y="74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7"/>
                  </a:lnTo>
                  <a:lnTo>
                    <a:pt x="46" y="65"/>
                  </a:lnTo>
                  <a:lnTo>
                    <a:pt x="46" y="63"/>
                  </a:lnTo>
                  <a:lnTo>
                    <a:pt x="48" y="61"/>
                  </a:lnTo>
                  <a:lnTo>
                    <a:pt x="50" y="59"/>
                  </a:lnTo>
                  <a:lnTo>
                    <a:pt x="53" y="59"/>
                  </a:lnTo>
                  <a:lnTo>
                    <a:pt x="55" y="57"/>
                  </a:lnTo>
                  <a:lnTo>
                    <a:pt x="57" y="57"/>
                  </a:lnTo>
                  <a:lnTo>
                    <a:pt x="63" y="57"/>
                  </a:lnTo>
                  <a:lnTo>
                    <a:pt x="65" y="57"/>
                  </a:lnTo>
                  <a:lnTo>
                    <a:pt x="69" y="57"/>
                  </a:lnTo>
                  <a:lnTo>
                    <a:pt x="73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80" y="57"/>
                  </a:lnTo>
                  <a:lnTo>
                    <a:pt x="82" y="57"/>
                  </a:lnTo>
                  <a:lnTo>
                    <a:pt x="84" y="55"/>
                  </a:lnTo>
                  <a:lnTo>
                    <a:pt x="86" y="53"/>
                  </a:lnTo>
                  <a:lnTo>
                    <a:pt x="90" y="51"/>
                  </a:lnTo>
                  <a:lnTo>
                    <a:pt x="90" y="50"/>
                  </a:lnTo>
                  <a:lnTo>
                    <a:pt x="90" y="48"/>
                  </a:lnTo>
                  <a:lnTo>
                    <a:pt x="90" y="46"/>
                  </a:lnTo>
                  <a:lnTo>
                    <a:pt x="90" y="44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6" y="34"/>
                  </a:lnTo>
                  <a:lnTo>
                    <a:pt x="86" y="30"/>
                  </a:lnTo>
                  <a:lnTo>
                    <a:pt x="86" y="27"/>
                  </a:lnTo>
                  <a:lnTo>
                    <a:pt x="84" y="27"/>
                  </a:lnTo>
                  <a:lnTo>
                    <a:pt x="82" y="25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78" y="15"/>
                  </a:lnTo>
                  <a:lnTo>
                    <a:pt x="76" y="13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3" y="9"/>
                  </a:lnTo>
                  <a:lnTo>
                    <a:pt x="71" y="7"/>
                  </a:lnTo>
                  <a:lnTo>
                    <a:pt x="69" y="3"/>
                  </a:lnTo>
                  <a:lnTo>
                    <a:pt x="69" y="2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61" y="2"/>
                  </a:lnTo>
                  <a:lnTo>
                    <a:pt x="59" y="5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5" y="13"/>
                  </a:lnTo>
                  <a:lnTo>
                    <a:pt x="51" y="15"/>
                  </a:lnTo>
                  <a:lnTo>
                    <a:pt x="51" y="17"/>
                  </a:lnTo>
                  <a:lnTo>
                    <a:pt x="48" y="17"/>
                  </a:lnTo>
                  <a:lnTo>
                    <a:pt x="46" y="19"/>
                  </a:lnTo>
                  <a:lnTo>
                    <a:pt x="42" y="19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5" y="17"/>
                  </a:lnTo>
                  <a:lnTo>
                    <a:pt x="23" y="17"/>
                  </a:lnTo>
                  <a:lnTo>
                    <a:pt x="19" y="17"/>
                  </a:lnTo>
                  <a:lnTo>
                    <a:pt x="19" y="1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39" name="Freeform 26"/>
            <p:cNvSpPr>
              <a:spLocks/>
            </p:cNvSpPr>
            <p:nvPr/>
          </p:nvSpPr>
          <p:spPr bwMode="auto">
            <a:xfrm>
              <a:off x="2229" y="2363"/>
              <a:ext cx="90" cy="74"/>
            </a:xfrm>
            <a:custGeom>
              <a:avLst/>
              <a:gdLst/>
              <a:ahLst/>
              <a:cxnLst>
                <a:cxn ang="0">
                  <a:pos x="19" y="19"/>
                </a:cxn>
                <a:cxn ang="0">
                  <a:pos x="17" y="27"/>
                </a:cxn>
                <a:cxn ang="0">
                  <a:pos x="17" y="34"/>
                </a:cxn>
                <a:cxn ang="0">
                  <a:pos x="15" y="36"/>
                </a:cxn>
                <a:cxn ang="0">
                  <a:pos x="11" y="44"/>
                </a:cxn>
                <a:cxn ang="0">
                  <a:pos x="5" y="50"/>
                </a:cxn>
                <a:cxn ang="0">
                  <a:pos x="2" y="53"/>
                </a:cxn>
                <a:cxn ang="0">
                  <a:pos x="2" y="57"/>
                </a:cxn>
                <a:cxn ang="0">
                  <a:pos x="0" y="63"/>
                </a:cxn>
                <a:cxn ang="0">
                  <a:pos x="0" y="71"/>
                </a:cxn>
                <a:cxn ang="0">
                  <a:pos x="2" y="71"/>
                </a:cxn>
                <a:cxn ang="0">
                  <a:pos x="7" y="71"/>
                </a:cxn>
                <a:cxn ang="0">
                  <a:pos x="11" y="71"/>
                </a:cxn>
                <a:cxn ang="0">
                  <a:pos x="15" y="69"/>
                </a:cxn>
                <a:cxn ang="0">
                  <a:pos x="21" y="69"/>
                </a:cxn>
                <a:cxn ang="0">
                  <a:pos x="27" y="71"/>
                </a:cxn>
                <a:cxn ang="0">
                  <a:pos x="28" y="74"/>
                </a:cxn>
                <a:cxn ang="0">
                  <a:pos x="34" y="74"/>
                </a:cxn>
                <a:cxn ang="0">
                  <a:pos x="40" y="71"/>
                </a:cxn>
                <a:cxn ang="0">
                  <a:pos x="42" y="67"/>
                </a:cxn>
                <a:cxn ang="0">
                  <a:pos x="46" y="63"/>
                </a:cxn>
                <a:cxn ang="0">
                  <a:pos x="50" y="59"/>
                </a:cxn>
                <a:cxn ang="0">
                  <a:pos x="55" y="57"/>
                </a:cxn>
                <a:cxn ang="0">
                  <a:pos x="63" y="57"/>
                </a:cxn>
                <a:cxn ang="0">
                  <a:pos x="69" y="57"/>
                </a:cxn>
                <a:cxn ang="0">
                  <a:pos x="75" y="57"/>
                </a:cxn>
                <a:cxn ang="0">
                  <a:pos x="80" y="57"/>
                </a:cxn>
                <a:cxn ang="0">
                  <a:pos x="84" y="55"/>
                </a:cxn>
                <a:cxn ang="0">
                  <a:pos x="90" y="51"/>
                </a:cxn>
                <a:cxn ang="0">
                  <a:pos x="90" y="48"/>
                </a:cxn>
                <a:cxn ang="0">
                  <a:pos x="90" y="44"/>
                </a:cxn>
                <a:cxn ang="0">
                  <a:pos x="88" y="38"/>
                </a:cxn>
                <a:cxn ang="0">
                  <a:pos x="86" y="30"/>
                </a:cxn>
                <a:cxn ang="0">
                  <a:pos x="84" y="27"/>
                </a:cxn>
                <a:cxn ang="0">
                  <a:pos x="82" y="21"/>
                </a:cxn>
                <a:cxn ang="0">
                  <a:pos x="80" y="19"/>
                </a:cxn>
                <a:cxn ang="0">
                  <a:pos x="78" y="15"/>
                </a:cxn>
                <a:cxn ang="0">
                  <a:pos x="75" y="13"/>
                </a:cxn>
                <a:cxn ang="0">
                  <a:pos x="73" y="9"/>
                </a:cxn>
                <a:cxn ang="0">
                  <a:pos x="69" y="3"/>
                </a:cxn>
                <a:cxn ang="0">
                  <a:pos x="67" y="0"/>
                </a:cxn>
                <a:cxn ang="0">
                  <a:pos x="61" y="0"/>
                </a:cxn>
                <a:cxn ang="0">
                  <a:pos x="59" y="5"/>
                </a:cxn>
                <a:cxn ang="0">
                  <a:pos x="55" y="11"/>
                </a:cxn>
                <a:cxn ang="0">
                  <a:pos x="51" y="15"/>
                </a:cxn>
                <a:cxn ang="0">
                  <a:pos x="48" y="17"/>
                </a:cxn>
                <a:cxn ang="0">
                  <a:pos x="42" y="19"/>
                </a:cxn>
                <a:cxn ang="0">
                  <a:pos x="38" y="21"/>
                </a:cxn>
                <a:cxn ang="0">
                  <a:pos x="32" y="21"/>
                </a:cxn>
                <a:cxn ang="0">
                  <a:pos x="28" y="17"/>
                </a:cxn>
                <a:cxn ang="0">
                  <a:pos x="23" y="17"/>
                </a:cxn>
                <a:cxn ang="0">
                  <a:pos x="19" y="15"/>
                </a:cxn>
              </a:cxnLst>
              <a:rect l="0" t="0" r="r" b="b"/>
              <a:pathLst>
                <a:path w="90" h="74">
                  <a:moveTo>
                    <a:pt x="19" y="15"/>
                  </a:moveTo>
                  <a:lnTo>
                    <a:pt x="19" y="19"/>
                  </a:lnTo>
                  <a:lnTo>
                    <a:pt x="19" y="25"/>
                  </a:lnTo>
                  <a:lnTo>
                    <a:pt x="17" y="27"/>
                  </a:lnTo>
                  <a:lnTo>
                    <a:pt x="17" y="30"/>
                  </a:lnTo>
                  <a:lnTo>
                    <a:pt x="17" y="34"/>
                  </a:lnTo>
                  <a:lnTo>
                    <a:pt x="15" y="34"/>
                  </a:lnTo>
                  <a:lnTo>
                    <a:pt x="15" y="36"/>
                  </a:lnTo>
                  <a:lnTo>
                    <a:pt x="11" y="40"/>
                  </a:lnTo>
                  <a:lnTo>
                    <a:pt x="11" y="44"/>
                  </a:lnTo>
                  <a:lnTo>
                    <a:pt x="7" y="46"/>
                  </a:lnTo>
                  <a:lnTo>
                    <a:pt x="5" y="50"/>
                  </a:lnTo>
                  <a:lnTo>
                    <a:pt x="4" y="51"/>
                  </a:lnTo>
                  <a:lnTo>
                    <a:pt x="2" y="53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2" y="61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0" y="71"/>
                  </a:lnTo>
                  <a:lnTo>
                    <a:pt x="0" y="73"/>
                  </a:lnTo>
                  <a:lnTo>
                    <a:pt x="2" y="71"/>
                  </a:lnTo>
                  <a:lnTo>
                    <a:pt x="4" y="71"/>
                  </a:lnTo>
                  <a:lnTo>
                    <a:pt x="7" y="71"/>
                  </a:lnTo>
                  <a:lnTo>
                    <a:pt x="9" y="71"/>
                  </a:lnTo>
                  <a:lnTo>
                    <a:pt x="11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9" y="69"/>
                  </a:lnTo>
                  <a:lnTo>
                    <a:pt x="21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32" y="74"/>
                  </a:lnTo>
                  <a:lnTo>
                    <a:pt x="34" y="74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7"/>
                  </a:lnTo>
                  <a:lnTo>
                    <a:pt x="46" y="65"/>
                  </a:lnTo>
                  <a:lnTo>
                    <a:pt x="46" y="63"/>
                  </a:lnTo>
                  <a:lnTo>
                    <a:pt x="48" y="61"/>
                  </a:lnTo>
                  <a:lnTo>
                    <a:pt x="50" y="59"/>
                  </a:lnTo>
                  <a:lnTo>
                    <a:pt x="53" y="59"/>
                  </a:lnTo>
                  <a:lnTo>
                    <a:pt x="55" y="57"/>
                  </a:lnTo>
                  <a:lnTo>
                    <a:pt x="57" y="57"/>
                  </a:lnTo>
                  <a:lnTo>
                    <a:pt x="63" y="57"/>
                  </a:lnTo>
                  <a:lnTo>
                    <a:pt x="65" y="57"/>
                  </a:lnTo>
                  <a:lnTo>
                    <a:pt x="69" y="57"/>
                  </a:lnTo>
                  <a:lnTo>
                    <a:pt x="73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80" y="57"/>
                  </a:lnTo>
                  <a:lnTo>
                    <a:pt x="82" y="57"/>
                  </a:lnTo>
                  <a:lnTo>
                    <a:pt x="84" y="55"/>
                  </a:lnTo>
                  <a:lnTo>
                    <a:pt x="86" y="53"/>
                  </a:lnTo>
                  <a:lnTo>
                    <a:pt x="90" y="51"/>
                  </a:lnTo>
                  <a:lnTo>
                    <a:pt x="90" y="50"/>
                  </a:lnTo>
                  <a:lnTo>
                    <a:pt x="90" y="48"/>
                  </a:lnTo>
                  <a:lnTo>
                    <a:pt x="90" y="46"/>
                  </a:lnTo>
                  <a:lnTo>
                    <a:pt x="90" y="44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6" y="34"/>
                  </a:lnTo>
                  <a:lnTo>
                    <a:pt x="86" y="30"/>
                  </a:lnTo>
                  <a:lnTo>
                    <a:pt x="86" y="27"/>
                  </a:lnTo>
                  <a:lnTo>
                    <a:pt x="84" y="27"/>
                  </a:lnTo>
                  <a:lnTo>
                    <a:pt x="82" y="25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78" y="15"/>
                  </a:lnTo>
                  <a:lnTo>
                    <a:pt x="76" y="13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3" y="9"/>
                  </a:lnTo>
                  <a:lnTo>
                    <a:pt x="71" y="7"/>
                  </a:lnTo>
                  <a:lnTo>
                    <a:pt x="69" y="3"/>
                  </a:lnTo>
                  <a:lnTo>
                    <a:pt x="69" y="2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61" y="2"/>
                  </a:lnTo>
                  <a:lnTo>
                    <a:pt x="59" y="5"/>
                  </a:lnTo>
                  <a:lnTo>
                    <a:pt x="55" y="9"/>
                  </a:lnTo>
                  <a:lnTo>
                    <a:pt x="55" y="11"/>
                  </a:lnTo>
                  <a:lnTo>
                    <a:pt x="55" y="13"/>
                  </a:lnTo>
                  <a:lnTo>
                    <a:pt x="51" y="15"/>
                  </a:lnTo>
                  <a:lnTo>
                    <a:pt x="51" y="17"/>
                  </a:lnTo>
                  <a:lnTo>
                    <a:pt x="48" y="17"/>
                  </a:lnTo>
                  <a:lnTo>
                    <a:pt x="46" y="19"/>
                  </a:lnTo>
                  <a:lnTo>
                    <a:pt x="42" y="19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28" y="19"/>
                  </a:lnTo>
                  <a:lnTo>
                    <a:pt x="28" y="17"/>
                  </a:lnTo>
                  <a:lnTo>
                    <a:pt x="25" y="17"/>
                  </a:lnTo>
                  <a:lnTo>
                    <a:pt x="23" y="17"/>
                  </a:lnTo>
                  <a:lnTo>
                    <a:pt x="19" y="17"/>
                  </a:lnTo>
                  <a:lnTo>
                    <a:pt x="19" y="15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0" name="Freeform 27"/>
            <p:cNvSpPr>
              <a:spLocks/>
            </p:cNvSpPr>
            <p:nvPr/>
          </p:nvSpPr>
          <p:spPr bwMode="auto">
            <a:xfrm>
              <a:off x="2227" y="2418"/>
              <a:ext cx="84" cy="104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7" y="33"/>
                </a:cxn>
                <a:cxn ang="0">
                  <a:pos x="11" y="39"/>
                </a:cxn>
                <a:cxn ang="0">
                  <a:pos x="13" y="46"/>
                </a:cxn>
                <a:cxn ang="0">
                  <a:pos x="13" y="56"/>
                </a:cxn>
                <a:cxn ang="0">
                  <a:pos x="15" y="62"/>
                </a:cxn>
                <a:cxn ang="0">
                  <a:pos x="21" y="67"/>
                </a:cxn>
                <a:cxn ang="0">
                  <a:pos x="21" y="73"/>
                </a:cxn>
                <a:cxn ang="0">
                  <a:pos x="23" y="83"/>
                </a:cxn>
                <a:cxn ang="0">
                  <a:pos x="23" y="87"/>
                </a:cxn>
                <a:cxn ang="0">
                  <a:pos x="25" y="90"/>
                </a:cxn>
                <a:cxn ang="0">
                  <a:pos x="29" y="98"/>
                </a:cxn>
                <a:cxn ang="0">
                  <a:pos x="30" y="104"/>
                </a:cxn>
                <a:cxn ang="0">
                  <a:pos x="38" y="102"/>
                </a:cxn>
                <a:cxn ang="0">
                  <a:pos x="44" y="94"/>
                </a:cxn>
                <a:cxn ang="0">
                  <a:pos x="50" y="90"/>
                </a:cxn>
                <a:cxn ang="0">
                  <a:pos x="57" y="87"/>
                </a:cxn>
                <a:cxn ang="0">
                  <a:pos x="61" y="85"/>
                </a:cxn>
                <a:cxn ang="0">
                  <a:pos x="67" y="81"/>
                </a:cxn>
                <a:cxn ang="0">
                  <a:pos x="73" y="77"/>
                </a:cxn>
                <a:cxn ang="0">
                  <a:pos x="77" y="69"/>
                </a:cxn>
                <a:cxn ang="0">
                  <a:pos x="78" y="60"/>
                </a:cxn>
                <a:cxn ang="0">
                  <a:pos x="80" y="56"/>
                </a:cxn>
                <a:cxn ang="0">
                  <a:pos x="82" y="48"/>
                </a:cxn>
                <a:cxn ang="0">
                  <a:pos x="84" y="41"/>
                </a:cxn>
                <a:cxn ang="0">
                  <a:pos x="84" y="31"/>
                </a:cxn>
                <a:cxn ang="0">
                  <a:pos x="84" y="23"/>
                </a:cxn>
                <a:cxn ang="0">
                  <a:pos x="82" y="16"/>
                </a:cxn>
                <a:cxn ang="0">
                  <a:pos x="77" y="12"/>
                </a:cxn>
                <a:cxn ang="0">
                  <a:pos x="77" y="8"/>
                </a:cxn>
                <a:cxn ang="0">
                  <a:pos x="80" y="0"/>
                </a:cxn>
                <a:cxn ang="0">
                  <a:pos x="71" y="2"/>
                </a:cxn>
                <a:cxn ang="0">
                  <a:pos x="61" y="2"/>
                </a:cxn>
                <a:cxn ang="0">
                  <a:pos x="53" y="2"/>
                </a:cxn>
                <a:cxn ang="0">
                  <a:pos x="48" y="8"/>
                </a:cxn>
                <a:cxn ang="0">
                  <a:pos x="42" y="16"/>
                </a:cxn>
                <a:cxn ang="0">
                  <a:pos x="34" y="19"/>
                </a:cxn>
                <a:cxn ang="0">
                  <a:pos x="29" y="16"/>
                </a:cxn>
                <a:cxn ang="0">
                  <a:pos x="21" y="14"/>
                </a:cxn>
                <a:cxn ang="0">
                  <a:pos x="13" y="14"/>
                </a:cxn>
                <a:cxn ang="0">
                  <a:pos x="7" y="16"/>
                </a:cxn>
                <a:cxn ang="0">
                  <a:pos x="4" y="18"/>
                </a:cxn>
              </a:cxnLst>
              <a:rect l="0" t="0" r="r" b="b"/>
              <a:pathLst>
                <a:path w="84" h="104">
                  <a:moveTo>
                    <a:pt x="2" y="18"/>
                  </a:moveTo>
                  <a:lnTo>
                    <a:pt x="2" y="21"/>
                  </a:lnTo>
                  <a:lnTo>
                    <a:pt x="4" y="25"/>
                  </a:lnTo>
                  <a:lnTo>
                    <a:pt x="6" y="29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9" y="35"/>
                  </a:lnTo>
                  <a:lnTo>
                    <a:pt x="11" y="35"/>
                  </a:lnTo>
                  <a:lnTo>
                    <a:pt x="11" y="39"/>
                  </a:lnTo>
                  <a:lnTo>
                    <a:pt x="13" y="41"/>
                  </a:lnTo>
                  <a:lnTo>
                    <a:pt x="13" y="43"/>
                  </a:lnTo>
                  <a:lnTo>
                    <a:pt x="13" y="46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3" y="56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21" y="67"/>
                  </a:lnTo>
                  <a:lnTo>
                    <a:pt x="21" y="69"/>
                  </a:lnTo>
                  <a:lnTo>
                    <a:pt x="21" y="71"/>
                  </a:lnTo>
                  <a:lnTo>
                    <a:pt x="21" y="73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3" y="83"/>
                  </a:lnTo>
                  <a:lnTo>
                    <a:pt x="21" y="87"/>
                  </a:lnTo>
                  <a:lnTo>
                    <a:pt x="23" y="85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5" y="90"/>
                  </a:lnTo>
                  <a:lnTo>
                    <a:pt x="25" y="94"/>
                  </a:lnTo>
                  <a:lnTo>
                    <a:pt x="27" y="96"/>
                  </a:lnTo>
                  <a:lnTo>
                    <a:pt x="29" y="98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8" y="102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44" y="94"/>
                  </a:lnTo>
                  <a:lnTo>
                    <a:pt x="46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3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5"/>
                  </a:lnTo>
                  <a:lnTo>
                    <a:pt x="61" y="85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7" y="81"/>
                  </a:lnTo>
                  <a:lnTo>
                    <a:pt x="69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3" y="73"/>
                  </a:lnTo>
                  <a:lnTo>
                    <a:pt x="75" y="71"/>
                  </a:lnTo>
                  <a:lnTo>
                    <a:pt x="77" y="69"/>
                  </a:lnTo>
                  <a:lnTo>
                    <a:pt x="78" y="67"/>
                  </a:lnTo>
                  <a:lnTo>
                    <a:pt x="78" y="64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80" y="58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4" y="43"/>
                  </a:lnTo>
                  <a:lnTo>
                    <a:pt x="84" y="41"/>
                  </a:lnTo>
                  <a:lnTo>
                    <a:pt x="84" y="37"/>
                  </a:lnTo>
                  <a:lnTo>
                    <a:pt x="84" y="33"/>
                  </a:lnTo>
                  <a:lnTo>
                    <a:pt x="84" y="31"/>
                  </a:lnTo>
                  <a:lnTo>
                    <a:pt x="84" y="27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19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78" y="16"/>
                  </a:lnTo>
                  <a:lnTo>
                    <a:pt x="77" y="16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5" y="8"/>
                  </a:lnTo>
                  <a:lnTo>
                    <a:pt x="77" y="8"/>
                  </a:lnTo>
                  <a:lnTo>
                    <a:pt x="77" y="6"/>
                  </a:lnTo>
                  <a:lnTo>
                    <a:pt x="78" y="4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71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1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3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6" y="12"/>
                  </a:lnTo>
                  <a:lnTo>
                    <a:pt x="44" y="14"/>
                  </a:lnTo>
                  <a:lnTo>
                    <a:pt x="42" y="16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4" y="19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5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0" y="19"/>
                  </a:lnTo>
                  <a:lnTo>
                    <a:pt x="2" y="1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1" name="Freeform 28"/>
            <p:cNvSpPr>
              <a:spLocks/>
            </p:cNvSpPr>
            <p:nvPr/>
          </p:nvSpPr>
          <p:spPr bwMode="auto">
            <a:xfrm>
              <a:off x="2227" y="2418"/>
              <a:ext cx="84" cy="104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7" y="33"/>
                </a:cxn>
                <a:cxn ang="0">
                  <a:pos x="11" y="39"/>
                </a:cxn>
                <a:cxn ang="0">
                  <a:pos x="13" y="46"/>
                </a:cxn>
                <a:cxn ang="0">
                  <a:pos x="13" y="56"/>
                </a:cxn>
                <a:cxn ang="0">
                  <a:pos x="15" y="62"/>
                </a:cxn>
                <a:cxn ang="0">
                  <a:pos x="21" y="67"/>
                </a:cxn>
                <a:cxn ang="0">
                  <a:pos x="21" y="73"/>
                </a:cxn>
                <a:cxn ang="0">
                  <a:pos x="23" y="83"/>
                </a:cxn>
                <a:cxn ang="0">
                  <a:pos x="23" y="87"/>
                </a:cxn>
                <a:cxn ang="0">
                  <a:pos x="25" y="90"/>
                </a:cxn>
                <a:cxn ang="0">
                  <a:pos x="29" y="98"/>
                </a:cxn>
                <a:cxn ang="0">
                  <a:pos x="30" y="104"/>
                </a:cxn>
                <a:cxn ang="0">
                  <a:pos x="38" y="102"/>
                </a:cxn>
                <a:cxn ang="0">
                  <a:pos x="44" y="94"/>
                </a:cxn>
                <a:cxn ang="0">
                  <a:pos x="50" y="90"/>
                </a:cxn>
                <a:cxn ang="0">
                  <a:pos x="57" y="87"/>
                </a:cxn>
                <a:cxn ang="0">
                  <a:pos x="61" y="85"/>
                </a:cxn>
                <a:cxn ang="0">
                  <a:pos x="67" y="81"/>
                </a:cxn>
                <a:cxn ang="0">
                  <a:pos x="73" y="77"/>
                </a:cxn>
                <a:cxn ang="0">
                  <a:pos x="77" y="69"/>
                </a:cxn>
                <a:cxn ang="0">
                  <a:pos x="78" y="60"/>
                </a:cxn>
                <a:cxn ang="0">
                  <a:pos x="80" y="56"/>
                </a:cxn>
                <a:cxn ang="0">
                  <a:pos x="82" y="48"/>
                </a:cxn>
                <a:cxn ang="0">
                  <a:pos x="84" y="41"/>
                </a:cxn>
                <a:cxn ang="0">
                  <a:pos x="84" y="31"/>
                </a:cxn>
                <a:cxn ang="0">
                  <a:pos x="84" y="23"/>
                </a:cxn>
                <a:cxn ang="0">
                  <a:pos x="82" y="16"/>
                </a:cxn>
                <a:cxn ang="0">
                  <a:pos x="77" y="12"/>
                </a:cxn>
                <a:cxn ang="0">
                  <a:pos x="77" y="8"/>
                </a:cxn>
                <a:cxn ang="0">
                  <a:pos x="80" y="0"/>
                </a:cxn>
                <a:cxn ang="0">
                  <a:pos x="71" y="2"/>
                </a:cxn>
                <a:cxn ang="0">
                  <a:pos x="61" y="2"/>
                </a:cxn>
                <a:cxn ang="0">
                  <a:pos x="53" y="2"/>
                </a:cxn>
                <a:cxn ang="0">
                  <a:pos x="48" y="8"/>
                </a:cxn>
                <a:cxn ang="0">
                  <a:pos x="42" y="16"/>
                </a:cxn>
                <a:cxn ang="0">
                  <a:pos x="34" y="19"/>
                </a:cxn>
                <a:cxn ang="0">
                  <a:pos x="29" y="16"/>
                </a:cxn>
                <a:cxn ang="0">
                  <a:pos x="21" y="14"/>
                </a:cxn>
                <a:cxn ang="0">
                  <a:pos x="13" y="14"/>
                </a:cxn>
                <a:cxn ang="0">
                  <a:pos x="7" y="16"/>
                </a:cxn>
                <a:cxn ang="0">
                  <a:pos x="4" y="18"/>
                </a:cxn>
              </a:cxnLst>
              <a:rect l="0" t="0" r="r" b="b"/>
              <a:pathLst>
                <a:path w="84" h="104">
                  <a:moveTo>
                    <a:pt x="2" y="18"/>
                  </a:moveTo>
                  <a:lnTo>
                    <a:pt x="2" y="21"/>
                  </a:lnTo>
                  <a:lnTo>
                    <a:pt x="4" y="25"/>
                  </a:lnTo>
                  <a:lnTo>
                    <a:pt x="6" y="29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9" y="35"/>
                  </a:lnTo>
                  <a:lnTo>
                    <a:pt x="11" y="35"/>
                  </a:lnTo>
                  <a:lnTo>
                    <a:pt x="11" y="39"/>
                  </a:lnTo>
                  <a:lnTo>
                    <a:pt x="13" y="41"/>
                  </a:lnTo>
                  <a:lnTo>
                    <a:pt x="13" y="43"/>
                  </a:lnTo>
                  <a:lnTo>
                    <a:pt x="13" y="46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3" y="56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21" y="67"/>
                  </a:lnTo>
                  <a:lnTo>
                    <a:pt x="21" y="69"/>
                  </a:lnTo>
                  <a:lnTo>
                    <a:pt x="21" y="71"/>
                  </a:lnTo>
                  <a:lnTo>
                    <a:pt x="21" y="73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3" y="83"/>
                  </a:lnTo>
                  <a:lnTo>
                    <a:pt x="21" y="87"/>
                  </a:lnTo>
                  <a:lnTo>
                    <a:pt x="23" y="85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5" y="90"/>
                  </a:lnTo>
                  <a:lnTo>
                    <a:pt x="25" y="94"/>
                  </a:lnTo>
                  <a:lnTo>
                    <a:pt x="27" y="96"/>
                  </a:lnTo>
                  <a:lnTo>
                    <a:pt x="29" y="98"/>
                  </a:lnTo>
                  <a:lnTo>
                    <a:pt x="29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8" y="102"/>
                  </a:lnTo>
                  <a:lnTo>
                    <a:pt x="40" y="98"/>
                  </a:lnTo>
                  <a:lnTo>
                    <a:pt x="44" y="96"/>
                  </a:lnTo>
                  <a:lnTo>
                    <a:pt x="44" y="94"/>
                  </a:lnTo>
                  <a:lnTo>
                    <a:pt x="46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3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5"/>
                  </a:lnTo>
                  <a:lnTo>
                    <a:pt x="61" y="85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7" y="81"/>
                  </a:lnTo>
                  <a:lnTo>
                    <a:pt x="69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3" y="73"/>
                  </a:lnTo>
                  <a:lnTo>
                    <a:pt x="75" y="71"/>
                  </a:lnTo>
                  <a:lnTo>
                    <a:pt x="77" y="69"/>
                  </a:lnTo>
                  <a:lnTo>
                    <a:pt x="78" y="67"/>
                  </a:lnTo>
                  <a:lnTo>
                    <a:pt x="78" y="64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80" y="58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2" y="50"/>
                  </a:lnTo>
                  <a:lnTo>
                    <a:pt x="82" y="48"/>
                  </a:lnTo>
                  <a:lnTo>
                    <a:pt x="82" y="44"/>
                  </a:lnTo>
                  <a:lnTo>
                    <a:pt x="84" y="43"/>
                  </a:lnTo>
                  <a:lnTo>
                    <a:pt x="84" y="41"/>
                  </a:lnTo>
                  <a:lnTo>
                    <a:pt x="84" y="37"/>
                  </a:lnTo>
                  <a:lnTo>
                    <a:pt x="84" y="33"/>
                  </a:lnTo>
                  <a:lnTo>
                    <a:pt x="84" y="31"/>
                  </a:lnTo>
                  <a:lnTo>
                    <a:pt x="84" y="27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19"/>
                  </a:lnTo>
                  <a:lnTo>
                    <a:pt x="84" y="18"/>
                  </a:lnTo>
                  <a:lnTo>
                    <a:pt x="82" y="16"/>
                  </a:lnTo>
                  <a:lnTo>
                    <a:pt x="78" y="16"/>
                  </a:lnTo>
                  <a:lnTo>
                    <a:pt x="77" y="16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5" y="8"/>
                  </a:lnTo>
                  <a:lnTo>
                    <a:pt x="77" y="8"/>
                  </a:lnTo>
                  <a:lnTo>
                    <a:pt x="77" y="6"/>
                  </a:lnTo>
                  <a:lnTo>
                    <a:pt x="78" y="4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71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1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3" y="2"/>
                  </a:lnTo>
                  <a:lnTo>
                    <a:pt x="50" y="4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46" y="12"/>
                  </a:lnTo>
                  <a:lnTo>
                    <a:pt x="44" y="14"/>
                  </a:lnTo>
                  <a:lnTo>
                    <a:pt x="42" y="16"/>
                  </a:lnTo>
                  <a:lnTo>
                    <a:pt x="40" y="18"/>
                  </a:lnTo>
                  <a:lnTo>
                    <a:pt x="38" y="21"/>
                  </a:lnTo>
                  <a:lnTo>
                    <a:pt x="34" y="19"/>
                  </a:lnTo>
                  <a:lnTo>
                    <a:pt x="32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5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7" y="14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0" y="19"/>
                  </a:lnTo>
                  <a:lnTo>
                    <a:pt x="2" y="18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2" name="Freeform 29"/>
            <p:cNvSpPr>
              <a:spLocks/>
            </p:cNvSpPr>
            <p:nvPr/>
          </p:nvSpPr>
          <p:spPr bwMode="auto">
            <a:xfrm>
              <a:off x="2672" y="1887"/>
              <a:ext cx="366" cy="499"/>
            </a:xfrm>
            <a:custGeom>
              <a:avLst/>
              <a:gdLst/>
              <a:ahLst/>
              <a:cxnLst>
                <a:cxn ang="0">
                  <a:pos x="42" y="478"/>
                </a:cxn>
                <a:cxn ang="0">
                  <a:pos x="57" y="460"/>
                </a:cxn>
                <a:cxn ang="0">
                  <a:pos x="81" y="437"/>
                </a:cxn>
                <a:cxn ang="0">
                  <a:pos x="115" y="401"/>
                </a:cxn>
                <a:cxn ang="0">
                  <a:pos x="142" y="384"/>
                </a:cxn>
                <a:cxn ang="0">
                  <a:pos x="165" y="370"/>
                </a:cxn>
                <a:cxn ang="0">
                  <a:pos x="178" y="351"/>
                </a:cxn>
                <a:cxn ang="0">
                  <a:pos x="190" y="334"/>
                </a:cxn>
                <a:cxn ang="0">
                  <a:pos x="221" y="318"/>
                </a:cxn>
                <a:cxn ang="0">
                  <a:pos x="238" y="299"/>
                </a:cxn>
                <a:cxn ang="0">
                  <a:pos x="251" y="284"/>
                </a:cxn>
                <a:cxn ang="0">
                  <a:pos x="274" y="257"/>
                </a:cxn>
                <a:cxn ang="0">
                  <a:pos x="284" y="226"/>
                </a:cxn>
                <a:cxn ang="0">
                  <a:pos x="297" y="203"/>
                </a:cxn>
                <a:cxn ang="0">
                  <a:pos x="317" y="180"/>
                </a:cxn>
                <a:cxn ang="0">
                  <a:pos x="334" y="161"/>
                </a:cxn>
                <a:cxn ang="0">
                  <a:pos x="345" y="132"/>
                </a:cxn>
                <a:cxn ang="0">
                  <a:pos x="359" y="101"/>
                </a:cxn>
                <a:cxn ang="0">
                  <a:pos x="359" y="73"/>
                </a:cxn>
                <a:cxn ang="0">
                  <a:pos x="364" y="46"/>
                </a:cxn>
                <a:cxn ang="0">
                  <a:pos x="364" y="17"/>
                </a:cxn>
                <a:cxn ang="0">
                  <a:pos x="353" y="2"/>
                </a:cxn>
                <a:cxn ang="0">
                  <a:pos x="338" y="9"/>
                </a:cxn>
                <a:cxn ang="0">
                  <a:pos x="318" y="17"/>
                </a:cxn>
                <a:cxn ang="0">
                  <a:pos x="292" y="25"/>
                </a:cxn>
                <a:cxn ang="0">
                  <a:pos x="269" y="25"/>
                </a:cxn>
                <a:cxn ang="0">
                  <a:pos x="232" y="19"/>
                </a:cxn>
                <a:cxn ang="0">
                  <a:pos x="209" y="42"/>
                </a:cxn>
                <a:cxn ang="0">
                  <a:pos x="175" y="46"/>
                </a:cxn>
                <a:cxn ang="0">
                  <a:pos x="144" y="54"/>
                </a:cxn>
                <a:cxn ang="0">
                  <a:pos x="123" y="59"/>
                </a:cxn>
                <a:cxn ang="0">
                  <a:pos x="105" y="46"/>
                </a:cxn>
                <a:cxn ang="0">
                  <a:pos x="94" y="25"/>
                </a:cxn>
                <a:cxn ang="0">
                  <a:pos x="77" y="29"/>
                </a:cxn>
                <a:cxn ang="0">
                  <a:pos x="63" y="50"/>
                </a:cxn>
                <a:cxn ang="0">
                  <a:pos x="69" y="73"/>
                </a:cxn>
                <a:cxn ang="0">
                  <a:pos x="81" y="98"/>
                </a:cxn>
                <a:cxn ang="0">
                  <a:pos x="102" y="111"/>
                </a:cxn>
                <a:cxn ang="0">
                  <a:pos x="132" y="121"/>
                </a:cxn>
                <a:cxn ang="0">
                  <a:pos x="171" y="125"/>
                </a:cxn>
                <a:cxn ang="0">
                  <a:pos x="203" y="138"/>
                </a:cxn>
                <a:cxn ang="0">
                  <a:pos x="230" y="142"/>
                </a:cxn>
                <a:cxn ang="0">
                  <a:pos x="251" y="142"/>
                </a:cxn>
                <a:cxn ang="0">
                  <a:pos x="253" y="146"/>
                </a:cxn>
                <a:cxn ang="0">
                  <a:pos x="244" y="159"/>
                </a:cxn>
                <a:cxn ang="0">
                  <a:pos x="230" y="174"/>
                </a:cxn>
                <a:cxn ang="0">
                  <a:pos x="213" y="190"/>
                </a:cxn>
                <a:cxn ang="0">
                  <a:pos x="184" y="211"/>
                </a:cxn>
                <a:cxn ang="0">
                  <a:pos x="169" y="236"/>
                </a:cxn>
                <a:cxn ang="0">
                  <a:pos x="159" y="253"/>
                </a:cxn>
                <a:cxn ang="0">
                  <a:pos x="125" y="257"/>
                </a:cxn>
                <a:cxn ang="0">
                  <a:pos x="92" y="259"/>
                </a:cxn>
                <a:cxn ang="0">
                  <a:pos x="71" y="280"/>
                </a:cxn>
                <a:cxn ang="0">
                  <a:pos x="38" y="291"/>
                </a:cxn>
                <a:cxn ang="0">
                  <a:pos x="27" y="309"/>
                </a:cxn>
                <a:cxn ang="0">
                  <a:pos x="6" y="330"/>
                </a:cxn>
                <a:cxn ang="0">
                  <a:pos x="0" y="353"/>
                </a:cxn>
                <a:cxn ang="0">
                  <a:pos x="2" y="378"/>
                </a:cxn>
                <a:cxn ang="0">
                  <a:pos x="0" y="403"/>
                </a:cxn>
                <a:cxn ang="0">
                  <a:pos x="0" y="432"/>
                </a:cxn>
                <a:cxn ang="0">
                  <a:pos x="0" y="460"/>
                </a:cxn>
                <a:cxn ang="0">
                  <a:pos x="13" y="481"/>
                </a:cxn>
                <a:cxn ang="0">
                  <a:pos x="34" y="493"/>
                </a:cxn>
              </a:cxnLst>
              <a:rect l="0" t="0" r="r" b="b"/>
              <a:pathLst>
                <a:path w="366" h="499">
                  <a:moveTo>
                    <a:pt x="27" y="499"/>
                  </a:moveTo>
                  <a:lnTo>
                    <a:pt x="31" y="493"/>
                  </a:lnTo>
                  <a:lnTo>
                    <a:pt x="34" y="489"/>
                  </a:lnTo>
                  <a:lnTo>
                    <a:pt x="34" y="487"/>
                  </a:lnTo>
                  <a:lnTo>
                    <a:pt x="36" y="485"/>
                  </a:lnTo>
                  <a:lnTo>
                    <a:pt x="36" y="483"/>
                  </a:lnTo>
                  <a:lnTo>
                    <a:pt x="38" y="479"/>
                  </a:lnTo>
                  <a:lnTo>
                    <a:pt x="42" y="478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6" y="472"/>
                  </a:lnTo>
                  <a:lnTo>
                    <a:pt x="48" y="470"/>
                  </a:lnTo>
                  <a:lnTo>
                    <a:pt x="50" y="468"/>
                  </a:lnTo>
                  <a:lnTo>
                    <a:pt x="54" y="466"/>
                  </a:lnTo>
                  <a:lnTo>
                    <a:pt x="54" y="464"/>
                  </a:lnTo>
                  <a:lnTo>
                    <a:pt x="57" y="460"/>
                  </a:lnTo>
                  <a:lnTo>
                    <a:pt x="61" y="458"/>
                  </a:lnTo>
                  <a:lnTo>
                    <a:pt x="63" y="455"/>
                  </a:lnTo>
                  <a:lnTo>
                    <a:pt x="67" y="451"/>
                  </a:lnTo>
                  <a:lnTo>
                    <a:pt x="71" y="449"/>
                  </a:lnTo>
                  <a:lnTo>
                    <a:pt x="75" y="445"/>
                  </a:lnTo>
                  <a:lnTo>
                    <a:pt x="77" y="441"/>
                  </a:lnTo>
                  <a:lnTo>
                    <a:pt x="79" y="439"/>
                  </a:lnTo>
                  <a:lnTo>
                    <a:pt x="81" y="437"/>
                  </a:lnTo>
                  <a:lnTo>
                    <a:pt x="86" y="432"/>
                  </a:lnTo>
                  <a:lnTo>
                    <a:pt x="88" y="428"/>
                  </a:lnTo>
                  <a:lnTo>
                    <a:pt x="92" y="424"/>
                  </a:lnTo>
                  <a:lnTo>
                    <a:pt x="100" y="414"/>
                  </a:lnTo>
                  <a:lnTo>
                    <a:pt x="104" y="410"/>
                  </a:lnTo>
                  <a:lnTo>
                    <a:pt x="107" y="407"/>
                  </a:lnTo>
                  <a:lnTo>
                    <a:pt x="109" y="405"/>
                  </a:lnTo>
                  <a:lnTo>
                    <a:pt x="115" y="401"/>
                  </a:lnTo>
                  <a:lnTo>
                    <a:pt x="119" y="399"/>
                  </a:lnTo>
                  <a:lnTo>
                    <a:pt x="123" y="397"/>
                  </a:lnTo>
                  <a:lnTo>
                    <a:pt x="125" y="395"/>
                  </a:lnTo>
                  <a:lnTo>
                    <a:pt x="130" y="391"/>
                  </a:lnTo>
                  <a:lnTo>
                    <a:pt x="134" y="389"/>
                  </a:lnTo>
                  <a:lnTo>
                    <a:pt x="136" y="387"/>
                  </a:lnTo>
                  <a:lnTo>
                    <a:pt x="140" y="385"/>
                  </a:lnTo>
                  <a:lnTo>
                    <a:pt x="142" y="384"/>
                  </a:lnTo>
                  <a:lnTo>
                    <a:pt x="146" y="382"/>
                  </a:lnTo>
                  <a:lnTo>
                    <a:pt x="148" y="382"/>
                  </a:lnTo>
                  <a:lnTo>
                    <a:pt x="152" y="380"/>
                  </a:lnTo>
                  <a:lnTo>
                    <a:pt x="153" y="378"/>
                  </a:lnTo>
                  <a:lnTo>
                    <a:pt x="157" y="378"/>
                  </a:lnTo>
                  <a:lnTo>
                    <a:pt x="159" y="374"/>
                  </a:lnTo>
                  <a:lnTo>
                    <a:pt x="161" y="372"/>
                  </a:lnTo>
                  <a:lnTo>
                    <a:pt x="165" y="370"/>
                  </a:lnTo>
                  <a:lnTo>
                    <a:pt x="169" y="370"/>
                  </a:lnTo>
                  <a:lnTo>
                    <a:pt x="169" y="368"/>
                  </a:lnTo>
                  <a:lnTo>
                    <a:pt x="173" y="366"/>
                  </a:lnTo>
                  <a:lnTo>
                    <a:pt x="175" y="364"/>
                  </a:lnTo>
                  <a:lnTo>
                    <a:pt x="176" y="361"/>
                  </a:lnTo>
                  <a:lnTo>
                    <a:pt x="176" y="359"/>
                  </a:lnTo>
                  <a:lnTo>
                    <a:pt x="178" y="357"/>
                  </a:lnTo>
                  <a:lnTo>
                    <a:pt x="178" y="351"/>
                  </a:lnTo>
                  <a:lnTo>
                    <a:pt x="180" y="349"/>
                  </a:lnTo>
                  <a:lnTo>
                    <a:pt x="180" y="345"/>
                  </a:lnTo>
                  <a:lnTo>
                    <a:pt x="182" y="343"/>
                  </a:lnTo>
                  <a:lnTo>
                    <a:pt x="182" y="341"/>
                  </a:lnTo>
                  <a:lnTo>
                    <a:pt x="184" y="339"/>
                  </a:lnTo>
                  <a:lnTo>
                    <a:pt x="186" y="338"/>
                  </a:lnTo>
                  <a:lnTo>
                    <a:pt x="186" y="336"/>
                  </a:lnTo>
                  <a:lnTo>
                    <a:pt x="190" y="334"/>
                  </a:lnTo>
                  <a:lnTo>
                    <a:pt x="194" y="330"/>
                  </a:lnTo>
                  <a:lnTo>
                    <a:pt x="196" y="326"/>
                  </a:lnTo>
                  <a:lnTo>
                    <a:pt x="199" y="326"/>
                  </a:lnTo>
                  <a:lnTo>
                    <a:pt x="203" y="326"/>
                  </a:lnTo>
                  <a:lnTo>
                    <a:pt x="207" y="322"/>
                  </a:lnTo>
                  <a:lnTo>
                    <a:pt x="213" y="320"/>
                  </a:lnTo>
                  <a:lnTo>
                    <a:pt x="217" y="320"/>
                  </a:lnTo>
                  <a:lnTo>
                    <a:pt x="221" y="318"/>
                  </a:lnTo>
                  <a:lnTo>
                    <a:pt x="226" y="316"/>
                  </a:lnTo>
                  <a:lnTo>
                    <a:pt x="230" y="316"/>
                  </a:lnTo>
                  <a:lnTo>
                    <a:pt x="230" y="314"/>
                  </a:lnTo>
                  <a:lnTo>
                    <a:pt x="232" y="314"/>
                  </a:lnTo>
                  <a:lnTo>
                    <a:pt x="234" y="309"/>
                  </a:lnTo>
                  <a:lnTo>
                    <a:pt x="234" y="305"/>
                  </a:lnTo>
                  <a:lnTo>
                    <a:pt x="236" y="303"/>
                  </a:lnTo>
                  <a:lnTo>
                    <a:pt x="238" y="299"/>
                  </a:lnTo>
                  <a:lnTo>
                    <a:pt x="238" y="297"/>
                  </a:lnTo>
                  <a:lnTo>
                    <a:pt x="240" y="295"/>
                  </a:lnTo>
                  <a:lnTo>
                    <a:pt x="242" y="293"/>
                  </a:lnTo>
                  <a:lnTo>
                    <a:pt x="246" y="291"/>
                  </a:lnTo>
                  <a:lnTo>
                    <a:pt x="246" y="290"/>
                  </a:lnTo>
                  <a:lnTo>
                    <a:pt x="247" y="288"/>
                  </a:lnTo>
                  <a:lnTo>
                    <a:pt x="249" y="286"/>
                  </a:lnTo>
                  <a:lnTo>
                    <a:pt x="251" y="284"/>
                  </a:lnTo>
                  <a:lnTo>
                    <a:pt x="255" y="282"/>
                  </a:lnTo>
                  <a:lnTo>
                    <a:pt x="259" y="276"/>
                  </a:lnTo>
                  <a:lnTo>
                    <a:pt x="265" y="272"/>
                  </a:lnTo>
                  <a:lnTo>
                    <a:pt x="267" y="267"/>
                  </a:lnTo>
                  <a:lnTo>
                    <a:pt x="269" y="265"/>
                  </a:lnTo>
                  <a:lnTo>
                    <a:pt x="270" y="261"/>
                  </a:lnTo>
                  <a:lnTo>
                    <a:pt x="272" y="257"/>
                  </a:lnTo>
                  <a:lnTo>
                    <a:pt x="274" y="257"/>
                  </a:lnTo>
                  <a:lnTo>
                    <a:pt x="276" y="255"/>
                  </a:lnTo>
                  <a:lnTo>
                    <a:pt x="278" y="251"/>
                  </a:lnTo>
                  <a:lnTo>
                    <a:pt x="280" y="247"/>
                  </a:lnTo>
                  <a:lnTo>
                    <a:pt x="284" y="245"/>
                  </a:lnTo>
                  <a:lnTo>
                    <a:pt x="284" y="242"/>
                  </a:lnTo>
                  <a:lnTo>
                    <a:pt x="284" y="238"/>
                  </a:lnTo>
                  <a:lnTo>
                    <a:pt x="284" y="230"/>
                  </a:lnTo>
                  <a:lnTo>
                    <a:pt x="284" y="226"/>
                  </a:lnTo>
                  <a:lnTo>
                    <a:pt x="284" y="222"/>
                  </a:lnTo>
                  <a:lnTo>
                    <a:pt x="284" y="220"/>
                  </a:lnTo>
                  <a:lnTo>
                    <a:pt x="284" y="219"/>
                  </a:lnTo>
                  <a:lnTo>
                    <a:pt x="288" y="215"/>
                  </a:lnTo>
                  <a:lnTo>
                    <a:pt x="288" y="213"/>
                  </a:lnTo>
                  <a:lnTo>
                    <a:pt x="292" y="211"/>
                  </a:lnTo>
                  <a:lnTo>
                    <a:pt x="292" y="207"/>
                  </a:lnTo>
                  <a:lnTo>
                    <a:pt x="297" y="203"/>
                  </a:lnTo>
                  <a:lnTo>
                    <a:pt x="301" y="199"/>
                  </a:lnTo>
                  <a:lnTo>
                    <a:pt x="303" y="196"/>
                  </a:lnTo>
                  <a:lnTo>
                    <a:pt x="305" y="194"/>
                  </a:lnTo>
                  <a:lnTo>
                    <a:pt x="309" y="190"/>
                  </a:lnTo>
                  <a:lnTo>
                    <a:pt x="311" y="188"/>
                  </a:lnTo>
                  <a:lnTo>
                    <a:pt x="313" y="186"/>
                  </a:lnTo>
                  <a:lnTo>
                    <a:pt x="315" y="182"/>
                  </a:lnTo>
                  <a:lnTo>
                    <a:pt x="317" y="180"/>
                  </a:lnTo>
                  <a:lnTo>
                    <a:pt x="318" y="176"/>
                  </a:lnTo>
                  <a:lnTo>
                    <a:pt x="320" y="174"/>
                  </a:lnTo>
                  <a:lnTo>
                    <a:pt x="322" y="174"/>
                  </a:lnTo>
                  <a:lnTo>
                    <a:pt x="324" y="172"/>
                  </a:lnTo>
                  <a:lnTo>
                    <a:pt x="328" y="169"/>
                  </a:lnTo>
                  <a:lnTo>
                    <a:pt x="330" y="167"/>
                  </a:lnTo>
                  <a:lnTo>
                    <a:pt x="332" y="165"/>
                  </a:lnTo>
                  <a:lnTo>
                    <a:pt x="334" y="161"/>
                  </a:lnTo>
                  <a:lnTo>
                    <a:pt x="336" y="159"/>
                  </a:lnTo>
                  <a:lnTo>
                    <a:pt x="338" y="155"/>
                  </a:lnTo>
                  <a:lnTo>
                    <a:pt x="338" y="151"/>
                  </a:lnTo>
                  <a:lnTo>
                    <a:pt x="338" y="148"/>
                  </a:lnTo>
                  <a:lnTo>
                    <a:pt x="338" y="144"/>
                  </a:lnTo>
                  <a:lnTo>
                    <a:pt x="338" y="142"/>
                  </a:lnTo>
                  <a:lnTo>
                    <a:pt x="341" y="136"/>
                  </a:lnTo>
                  <a:lnTo>
                    <a:pt x="345" y="132"/>
                  </a:lnTo>
                  <a:lnTo>
                    <a:pt x="347" y="128"/>
                  </a:lnTo>
                  <a:lnTo>
                    <a:pt x="351" y="125"/>
                  </a:lnTo>
                  <a:lnTo>
                    <a:pt x="353" y="123"/>
                  </a:lnTo>
                  <a:lnTo>
                    <a:pt x="357" y="117"/>
                  </a:lnTo>
                  <a:lnTo>
                    <a:pt x="357" y="115"/>
                  </a:lnTo>
                  <a:lnTo>
                    <a:pt x="361" y="109"/>
                  </a:lnTo>
                  <a:lnTo>
                    <a:pt x="361" y="105"/>
                  </a:lnTo>
                  <a:lnTo>
                    <a:pt x="359" y="101"/>
                  </a:lnTo>
                  <a:lnTo>
                    <a:pt x="359" y="98"/>
                  </a:lnTo>
                  <a:lnTo>
                    <a:pt x="359" y="94"/>
                  </a:lnTo>
                  <a:lnTo>
                    <a:pt x="359" y="90"/>
                  </a:lnTo>
                  <a:lnTo>
                    <a:pt x="359" y="88"/>
                  </a:lnTo>
                  <a:lnTo>
                    <a:pt x="359" y="84"/>
                  </a:lnTo>
                  <a:lnTo>
                    <a:pt x="359" y="80"/>
                  </a:lnTo>
                  <a:lnTo>
                    <a:pt x="359" y="77"/>
                  </a:lnTo>
                  <a:lnTo>
                    <a:pt x="359" y="73"/>
                  </a:lnTo>
                  <a:lnTo>
                    <a:pt x="361" y="71"/>
                  </a:lnTo>
                  <a:lnTo>
                    <a:pt x="361" y="67"/>
                  </a:lnTo>
                  <a:lnTo>
                    <a:pt x="361" y="65"/>
                  </a:lnTo>
                  <a:lnTo>
                    <a:pt x="363" y="61"/>
                  </a:lnTo>
                  <a:lnTo>
                    <a:pt x="363" y="59"/>
                  </a:lnTo>
                  <a:lnTo>
                    <a:pt x="363" y="52"/>
                  </a:lnTo>
                  <a:lnTo>
                    <a:pt x="364" y="50"/>
                  </a:lnTo>
                  <a:lnTo>
                    <a:pt x="364" y="46"/>
                  </a:lnTo>
                  <a:lnTo>
                    <a:pt x="364" y="44"/>
                  </a:lnTo>
                  <a:lnTo>
                    <a:pt x="366" y="40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6" y="27"/>
                  </a:lnTo>
                  <a:lnTo>
                    <a:pt x="364" y="21"/>
                  </a:lnTo>
                  <a:lnTo>
                    <a:pt x="364" y="19"/>
                  </a:lnTo>
                  <a:lnTo>
                    <a:pt x="364" y="17"/>
                  </a:lnTo>
                  <a:lnTo>
                    <a:pt x="363" y="13"/>
                  </a:lnTo>
                  <a:lnTo>
                    <a:pt x="363" y="9"/>
                  </a:lnTo>
                  <a:lnTo>
                    <a:pt x="363" y="7"/>
                  </a:lnTo>
                  <a:lnTo>
                    <a:pt x="363" y="4"/>
                  </a:lnTo>
                  <a:lnTo>
                    <a:pt x="361" y="2"/>
                  </a:lnTo>
                  <a:lnTo>
                    <a:pt x="357" y="2"/>
                  </a:lnTo>
                  <a:lnTo>
                    <a:pt x="355" y="2"/>
                  </a:lnTo>
                  <a:lnTo>
                    <a:pt x="353" y="2"/>
                  </a:lnTo>
                  <a:lnTo>
                    <a:pt x="349" y="2"/>
                  </a:lnTo>
                  <a:lnTo>
                    <a:pt x="347" y="0"/>
                  </a:lnTo>
                  <a:lnTo>
                    <a:pt x="345" y="0"/>
                  </a:lnTo>
                  <a:lnTo>
                    <a:pt x="341" y="0"/>
                  </a:lnTo>
                  <a:lnTo>
                    <a:pt x="338" y="0"/>
                  </a:lnTo>
                  <a:lnTo>
                    <a:pt x="338" y="4"/>
                  </a:lnTo>
                  <a:lnTo>
                    <a:pt x="338" y="7"/>
                  </a:lnTo>
                  <a:lnTo>
                    <a:pt x="338" y="9"/>
                  </a:lnTo>
                  <a:lnTo>
                    <a:pt x="338" y="11"/>
                  </a:lnTo>
                  <a:lnTo>
                    <a:pt x="336" y="13"/>
                  </a:lnTo>
                  <a:lnTo>
                    <a:pt x="334" y="15"/>
                  </a:lnTo>
                  <a:lnTo>
                    <a:pt x="330" y="15"/>
                  </a:lnTo>
                  <a:lnTo>
                    <a:pt x="328" y="17"/>
                  </a:lnTo>
                  <a:lnTo>
                    <a:pt x="326" y="17"/>
                  </a:lnTo>
                  <a:lnTo>
                    <a:pt x="322" y="17"/>
                  </a:lnTo>
                  <a:lnTo>
                    <a:pt x="318" y="17"/>
                  </a:lnTo>
                  <a:lnTo>
                    <a:pt x="315" y="17"/>
                  </a:lnTo>
                  <a:lnTo>
                    <a:pt x="313" y="17"/>
                  </a:lnTo>
                  <a:lnTo>
                    <a:pt x="307" y="17"/>
                  </a:lnTo>
                  <a:lnTo>
                    <a:pt x="303" y="19"/>
                  </a:lnTo>
                  <a:lnTo>
                    <a:pt x="301" y="21"/>
                  </a:lnTo>
                  <a:lnTo>
                    <a:pt x="297" y="23"/>
                  </a:lnTo>
                  <a:lnTo>
                    <a:pt x="295" y="25"/>
                  </a:lnTo>
                  <a:lnTo>
                    <a:pt x="292" y="25"/>
                  </a:lnTo>
                  <a:lnTo>
                    <a:pt x="290" y="25"/>
                  </a:lnTo>
                  <a:lnTo>
                    <a:pt x="286" y="25"/>
                  </a:lnTo>
                  <a:lnTo>
                    <a:pt x="284" y="25"/>
                  </a:lnTo>
                  <a:lnTo>
                    <a:pt x="280" y="25"/>
                  </a:lnTo>
                  <a:lnTo>
                    <a:pt x="278" y="27"/>
                  </a:lnTo>
                  <a:lnTo>
                    <a:pt x="274" y="25"/>
                  </a:lnTo>
                  <a:lnTo>
                    <a:pt x="272" y="25"/>
                  </a:lnTo>
                  <a:lnTo>
                    <a:pt x="269" y="25"/>
                  </a:lnTo>
                  <a:lnTo>
                    <a:pt x="265" y="25"/>
                  </a:lnTo>
                  <a:lnTo>
                    <a:pt x="263" y="23"/>
                  </a:lnTo>
                  <a:lnTo>
                    <a:pt x="259" y="21"/>
                  </a:lnTo>
                  <a:lnTo>
                    <a:pt x="247" y="21"/>
                  </a:lnTo>
                  <a:lnTo>
                    <a:pt x="244" y="19"/>
                  </a:lnTo>
                  <a:lnTo>
                    <a:pt x="240" y="19"/>
                  </a:lnTo>
                  <a:lnTo>
                    <a:pt x="236" y="19"/>
                  </a:lnTo>
                  <a:lnTo>
                    <a:pt x="232" y="19"/>
                  </a:lnTo>
                  <a:lnTo>
                    <a:pt x="230" y="21"/>
                  </a:lnTo>
                  <a:lnTo>
                    <a:pt x="228" y="21"/>
                  </a:lnTo>
                  <a:lnTo>
                    <a:pt x="224" y="23"/>
                  </a:lnTo>
                  <a:lnTo>
                    <a:pt x="221" y="25"/>
                  </a:lnTo>
                  <a:lnTo>
                    <a:pt x="217" y="30"/>
                  </a:lnTo>
                  <a:lnTo>
                    <a:pt x="213" y="36"/>
                  </a:lnTo>
                  <a:lnTo>
                    <a:pt x="213" y="40"/>
                  </a:lnTo>
                  <a:lnTo>
                    <a:pt x="209" y="42"/>
                  </a:lnTo>
                  <a:lnTo>
                    <a:pt x="207" y="44"/>
                  </a:lnTo>
                  <a:lnTo>
                    <a:pt x="205" y="44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190" y="48"/>
                  </a:lnTo>
                  <a:lnTo>
                    <a:pt x="182" y="46"/>
                  </a:lnTo>
                  <a:lnTo>
                    <a:pt x="178" y="46"/>
                  </a:lnTo>
                  <a:lnTo>
                    <a:pt x="175" y="46"/>
                  </a:lnTo>
                  <a:lnTo>
                    <a:pt x="173" y="48"/>
                  </a:lnTo>
                  <a:lnTo>
                    <a:pt x="169" y="48"/>
                  </a:lnTo>
                  <a:lnTo>
                    <a:pt x="163" y="48"/>
                  </a:lnTo>
                  <a:lnTo>
                    <a:pt x="159" y="50"/>
                  </a:lnTo>
                  <a:lnTo>
                    <a:pt x="155" y="50"/>
                  </a:lnTo>
                  <a:lnTo>
                    <a:pt x="152" y="50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2" y="55"/>
                  </a:lnTo>
                  <a:lnTo>
                    <a:pt x="138" y="57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32" y="57"/>
                  </a:lnTo>
                  <a:lnTo>
                    <a:pt x="128" y="57"/>
                  </a:lnTo>
                  <a:lnTo>
                    <a:pt x="125" y="57"/>
                  </a:lnTo>
                  <a:lnTo>
                    <a:pt x="123" y="59"/>
                  </a:lnTo>
                  <a:lnTo>
                    <a:pt x="119" y="59"/>
                  </a:lnTo>
                  <a:lnTo>
                    <a:pt x="115" y="59"/>
                  </a:lnTo>
                  <a:lnTo>
                    <a:pt x="113" y="59"/>
                  </a:lnTo>
                  <a:lnTo>
                    <a:pt x="107" y="55"/>
                  </a:lnTo>
                  <a:lnTo>
                    <a:pt x="107" y="54"/>
                  </a:lnTo>
                  <a:lnTo>
                    <a:pt x="107" y="52"/>
                  </a:lnTo>
                  <a:lnTo>
                    <a:pt x="105" y="50"/>
                  </a:lnTo>
                  <a:lnTo>
                    <a:pt x="105" y="46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0"/>
                  </a:lnTo>
                  <a:lnTo>
                    <a:pt x="100" y="38"/>
                  </a:lnTo>
                  <a:lnTo>
                    <a:pt x="100" y="34"/>
                  </a:lnTo>
                  <a:lnTo>
                    <a:pt x="98" y="32"/>
                  </a:lnTo>
                  <a:lnTo>
                    <a:pt x="98" y="29"/>
                  </a:lnTo>
                  <a:lnTo>
                    <a:pt x="94" y="25"/>
                  </a:lnTo>
                  <a:lnTo>
                    <a:pt x="92" y="23"/>
                  </a:lnTo>
                  <a:lnTo>
                    <a:pt x="88" y="23"/>
                  </a:lnTo>
                  <a:lnTo>
                    <a:pt x="88" y="19"/>
                  </a:lnTo>
                  <a:lnTo>
                    <a:pt x="86" y="17"/>
                  </a:lnTo>
                  <a:lnTo>
                    <a:pt x="82" y="19"/>
                  </a:lnTo>
                  <a:lnTo>
                    <a:pt x="81" y="23"/>
                  </a:lnTo>
                  <a:lnTo>
                    <a:pt x="79" y="27"/>
                  </a:lnTo>
                  <a:lnTo>
                    <a:pt x="77" y="29"/>
                  </a:lnTo>
                  <a:lnTo>
                    <a:pt x="73" y="32"/>
                  </a:lnTo>
                  <a:lnTo>
                    <a:pt x="73" y="34"/>
                  </a:lnTo>
                  <a:lnTo>
                    <a:pt x="71" y="36"/>
                  </a:lnTo>
                  <a:lnTo>
                    <a:pt x="69" y="40"/>
                  </a:lnTo>
                  <a:lnTo>
                    <a:pt x="67" y="44"/>
                  </a:lnTo>
                  <a:lnTo>
                    <a:pt x="63" y="44"/>
                  </a:lnTo>
                  <a:lnTo>
                    <a:pt x="63" y="46"/>
                  </a:lnTo>
                  <a:lnTo>
                    <a:pt x="63" y="50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7"/>
                  </a:lnTo>
                  <a:lnTo>
                    <a:pt x="63" y="61"/>
                  </a:lnTo>
                  <a:lnTo>
                    <a:pt x="65" y="63"/>
                  </a:lnTo>
                  <a:lnTo>
                    <a:pt x="65" y="67"/>
                  </a:lnTo>
                  <a:lnTo>
                    <a:pt x="67" y="71"/>
                  </a:lnTo>
                  <a:lnTo>
                    <a:pt x="69" y="73"/>
                  </a:lnTo>
                  <a:lnTo>
                    <a:pt x="71" y="77"/>
                  </a:lnTo>
                  <a:lnTo>
                    <a:pt x="71" y="78"/>
                  </a:lnTo>
                  <a:lnTo>
                    <a:pt x="73" y="80"/>
                  </a:lnTo>
                  <a:lnTo>
                    <a:pt x="75" y="82"/>
                  </a:lnTo>
                  <a:lnTo>
                    <a:pt x="77" y="88"/>
                  </a:lnTo>
                  <a:lnTo>
                    <a:pt x="77" y="90"/>
                  </a:lnTo>
                  <a:lnTo>
                    <a:pt x="81" y="94"/>
                  </a:lnTo>
                  <a:lnTo>
                    <a:pt x="81" y="98"/>
                  </a:lnTo>
                  <a:lnTo>
                    <a:pt x="82" y="101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92" y="105"/>
                  </a:lnTo>
                  <a:lnTo>
                    <a:pt x="96" y="105"/>
                  </a:lnTo>
                  <a:lnTo>
                    <a:pt x="100" y="107"/>
                  </a:lnTo>
                  <a:lnTo>
                    <a:pt x="102" y="111"/>
                  </a:lnTo>
                  <a:lnTo>
                    <a:pt x="107" y="115"/>
                  </a:lnTo>
                  <a:lnTo>
                    <a:pt x="111" y="117"/>
                  </a:lnTo>
                  <a:lnTo>
                    <a:pt x="115" y="119"/>
                  </a:lnTo>
                  <a:lnTo>
                    <a:pt x="119" y="119"/>
                  </a:lnTo>
                  <a:lnTo>
                    <a:pt x="123" y="119"/>
                  </a:lnTo>
                  <a:lnTo>
                    <a:pt x="125" y="121"/>
                  </a:lnTo>
                  <a:lnTo>
                    <a:pt x="130" y="121"/>
                  </a:lnTo>
                  <a:lnTo>
                    <a:pt x="132" y="121"/>
                  </a:lnTo>
                  <a:lnTo>
                    <a:pt x="138" y="121"/>
                  </a:lnTo>
                  <a:lnTo>
                    <a:pt x="142" y="123"/>
                  </a:lnTo>
                  <a:lnTo>
                    <a:pt x="146" y="123"/>
                  </a:lnTo>
                  <a:lnTo>
                    <a:pt x="150" y="123"/>
                  </a:lnTo>
                  <a:lnTo>
                    <a:pt x="153" y="123"/>
                  </a:lnTo>
                  <a:lnTo>
                    <a:pt x="159" y="125"/>
                  </a:lnTo>
                  <a:lnTo>
                    <a:pt x="165" y="125"/>
                  </a:lnTo>
                  <a:lnTo>
                    <a:pt x="171" y="125"/>
                  </a:lnTo>
                  <a:lnTo>
                    <a:pt x="173" y="126"/>
                  </a:lnTo>
                  <a:lnTo>
                    <a:pt x="175" y="126"/>
                  </a:lnTo>
                  <a:lnTo>
                    <a:pt x="178" y="128"/>
                  </a:lnTo>
                  <a:lnTo>
                    <a:pt x="180" y="130"/>
                  </a:lnTo>
                  <a:lnTo>
                    <a:pt x="186" y="132"/>
                  </a:lnTo>
                  <a:lnTo>
                    <a:pt x="192" y="136"/>
                  </a:lnTo>
                  <a:lnTo>
                    <a:pt x="199" y="136"/>
                  </a:lnTo>
                  <a:lnTo>
                    <a:pt x="203" y="138"/>
                  </a:lnTo>
                  <a:lnTo>
                    <a:pt x="205" y="138"/>
                  </a:lnTo>
                  <a:lnTo>
                    <a:pt x="209" y="140"/>
                  </a:lnTo>
                  <a:lnTo>
                    <a:pt x="213" y="140"/>
                  </a:lnTo>
                  <a:lnTo>
                    <a:pt x="217" y="140"/>
                  </a:lnTo>
                  <a:lnTo>
                    <a:pt x="221" y="140"/>
                  </a:lnTo>
                  <a:lnTo>
                    <a:pt x="224" y="142"/>
                  </a:lnTo>
                  <a:lnTo>
                    <a:pt x="228" y="142"/>
                  </a:lnTo>
                  <a:lnTo>
                    <a:pt x="230" y="142"/>
                  </a:lnTo>
                  <a:lnTo>
                    <a:pt x="234" y="142"/>
                  </a:lnTo>
                  <a:lnTo>
                    <a:pt x="236" y="142"/>
                  </a:lnTo>
                  <a:lnTo>
                    <a:pt x="240" y="142"/>
                  </a:lnTo>
                  <a:lnTo>
                    <a:pt x="242" y="142"/>
                  </a:lnTo>
                  <a:lnTo>
                    <a:pt x="246" y="142"/>
                  </a:lnTo>
                  <a:lnTo>
                    <a:pt x="247" y="142"/>
                  </a:lnTo>
                  <a:lnTo>
                    <a:pt x="247" y="142"/>
                  </a:lnTo>
                  <a:lnTo>
                    <a:pt x="251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7" y="142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57" y="142"/>
                  </a:lnTo>
                  <a:lnTo>
                    <a:pt x="255" y="144"/>
                  </a:lnTo>
                  <a:lnTo>
                    <a:pt x="253" y="146"/>
                  </a:lnTo>
                  <a:lnTo>
                    <a:pt x="253" y="149"/>
                  </a:lnTo>
                  <a:lnTo>
                    <a:pt x="251" y="149"/>
                  </a:lnTo>
                  <a:lnTo>
                    <a:pt x="249" y="149"/>
                  </a:lnTo>
                  <a:lnTo>
                    <a:pt x="249" y="153"/>
                  </a:lnTo>
                  <a:lnTo>
                    <a:pt x="247" y="155"/>
                  </a:lnTo>
                  <a:lnTo>
                    <a:pt x="247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65"/>
                  </a:lnTo>
                  <a:lnTo>
                    <a:pt x="236" y="167"/>
                  </a:lnTo>
                  <a:lnTo>
                    <a:pt x="234" y="169"/>
                  </a:lnTo>
                  <a:lnTo>
                    <a:pt x="230" y="171"/>
                  </a:lnTo>
                  <a:lnTo>
                    <a:pt x="230" y="174"/>
                  </a:lnTo>
                  <a:lnTo>
                    <a:pt x="230" y="176"/>
                  </a:lnTo>
                  <a:lnTo>
                    <a:pt x="228" y="178"/>
                  </a:lnTo>
                  <a:lnTo>
                    <a:pt x="226" y="180"/>
                  </a:lnTo>
                  <a:lnTo>
                    <a:pt x="222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5" y="190"/>
                  </a:lnTo>
                  <a:lnTo>
                    <a:pt x="213" y="190"/>
                  </a:lnTo>
                  <a:lnTo>
                    <a:pt x="211" y="192"/>
                  </a:lnTo>
                  <a:lnTo>
                    <a:pt x="203" y="197"/>
                  </a:lnTo>
                  <a:lnTo>
                    <a:pt x="201" y="199"/>
                  </a:lnTo>
                  <a:lnTo>
                    <a:pt x="198" y="201"/>
                  </a:lnTo>
                  <a:lnTo>
                    <a:pt x="196" y="203"/>
                  </a:lnTo>
                  <a:lnTo>
                    <a:pt x="192" y="205"/>
                  </a:lnTo>
                  <a:lnTo>
                    <a:pt x="188" y="209"/>
                  </a:lnTo>
                  <a:lnTo>
                    <a:pt x="184" y="211"/>
                  </a:lnTo>
                  <a:lnTo>
                    <a:pt x="182" y="215"/>
                  </a:lnTo>
                  <a:lnTo>
                    <a:pt x="180" y="219"/>
                  </a:lnTo>
                  <a:lnTo>
                    <a:pt x="176" y="220"/>
                  </a:lnTo>
                  <a:lnTo>
                    <a:pt x="176" y="224"/>
                  </a:lnTo>
                  <a:lnTo>
                    <a:pt x="175" y="226"/>
                  </a:lnTo>
                  <a:lnTo>
                    <a:pt x="175" y="230"/>
                  </a:lnTo>
                  <a:lnTo>
                    <a:pt x="173" y="232"/>
                  </a:lnTo>
                  <a:lnTo>
                    <a:pt x="169" y="236"/>
                  </a:lnTo>
                  <a:lnTo>
                    <a:pt x="169" y="238"/>
                  </a:lnTo>
                  <a:lnTo>
                    <a:pt x="169" y="242"/>
                  </a:lnTo>
                  <a:lnTo>
                    <a:pt x="167" y="243"/>
                  </a:lnTo>
                  <a:lnTo>
                    <a:pt x="165" y="245"/>
                  </a:lnTo>
                  <a:lnTo>
                    <a:pt x="165" y="247"/>
                  </a:lnTo>
                  <a:lnTo>
                    <a:pt x="163" y="251"/>
                  </a:lnTo>
                  <a:lnTo>
                    <a:pt x="161" y="253"/>
                  </a:lnTo>
                  <a:lnTo>
                    <a:pt x="159" y="253"/>
                  </a:lnTo>
                  <a:lnTo>
                    <a:pt x="155" y="257"/>
                  </a:lnTo>
                  <a:lnTo>
                    <a:pt x="152" y="259"/>
                  </a:lnTo>
                  <a:lnTo>
                    <a:pt x="148" y="259"/>
                  </a:lnTo>
                  <a:lnTo>
                    <a:pt x="146" y="261"/>
                  </a:lnTo>
                  <a:lnTo>
                    <a:pt x="142" y="259"/>
                  </a:lnTo>
                  <a:lnTo>
                    <a:pt x="134" y="259"/>
                  </a:lnTo>
                  <a:lnTo>
                    <a:pt x="128" y="257"/>
                  </a:lnTo>
                  <a:lnTo>
                    <a:pt x="125" y="257"/>
                  </a:lnTo>
                  <a:lnTo>
                    <a:pt x="119" y="255"/>
                  </a:lnTo>
                  <a:lnTo>
                    <a:pt x="115" y="255"/>
                  </a:lnTo>
                  <a:lnTo>
                    <a:pt x="111" y="255"/>
                  </a:lnTo>
                  <a:lnTo>
                    <a:pt x="105" y="255"/>
                  </a:lnTo>
                  <a:lnTo>
                    <a:pt x="102" y="255"/>
                  </a:lnTo>
                  <a:lnTo>
                    <a:pt x="100" y="255"/>
                  </a:lnTo>
                  <a:lnTo>
                    <a:pt x="96" y="257"/>
                  </a:lnTo>
                  <a:lnTo>
                    <a:pt x="92" y="259"/>
                  </a:lnTo>
                  <a:lnTo>
                    <a:pt x="88" y="263"/>
                  </a:lnTo>
                  <a:lnTo>
                    <a:pt x="86" y="267"/>
                  </a:lnTo>
                  <a:lnTo>
                    <a:pt x="82" y="268"/>
                  </a:lnTo>
                  <a:lnTo>
                    <a:pt x="81" y="272"/>
                  </a:lnTo>
                  <a:lnTo>
                    <a:pt x="79" y="274"/>
                  </a:lnTo>
                  <a:lnTo>
                    <a:pt x="77" y="276"/>
                  </a:lnTo>
                  <a:lnTo>
                    <a:pt x="73" y="278"/>
                  </a:lnTo>
                  <a:lnTo>
                    <a:pt x="71" y="280"/>
                  </a:lnTo>
                  <a:lnTo>
                    <a:pt x="63" y="282"/>
                  </a:lnTo>
                  <a:lnTo>
                    <a:pt x="57" y="282"/>
                  </a:lnTo>
                  <a:lnTo>
                    <a:pt x="54" y="282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4" y="288"/>
                  </a:lnTo>
                  <a:lnTo>
                    <a:pt x="42" y="291"/>
                  </a:lnTo>
                  <a:lnTo>
                    <a:pt x="38" y="291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4" y="297"/>
                  </a:lnTo>
                  <a:lnTo>
                    <a:pt x="33" y="299"/>
                  </a:lnTo>
                  <a:lnTo>
                    <a:pt x="29" y="301"/>
                  </a:lnTo>
                  <a:lnTo>
                    <a:pt x="29" y="305"/>
                  </a:lnTo>
                  <a:lnTo>
                    <a:pt x="27" y="307"/>
                  </a:lnTo>
                  <a:lnTo>
                    <a:pt x="27" y="309"/>
                  </a:lnTo>
                  <a:lnTo>
                    <a:pt x="23" y="309"/>
                  </a:lnTo>
                  <a:lnTo>
                    <a:pt x="21" y="313"/>
                  </a:lnTo>
                  <a:lnTo>
                    <a:pt x="19" y="316"/>
                  </a:lnTo>
                  <a:lnTo>
                    <a:pt x="17" y="318"/>
                  </a:lnTo>
                  <a:lnTo>
                    <a:pt x="13" y="320"/>
                  </a:lnTo>
                  <a:lnTo>
                    <a:pt x="11" y="324"/>
                  </a:lnTo>
                  <a:lnTo>
                    <a:pt x="10" y="326"/>
                  </a:lnTo>
                  <a:lnTo>
                    <a:pt x="6" y="330"/>
                  </a:lnTo>
                  <a:lnTo>
                    <a:pt x="4" y="334"/>
                  </a:lnTo>
                  <a:lnTo>
                    <a:pt x="2" y="336"/>
                  </a:lnTo>
                  <a:lnTo>
                    <a:pt x="2" y="339"/>
                  </a:lnTo>
                  <a:lnTo>
                    <a:pt x="2" y="341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9"/>
                  </a:lnTo>
                  <a:lnTo>
                    <a:pt x="0" y="353"/>
                  </a:lnTo>
                  <a:lnTo>
                    <a:pt x="0" y="355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64"/>
                  </a:lnTo>
                  <a:lnTo>
                    <a:pt x="2" y="368"/>
                  </a:lnTo>
                  <a:lnTo>
                    <a:pt x="2" y="370"/>
                  </a:lnTo>
                  <a:lnTo>
                    <a:pt x="2" y="374"/>
                  </a:lnTo>
                  <a:lnTo>
                    <a:pt x="2" y="378"/>
                  </a:lnTo>
                  <a:lnTo>
                    <a:pt x="2" y="380"/>
                  </a:lnTo>
                  <a:lnTo>
                    <a:pt x="0" y="382"/>
                  </a:lnTo>
                  <a:lnTo>
                    <a:pt x="0" y="385"/>
                  </a:lnTo>
                  <a:lnTo>
                    <a:pt x="0" y="387"/>
                  </a:lnTo>
                  <a:lnTo>
                    <a:pt x="0" y="391"/>
                  </a:lnTo>
                  <a:lnTo>
                    <a:pt x="0" y="397"/>
                  </a:lnTo>
                  <a:lnTo>
                    <a:pt x="0" y="399"/>
                  </a:lnTo>
                  <a:lnTo>
                    <a:pt x="0" y="403"/>
                  </a:lnTo>
                  <a:lnTo>
                    <a:pt x="0" y="405"/>
                  </a:lnTo>
                  <a:lnTo>
                    <a:pt x="0" y="408"/>
                  </a:lnTo>
                  <a:lnTo>
                    <a:pt x="0" y="412"/>
                  </a:lnTo>
                  <a:lnTo>
                    <a:pt x="0" y="416"/>
                  </a:lnTo>
                  <a:lnTo>
                    <a:pt x="0" y="420"/>
                  </a:lnTo>
                  <a:lnTo>
                    <a:pt x="0" y="424"/>
                  </a:lnTo>
                  <a:lnTo>
                    <a:pt x="0" y="428"/>
                  </a:lnTo>
                  <a:lnTo>
                    <a:pt x="0" y="432"/>
                  </a:lnTo>
                  <a:lnTo>
                    <a:pt x="0" y="433"/>
                  </a:lnTo>
                  <a:lnTo>
                    <a:pt x="0" y="439"/>
                  </a:lnTo>
                  <a:lnTo>
                    <a:pt x="0" y="441"/>
                  </a:lnTo>
                  <a:lnTo>
                    <a:pt x="0" y="447"/>
                  </a:lnTo>
                  <a:lnTo>
                    <a:pt x="0" y="449"/>
                  </a:lnTo>
                  <a:lnTo>
                    <a:pt x="0" y="453"/>
                  </a:lnTo>
                  <a:lnTo>
                    <a:pt x="0" y="456"/>
                  </a:lnTo>
                  <a:lnTo>
                    <a:pt x="0" y="460"/>
                  </a:lnTo>
                  <a:lnTo>
                    <a:pt x="0" y="464"/>
                  </a:lnTo>
                  <a:lnTo>
                    <a:pt x="0" y="466"/>
                  </a:lnTo>
                  <a:lnTo>
                    <a:pt x="0" y="468"/>
                  </a:lnTo>
                  <a:lnTo>
                    <a:pt x="4" y="474"/>
                  </a:lnTo>
                  <a:lnTo>
                    <a:pt x="6" y="476"/>
                  </a:lnTo>
                  <a:lnTo>
                    <a:pt x="8" y="479"/>
                  </a:lnTo>
                  <a:lnTo>
                    <a:pt x="10" y="479"/>
                  </a:lnTo>
                  <a:lnTo>
                    <a:pt x="13" y="481"/>
                  </a:lnTo>
                  <a:lnTo>
                    <a:pt x="13" y="483"/>
                  </a:lnTo>
                  <a:lnTo>
                    <a:pt x="13" y="483"/>
                  </a:lnTo>
                  <a:lnTo>
                    <a:pt x="17" y="481"/>
                  </a:lnTo>
                  <a:lnTo>
                    <a:pt x="19" y="485"/>
                  </a:lnTo>
                  <a:lnTo>
                    <a:pt x="23" y="489"/>
                  </a:lnTo>
                  <a:lnTo>
                    <a:pt x="27" y="491"/>
                  </a:lnTo>
                  <a:lnTo>
                    <a:pt x="33" y="495"/>
                  </a:lnTo>
                  <a:lnTo>
                    <a:pt x="34" y="493"/>
                  </a:lnTo>
                  <a:lnTo>
                    <a:pt x="36" y="493"/>
                  </a:lnTo>
                  <a:lnTo>
                    <a:pt x="36" y="489"/>
                  </a:lnTo>
                  <a:lnTo>
                    <a:pt x="33" y="489"/>
                  </a:lnTo>
                  <a:lnTo>
                    <a:pt x="31" y="491"/>
                  </a:lnTo>
                  <a:lnTo>
                    <a:pt x="29" y="493"/>
                  </a:lnTo>
                  <a:lnTo>
                    <a:pt x="27" y="49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3" name="Freeform 30"/>
            <p:cNvSpPr>
              <a:spLocks/>
            </p:cNvSpPr>
            <p:nvPr/>
          </p:nvSpPr>
          <p:spPr bwMode="auto">
            <a:xfrm>
              <a:off x="2672" y="1887"/>
              <a:ext cx="366" cy="499"/>
            </a:xfrm>
            <a:custGeom>
              <a:avLst/>
              <a:gdLst/>
              <a:ahLst/>
              <a:cxnLst>
                <a:cxn ang="0">
                  <a:pos x="42" y="478"/>
                </a:cxn>
                <a:cxn ang="0">
                  <a:pos x="57" y="460"/>
                </a:cxn>
                <a:cxn ang="0">
                  <a:pos x="81" y="437"/>
                </a:cxn>
                <a:cxn ang="0">
                  <a:pos x="115" y="401"/>
                </a:cxn>
                <a:cxn ang="0">
                  <a:pos x="142" y="384"/>
                </a:cxn>
                <a:cxn ang="0">
                  <a:pos x="165" y="370"/>
                </a:cxn>
                <a:cxn ang="0">
                  <a:pos x="178" y="351"/>
                </a:cxn>
                <a:cxn ang="0">
                  <a:pos x="190" y="334"/>
                </a:cxn>
                <a:cxn ang="0">
                  <a:pos x="221" y="318"/>
                </a:cxn>
                <a:cxn ang="0">
                  <a:pos x="238" y="299"/>
                </a:cxn>
                <a:cxn ang="0">
                  <a:pos x="251" y="284"/>
                </a:cxn>
                <a:cxn ang="0">
                  <a:pos x="274" y="257"/>
                </a:cxn>
                <a:cxn ang="0">
                  <a:pos x="284" y="226"/>
                </a:cxn>
                <a:cxn ang="0">
                  <a:pos x="297" y="203"/>
                </a:cxn>
                <a:cxn ang="0">
                  <a:pos x="317" y="180"/>
                </a:cxn>
                <a:cxn ang="0">
                  <a:pos x="334" y="161"/>
                </a:cxn>
                <a:cxn ang="0">
                  <a:pos x="345" y="132"/>
                </a:cxn>
                <a:cxn ang="0">
                  <a:pos x="359" y="101"/>
                </a:cxn>
                <a:cxn ang="0">
                  <a:pos x="359" y="73"/>
                </a:cxn>
                <a:cxn ang="0">
                  <a:pos x="364" y="46"/>
                </a:cxn>
                <a:cxn ang="0">
                  <a:pos x="364" y="17"/>
                </a:cxn>
                <a:cxn ang="0">
                  <a:pos x="353" y="2"/>
                </a:cxn>
                <a:cxn ang="0">
                  <a:pos x="338" y="9"/>
                </a:cxn>
                <a:cxn ang="0">
                  <a:pos x="318" y="17"/>
                </a:cxn>
                <a:cxn ang="0">
                  <a:pos x="292" y="25"/>
                </a:cxn>
                <a:cxn ang="0">
                  <a:pos x="269" y="25"/>
                </a:cxn>
                <a:cxn ang="0">
                  <a:pos x="232" y="19"/>
                </a:cxn>
                <a:cxn ang="0">
                  <a:pos x="209" y="42"/>
                </a:cxn>
                <a:cxn ang="0">
                  <a:pos x="175" y="46"/>
                </a:cxn>
                <a:cxn ang="0">
                  <a:pos x="144" y="54"/>
                </a:cxn>
                <a:cxn ang="0">
                  <a:pos x="123" y="59"/>
                </a:cxn>
                <a:cxn ang="0">
                  <a:pos x="105" y="46"/>
                </a:cxn>
                <a:cxn ang="0">
                  <a:pos x="94" y="25"/>
                </a:cxn>
                <a:cxn ang="0">
                  <a:pos x="77" y="29"/>
                </a:cxn>
                <a:cxn ang="0">
                  <a:pos x="63" y="50"/>
                </a:cxn>
                <a:cxn ang="0">
                  <a:pos x="69" y="73"/>
                </a:cxn>
                <a:cxn ang="0">
                  <a:pos x="81" y="98"/>
                </a:cxn>
                <a:cxn ang="0">
                  <a:pos x="102" y="111"/>
                </a:cxn>
                <a:cxn ang="0">
                  <a:pos x="132" y="121"/>
                </a:cxn>
                <a:cxn ang="0">
                  <a:pos x="171" y="125"/>
                </a:cxn>
                <a:cxn ang="0">
                  <a:pos x="203" y="138"/>
                </a:cxn>
                <a:cxn ang="0">
                  <a:pos x="230" y="142"/>
                </a:cxn>
                <a:cxn ang="0">
                  <a:pos x="251" y="142"/>
                </a:cxn>
                <a:cxn ang="0">
                  <a:pos x="253" y="146"/>
                </a:cxn>
                <a:cxn ang="0">
                  <a:pos x="244" y="159"/>
                </a:cxn>
                <a:cxn ang="0">
                  <a:pos x="230" y="174"/>
                </a:cxn>
                <a:cxn ang="0">
                  <a:pos x="213" y="190"/>
                </a:cxn>
                <a:cxn ang="0">
                  <a:pos x="184" y="211"/>
                </a:cxn>
                <a:cxn ang="0">
                  <a:pos x="169" y="236"/>
                </a:cxn>
                <a:cxn ang="0">
                  <a:pos x="159" y="253"/>
                </a:cxn>
                <a:cxn ang="0">
                  <a:pos x="125" y="257"/>
                </a:cxn>
                <a:cxn ang="0">
                  <a:pos x="92" y="259"/>
                </a:cxn>
                <a:cxn ang="0">
                  <a:pos x="71" y="280"/>
                </a:cxn>
                <a:cxn ang="0">
                  <a:pos x="38" y="291"/>
                </a:cxn>
                <a:cxn ang="0">
                  <a:pos x="27" y="309"/>
                </a:cxn>
                <a:cxn ang="0">
                  <a:pos x="6" y="330"/>
                </a:cxn>
                <a:cxn ang="0">
                  <a:pos x="0" y="349"/>
                </a:cxn>
                <a:cxn ang="0">
                  <a:pos x="2" y="374"/>
                </a:cxn>
                <a:cxn ang="0">
                  <a:pos x="0" y="399"/>
                </a:cxn>
                <a:cxn ang="0">
                  <a:pos x="0" y="428"/>
                </a:cxn>
                <a:cxn ang="0">
                  <a:pos x="0" y="456"/>
                </a:cxn>
                <a:cxn ang="0">
                  <a:pos x="10" y="479"/>
                </a:cxn>
                <a:cxn ang="0">
                  <a:pos x="33" y="495"/>
                </a:cxn>
              </a:cxnLst>
              <a:rect l="0" t="0" r="r" b="b"/>
              <a:pathLst>
                <a:path w="366" h="499">
                  <a:moveTo>
                    <a:pt x="27" y="499"/>
                  </a:moveTo>
                  <a:lnTo>
                    <a:pt x="31" y="493"/>
                  </a:lnTo>
                  <a:lnTo>
                    <a:pt x="34" y="489"/>
                  </a:lnTo>
                  <a:lnTo>
                    <a:pt x="34" y="487"/>
                  </a:lnTo>
                  <a:lnTo>
                    <a:pt x="36" y="485"/>
                  </a:lnTo>
                  <a:lnTo>
                    <a:pt x="36" y="483"/>
                  </a:lnTo>
                  <a:lnTo>
                    <a:pt x="38" y="479"/>
                  </a:lnTo>
                  <a:lnTo>
                    <a:pt x="42" y="478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6" y="472"/>
                  </a:lnTo>
                  <a:lnTo>
                    <a:pt x="48" y="470"/>
                  </a:lnTo>
                  <a:lnTo>
                    <a:pt x="50" y="468"/>
                  </a:lnTo>
                  <a:lnTo>
                    <a:pt x="54" y="466"/>
                  </a:lnTo>
                  <a:lnTo>
                    <a:pt x="54" y="464"/>
                  </a:lnTo>
                  <a:lnTo>
                    <a:pt x="57" y="460"/>
                  </a:lnTo>
                  <a:lnTo>
                    <a:pt x="61" y="458"/>
                  </a:lnTo>
                  <a:lnTo>
                    <a:pt x="63" y="455"/>
                  </a:lnTo>
                  <a:lnTo>
                    <a:pt x="67" y="451"/>
                  </a:lnTo>
                  <a:lnTo>
                    <a:pt x="71" y="449"/>
                  </a:lnTo>
                  <a:lnTo>
                    <a:pt x="75" y="445"/>
                  </a:lnTo>
                  <a:lnTo>
                    <a:pt x="77" y="441"/>
                  </a:lnTo>
                  <a:lnTo>
                    <a:pt x="79" y="439"/>
                  </a:lnTo>
                  <a:lnTo>
                    <a:pt x="81" y="437"/>
                  </a:lnTo>
                  <a:lnTo>
                    <a:pt x="86" y="432"/>
                  </a:lnTo>
                  <a:lnTo>
                    <a:pt x="88" y="428"/>
                  </a:lnTo>
                  <a:lnTo>
                    <a:pt x="92" y="424"/>
                  </a:lnTo>
                  <a:lnTo>
                    <a:pt x="100" y="414"/>
                  </a:lnTo>
                  <a:lnTo>
                    <a:pt x="104" y="410"/>
                  </a:lnTo>
                  <a:lnTo>
                    <a:pt x="107" y="407"/>
                  </a:lnTo>
                  <a:lnTo>
                    <a:pt x="109" y="405"/>
                  </a:lnTo>
                  <a:lnTo>
                    <a:pt x="115" y="401"/>
                  </a:lnTo>
                  <a:lnTo>
                    <a:pt x="119" y="399"/>
                  </a:lnTo>
                  <a:lnTo>
                    <a:pt x="123" y="397"/>
                  </a:lnTo>
                  <a:lnTo>
                    <a:pt x="125" y="395"/>
                  </a:lnTo>
                  <a:lnTo>
                    <a:pt x="130" y="391"/>
                  </a:lnTo>
                  <a:lnTo>
                    <a:pt x="134" y="389"/>
                  </a:lnTo>
                  <a:lnTo>
                    <a:pt x="136" y="387"/>
                  </a:lnTo>
                  <a:lnTo>
                    <a:pt x="140" y="385"/>
                  </a:lnTo>
                  <a:lnTo>
                    <a:pt x="142" y="384"/>
                  </a:lnTo>
                  <a:lnTo>
                    <a:pt x="146" y="382"/>
                  </a:lnTo>
                  <a:lnTo>
                    <a:pt x="148" y="382"/>
                  </a:lnTo>
                  <a:lnTo>
                    <a:pt x="152" y="380"/>
                  </a:lnTo>
                  <a:lnTo>
                    <a:pt x="153" y="378"/>
                  </a:lnTo>
                  <a:lnTo>
                    <a:pt x="157" y="378"/>
                  </a:lnTo>
                  <a:lnTo>
                    <a:pt x="159" y="374"/>
                  </a:lnTo>
                  <a:lnTo>
                    <a:pt x="161" y="372"/>
                  </a:lnTo>
                  <a:lnTo>
                    <a:pt x="165" y="370"/>
                  </a:lnTo>
                  <a:lnTo>
                    <a:pt x="169" y="370"/>
                  </a:lnTo>
                  <a:lnTo>
                    <a:pt x="169" y="368"/>
                  </a:lnTo>
                  <a:lnTo>
                    <a:pt x="173" y="366"/>
                  </a:lnTo>
                  <a:lnTo>
                    <a:pt x="175" y="364"/>
                  </a:lnTo>
                  <a:lnTo>
                    <a:pt x="176" y="361"/>
                  </a:lnTo>
                  <a:lnTo>
                    <a:pt x="176" y="359"/>
                  </a:lnTo>
                  <a:lnTo>
                    <a:pt x="178" y="357"/>
                  </a:lnTo>
                  <a:lnTo>
                    <a:pt x="178" y="351"/>
                  </a:lnTo>
                  <a:lnTo>
                    <a:pt x="180" y="349"/>
                  </a:lnTo>
                  <a:lnTo>
                    <a:pt x="180" y="345"/>
                  </a:lnTo>
                  <a:lnTo>
                    <a:pt x="182" y="343"/>
                  </a:lnTo>
                  <a:lnTo>
                    <a:pt x="182" y="341"/>
                  </a:lnTo>
                  <a:lnTo>
                    <a:pt x="184" y="339"/>
                  </a:lnTo>
                  <a:lnTo>
                    <a:pt x="186" y="338"/>
                  </a:lnTo>
                  <a:lnTo>
                    <a:pt x="186" y="336"/>
                  </a:lnTo>
                  <a:lnTo>
                    <a:pt x="190" y="334"/>
                  </a:lnTo>
                  <a:lnTo>
                    <a:pt x="194" y="330"/>
                  </a:lnTo>
                  <a:lnTo>
                    <a:pt x="196" y="326"/>
                  </a:lnTo>
                  <a:lnTo>
                    <a:pt x="199" y="326"/>
                  </a:lnTo>
                  <a:lnTo>
                    <a:pt x="203" y="326"/>
                  </a:lnTo>
                  <a:lnTo>
                    <a:pt x="207" y="322"/>
                  </a:lnTo>
                  <a:lnTo>
                    <a:pt x="213" y="320"/>
                  </a:lnTo>
                  <a:lnTo>
                    <a:pt x="217" y="320"/>
                  </a:lnTo>
                  <a:lnTo>
                    <a:pt x="221" y="318"/>
                  </a:lnTo>
                  <a:lnTo>
                    <a:pt x="226" y="316"/>
                  </a:lnTo>
                  <a:lnTo>
                    <a:pt x="230" y="316"/>
                  </a:lnTo>
                  <a:lnTo>
                    <a:pt x="230" y="314"/>
                  </a:lnTo>
                  <a:lnTo>
                    <a:pt x="232" y="314"/>
                  </a:lnTo>
                  <a:lnTo>
                    <a:pt x="234" y="309"/>
                  </a:lnTo>
                  <a:lnTo>
                    <a:pt x="234" y="305"/>
                  </a:lnTo>
                  <a:lnTo>
                    <a:pt x="236" y="303"/>
                  </a:lnTo>
                  <a:lnTo>
                    <a:pt x="238" y="299"/>
                  </a:lnTo>
                  <a:lnTo>
                    <a:pt x="238" y="297"/>
                  </a:lnTo>
                  <a:lnTo>
                    <a:pt x="240" y="295"/>
                  </a:lnTo>
                  <a:lnTo>
                    <a:pt x="242" y="293"/>
                  </a:lnTo>
                  <a:lnTo>
                    <a:pt x="246" y="291"/>
                  </a:lnTo>
                  <a:lnTo>
                    <a:pt x="246" y="290"/>
                  </a:lnTo>
                  <a:lnTo>
                    <a:pt x="247" y="288"/>
                  </a:lnTo>
                  <a:lnTo>
                    <a:pt x="249" y="286"/>
                  </a:lnTo>
                  <a:lnTo>
                    <a:pt x="251" y="284"/>
                  </a:lnTo>
                  <a:lnTo>
                    <a:pt x="255" y="282"/>
                  </a:lnTo>
                  <a:lnTo>
                    <a:pt x="259" y="276"/>
                  </a:lnTo>
                  <a:lnTo>
                    <a:pt x="265" y="272"/>
                  </a:lnTo>
                  <a:lnTo>
                    <a:pt x="267" y="267"/>
                  </a:lnTo>
                  <a:lnTo>
                    <a:pt x="269" y="265"/>
                  </a:lnTo>
                  <a:lnTo>
                    <a:pt x="270" y="261"/>
                  </a:lnTo>
                  <a:lnTo>
                    <a:pt x="272" y="257"/>
                  </a:lnTo>
                  <a:lnTo>
                    <a:pt x="274" y="257"/>
                  </a:lnTo>
                  <a:lnTo>
                    <a:pt x="276" y="255"/>
                  </a:lnTo>
                  <a:lnTo>
                    <a:pt x="278" y="251"/>
                  </a:lnTo>
                  <a:lnTo>
                    <a:pt x="280" y="247"/>
                  </a:lnTo>
                  <a:lnTo>
                    <a:pt x="284" y="245"/>
                  </a:lnTo>
                  <a:lnTo>
                    <a:pt x="284" y="242"/>
                  </a:lnTo>
                  <a:lnTo>
                    <a:pt x="284" y="238"/>
                  </a:lnTo>
                  <a:lnTo>
                    <a:pt x="284" y="230"/>
                  </a:lnTo>
                  <a:lnTo>
                    <a:pt x="284" y="226"/>
                  </a:lnTo>
                  <a:lnTo>
                    <a:pt x="284" y="222"/>
                  </a:lnTo>
                  <a:lnTo>
                    <a:pt x="284" y="220"/>
                  </a:lnTo>
                  <a:lnTo>
                    <a:pt x="284" y="219"/>
                  </a:lnTo>
                  <a:lnTo>
                    <a:pt x="288" y="215"/>
                  </a:lnTo>
                  <a:lnTo>
                    <a:pt x="288" y="213"/>
                  </a:lnTo>
                  <a:lnTo>
                    <a:pt x="292" y="211"/>
                  </a:lnTo>
                  <a:lnTo>
                    <a:pt x="292" y="207"/>
                  </a:lnTo>
                  <a:lnTo>
                    <a:pt x="297" y="203"/>
                  </a:lnTo>
                  <a:lnTo>
                    <a:pt x="301" y="199"/>
                  </a:lnTo>
                  <a:lnTo>
                    <a:pt x="303" y="196"/>
                  </a:lnTo>
                  <a:lnTo>
                    <a:pt x="305" y="194"/>
                  </a:lnTo>
                  <a:lnTo>
                    <a:pt x="309" y="190"/>
                  </a:lnTo>
                  <a:lnTo>
                    <a:pt x="311" y="188"/>
                  </a:lnTo>
                  <a:lnTo>
                    <a:pt x="313" y="186"/>
                  </a:lnTo>
                  <a:lnTo>
                    <a:pt x="315" y="182"/>
                  </a:lnTo>
                  <a:lnTo>
                    <a:pt x="317" y="180"/>
                  </a:lnTo>
                  <a:lnTo>
                    <a:pt x="318" y="176"/>
                  </a:lnTo>
                  <a:lnTo>
                    <a:pt x="320" y="174"/>
                  </a:lnTo>
                  <a:lnTo>
                    <a:pt x="322" y="174"/>
                  </a:lnTo>
                  <a:lnTo>
                    <a:pt x="324" y="172"/>
                  </a:lnTo>
                  <a:lnTo>
                    <a:pt x="328" y="169"/>
                  </a:lnTo>
                  <a:lnTo>
                    <a:pt x="330" y="167"/>
                  </a:lnTo>
                  <a:lnTo>
                    <a:pt x="332" y="165"/>
                  </a:lnTo>
                  <a:lnTo>
                    <a:pt x="334" y="161"/>
                  </a:lnTo>
                  <a:lnTo>
                    <a:pt x="336" y="159"/>
                  </a:lnTo>
                  <a:lnTo>
                    <a:pt x="338" y="155"/>
                  </a:lnTo>
                  <a:lnTo>
                    <a:pt x="338" y="151"/>
                  </a:lnTo>
                  <a:lnTo>
                    <a:pt x="338" y="148"/>
                  </a:lnTo>
                  <a:lnTo>
                    <a:pt x="338" y="144"/>
                  </a:lnTo>
                  <a:lnTo>
                    <a:pt x="338" y="142"/>
                  </a:lnTo>
                  <a:lnTo>
                    <a:pt x="341" y="136"/>
                  </a:lnTo>
                  <a:lnTo>
                    <a:pt x="345" y="132"/>
                  </a:lnTo>
                  <a:lnTo>
                    <a:pt x="347" y="128"/>
                  </a:lnTo>
                  <a:lnTo>
                    <a:pt x="351" y="125"/>
                  </a:lnTo>
                  <a:lnTo>
                    <a:pt x="353" y="123"/>
                  </a:lnTo>
                  <a:lnTo>
                    <a:pt x="357" y="117"/>
                  </a:lnTo>
                  <a:lnTo>
                    <a:pt x="357" y="115"/>
                  </a:lnTo>
                  <a:lnTo>
                    <a:pt x="361" y="109"/>
                  </a:lnTo>
                  <a:lnTo>
                    <a:pt x="361" y="105"/>
                  </a:lnTo>
                  <a:lnTo>
                    <a:pt x="359" y="101"/>
                  </a:lnTo>
                  <a:lnTo>
                    <a:pt x="359" y="98"/>
                  </a:lnTo>
                  <a:lnTo>
                    <a:pt x="359" y="94"/>
                  </a:lnTo>
                  <a:lnTo>
                    <a:pt x="359" y="90"/>
                  </a:lnTo>
                  <a:lnTo>
                    <a:pt x="359" y="88"/>
                  </a:lnTo>
                  <a:lnTo>
                    <a:pt x="359" y="84"/>
                  </a:lnTo>
                  <a:lnTo>
                    <a:pt x="359" y="80"/>
                  </a:lnTo>
                  <a:lnTo>
                    <a:pt x="359" y="77"/>
                  </a:lnTo>
                  <a:lnTo>
                    <a:pt x="359" y="73"/>
                  </a:lnTo>
                  <a:lnTo>
                    <a:pt x="361" y="71"/>
                  </a:lnTo>
                  <a:lnTo>
                    <a:pt x="361" y="67"/>
                  </a:lnTo>
                  <a:lnTo>
                    <a:pt x="361" y="65"/>
                  </a:lnTo>
                  <a:lnTo>
                    <a:pt x="363" y="61"/>
                  </a:lnTo>
                  <a:lnTo>
                    <a:pt x="363" y="59"/>
                  </a:lnTo>
                  <a:lnTo>
                    <a:pt x="363" y="52"/>
                  </a:lnTo>
                  <a:lnTo>
                    <a:pt x="364" y="50"/>
                  </a:lnTo>
                  <a:lnTo>
                    <a:pt x="364" y="46"/>
                  </a:lnTo>
                  <a:lnTo>
                    <a:pt x="364" y="44"/>
                  </a:lnTo>
                  <a:lnTo>
                    <a:pt x="366" y="40"/>
                  </a:lnTo>
                  <a:lnTo>
                    <a:pt x="366" y="36"/>
                  </a:lnTo>
                  <a:lnTo>
                    <a:pt x="366" y="30"/>
                  </a:lnTo>
                  <a:lnTo>
                    <a:pt x="366" y="27"/>
                  </a:lnTo>
                  <a:lnTo>
                    <a:pt x="364" y="21"/>
                  </a:lnTo>
                  <a:lnTo>
                    <a:pt x="364" y="19"/>
                  </a:lnTo>
                  <a:lnTo>
                    <a:pt x="364" y="17"/>
                  </a:lnTo>
                  <a:lnTo>
                    <a:pt x="363" y="13"/>
                  </a:lnTo>
                  <a:lnTo>
                    <a:pt x="363" y="9"/>
                  </a:lnTo>
                  <a:lnTo>
                    <a:pt x="363" y="7"/>
                  </a:lnTo>
                  <a:lnTo>
                    <a:pt x="363" y="4"/>
                  </a:lnTo>
                  <a:lnTo>
                    <a:pt x="361" y="2"/>
                  </a:lnTo>
                  <a:lnTo>
                    <a:pt x="357" y="2"/>
                  </a:lnTo>
                  <a:lnTo>
                    <a:pt x="355" y="2"/>
                  </a:lnTo>
                  <a:lnTo>
                    <a:pt x="353" y="2"/>
                  </a:lnTo>
                  <a:lnTo>
                    <a:pt x="349" y="2"/>
                  </a:lnTo>
                  <a:lnTo>
                    <a:pt x="347" y="0"/>
                  </a:lnTo>
                  <a:lnTo>
                    <a:pt x="345" y="0"/>
                  </a:lnTo>
                  <a:lnTo>
                    <a:pt x="341" y="0"/>
                  </a:lnTo>
                  <a:lnTo>
                    <a:pt x="338" y="0"/>
                  </a:lnTo>
                  <a:lnTo>
                    <a:pt x="338" y="4"/>
                  </a:lnTo>
                  <a:lnTo>
                    <a:pt x="338" y="7"/>
                  </a:lnTo>
                  <a:lnTo>
                    <a:pt x="338" y="9"/>
                  </a:lnTo>
                  <a:lnTo>
                    <a:pt x="338" y="11"/>
                  </a:lnTo>
                  <a:lnTo>
                    <a:pt x="336" y="13"/>
                  </a:lnTo>
                  <a:lnTo>
                    <a:pt x="334" y="15"/>
                  </a:lnTo>
                  <a:lnTo>
                    <a:pt x="330" y="15"/>
                  </a:lnTo>
                  <a:lnTo>
                    <a:pt x="328" y="17"/>
                  </a:lnTo>
                  <a:lnTo>
                    <a:pt x="326" y="17"/>
                  </a:lnTo>
                  <a:lnTo>
                    <a:pt x="322" y="17"/>
                  </a:lnTo>
                  <a:lnTo>
                    <a:pt x="318" y="17"/>
                  </a:lnTo>
                  <a:lnTo>
                    <a:pt x="315" y="17"/>
                  </a:lnTo>
                  <a:lnTo>
                    <a:pt x="313" y="17"/>
                  </a:lnTo>
                  <a:lnTo>
                    <a:pt x="307" y="17"/>
                  </a:lnTo>
                  <a:lnTo>
                    <a:pt x="303" y="19"/>
                  </a:lnTo>
                  <a:lnTo>
                    <a:pt x="301" y="21"/>
                  </a:lnTo>
                  <a:lnTo>
                    <a:pt x="297" y="23"/>
                  </a:lnTo>
                  <a:lnTo>
                    <a:pt x="295" y="25"/>
                  </a:lnTo>
                  <a:lnTo>
                    <a:pt x="292" y="25"/>
                  </a:lnTo>
                  <a:lnTo>
                    <a:pt x="290" y="25"/>
                  </a:lnTo>
                  <a:lnTo>
                    <a:pt x="286" y="25"/>
                  </a:lnTo>
                  <a:lnTo>
                    <a:pt x="284" y="25"/>
                  </a:lnTo>
                  <a:lnTo>
                    <a:pt x="280" y="25"/>
                  </a:lnTo>
                  <a:lnTo>
                    <a:pt x="278" y="27"/>
                  </a:lnTo>
                  <a:lnTo>
                    <a:pt x="274" y="25"/>
                  </a:lnTo>
                  <a:lnTo>
                    <a:pt x="272" y="25"/>
                  </a:lnTo>
                  <a:lnTo>
                    <a:pt x="269" y="25"/>
                  </a:lnTo>
                  <a:lnTo>
                    <a:pt x="265" y="25"/>
                  </a:lnTo>
                  <a:lnTo>
                    <a:pt x="263" y="23"/>
                  </a:lnTo>
                  <a:lnTo>
                    <a:pt x="259" y="21"/>
                  </a:lnTo>
                  <a:lnTo>
                    <a:pt x="247" y="21"/>
                  </a:lnTo>
                  <a:lnTo>
                    <a:pt x="244" y="19"/>
                  </a:lnTo>
                  <a:lnTo>
                    <a:pt x="240" y="19"/>
                  </a:lnTo>
                  <a:lnTo>
                    <a:pt x="236" y="19"/>
                  </a:lnTo>
                  <a:lnTo>
                    <a:pt x="232" y="19"/>
                  </a:lnTo>
                  <a:lnTo>
                    <a:pt x="230" y="21"/>
                  </a:lnTo>
                  <a:lnTo>
                    <a:pt x="228" y="21"/>
                  </a:lnTo>
                  <a:lnTo>
                    <a:pt x="224" y="23"/>
                  </a:lnTo>
                  <a:lnTo>
                    <a:pt x="221" y="25"/>
                  </a:lnTo>
                  <a:lnTo>
                    <a:pt x="217" y="30"/>
                  </a:lnTo>
                  <a:lnTo>
                    <a:pt x="213" y="36"/>
                  </a:lnTo>
                  <a:lnTo>
                    <a:pt x="213" y="40"/>
                  </a:lnTo>
                  <a:lnTo>
                    <a:pt x="209" y="42"/>
                  </a:lnTo>
                  <a:lnTo>
                    <a:pt x="207" y="44"/>
                  </a:lnTo>
                  <a:lnTo>
                    <a:pt x="205" y="44"/>
                  </a:lnTo>
                  <a:lnTo>
                    <a:pt x="203" y="48"/>
                  </a:lnTo>
                  <a:lnTo>
                    <a:pt x="203" y="48"/>
                  </a:lnTo>
                  <a:lnTo>
                    <a:pt x="190" y="48"/>
                  </a:lnTo>
                  <a:lnTo>
                    <a:pt x="182" y="46"/>
                  </a:lnTo>
                  <a:lnTo>
                    <a:pt x="178" y="46"/>
                  </a:lnTo>
                  <a:lnTo>
                    <a:pt x="175" y="46"/>
                  </a:lnTo>
                  <a:lnTo>
                    <a:pt x="173" y="48"/>
                  </a:lnTo>
                  <a:lnTo>
                    <a:pt x="169" y="48"/>
                  </a:lnTo>
                  <a:lnTo>
                    <a:pt x="163" y="48"/>
                  </a:lnTo>
                  <a:lnTo>
                    <a:pt x="159" y="50"/>
                  </a:lnTo>
                  <a:lnTo>
                    <a:pt x="155" y="50"/>
                  </a:lnTo>
                  <a:lnTo>
                    <a:pt x="152" y="50"/>
                  </a:lnTo>
                  <a:lnTo>
                    <a:pt x="148" y="52"/>
                  </a:lnTo>
                  <a:lnTo>
                    <a:pt x="144" y="54"/>
                  </a:lnTo>
                  <a:lnTo>
                    <a:pt x="142" y="55"/>
                  </a:lnTo>
                  <a:lnTo>
                    <a:pt x="138" y="57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32" y="57"/>
                  </a:lnTo>
                  <a:lnTo>
                    <a:pt x="128" y="57"/>
                  </a:lnTo>
                  <a:lnTo>
                    <a:pt x="125" y="57"/>
                  </a:lnTo>
                  <a:lnTo>
                    <a:pt x="123" y="59"/>
                  </a:lnTo>
                  <a:lnTo>
                    <a:pt x="119" y="59"/>
                  </a:lnTo>
                  <a:lnTo>
                    <a:pt x="115" y="59"/>
                  </a:lnTo>
                  <a:lnTo>
                    <a:pt x="113" y="59"/>
                  </a:lnTo>
                  <a:lnTo>
                    <a:pt x="107" y="55"/>
                  </a:lnTo>
                  <a:lnTo>
                    <a:pt x="107" y="54"/>
                  </a:lnTo>
                  <a:lnTo>
                    <a:pt x="107" y="52"/>
                  </a:lnTo>
                  <a:lnTo>
                    <a:pt x="105" y="50"/>
                  </a:lnTo>
                  <a:lnTo>
                    <a:pt x="105" y="46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0"/>
                  </a:lnTo>
                  <a:lnTo>
                    <a:pt x="100" y="38"/>
                  </a:lnTo>
                  <a:lnTo>
                    <a:pt x="100" y="34"/>
                  </a:lnTo>
                  <a:lnTo>
                    <a:pt x="98" y="32"/>
                  </a:lnTo>
                  <a:lnTo>
                    <a:pt x="98" y="29"/>
                  </a:lnTo>
                  <a:lnTo>
                    <a:pt x="94" y="25"/>
                  </a:lnTo>
                  <a:lnTo>
                    <a:pt x="92" y="23"/>
                  </a:lnTo>
                  <a:lnTo>
                    <a:pt x="88" y="23"/>
                  </a:lnTo>
                  <a:lnTo>
                    <a:pt x="88" y="19"/>
                  </a:lnTo>
                  <a:lnTo>
                    <a:pt x="86" y="17"/>
                  </a:lnTo>
                  <a:lnTo>
                    <a:pt x="82" y="19"/>
                  </a:lnTo>
                  <a:lnTo>
                    <a:pt x="81" y="23"/>
                  </a:lnTo>
                  <a:lnTo>
                    <a:pt x="79" y="27"/>
                  </a:lnTo>
                  <a:lnTo>
                    <a:pt x="77" y="29"/>
                  </a:lnTo>
                  <a:lnTo>
                    <a:pt x="73" y="32"/>
                  </a:lnTo>
                  <a:lnTo>
                    <a:pt x="73" y="34"/>
                  </a:lnTo>
                  <a:lnTo>
                    <a:pt x="71" y="36"/>
                  </a:lnTo>
                  <a:lnTo>
                    <a:pt x="69" y="40"/>
                  </a:lnTo>
                  <a:lnTo>
                    <a:pt x="67" y="44"/>
                  </a:lnTo>
                  <a:lnTo>
                    <a:pt x="63" y="44"/>
                  </a:lnTo>
                  <a:lnTo>
                    <a:pt x="63" y="46"/>
                  </a:lnTo>
                  <a:lnTo>
                    <a:pt x="63" y="50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7"/>
                  </a:lnTo>
                  <a:lnTo>
                    <a:pt x="63" y="61"/>
                  </a:lnTo>
                  <a:lnTo>
                    <a:pt x="65" y="63"/>
                  </a:lnTo>
                  <a:lnTo>
                    <a:pt x="65" y="67"/>
                  </a:lnTo>
                  <a:lnTo>
                    <a:pt x="67" y="71"/>
                  </a:lnTo>
                  <a:lnTo>
                    <a:pt x="69" y="73"/>
                  </a:lnTo>
                  <a:lnTo>
                    <a:pt x="71" y="77"/>
                  </a:lnTo>
                  <a:lnTo>
                    <a:pt x="71" y="78"/>
                  </a:lnTo>
                  <a:lnTo>
                    <a:pt x="73" y="80"/>
                  </a:lnTo>
                  <a:lnTo>
                    <a:pt x="75" y="82"/>
                  </a:lnTo>
                  <a:lnTo>
                    <a:pt x="77" y="88"/>
                  </a:lnTo>
                  <a:lnTo>
                    <a:pt x="77" y="90"/>
                  </a:lnTo>
                  <a:lnTo>
                    <a:pt x="81" y="94"/>
                  </a:lnTo>
                  <a:lnTo>
                    <a:pt x="81" y="98"/>
                  </a:lnTo>
                  <a:lnTo>
                    <a:pt x="82" y="101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92" y="105"/>
                  </a:lnTo>
                  <a:lnTo>
                    <a:pt x="96" y="105"/>
                  </a:lnTo>
                  <a:lnTo>
                    <a:pt x="100" y="107"/>
                  </a:lnTo>
                  <a:lnTo>
                    <a:pt x="102" y="111"/>
                  </a:lnTo>
                  <a:lnTo>
                    <a:pt x="107" y="115"/>
                  </a:lnTo>
                  <a:lnTo>
                    <a:pt x="111" y="117"/>
                  </a:lnTo>
                  <a:lnTo>
                    <a:pt x="115" y="119"/>
                  </a:lnTo>
                  <a:lnTo>
                    <a:pt x="119" y="119"/>
                  </a:lnTo>
                  <a:lnTo>
                    <a:pt x="123" y="119"/>
                  </a:lnTo>
                  <a:lnTo>
                    <a:pt x="125" y="121"/>
                  </a:lnTo>
                  <a:lnTo>
                    <a:pt x="130" y="121"/>
                  </a:lnTo>
                  <a:lnTo>
                    <a:pt x="132" y="121"/>
                  </a:lnTo>
                  <a:lnTo>
                    <a:pt x="138" y="121"/>
                  </a:lnTo>
                  <a:lnTo>
                    <a:pt x="142" y="123"/>
                  </a:lnTo>
                  <a:lnTo>
                    <a:pt x="146" y="123"/>
                  </a:lnTo>
                  <a:lnTo>
                    <a:pt x="150" y="123"/>
                  </a:lnTo>
                  <a:lnTo>
                    <a:pt x="153" y="123"/>
                  </a:lnTo>
                  <a:lnTo>
                    <a:pt x="159" y="125"/>
                  </a:lnTo>
                  <a:lnTo>
                    <a:pt x="165" y="125"/>
                  </a:lnTo>
                  <a:lnTo>
                    <a:pt x="171" y="125"/>
                  </a:lnTo>
                  <a:lnTo>
                    <a:pt x="173" y="126"/>
                  </a:lnTo>
                  <a:lnTo>
                    <a:pt x="175" y="126"/>
                  </a:lnTo>
                  <a:lnTo>
                    <a:pt x="178" y="128"/>
                  </a:lnTo>
                  <a:lnTo>
                    <a:pt x="180" y="130"/>
                  </a:lnTo>
                  <a:lnTo>
                    <a:pt x="186" y="132"/>
                  </a:lnTo>
                  <a:lnTo>
                    <a:pt x="192" y="136"/>
                  </a:lnTo>
                  <a:lnTo>
                    <a:pt x="199" y="136"/>
                  </a:lnTo>
                  <a:lnTo>
                    <a:pt x="203" y="138"/>
                  </a:lnTo>
                  <a:lnTo>
                    <a:pt x="205" y="138"/>
                  </a:lnTo>
                  <a:lnTo>
                    <a:pt x="209" y="140"/>
                  </a:lnTo>
                  <a:lnTo>
                    <a:pt x="213" y="140"/>
                  </a:lnTo>
                  <a:lnTo>
                    <a:pt x="217" y="140"/>
                  </a:lnTo>
                  <a:lnTo>
                    <a:pt x="221" y="140"/>
                  </a:lnTo>
                  <a:lnTo>
                    <a:pt x="224" y="142"/>
                  </a:lnTo>
                  <a:lnTo>
                    <a:pt x="228" y="142"/>
                  </a:lnTo>
                  <a:lnTo>
                    <a:pt x="230" y="142"/>
                  </a:lnTo>
                  <a:lnTo>
                    <a:pt x="234" y="142"/>
                  </a:lnTo>
                  <a:lnTo>
                    <a:pt x="236" y="142"/>
                  </a:lnTo>
                  <a:lnTo>
                    <a:pt x="240" y="142"/>
                  </a:lnTo>
                  <a:lnTo>
                    <a:pt x="242" y="142"/>
                  </a:lnTo>
                  <a:lnTo>
                    <a:pt x="246" y="142"/>
                  </a:lnTo>
                  <a:lnTo>
                    <a:pt x="247" y="142"/>
                  </a:lnTo>
                  <a:lnTo>
                    <a:pt x="247" y="142"/>
                  </a:lnTo>
                  <a:lnTo>
                    <a:pt x="251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7" y="142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57" y="142"/>
                  </a:lnTo>
                  <a:lnTo>
                    <a:pt x="255" y="144"/>
                  </a:lnTo>
                  <a:lnTo>
                    <a:pt x="253" y="146"/>
                  </a:lnTo>
                  <a:lnTo>
                    <a:pt x="253" y="149"/>
                  </a:lnTo>
                  <a:lnTo>
                    <a:pt x="251" y="149"/>
                  </a:lnTo>
                  <a:lnTo>
                    <a:pt x="249" y="149"/>
                  </a:lnTo>
                  <a:lnTo>
                    <a:pt x="249" y="153"/>
                  </a:lnTo>
                  <a:lnTo>
                    <a:pt x="247" y="155"/>
                  </a:lnTo>
                  <a:lnTo>
                    <a:pt x="247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65"/>
                  </a:lnTo>
                  <a:lnTo>
                    <a:pt x="236" y="167"/>
                  </a:lnTo>
                  <a:lnTo>
                    <a:pt x="234" y="169"/>
                  </a:lnTo>
                  <a:lnTo>
                    <a:pt x="230" y="171"/>
                  </a:lnTo>
                  <a:lnTo>
                    <a:pt x="230" y="174"/>
                  </a:lnTo>
                  <a:lnTo>
                    <a:pt x="230" y="176"/>
                  </a:lnTo>
                  <a:lnTo>
                    <a:pt x="228" y="178"/>
                  </a:lnTo>
                  <a:lnTo>
                    <a:pt x="226" y="180"/>
                  </a:lnTo>
                  <a:lnTo>
                    <a:pt x="222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5" y="190"/>
                  </a:lnTo>
                  <a:lnTo>
                    <a:pt x="213" y="190"/>
                  </a:lnTo>
                  <a:lnTo>
                    <a:pt x="211" y="192"/>
                  </a:lnTo>
                  <a:lnTo>
                    <a:pt x="203" y="197"/>
                  </a:lnTo>
                  <a:lnTo>
                    <a:pt x="201" y="199"/>
                  </a:lnTo>
                  <a:lnTo>
                    <a:pt x="198" y="201"/>
                  </a:lnTo>
                  <a:lnTo>
                    <a:pt x="196" y="203"/>
                  </a:lnTo>
                  <a:lnTo>
                    <a:pt x="192" y="205"/>
                  </a:lnTo>
                  <a:lnTo>
                    <a:pt x="188" y="209"/>
                  </a:lnTo>
                  <a:lnTo>
                    <a:pt x="184" y="211"/>
                  </a:lnTo>
                  <a:lnTo>
                    <a:pt x="182" y="215"/>
                  </a:lnTo>
                  <a:lnTo>
                    <a:pt x="180" y="219"/>
                  </a:lnTo>
                  <a:lnTo>
                    <a:pt x="176" y="220"/>
                  </a:lnTo>
                  <a:lnTo>
                    <a:pt x="176" y="224"/>
                  </a:lnTo>
                  <a:lnTo>
                    <a:pt x="175" y="226"/>
                  </a:lnTo>
                  <a:lnTo>
                    <a:pt x="175" y="230"/>
                  </a:lnTo>
                  <a:lnTo>
                    <a:pt x="173" y="232"/>
                  </a:lnTo>
                  <a:lnTo>
                    <a:pt x="169" y="236"/>
                  </a:lnTo>
                  <a:lnTo>
                    <a:pt x="169" y="238"/>
                  </a:lnTo>
                  <a:lnTo>
                    <a:pt x="169" y="242"/>
                  </a:lnTo>
                  <a:lnTo>
                    <a:pt x="167" y="243"/>
                  </a:lnTo>
                  <a:lnTo>
                    <a:pt x="165" y="245"/>
                  </a:lnTo>
                  <a:lnTo>
                    <a:pt x="165" y="247"/>
                  </a:lnTo>
                  <a:lnTo>
                    <a:pt x="163" y="251"/>
                  </a:lnTo>
                  <a:lnTo>
                    <a:pt x="161" y="253"/>
                  </a:lnTo>
                  <a:lnTo>
                    <a:pt x="159" y="253"/>
                  </a:lnTo>
                  <a:lnTo>
                    <a:pt x="155" y="257"/>
                  </a:lnTo>
                  <a:lnTo>
                    <a:pt x="152" y="259"/>
                  </a:lnTo>
                  <a:lnTo>
                    <a:pt x="148" y="259"/>
                  </a:lnTo>
                  <a:lnTo>
                    <a:pt x="146" y="261"/>
                  </a:lnTo>
                  <a:lnTo>
                    <a:pt x="142" y="259"/>
                  </a:lnTo>
                  <a:lnTo>
                    <a:pt x="134" y="259"/>
                  </a:lnTo>
                  <a:lnTo>
                    <a:pt x="128" y="257"/>
                  </a:lnTo>
                  <a:lnTo>
                    <a:pt x="125" y="257"/>
                  </a:lnTo>
                  <a:lnTo>
                    <a:pt x="119" y="255"/>
                  </a:lnTo>
                  <a:lnTo>
                    <a:pt x="115" y="255"/>
                  </a:lnTo>
                  <a:lnTo>
                    <a:pt x="111" y="255"/>
                  </a:lnTo>
                  <a:lnTo>
                    <a:pt x="105" y="255"/>
                  </a:lnTo>
                  <a:lnTo>
                    <a:pt x="102" y="255"/>
                  </a:lnTo>
                  <a:lnTo>
                    <a:pt x="100" y="255"/>
                  </a:lnTo>
                  <a:lnTo>
                    <a:pt x="96" y="257"/>
                  </a:lnTo>
                  <a:lnTo>
                    <a:pt x="92" y="259"/>
                  </a:lnTo>
                  <a:lnTo>
                    <a:pt x="88" y="263"/>
                  </a:lnTo>
                  <a:lnTo>
                    <a:pt x="86" y="267"/>
                  </a:lnTo>
                  <a:lnTo>
                    <a:pt x="82" y="268"/>
                  </a:lnTo>
                  <a:lnTo>
                    <a:pt x="81" y="272"/>
                  </a:lnTo>
                  <a:lnTo>
                    <a:pt x="79" y="274"/>
                  </a:lnTo>
                  <a:lnTo>
                    <a:pt x="77" y="276"/>
                  </a:lnTo>
                  <a:lnTo>
                    <a:pt x="73" y="278"/>
                  </a:lnTo>
                  <a:lnTo>
                    <a:pt x="71" y="280"/>
                  </a:lnTo>
                  <a:lnTo>
                    <a:pt x="63" y="282"/>
                  </a:lnTo>
                  <a:lnTo>
                    <a:pt x="57" y="282"/>
                  </a:lnTo>
                  <a:lnTo>
                    <a:pt x="54" y="282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4" y="288"/>
                  </a:lnTo>
                  <a:lnTo>
                    <a:pt x="42" y="291"/>
                  </a:lnTo>
                  <a:lnTo>
                    <a:pt x="38" y="291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4" y="297"/>
                  </a:lnTo>
                  <a:lnTo>
                    <a:pt x="33" y="299"/>
                  </a:lnTo>
                  <a:lnTo>
                    <a:pt x="29" y="301"/>
                  </a:lnTo>
                  <a:lnTo>
                    <a:pt x="29" y="305"/>
                  </a:lnTo>
                  <a:lnTo>
                    <a:pt x="27" y="307"/>
                  </a:lnTo>
                  <a:lnTo>
                    <a:pt x="27" y="309"/>
                  </a:lnTo>
                  <a:lnTo>
                    <a:pt x="23" y="309"/>
                  </a:lnTo>
                  <a:lnTo>
                    <a:pt x="21" y="313"/>
                  </a:lnTo>
                  <a:lnTo>
                    <a:pt x="19" y="316"/>
                  </a:lnTo>
                  <a:lnTo>
                    <a:pt x="17" y="318"/>
                  </a:lnTo>
                  <a:lnTo>
                    <a:pt x="13" y="320"/>
                  </a:lnTo>
                  <a:lnTo>
                    <a:pt x="11" y="324"/>
                  </a:lnTo>
                  <a:lnTo>
                    <a:pt x="10" y="326"/>
                  </a:lnTo>
                  <a:lnTo>
                    <a:pt x="6" y="330"/>
                  </a:lnTo>
                  <a:lnTo>
                    <a:pt x="4" y="334"/>
                  </a:lnTo>
                  <a:lnTo>
                    <a:pt x="2" y="336"/>
                  </a:lnTo>
                  <a:lnTo>
                    <a:pt x="2" y="336"/>
                  </a:lnTo>
                  <a:lnTo>
                    <a:pt x="2" y="339"/>
                  </a:lnTo>
                  <a:lnTo>
                    <a:pt x="2" y="341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349"/>
                  </a:lnTo>
                  <a:lnTo>
                    <a:pt x="0" y="353"/>
                  </a:lnTo>
                  <a:lnTo>
                    <a:pt x="0" y="355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64"/>
                  </a:lnTo>
                  <a:lnTo>
                    <a:pt x="2" y="368"/>
                  </a:lnTo>
                  <a:lnTo>
                    <a:pt x="2" y="370"/>
                  </a:lnTo>
                  <a:lnTo>
                    <a:pt x="2" y="374"/>
                  </a:lnTo>
                  <a:lnTo>
                    <a:pt x="2" y="378"/>
                  </a:lnTo>
                  <a:lnTo>
                    <a:pt x="2" y="380"/>
                  </a:lnTo>
                  <a:lnTo>
                    <a:pt x="0" y="382"/>
                  </a:lnTo>
                  <a:lnTo>
                    <a:pt x="0" y="385"/>
                  </a:lnTo>
                  <a:lnTo>
                    <a:pt x="0" y="387"/>
                  </a:lnTo>
                  <a:lnTo>
                    <a:pt x="0" y="391"/>
                  </a:lnTo>
                  <a:lnTo>
                    <a:pt x="0" y="397"/>
                  </a:lnTo>
                  <a:lnTo>
                    <a:pt x="0" y="399"/>
                  </a:lnTo>
                  <a:lnTo>
                    <a:pt x="0" y="403"/>
                  </a:lnTo>
                  <a:lnTo>
                    <a:pt x="0" y="405"/>
                  </a:lnTo>
                  <a:lnTo>
                    <a:pt x="0" y="408"/>
                  </a:lnTo>
                  <a:lnTo>
                    <a:pt x="0" y="412"/>
                  </a:lnTo>
                  <a:lnTo>
                    <a:pt x="0" y="416"/>
                  </a:lnTo>
                  <a:lnTo>
                    <a:pt x="0" y="420"/>
                  </a:lnTo>
                  <a:lnTo>
                    <a:pt x="0" y="424"/>
                  </a:lnTo>
                  <a:lnTo>
                    <a:pt x="0" y="428"/>
                  </a:lnTo>
                  <a:lnTo>
                    <a:pt x="0" y="432"/>
                  </a:lnTo>
                  <a:lnTo>
                    <a:pt x="0" y="433"/>
                  </a:lnTo>
                  <a:lnTo>
                    <a:pt x="0" y="439"/>
                  </a:lnTo>
                  <a:lnTo>
                    <a:pt x="0" y="441"/>
                  </a:lnTo>
                  <a:lnTo>
                    <a:pt x="0" y="447"/>
                  </a:lnTo>
                  <a:lnTo>
                    <a:pt x="0" y="449"/>
                  </a:lnTo>
                  <a:lnTo>
                    <a:pt x="0" y="453"/>
                  </a:lnTo>
                  <a:lnTo>
                    <a:pt x="0" y="456"/>
                  </a:lnTo>
                  <a:lnTo>
                    <a:pt x="0" y="460"/>
                  </a:lnTo>
                  <a:lnTo>
                    <a:pt x="0" y="464"/>
                  </a:lnTo>
                  <a:lnTo>
                    <a:pt x="0" y="466"/>
                  </a:lnTo>
                  <a:lnTo>
                    <a:pt x="0" y="468"/>
                  </a:lnTo>
                  <a:lnTo>
                    <a:pt x="4" y="474"/>
                  </a:lnTo>
                  <a:lnTo>
                    <a:pt x="6" y="476"/>
                  </a:lnTo>
                  <a:lnTo>
                    <a:pt x="8" y="479"/>
                  </a:lnTo>
                  <a:lnTo>
                    <a:pt x="10" y="479"/>
                  </a:lnTo>
                  <a:lnTo>
                    <a:pt x="13" y="481"/>
                  </a:lnTo>
                  <a:lnTo>
                    <a:pt x="13" y="483"/>
                  </a:lnTo>
                  <a:lnTo>
                    <a:pt x="13" y="483"/>
                  </a:lnTo>
                  <a:lnTo>
                    <a:pt x="17" y="481"/>
                  </a:lnTo>
                  <a:lnTo>
                    <a:pt x="19" y="485"/>
                  </a:lnTo>
                  <a:lnTo>
                    <a:pt x="23" y="489"/>
                  </a:lnTo>
                  <a:lnTo>
                    <a:pt x="27" y="491"/>
                  </a:lnTo>
                  <a:lnTo>
                    <a:pt x="33" y="495"/>
                  </a:lnTo>
                  <a:lnTo>
                    <a:pt x="34" y="493"/>
                  </a:lnTo>
                  <a:lnTo>
                    <a:pt x="36" y="493"/>
                  </a:lnTo>
                  <a:lnTo>
                    <a:pt x="36" y="489"/>
                  </a:lnTo>
                  <a:lnTo>
                    <a:pt x="33" y="489"/>
                  </a:lnTo>
                  <a:lnTo>
                    <a:pt x="31" y="491"/>
                  </a:lnTo>
                  <a:lnTo>
                    <a:pt x="29" y="493"/>
                  </a:lnTo>
                  <a:lnTo>
                    <a:pt x="27" y="49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4" name="Freeform 31"/>
            <p:cNvSpPr>
              <a:spLocks/>
            </p:cNvSpPr>
            <p:nvPr/>
          </p:nvSpPr>
          <p:spPr bwMode="auto">
            <a:xfrm>
              <a:off x="2689" y="1860"/>
              <a:ext cx="71" cy="82"/>
            </a:xfrm>
            <a:custGeom>
              <a:avLst/>
              <a:gdLst/>
              <a:ahLst/>
              <a:cxnLst>
                <a:cxn ang="0">
                  <a:pos x="67" y="44"/>
                </a:cxn>
                <a:cxn ang="0">
                  <a:pos x="64" y="36"/>
                </a:cxn>
                <a:cxn ang="0">
                  <a:pos x="64" y="33"/>
                </a:cxn>
                <a:cxn ang="0">
                  <a:pos x="64" y="29"/>
                </a:cxn>
                <a:cxn ang="0">
                  <a:pos x="64" y="27"/>
                </a:cxn>
                <a:cxn ang="0">
                  <a:pos x="64" y="25"/>
                </a:cxn>
                <a:cxn ang="0">
                  <a:pos x="64" y="19"/>
                </a:cxn>
                <a:cxn ang="0">
                  <a:pos x="60" y="10"/>
                </a:cxn>
                <a:cxn ang="0">
                  <a:pos x="56" y="10"/>
                </a:cxn>
                <a:cxn ang="0">
                  <a:pos x="54" y="2"/>
                </a:cxn>
                <a:cxn ang="0">
                  <a:pos x="46" y="0"/>
                </a:cxn>
                <a:cxn ang="0">
                  <a:pos x="42" y="0"/>
                </a:cxn>
                <a:cxn ang="0">
                  <a:pos x="42" y="6"/>
                </a:cxn>
                <a:cxn ang="0">
                  <a:pos x="40" y="13"/>
                </a:cxn>
                <a:cxn ang="0">
                  <a:pos x="39" y="19"/>
                </a:cxn>
                <a:cxn ang="0">
                  <a:pos x="35" y="23"/>
                </a:cxn>
                <a:cxn ang="0">
                  <a:pos x="31" y="27"/>
                </a:cxn>
                <a:cxn ang="0">
                  <a:pos x="25" y="29"/>
                </a:cxn>
                <a:cxn ang="0">
                  <a:pos x="19" y="31"/>
                </a:cxn>
                <a:cxn ang="0">
                  <a:pos x="16" y="33"/>
                </a:cxn>
                <a:cxn ang="0">
                  <a:pos x="10" y="34"/>
                </a:cxn>
                <a:cxn ang="0">
                  <a:pos x="4" y="38"/>
                </a:cxn>
                <a:cxn ang="0">
                  <a:pos x="2" y="42"/>
                </a:cxn>
                <a:cxn ang="0">
                  <a:pos x="0" y="46"/>
                </a:cxn>
                <a:cxn ang="0">
                  <a:pos x="0" y="50"/>
                </a:cxn>
                <a:cxn ang="0">
                  <a:pos x="0" y="54"/>
                </a:cxn>
                <a:cxn ang="0">
                  <a:pos x="0" y="59"/>
                </a:cxn>
                <a:cxn ang="0">
                  <a:pos x="2" y="65"/>
                </a:cxn>
                <a:cxn ang="0">
                  <a:pos x="6" y="71"/>
                </a:cxn>
                <a:cxn ang="0">
                  <a:pos x="10" y="75"/>
                </a:cxn>
                <a:cxn ang="0">
                  <a:pos x="14" y="77"/>
                </a:cxn>
                <a:cxn ang="0">
                  <a:pos x="19" y="81"/>
                </a:cxn>
                <a:cxn ang="0">
                  <a:pos x="23" y="82"/>
                </a:cxn>
                <a:cxn ang="0">
                  <a:pos x="27" y="82"/>
                </a:cxn>
                <a:cxn ang="0">
                  <a:pos x="27" y="82"/>
                </a:cxn>
                <a:cxn ang="0">
                  <a:pos x="33" y="82"/>
                </a:cxn>
                <a:cxn ang="0">
                  <a:pos x="39" y="81"/>
                </a:cxn>
                <a:cxn ang="0">
                  <a:pos x="44" y="81"/>
                </a:cxn>
                <a:cxn ang="0">
                  <a:pos x="48" y="77"/>
                </a:cxn>
                <a:cxn ang="0">
                  <a:pos x="52" y="71"/>
                </a:cxn>
                <a:cxn ang="0">
                  <a:pos x="54" y="65"/>
                </a:cxn>
                <a:cxn ang="0">
                  <a:pos x="54" y="61"/>
                </a:cxn>
                <a:cxn ang="0">
                  <a:pos x="56" y="57"/>
                </a:cxn>
                <a:cxn ang="0">
                  <a:pos x="60" y="54"/>
                </a:cxn>
                <a:cxn ang="0">
                  <a:pos x="64" y="50"/>
                </a:cxn>
                <a:cxn ang="0">
                  <a:pos x="65" y="48"/>
                </a:cxn>
              </a:cxnLst>
              <a:rect l="0" t="0" r="r" b="b"/>
              <a:pathLst>
                <a:path w="71" h="82">
                  <a:moveTo>
                    <a:pt x="71" y="46"/>
                  </a:moveTo>
                  <a:lnTo>
                    <a:pt x="67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3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2" y="15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4" y="6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2" y="11"/>
                  </a:lnTo>
                  <a:lnTo>
                    <a:pt x="40" y="13"/>
                  </a:lnTo>
                  <a:lnTo>
                    <a:pt x="40" y="17"/>
                  </a:lnTo>
                  <a:lnTo>
                    <a:pt x="39" y="19"/>
                  </a:lnTo>
                  <a:lnTo>
                    <a:pt x="37" y="21"/>
                  </a:lnTo>
                  <a:lnTo>
                    <a:pt x="35" y="23"/>
                  </a:lnTo>
                  <a:lnTo>
                    <a:pt x="33" y="25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5" y="29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0" y="34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2" y="61"/>
                  </a:lnTo>
                  <a:lnTo>
                    <a:pt x="2" y="65"/>
                  </a:lnTo>
                  <a:lnTo>
                    <a:pt x="4" y="69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10" y="75"/>
                  </a:lnTo>
                  <a:lnTo>
                    <a:pt x="10" y="77"/>
                  </a:lnTo>
                  <a:lnTo>
                    <a:pt x="14" y="77"/>
                  </a:lnTo>
                  <a:lnTo>
                    <a:pt x="16" y="81"/>
                  </a:lnTo>
                  <a:lnTo>
                    <a:pt x="19" y="81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33" y="82"/>
                  </a:lnTo>
                  <a:lnTo>
                    <a:pt x="37" y="82"/>
                  </a:lnTo>
                  <a:lnTo>
                    <a:pt x="39" y="81"/>
                  </a:lnTo>
                  <a:lnTo>
                    <a:pt x="40" y="81"/>
                  </a:lnTo>
                  <a:lnTo>
                    <a:pt x="44" y="81"/>
                  </a:lnTo>
                  <a:lnTo>
                    <a:pt x="46" y="81"/>
                  </a:lnTo>
                  <a:lnTo>
                    <a:pt x="48" y="77"/>
                  </a:lnTo>
                  <a:lnTo>
                    <a:pt x="50" y="75"/>
                  </a:lnTo>
                  <a:lnTo>
                    <a:pt x="52" y="71"/>
                  </a:lnTo>
                  <a:lnTo>
                    <a:pt x="54" y="69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1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62" y="52"/>
                  </a:lnTo>
                  <a:lnTo>
                    <a:pt x="64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71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5" name="Freeform 32"/>
            <p:cNvSpPr>
              <a:spLocks/>
            </p:cNvSpPr>
            <p:nvPr/>
          </p:nvSpPr>
          <p:spPr bwMode="auto">
            <a:xfrm>
              <a:off x="2689" y="1860"/>
              <a:ext cx="71" cy="82"/>
            </a:xfrm>
            <a:custGeom>
              <a:avLst/>
              <a:gdLst/>
              <a:ahLst/>
              <a:cxnLst>
                <a:cxn ang="0">
                  <a:pos x="67" y="44"/>
                </a:cxn>
                <a:cxn ang="0">
                  <a:pos x="64" y="36"/>
                </a:cxn>
                <a:cxn ang="0">
                  <a:pos x="64" y="33"/>
                </a:cxn>
                <a:cxn ang="0">
                  <a:pos x="64" y="29"/>
                </a:cxn>
                <a:cxn ang="0">
                  <a:pos x="64" y="27"/>
                </a:cxn>
                <a:cxn ang="0">
                  <a:pos x="64" y="25"/>
                </a:cxn>
                <a:cxn ang="0">
                  <a:pos x="64" y="19"/>
                </a:cxn>
                <a:cxn ang="0">
                  <a:pos x="60" y="10"/>
                </a:cxn>
                <a:cxn ang="0">
                  <a:pos x="56" y="10"/>
                </a:cxn>
                <a:cxn ang="0">
                  <a:pos x="54" y="2"/>
                </a:cxn>
                <a:cxn ang="0">
                  <a:pos x="46" y="0"/>
                </a:cxn>
                <a:cxn ang="0">
                  <a:pos x="42" y="0"/>
                </a:cxn>
                <a:cxn ang="0">
                  <a:pos x="42" y="6"/>
                </a:cxn>
                <a:cxn ang="0">
                  <a:pos x="40" y="13"/>
                </a:cxn>
                <a:cxn ang="0">
                  <a:pos x="39" y="19"/>
                </a:cxn>
                <a:cxn ang="0">
                  <a:pos x="35" y="23"/>
                </a:cxn>
                <a:cxn ang="0">
                  <a:pos x="31" y="27"/>
                </a:cxn>
                <a:cxn ang="0">
                  <a:pos x="25" y="29"/>
                </a:cxn>
                <a:cxn ang="0">
                  <a:pos x="19" y="31"/>
                </a:cxn>
                <a:cxn ang="0">
                  <a:pos x="16" y="33"/>
                </a:cxn>
                <a:cxn ang="0">
                  <a:pos x="10" y="34"/>
                </a:cxn>
                <a:cxn ang="0">
                  <a:pos x="4" y="38"/>
                </a:cxn>
                <a:cxn ang="0">
                  <a:pos x="2" y="42"/>
                </a:cxn>
                <a:cxn ang="0">
                  <a:pos x="0" y="46"/>
                </a:cxn>
                <a:cxn ang="0">
                  <a:pos x="0" y="50"/>
                </a:cxn>
                <a:cxn ang="0">
                  <a:pos x="0" y="54"/>
                </a:cxn>
                <a:cxn ang="0">
                  <a:pos x="0" y="59"/>
                </a:cxn>
                <a:cxn ang="0">
                  <a:pos x="2" y="65"/>
                </a:cxn>
                <a:cxn ang="0">
                  <a:pos x="6" y="71"/>
                </a:cxn>
                <a:cxn ang="0">
                  <a:pos x="10" y="75"/>
                </a:cxn>
                <a:cxn ang="0">
                  <a:pos x="14" y="77"/>
                </a:cxn>
                <a:cxn ang="0">
                  <a:pos x="19" y="81"/>
                </a:cxn>
                <a:cxn ang="0">
                  <a:pos x="23" y="82"/>
                </a:cxn>
                <a:cxn ang="0">
                  <a:pos x="27" y="82"/>
                </a:cxn>
                <a:cxn ang="0">
                  <a:pos x="27" y="82"/>
                </a:cxn>
                <a:cxn ang="0">
                  <a:pos x="33" y="82"/>
                </a:cxn>
                <a:cxn ang="0">
                  <a:pos x="39" y="81"/>
                </a:cxn>
                <a:cxn ang="0">
                  <a:pos x="44" y="81"/>
                </a:cxn>
                <a:cxn ang="0">
                  <a:pos x="48" y="77"/>
                </a:cxn>
                <a:cxn ang="0">
                  <a:pos x="52" y="71"/>
                </a:cxn>
                <a:cxn ang="0">
                  <a:pos x="54" y="65"/>
                </a:cxn>
                <a:cxn ang="0">
                  <a:pos x="54" y="61"/>
                </a:cxn>
                <a:cxn ang="0">
                  <a:pos x="56" y="57"/>
                </a:cxn>
                <a:cxn ang="0">
                  <a:pos x="60" y="54"/>
                </a:cxn>
                <a:cxn ang="0">
                  <a:pos x="64" y="50"/>
                </a:cxn>
                <a:cxn ang="0">
                  <a:pos x="65" y="48"/>
                </a:cxn>
              </a:cxnLst>
              <a:rect l="0" t="0" r="r" b="b"/>
              <a:pathLst>
                <a:path w="71" h="82">
                  <a:moveTo>
                    <a:pt x="71" y="46"/>
                  </a:moveTo>
                  <a:lnTo>
                    <a:pt x="67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4"/>
                  </a:lnTo>
                  <a:lnTo>
                    <a:pt x="64" y="33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2" y="15"/>
                  </a:lnTo>
                  <a:lnTo>
                    <a:pt x="60" y="10"/>
                  </a:lnTo>
                  <a:lnTo>
                    <a:pt x="58" y="10"/>
                  </a:lnTo>
                  <a:lnTo>
                    <a:pt x="56" y="10"/>
                  </a:lnTo>
                  <a:lnTo>
                    <a:pt x="54" y="6"/>
                  </a:lnTo>
                  <a:lnTo>
                    <a:pt x="54" y="2"/>
                  </a:lnTo>
                  <a:lnTo>
                    <a:pt x="50" y="2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42" y="11"/>
                  </a:lnTo>
                  <a:lnTo>
                    <a:pt x="40" y="13"/>
                  </a:lnTo>
                  <a:lnTo>
                    <a:pt x="40" y="17"/>
                  </a:lnTo>
                  <a:lnTo>
                    <a:pt x="39" y="19"/>
                  </a:lnTo>
                  <a:lnTo>
                    <a:pt x="37" y="21"/>
                  </a:lnTo>
                  <a:lnTo>
                    <a:pt x="35" y="23"/>
                  </a:lnTo>
                  <a:lnTo>
                    <a:pt x="33" y="25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5" y="29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0" y="34"/>
                  </a:lnTo>
                  <a:lnTo>
                    <a:pt x="8" y="36"/>
                  </a:lnTo>
                  <a:lnTo>
                    <a:pt x="4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2" y="61"/>
                  </a:lnTo>
                  <a:lnTo>
                    <a:pt x="2" y="65"/>
                  </a:lnTo>
                  <a:lnTo>
                    <a:pt x="4" y="69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10" y="75"/>
                  </a:lnTo>
                  <a:lnTo>
                    <a:pt x="10" y="77"/>
                  </a:lnTo>
                  <a:lnTo>
                    <a:pt x="14" y="77"/>
                  </a:lnTo>
                  <a:lnTo>
                    <a:pt x="16" y="81"/>
                  </a:lnTo>
                  <a:lnTo>
                    <a:pt x="19" y="81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33" y="82"/>
                  </a:lnTo>
                  <a:lnTo>
                    <a:pt x="37" y="82"/>
                  </a:lnTo>
                  <a:lnTo>
                    <a:pt x="39" y="81"/>
                  </a:lnTo>
                  <a:lnTo>
                    <a:pt x="40" y="81"/>
                  </a:lnTo>
                  <a:lnTo>
                    <a:pt x="44" y="81"/>
                  </a:lnTo>
                  <a:lnTo>
                    <a:pt x="46" y="81"/>
                  </a:lnTo>
                  <a:lnTo>
                    <a:pt x="48" y="77"/>
                  </a:lnTo>
                  <a:lnTo>
                    <a:pt x="50" y="75"/>
                  </a:lnTo>
                  <a:lnTo>
                    <a:pt x="52" y="71"/>
                  </a:lnTo>
                  <a:lnTo>
                    <a:pt x="54" y="69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1"/>
                  </a:lnTo>
                  <a:lnTo>
                    <a:pt x="56" y="59"/>
                  </a:lnTo>
                  <a:lnTo>
                    <a:pt x="56" y="57"/>
                  </a:lnTo>
                  <a:lnTo>
                    <a:pt x="60" y="56"/>
                  </a:lnTo>
                  <a:lnTo>
                    <a:pt x="60" y="54"/>
                  </a:lnTo>
                  <a:lnTo>
                    <a:pt x="62" y="52"/>
                  </a:lnTo>
                  <a:lnTo>
                    <a:pt x="64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71" y="46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6" name="Freeform 33"/>
            <p:cNvSpPr>
              <a:spLocks/>
            </p:cNvSpPr>
            <p:nvPr/>
          </p:nvSpPr>
          <p:spPr bwMode="auto">
            <a:xfrm>
              <a:off x="2497" y="1662"/>
              <a:ext cx="236" cy="227"/>
            </a:xfrm>
            <a:custGeom>
              <a:avLst/>
              <a:gdLst/>
              <a:ahLst/>
              <a:cxnLst>
                <a:cxn ang="0">
                  <a:pos x="58" y="14"/>
                </a:cxn>
                <a:cxn ang="0">
                  <a:pos x="46" y="21"/>
                </a:cxn>
                <a:cxn ang="0">
                  <a:pos x="27" y="37"/>
                </a:cxn>
                <a:cxn ang="0">
                  <a:pos x="14" y="44"/>
                </a:cxn>
                <a:cxn ang="0">
                  <a:pos x="8" y="50"/>
                </a:cxn>
                <a:cxn ang="0">
                  <a:pos x="0" y="67"/>
                </a:cxn>
                <a:cxn ang="0">
                  <a:pos x="2" y="87"/>
                </a:cxn>
                <a:cxn ang="0">
                  <a:pos x="4" y="108"/>
                </a:cxn>
                <a:cxn ang="0">
                  <a:pos x="4" y="131"/>
                </a:cxn>
                <a:cxn ang="0">
                  <a:pos x="2" y="148"/>
                </a:cxn>
                <a:cxn ang="0">
                  <a:pos x="12" y="160"/>
                </a:cxn>
                <a:cxn ang="0">
                  <a:pos x="27" y="160"/>
                </a:cxn>
                <a:cxn ang="0">
                  <a:pos x="43" y="163"/>
                </a:cxn>
                <a:cxn ang="0">
                  <a:pos x="58" y="169"/>
                </a:cxn>
                <a:cxn ang="0">
                  <a:pos x="67" y="154"/>
                </a:cxn>
                <a:cxn ang="0">
                  <a:pos x="77" y="144"/>
                </a:cxn>
                <a:cxn ang="0">
                  <a:pos x="94" y="142"/>
                </a:cxn>
                <a:cxn ang="0">
                  <a:pos x="110" y="152"/>
                </a:cxn>
                <a:cxn ang="0">
                  <a:pos x="123" y="158"/>
                </a:cxn>
                <a:cxn ang="0">
                  <a:pos x="144" y="160"/>
                </a:cxn>
                <a:cxn ang="0">
                  <a:pos x="152" y="163"/>
                </a:cxn>
                <a:cxn ang="0">
                  <a:pos x="163" y="165"/>
                </a:cxn>
                <a:cxn ang="0">
                  <a:pos x="175" y="173"/>
                </a:cxn>
                <a:cxn ang="0">
                  <a:pos x="181" y="184"/>
                </a:cxn>
                <a:cxn ang="0">
                  <a:pos x="185" y="198"/>
                </a:cxn>
                <a:cxn ang="0">
                  <a:pos x="192" y="208"/>
                </a:cxn>
                <a:cxn ang="0">
                  <a:pos x="204" y="219"/>
                </a:cxn>
                <a:cxn ang="0">
                  <a:pos x="213" y="227"/>
                </a:cxn>
                <a:cxn ang="0">
                  <a:pos x="223" y="225"/>
                </a:cxn>
                <a:cxn ang="0">
                  <a:pos x="232" y="215"/>
                </a:cxn>
                <a:cxn ang="0">
                  <a:pos x="234" y="200"/>
                </a:cxn>
                <a:cxn ang="0">
                  <a:pos x="234" y="190"/>
                </a:cxn>
                <a:cxn ang="0">
                  <a:pos x="227" y="183"/>
                </a:cxn>
                <a:cxn ang="0">
                  <a:pos x="219" y="173"/>
                </a:cxn>
                <a:cxn ang="0">
                  <a:pos x="211" y="169"/>
                </a:cxn>
                <a:cxn ang="0">
                  <a:pos x="204" y="158"/>
                </a:cxn>
                <a:cxn ang="0">
                  <a:pos x="194" y="150"/>
                </a:cxn>
                <a:cxn ang="0">
                  <a:pos x="185" y="144"/>
                </a:cxn>
                <a:cxn ang="0">
                  <a:pos x="169" y="133"/>
                </a:cxn>
                <a:cxn ang="0">
                  <a:pos x="156" y="123"/>
                </a:cxn>
                <a:cxn ang="0">
                  <a:pos x="140" y="112"/>
                </a:cxn>
                <a:cxn ang="0">
                  <a:pos x="131" y="106"/>
                </a:cxn>
                <a:cxn ang="0">
                  <a:pos x="117" y="98"/>
                </a:cxn>
                <a:cxn ang="0">
                  <a:pos x="106" y="87"/>
                </a:cxn>
                <a:cxn ang="0">
                  <a:pos x="100" y="71"/>
                </a:cxn>
                <a:cxn ang="0">
                  <a:pos x="96" y="56"/>
                </a:cxn>
                <a:cxn ang="0">
                  <a:pos x="89" y="41"/>
                </a:cxn>
                <a:cxn ang="0">
                  <a:pos x="77" y="31"/>
                </a:cxn>
                <a:cxn ang="0">
                  <a:pos x="73" y="21"/>
                </a:cxn>
                <a:cxn ang="0">
                  <a:pos x="71" y="4"/>
                </a:cxn>
              </a:cxnLst>
              <a:rect l="0" t="0" r="r" b="b"/>
              <a:pathLst>
                <a:path w="236" h="227">
                  <a:moveTo>
                    <a:pt x="69" y="2"/>
                  </a:moveTo>
                  <a:lnTo>
                    <a:pt x="66" y="4"/>
                  </a:lnTo>
                  <a:lnTo>
                    <a:pt x="60" y="8"/>
                  </a:lnTo>
                  <a:lnTo>
                    <a:pt x="58" y="14"/>
                  </a:lnTo>
                  <a:lnTo>
                    <a:pt x="56" y="14"/>
                  </a:lnTo>
                  <a:lnTo>
                    <a:pt x="52" y="14"/>
                  </a:lnTo>
                  <a:lnTo>
                    <a:pt x="50" y="18"/>
                  </a:lnTo>
                  <a:lnTo>
                    <a:pt x="46" y="21"/>
                  </a:lnTo>
                  <a:lnTo>
                    <a:pt x="41" y="25"/>
                  </a:lnTo>
                  <a:lnTo>
                    <a:pt x="37" y="29"/>
                  </a:lnTo>
                  <a:lnTo>
                    <a:pt x="35" y="31"/>
                  </a:lnTo>
                  <a:lnTo>
                    <a:pt x="27" y="37"/>
                  </a:lnTo>
                  <a:lnTo>
                    <a:pt x="21" y="39"/>
                  </a:lnTo>
                  <a:lnTo>
                    <a:pt x="20" y="41"/>
                  </a:lnTo>
                  <a:lnTo>
                    <a:pt x="16" y="41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0" y="48"/>
                  </a:lnTo>
                  <a:lnTo>
                    <a:pt x="8" y="50"/>
                  </a:lnTo>
                  <a:lnTo>
                    <a:pt x="6" y="56"/>
                  </a:lnTo>
                  <a:lnTo>
                    <a:pt x="2" y="62"/>
                  </a:lnTo>
                  <a:lnTo>
                    <a:pt x="2" y="66"/>
                  </a:lnTo>
                  <a:lnTo>
                    <a:pt x="0" y="67"/>
                  </a:lnTo>
                  <a:lnTo>
                    <a:pt x="2" y="71"/>
                  </a:lnTo>
                  <a:lnTo>
                    <a:pt x="2" y="77"/>
                  </a:lnTo>
                  <a:lnTo>
                    <a:pt x="2" y="83"/>
                  </a:lnTo>
                  <a:lnTo>
                    <a:pt x="2" y="87"/>
                  </a:lnTo>
                  <a:lnTo>
                    <a:pt x="2" y="92"/>
                  </a:lnTo>
                  <a:lnTo>
                    <a:pt x="4" y="98"/>
                  </a:lnTo>
                  <a:lnTo>
                    <a:pt x="4" y="102"/>
                  </a:lnTo>
                  <a:lnTo>
                    <a:pt x="4" y="108"/>
                  </a:lnTo>
                  <a:lnTo>
                    <a:pt x="4" y="110"/>
                  </a:lnTo>
                  <a:lnTo>
                    <a:pt x="4" y="115"/>
                  </a:lnTo>
                  <a:lnTo>
                    <a:pt x="4" y="123"/>
                  </a:lnTo>
                  <a:lnTo>
                    <a:pt x="4" y="131"/>
                  </a:lnTo>
                  <a:lnTo>
                    <a:pt x="2" y="137"/>
                  </a:lnTo>
                  <a:lnTo>
                    <a:pt x="2" y="140"/>
                  </a:lnTo>
                  <a:lnTo>
                    <a:pt x="2" y="144"/>
                  </a:lnTo>
                  <a:lnTo>
                    <a:pt x="2" y="148"/>
                  </a:lnTo>
                  <a:lnTo>
                    <a:pt x="2" y="154"/>
                  </a:lnTo>
                  <a:lnTo>
                    <a:pt x="2" y="156"/>
                  </a:lnTo>
                  <a:lnTo>
                    <a:pt x="2" y="160"/>
                  </a:lnTo>
                  <a:lnTo>
                    <a:pt x="12" y="160"/>
                  </a:lnTo>
                  <a:lnTo>
                    <a:pt x="16" y="158"/>
                  </a:lnTo>
                  <a:lnTo>
                    <a:pt x="18" y="158"/>
                  </a:lnTo>
                  <a:lnTo>
                    <a:pt x="21" y="158"/>
                  </a:lnTo>
                  <a:lnTo>
                    <a:pt x="27" y="160"/>
                  </a:lnTo>
                  <a:lnTo>
                    <a:pt x="31" y="161"/>
                  </a:lnTo>
                  <a:lnTo>
                    <a:pt x="35" y="161"/>
                  </a:lnTo>
                  <a:lnTo>
                    <a:pt x="39" y="163"/>
                  </a:lnTo>
                  <a:lnTo>
                    <a:pt x="43" y="163"/>
                  </a:lnTo>
                  <a:lnTo>
                    <a:pt x="46" y="163"/>
                  </a:lnTo>
                  <a:lnTo>
                    <a:pt x="52" y="167"/>
                  </a:lnTo>
                  <a:lnTo>
                    <a:pt x="54" y="169"/>
                  </a:lnTo>
                  <a:lnTo>
                    <a:pt x="58" y="169"/>
                  </a:lnTo>
                  <a:lnTo>
                    <a:pt x="60" y="173"/>
                  </a:lnTo>
                  <a:lnTo>
                    <a:pt x="62" y="165"/>
                  </a:lnTo>
                  <a:lnTo>
                    <a:pt x="66" y="158"/>
                  </a:lnTo>
                  <a:lnTo>
                    <a:pt x="67" y="154"/>
                  </a:lnTo>
                  <a:lnTo>
                    <a:pt x="69" y="150"/>
                  </a:lnTo>
                  <a:lnTo>
                    <a:pt x="71" y="146"/>
                  </a:lnTo>
                  <a:lnTo>
                    <a:pt x="75" y="146"/>
                  </a:lnTo>
                  <a:lnTo>
                    <a:pt x="77" y="144"/>
                  </a:lnTo>
                  <a:lnTo>
                    <a:pt x="79" y="142"/>
                  </a:lnTo>
                  <a:lnTo>
                    <a:pt x="83" y="142"/>
                  </a:lnTo>
                  <a:lnTo>
                    <a:pt x="90" y="142"/>
                  </a:lnTo>
                  <a:lnTo>
                    <a:pt x="94" y="142"/>
                  </a:lnTo>
                  <a:lnTo>
                    <a:pt x="96" y="144"/>
                  </a:lnTo>
                  <a:lnTo>
                    <a:pt x="100" y="146"/>
                  </a:lnTo>
                  <a:lnTo>
                    <a:pt x="104" y="146"/>
                  </a:lnTo>
                  <a:lnTo>
                    <a:pt x="110" y="152"/>
                  </a:lnTo>
                  <a:lnTo>
                    <a:pt x="112" y="152"/>
                  </a:lnTo>
                  <a:lnTo>
                    <a:pt x="115" y="154"/>
                  </a:lnTo>
                  <a:lnTo>
                    <a:pt x="119" y="156"/>
                  </a:lnTo>
                  <a:lnTo>
                    <a:pt x="123" y="158"/>
                  </a:lnTo>
                  <a:lnTo>
                    <a:pt x="131" y="158"/>
                  </a:lnTo>
                  <a:lnTo>
                    <a:pt x="137" y="160"/>
                  </a:lnTo>
                  <a:lnTo>
                    <a:pt x="140" y="160"/>
                  </a:lnTo>
                  <a:lnTo>
                    <a:pt x="144" y="160"/>
                  </a:lnTo>
                  <a:lnTo>
                    <a:pt x="146" y="160"/>
                  </a:lnTo>
                  <a:lnTo>
                    <a:pt x="148" y="160"/>
                  </a:lnTo>
                  <a:lnTo>
                    <a:pt x="150" y="160"/>
                  </a:lnTo>
                  <a:lnTo>
                    <a:pt x="152" y="163"/>
                  </a:lnTo>
                  <a:lnTo>
                    <a:pt x="158" y="163"/>
                  </a:lnTo>
                  <a:lnTo>
                    <a:pt x="160" y="163"/>
                  </a:lnTo>
                  <a:lnTo>
                    <a:pt x="161" y="163"/>
                  </a:lnTo>
                  <a:lnTo>
                    <a:pt x="163" y="165"/>
                  </a:lnTo>
                  <a:lnTo>
                    <a:pt x="163" y="165"/>
                  </a:lnTo>
                  <a:lnTo>
                    <a:pt x="167" y="165"/>
                  </a:lnTo>
                  <a:lnTo>
                    <a:pt x="171" y="169"/>
                  </a:lnTo>
                  <a:lnTo>
                    <a:pt x="175" y="173"/>
                  </a:lnTo>
                  <a:lnTo>
                    <a:pt x="175" y="177"/>
                  </a:lnTo>
                  <a:lnTo>
                    <a:pt x="179" y="179"/>
                  </a:lnTo>
                  <a:lnTo>
                    <a:pt x="179" y="183"/>
                  </a:lnTo>
                  <a:lnTo>
                    <a:pt x="181" y="184"/>
                  </a:lnTo>
                  <a:lnTo>
                    <a:pt x="183" y="186"/>
                  </a:lnTo>
                  <a:lnTo>
                    <a:pt x="185" y="190"/>
                  </a:lnTo>
                  <a:lnTo>
                    <a:pt x="185" y="194"/>
                  </a:lnTo>
                  <a:lnTo>
                    <a:pt x="185" y="198"/>
                  </a:lnTo>
                  <a:lnTo>
                    <a:pt x="186" y="200"/>
                  </a:lnTo>
                  <a:lnTo>
                    <a:pt x="188" y="204"/>
                  </a:lnTo>
                  <a:lnTo>
                    <a:pt x="190" y="208"/>
                  </a:lnTo>
                  <a:lnTo>
                    <a:pt x="192" y="208"/>
                  </a:lnTo>
                  <a:lnTo>
                    <a:pt x="194" y="211"/>
                  </a:lnTo>
                  <a:lnTo>
                    <a:pt x="198" y="215"/>
                  </a:lnTo>
                  <a:lnTo>
                    <a:pt x="200" y="217"/>
                  </a:lnTo>
                  <a:lnTo>
                    <a:pt x="204" y="219"/>
                  </a:lnTo>
                  <a:lnTo>
                    <a:pt x="208" y="221"/>
                  </a:lnTo>
                  <a:lnTo>
                    <a:pt x="211" y="223"/>
                  </a:lnTo>
                  <a:lnTo>
                    <a:pt x="211" y="227"/>
                  </a:lnTo>
                  <a:lnTo>
                    <a:pt x="213" y="227"/>
                  </a:lnTo>
                  <a:lnTo>
                    <a:pt x="217" y="227"/>
                  </a:lnTo>
                  <a:lnTo>
                    <a:pt x="219" y="227"/>
                  </a:lnTo>
                  <a:lnTo>
                    <a:pt x="221" y="227"/>
                  </a:lnTo>
                  <a:lnTo>
                    <a:pt x="223" y="225"/>
                  </a:lnTo>
                  <a:lnTo>
                    <a:pt x="225" y="223"/>
                  </a:lnTo>
                  <a:lnTo>
                    <a:pt x="229" y="219"/>
                  </a:lnTo>
                  <a:lnTo>
                    <a:pt x="231" y="217"/>
                  </a:lnTo>
                  <a:lnTo>
                    <a:pt x="232" y="215"/>
                  </a:lnTo>
                  <a:lnTo>
                    <a:pt x="232" y="209"/>
                  </a:lnTo>
                  <a:lnTo>
                    <a:pt x="232" y="206"/>
                  </a:lnTo>
                  <a:lnTo>
                    <a:pt x="232" y="202"/>
                  </a:lnTo>
                  <a:lnTo>
                    <a:pt x="234" y="200"/>
                  </a:lnTo>
                  <a:lnTo>
                    <a:pt x="234" y="198"/>
                  </a:lnTo>
                  <a:lnTo>
                    <a:pt x="234" y="194"/>
                  </a:lnTo>
                  <a:lnTo>
                    <a:pt x="236" y="192"/>
                  </a:lnTo>
                  <a:lnTo>
                    <a:pt x="234" y="190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29" y="184"/>
                  </a:lnTo>
                  <a:lnTo>
                    <a:pt x="227" y="183"/>
                  </a:lnTo>
                  <a:lnTo>
                    <a:pt x="223" y="181"/>
                  </a:lnTo>
                  <a:lnTo>
                    <a:pt x="221" y="177"/>
                  </a:lnTo>
                  <a:lnTo>
                    <a:pt x="219" y="175"/>
                  </a:lnTo>
                  <a:lnTo>
                    <a:pt x="219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11" y="165"/>
                  </a:lnTo>
                  <a:lnTo>
                    <a:pt x="209" y="163"/>
                  </a:lnTo>
                  <a:lnTo>
                    <a:pt x="206" y="161"/>
                  </a:lnTo>
                  <a:lnTo>
                    <a:pt x="204" y="158"/>
                  </a:lnTo>
                  <a:lnTo>
                    <a:pt x="202" y="156"/>
                  </a:lnTo>
                  <a:lnTo>
                    <a:pt x="200" y="154"/>
                  </a:lnTo>
                  <a:lnTo>
                    <a:pt x="196" y="152"/>
                  </a:lnTo>
                  <a:lnTo>
                    <a:pt x="194" y="150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5" y="146"/>
                  </a:lnTo>
                  <a:lnTo>
                    <a:pt x="185" y="144"/>
                  </a:lnTo>
                  <a:lnTo>
                    <a:pt x="181" y="140"/>
                  </a:lnTo>
                  <a:lnTo>
                    <a:pt x="177" y="138"/>
                  </a:lnTo>
                  <a:lnTo>
                    <a:pt x="173" y="137"/>
                  </a:lnTo>
                  <a:lnTo>
                    <a:pt x="169" y="133"/>
                  </a:lnTo>
                  <a:lnTo>
                    <a:pt x="165" y="131"/>
                  </a:lnTo>
                  <a:lnTo>
                    <a:pt x="163" y="129"/>
                  </a:lnTo>
                  <a:lnTo>
                    <a:pt x="158" y="127"/>
                  </a:lnTo>
                  <a:lnTo>
                    <a:pt x="156" y="123"/>
                  </a:lnTo>
                  <a:lnTo>
                    <a:pt x="154" y="121"/>
                  </a:lnTo>
                  <a:lnTo>
                    <a:pt x="150" y="119"/>
                  </a:lnTo>
                  <a:lnTo>
                    <a:pt x="144" y="115"/>
                  </a:lnTo>
                  <a:lnTo>
                    <a:pt x="140" y="112"/>
                  </a:lnTo>
                  <a:lnTo>
                    <a:pt x="138" y="110"/>
                  </a:lnTo>
                  <a:lnTo>
                    <a:pt x="135" y="108"/>
                  </a:lnTo>
                  <a:lnTo>
                    <a:pt x="133" y="106"/>
                  </a:lnTo>
                  <a:lnTo>
                    <a:pt x="131" y="106"/>
                  </a:lnTo>
                  <a:lnTo>
                    <a:pt x="129" y="104"/>
                  </a:lnTo>
                  <a:lnTo>
                    <a:pt x="125" y="102"/>
                  </a:lnTo>
                  <a:lnTo>
                    <a:pt x="121" y="100"/>
                  </a:lnTo>
                  <a:lnTo>
                    <a:pt x="117" y="98"/>
                  </a:lnTo>
                  <a:lnTo>
                    <a:pt x="115" y="94"/>
                  </a:lnTo>
                  <a:lnTo>
                    <a:pt x="112" y="92"/>
                  </a:lnTo>
                  <a:lnTo>
                    <a:pt x="110" y="89"/>
                  </a:lnTo>
                  <a:lnTo>
                    <a:pt x="106" y="87"/>
                  </a:lnTo>
                  <a:lnTo>
                    <a:pt x="104" y="83"/>
                  </a:lnTo>
                  <a:lnTo>
                    <a:pt x="102" y="77"/>
                  </a:lnTo>
                  <a:lnTo>
                    <a:pt x="100" y="73"/>
                  </a:lnTo>
                  <a:lnTo>
                    <a:pt x="100" y="71"/>
                  </a:lnTo>
                  <a:lnTo>
                    <a:pt x="100" y="67"/>
                  </a:lnTo>
                  <a:lnTo>
                    <a:pt x="98" y="64"/>
                  </a:lnTo>
                  <a:lnTo>
                    <a:pt x="96" y="58"/>
                  </a:lnTo>
                  <a:lnTo>
                    <a:pt x="96" y="56"/>
                  </a:lnTo>
                  <a:lnTo>
                    <a:pt x="96" y="52"/>
                  </a:lnTo>
                  <a:lnTo>
                    <a:pt x="92" y="48"/>
                  </a:lnTo>
                  <a:lnTo>
                    <a:pt x="90" y="42"/>
                  </a:lnTo>
                  <a:lnTo>
                    <a:pt x="89" y="41"/>
                  </a:lnTo>
                  <a:lnTo>
                    <a:pt x="87" y="39"/>
                  </a:lnTo>
                  <a:lnTo>
                    <a:pt x="85" y="37"/>
                  </a:lnTo>
                  <a:lnTo>
                    <a:pt x="81" y="33"/>
                  </a:lnTo>
                  <a:lnTo>
                    <a:pt x="77" y="31"/>
                  </a:lnTo>
                  <a:lnTo>
                    <a:pt x="75" y="29"/>
                  </a:lnTo>
                  <a:lnTo>
                    <a:pt x="73" y="27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3" y="18"/>
                  </a:lnTo>
                  <a:lnTo>
                    <a:pt x="73" y="14"/>
                  </a:lnTo>
                  <a:lnTo>
                    <a:pt x="71" y="12"/>
                  </a:lnTo>
                  <a:lnTo>
                    <a:pt x="71" y="4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9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7" name="Freeform 34"/>
            <p:cNvSpPr>
              <a:spLocks/>
            </p:cNvSpPr>
            <p:nvPr/>
          </p:nvSpPr>
          <p:spPr bwMode="auto">
            <a:xfrm>
              <a:off x="2497" y="1662"/>
              <a:ext cx="236" cy="227"/>
            </a:xfrm>
            <a:custGeom>
              <a:avLst/>
              <a:gdLst/>
              <a:ahLst/>
              <a:cxnLst>
                <a:cxn ang="0">
                  <a:pos x="58" y="14"/>
                </a:cxn>
                <a:cxn ang="0">
                  <a:pos x="46" y="21"/>
                </a:cxn>
                <a:cxn ang="0">
                  <a:pos x="27" y="37"/>
                </a:cxn>
                <a:cxn ang="0">
                  <a:pos x="14" y="44"/>
                </a:cxn>
                <a:cxn ang="0">
                  <a:pos x="8" y="50"/>
                </a:cxn>
                <a:cxn ang="0">
                  <a:pos x="0" y="67"/>
                </a:cxn>
                <a:cxn ang="0">
                  <a:pos x="2" y="87"/>
                </a:cxn>
                <a:cxn ang="0">
                  <a:pos x="4" y="108"/>
                </a:cxn>
                <a:cxn ang="0">
                  <a:pos x="4" y="131"/>
                </a:cxn>
                <a:cxn ang="0">
                  <a:pos x="2" y="148"/>
                </a:cxn>
                <a:cxn ang="0">
                  <a:pos x="12" y="160"/>
                </a:cxn>
                <a:cxn ang="0">
                  <a:pos x="27" y="160"/>
                </a:cxn>
                <a:cxn ang="0">
                  <a:pos x="43" y="163"/>
                </a:cxn>
                <a:cxn ang="0">
                  <a:pos x="58" y="169"/>
                </a:cxn>
                <a:cxn ang="0">
                  <a:pos x="67" y="154"/>
                </a:cxn>
                <a:cxn ang="0">
                  <a:pos x="77" y="144"/>
                </a:cxn>
                <a:cxn ang="0">
                  <a:pos x="94" y="142"/>
                </a:cxn>
                <a:cxn ang="0">
                  <a:pos x="110" y="152"/>
                </a:cxn>
                <a:cxn ang="0">
                  <a:pos x="123" y="158"/>
                </a:cxn>
                <a:cxn ang="0">
                  <a:pos x="144" y="160"/>
                </a:cxn>
                <a:cxn ang="0">
                  <a:pos x="152" y="163"/>
                </a:cxn>
                <a:cxn ang="0">
                  <a:pos x="163" y="165"/>
                </a:cxn>
                <a:cxn ang="0">
                  <a:pos x="175" y="173"/>
                </a:cxn>
                <a:cxn ang="0">
                  <a:pos x="181" y="184"/>
                </a:cxn>
                <a:cxn ang="0">
                  <a:pos x="185" y="198"/>
                </a:cxn>
                <a:cxn ang="0">
                  <a:pos x="192" y="208"/>
                </a:cxn>
                <a:cxn ang="0">
                  <a:pos x="204" y="219"/>
                </a:cxn>
                <a:cxn ang="0">
                  <a:pos x="213" y="227"/>
                </a:cxn>
                <a:cxn ang="0">
                  <a:pos x="223" y="225"/>
                </a:cxn>
                <a:cxn ang="0">
                  <a:pos x="232" y="215"/>
                </a:cxn>
                <a:cxn ang="0">
                  <a:pos x="234" y="200"/>
                </a:cxn>
                <a:cxn ang="0">
                  <a:pos x="234" y="190"/>
                </a:cxn>
                <a:cxn ang="0">
                  <a:pos x="227" y="183"/>
                </a:cxn>
                <a:cxn ang="0">
                  <a:pos x="219" y="173"/>
                </a:cxn>
                <a:cxn ang="0">
                  <a:pos x="211" y="169"/>
                </a:cxn>
                <a:cxn ang="0">
                  <a:pos x="204" y="158"/>
                </a:cxn>
                <a:cxn ang="0">
                  <a:pos x="194" y="150"/>
                </a:cxn>
                <a:cxn ang="0">
                  <a:pos x="185" y="144"/>
                </a:cxn>
                <a:cxn ang="0">
                  <a:pos x="169" y="133"/>
                </a:cxn>
                <a:cxn ang="0">
                  <a:pos x="156" y="123"/>
                </a:cxn>
                <a:cxn ang="0">
                  <a:pos x="140" y="112"/>
                </a:cxn>
                <a:cxn ang="0">
                  <a:pos x="131" y="106"/>
                </a:cxn>
                <a:cxn ang="0">
                  <a:pos x="117" y="98"/>
                </a:cxn>
                <a:cxn ang="0">
                  <a:pos x="106" y="87"/>
                </a:cxn>
                <a:cxn ang="0">
                  <a:pos x="100" y="71"/>
                </a:cxn>
                <a:cxn ang="0">
                  <a:pos x="96" y="56"/>
                </a:cxn>
                <a:cxn ang="0">
                  <a:pos x="89" y="41"/>
                </a:cxn>
                <a:cxn ang="0">
                  <a:pos x="77" y="31"/>
                </a:cxn>
                <a:cxn ang="0">
                  <a:pos x="73" y="21"/>
                </a:cxn>
                <a:cxn ang="0">
                  <a:pos x="71" y="4"/>
                </a:cxn>
              </a:cxnLst>
              <a:rect l="0" t="0" r="r" b="b"/>
              <a:pathLst>
                <a:path w="236" h="227">
                  <a:moveTo>
                    <a:pt x="69" y="2"/>
                  </a:moveTo>
                  <a:lnTo>
                    <a:pt x="66" y="4"/>
                  </a:lnTo>
                  <a:lnTo>
                    <a:pt x="60" y="8"/>
                  </a:lnTo>
                  <a:lnTo>
                    <a:pt x="58" y="14"/>
                  </a:lnTo>
                  <a:lnTo>
                    <a:pt x="56" y="14"/>
                  </a:lnTo>
                  <a:lnTo>
                    <a:pt x="52" y="14"/>
                  </a:lnTo>
                  <a:lnTo>
                    <a:pt x="50" y="18"/>
                  </a:lnTo>
                  <a:lnTo>
                    <a:pt x="46" y="21"/>
                  </a:lnTo>
                  <a:lnTo>
                    <a:pt x="41" y="25"/>
                  </a:lnTo>
                  <a:lnTo>
                    <a:pt x="37" y="29"/>
                  </a:lnTo>
                  <a:lnTo>
                    <a:pt x="35" y="31"/>
                  </a:lnTo>
                  <a:lnTo>
                    <a:pt x="27" y="37"/>
                  </a:lnTo>
                  <a:lnTo>
                    <a:pt x="21" y="39"/>
                  </a:lnTo>
                  <a:lnTo>
                    <a:pt x="20" y="41"/>
                  </a:lnTo>
                  <a:lnTo>
                    <a:pt x="16" y="41"/>
                  </a:lnTo>
                  <a:lnTo>
                    <a:pt x="14" y="44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0" y="48"/>
                  </a:lnTo>
                  <a:lnTo>
                    <a:pt x="8" y="50"/>
                  </a:lnTo>
                  <a:lnTo>
                    <a:pt x="6" y="56"/>
                  </a:lnTo>
                  <a:lnTo>
                    <a:pt x="2" y="62"/>
                  </a:lnTo>
                  <a:lnTo>
                    <a:pt x="2" y="66"/>
                  </a:lnTo>
                  <a:lnTo>
                    <a:pt x="0" y="67"/>
                  </a:lnTo>
                  <a:lnTo>
                    <a:pt x="2" y="71"/>
                  </a:lnTo>
                  <a:lnTo>
                    <a:pt x="2" y="77"/>
                  </a:lnTo>
                  <a:lnTo>
                    <a:pt x="2" y="83"/>
                  </a:lnTo>
                  <a:lnTo>
                    <a:pt x="2" y="87"/>
                  </a:lnTo>
                  <a:lnTo>
                    <a:pt x="2" y="92"/>
                  </a:lnTo>
                  <a:lnTo>
                    <a:pt x="4" y="98"/>
                  </a:lnTo>
                  <a:lnTo>
                    <a:pt x="4" y="102"/>
                  </a:lnTo>
                  <a:lnTo>
                    <a:pt x="4" y="108"/>
                  </a:lnTo>
                  <a:lnTo>
                    <a:pt x="4" y="110"/>
                  </a:lnTo>
                  <a:lnTo>
                    <a:pt x="4" y="115"/>
                  </a:lnTo>
                  <a:lnTo>
                    <a:pt x="4" y="123"/>
                  </a:lnTo>
                  <a:lnTo>
                    <a:pt x="4" y="131"/>
                  </a:lnTo>
                  <a:lnTo>
                    <a:pt x="2" y="137"/>
                  </a:lnTo>
                  <a:lnTo>
                    <a:pt x="2" y="140"/>
                  </a:lnTo>
                  <a:lnTo>
                    <a:pt x="2" y="144"/>
                  </a:lnTo>
                  <a:lnTo>
                    <a:pt x="2" y="148"/>
                  </a:lnTo>
                  <a:lnTo>
                    <a:pt x="2" y="154"/>
                  </a:lnTo>
                  <a:lnTo>
                    <a:pt x="2" y="156"/>
                  </a:lnTo>
                  <a:lnTo>
                    <a:pt x="2" y="160"/>
                  </a:lnTo>
                  <a:lnTo>
                    <a:pt x="12" y="160"/>
                  </a:lnTo>
                  <a:lnTo>
                    <a:pt x="16" y="158"/>
                  </a:lnTo>
                  <a:lnTo>
                    <a:pt x="18" y="158"/>
                  </a:lnTo>
                  <a:lnTo>
                    <a:pt x="21" y="158"/>
                  </a:lnTo>
                  <a:lnTo>
                    <a:pt x="27" y="160"/>
                  </a:lnTo>
                  <a:lnTo>
                    <a:pt x="31" y="161"/>
                  </a:lnTo>
                  <a:lnTo>
                    <a:pt x="35" y="161"/>
                  </a:lnTo>
                  <a:lnTo>
                    <a:pt x="39" y="163"/>
                  </a:lnTo>
                  <a:lnTo>
                    <a:pt x="43" y="163"/>
                  </a:lnTo>
                  <a:lnTo>
                    <a:pt x="46" y="163"/>
                  </a:lnTo>
                  <a:lnTo>
                    <a:pt x="52" y="167"/>
                  </a:lnTo>
                  <a:lnTo>
                    <a:pt x="54" y="169"/>
                  </a:lnTo>
                  <a:lnTo>
                    <a:pt x="58" y="169"/>
                  </a:lnTo>
                  <a:lnTo>
                    <a:pt x="60" y="173"/>
                  </a:lnTo>
                  <a:lnTo>
                    <a:pt x="62" y="165"/>
                  </a:lnTo>
                  <a:lnTo>
                    <a:pt x="66" y="158"/>
                  </a:lnTo>
                  <a:lnTo>
                    <a:pt x="67" y="154"/>
                  </a:lnTo>
                  <a:lnTo>
                    <a:pt x="69" y="150"/>
                  </a:lnTo>
                  <a:lnTo>
                    <a:pt x="71" y="146"/>
                  </a:lnTo>
                  <a:lnTo>
                    <a:pt x="75" y="146"/>
                  </a:lnTo>
                  <a:lnTo>
                    <a:pt x="77" y="144"/>
                  </a:lnTo>
                  <a:lnTo>
                    <a:pt x="79" y="142"/>
                  </a:lnTo>
                  <a:lnTo>
                    <a:pt x="83" y="142"/>
                  </a:lnTo>
                  <a:lnTo>
                    <a:pt x="90" y="142"/>
                  </a:lnTo>
                  <a:lnTo>
                    <a:pt x="94" y="142"/>
                  </a:lnTo>
                  <a:lnTo>
                    <a:pt x="96" y="144"/>
                  </a:lnTo>
                  <a:lnTo>
                    <a:pt x="100" y="146"/>
                  </a:lnTo>
                  <a:lnTo>
                    <a:pt x="104" y="146"/>
                  </a:lnTo>
                  <a:lnTo>
                    <a:pt x="110" y="152"/>
                  </a:lnTo>
                  <a:lnTo>
                    <a:pt x="112" y="152"/>
                  </a:lnTo>
                  <a:lnTo>
                    <a:pt x="115" y="154"/>
                  </a:lnTo>
                  <a:lnTo>
                    <a:pt x="119" y="156"/>
                  </a:lnTo>
                  <a:lnTo>
                    <a:pt x="123" y="158"/>
                  </a:lnTo>
                  <a:lnTo>
                    <a:pt x="131" y="158"/>
                  </a:lnTo>
                  <a:lnTo>
                    <a:pt x="137" y="160"/>
                  </a:lnTo>
                  <a:lnTo>
                    <a:pt x="140" y="160"/>
                  </a:lnTo>
                  <a:lnTo>
                    <a:pt x="144" y="160"/>
                  </a:lnTo>
                  <a:lnTo>
                    <a:pt x="146" y="160"/>
                  </a:lnTo>
                  <a:lnTo>
                    <a:pt x="148" y="160"/>
                  </a:lnTo>
                  <a:lnTo>
                    <a:pt x="150" y="160"/>
                  </a:lnTo>
                  <a:lnTo>
                    <a:pt x="152" y="163"/>
                  </a:lnTo>
                  <a:lnTo>
                    <a:pt x="158" y="163"/>
                  </a:lnTo>
                  <a:lnTo>
                    <a:pt x="160" y="163"/>
                  </a:lnTo>
                  <a:lnTo>
                    <a:pt x="161" y="163"/>
                  </a:lnTo>
                  <a:lnTo>
                    <a:pt x="163" y="165"/>
                  </a:lnTo>
                  <a:lnTo>
                    <a:pt x="163" y="165"/>
                  </a:lnTo>
                  <a:lnTo>
                    <a:pt x="167" y="165"/>
                  </a:lnTo>
                  <a:lnTo>
                    <a:pt x="171" y="169"/>
                  </a:lnTo>
                  <a:lnTo>
                    <a:pt x="175" y="173"/>
                  </a:lnTo>
                  <a:lnTo>
                    <a:pt x="175" y="177"/>
                  </a:lnTo>
                  <a:lnTo>
                    <a:pt x="179" y="179"/>
                  </a:lnTo>
                  <a:lnTo>
                    <a:pt x="179" y="183"/>
                  </a:lnTo>
                  <a:lnTo>
                    <a:pt x="181" y="184"/>
                  </a:lnTo>
                  <a:lnTo>
                    <a:pt x="183" y="186"/>
                  </a:lnTo>
                  <a:lnTo>
                    <a:pt x="185" y="190"/>
                  </a:lnTo>
                  <a:lnTo>
                    <a:pt x="185" y="194"/>
                  </a:lnTo>
                  <a:lnTo>
                    <a:pt x="185" y="198"/>
                  </a:lnTo>
                  <a:lnTo>
                    <a:pt x="186" y="200"/>
                  </a:lnTo>
                  <a:lnTo>
                    <a:pt x="188" y="204"/>
                  </a:lnTo>
                  <a:lnTo>
                    <a:pt x="190" y="208"/>
                  </a:lnTo>
                  <a:lnTo>
                    <a:pt x="192" y="208"/>
                  </a:lnTo>
                  <a:lnTo>
                    <a:pt x="194" y="211"/>
                  </a:lnTo>
                  <a:lnTo>
                    <a:pt x="198" y="215"/>
                  </a:lnTo>
                  <a:lnTo>
                    <a:pt x="200" y="217"/>
                  </a:lnTo>
                  <a:lnTo>
                    <a:pt x="204" y="219"/>
                  </a:lnTo>
                  <a:lnTo>
                    <a:pt x="208" y="221"/>
                  </a:lnTo>
                  <a:lnTo>
                    <a:pt x="211" y="223"/>
                  </a:lnTo>
                  <a:lnTo>
                    <a:pt x="211" y="227"/>
                  </a:lnTo>
                  <a:lnTo>
                    <a:pt x="213" y="227"/>
                  </a:lnTo>
                  <a:lnTo>
                    <a:pt x="217" y="227"/>
                  </a:lnTo>
                  <a:lnTo>
                    <a:pt x="219" y="227"/>
                  </a:lnTo>
                  <a:lnTo>
                    <a:pt x="221" y="227"/>
                  </a:lnTo>
                  <a:lnTo>
                    <a:pt x="223" y="225"/>
                  </a:lnTo>
                  <a:lnTo>
                    <a:pt x="225" y="223"/>
                  </a:lnTo>
                  <a:lnTo>
                    <a:pt x="229" y="219"/>
                  </a:lnTo>
                  <a:lnTo>
                    <a:pt x="231" y="217"/>
                  </a:lnTo>
                  <a:lnTo>
                    <a:pt x="232" y="215"/>
                  </a:lnTo>
                  <a:lnTo>
                    <a:pt x="232" y="209"/>
                  </a:lnTo>
                  <a:lnTo>
                    <a:pt x="232" y="206"/>
                  </a:lnTo>
                  <a:lnTo>
                    <a:pt x="232" y="202"/>
                  </a:lnTo>
                  <a:lnTo>
                    <a:pt x="234" y="200"/>
                  </a:lnTo>
                  <a:lnTo>
                    <a:pt x="234" y="198"/>
                  </a:lnTo>
                  <a:lnTo>
                    <a:pt x="234" y="194"/>
                  </a:lnTo>
                  <a:lnTo>
                    <a:pt x="236" y="192"/>
                  </a:lnTo>
                  <a:lnTo>
                    <a:pt x="234" y="190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29" y="184"/>
                  </a:lnTo>
                  <a:lnTo>
                    <a:pt x="227" y="183"/>
                  </a:lnTo>
                  <a:lnTo>
                    <a:pt x="223" y="181"/>
                  </a:lnTo>
                  <a:lnTo>
                    <a:pt x="221" y="177"/>
                  </a:lnTo>
                  <a:lnTo>
                    <a:pt x="219" y="175"/>
                  </a:lnTo>
                  <a:lnTo>
                    <a:pt x="219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11" y="165"/>
                  </a:lnTo>
                  <a:lnTo>
                    <a:pt x="209" y="163"/>
                  </a:lnTo>
                  <a:lnTo>
                    <a:pt x="206" y="161"/>
                  </a:lnTo>
                  <a:lnTo>
                    <a:pt x="204" y="158"/>
                  </a:lnTo>
                  <a:lnTo>
                    <a:pt x="202" y="156"/>
                  </a:lnTo>
                  <a:lnTo>
                    <a:pt x="200" y="154"/>
                  </a:lnTo>
                  <a:lnTo>
                    <a:pt x="196" y="152"/>
                  </a:lnTo>
                  <a:lnTo>
                    <a:pt x="194" y="150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5" y="146"/>
                  </a:lnTo>
                  <a:lnTo>
                    <a:pt x="185" y="144"/>
                  </a:lnTo>
                  <a:lnTo>
                    <a:pt x="181" y="140"/>
                  </a:lnTo>
                  <a:lnTo>
                    <a:pt x="177" y="138"/>
                  </a:lnTo>
                  <a:lnTo>
                    <a:pt x="173" y="137"/>
                  </a:lnTo>
                  <a:lnTo>
                    <a:pt x="169" y="133"/>
                  </a:lnTo>
                  <a:lnTo>
                    <a:pt x="165" y="131"/>
                  </a:lnTo>
                  <a:lnTo>
                    <a:pt x="163" y="129"/>
                  </a:lnTo>
                  <a:lnTo>
                    <a:pt x="158" y="127"/>
                  </a:lnTo>
                  <a:lnTo>
                    <a:pt x="156" y="123"/>
                  </a:lnTo>
                  <a:lnTo>
                    <a:pt x="154" y="121"/>
                  </a:lnTo>
                  <a:lnTo>
                    <a:pt x="150" y="119"/>
                  </a:lnTo>
                  <a:lnTo>
                    <a:pt x="144" y="115"/>
                  </a:lnTo>
                  <a:lnTo>
                    <a:pt x="140" y="112"/>
                  </a:lnTo>
                  <a:lnTo>
                    <a:pt x="138" y="110"/>
                  </a:lnTo>
                  <a:lnTo>
                    <a:pt x="135" y="108"/>
                  </a:lnTo>
                  <a:lnTo>
                    <a:pt x="133" y="106"/>
                  </a:lnTo>
                  <a:lnTo>
                    <a:pt x="131" y="106"/>
                  </a:lnTo>
                  <a:lnTo>
                    <a:pt x="129" y="104"/>
                  </a:lnTo>
                  <a:lnTo>
                    <a:pt x="125" y="102"/>
                  </a:lnTo>
                  <a:lnTo>
                    <a:pt x="121" y="100"/>
                  </a:lnTo>
                  <a:lnTo>
                    <a:pt x="117" y="98"/>
                  </a:lnTo>
                  <a:lnTo>
                    <a:pt x="115" y="94"/>
                  </a:lnTo>
                  <a:lnTo>
                    <a:pt x="112" y="92"/>
                  </a:lnTo>
                  <a:lnTo>
                    <a:pt x="110" y="89"/>
                  </a:lnTo>
                  <a:lnTo>
                    <a:pt x="106" y="87"/>
                  </a:lnTo>
                  <a:lnTo>
                    <a:pt x="104" y="83"/>
                  </a:lnTo>
                  <a:lnTo>
                    <a:pt x="102" y="77"/>
                  </a:lnTo>
                  <a:lnTo>
                    <a:pt x="100" y="73"/>
                  </a:lnTo>
                  <a:lnTo>
                    <a:pt x="100" y="71"/>
                  </a:lnTo>
                  <a:lnTo>
                    <a:pt x="100" y="67"/>
                  </a:lnTo>
                  <a:lnTo>
                    <a:pt x="98" y="64"/>
                  </a:lnTo>
                  <a:lnTo>
                    <a:pt x="96" y="58"/>
                  </a:lnTo>
                  <a:lnTo>
                    <a:pt x="96" y="56"/>
                  </a:lnTo>
                  <a:lnTo>
                    <a:pt x="96" y="52"/>
                  </a:lnTo>
                  <a:lnTo>
                    <a:pt x="92" y="48"/>
                  </a:lnTo>
                  <a:lnTo>
                    <a:pt x="90" y="42"/>
                  </a:lnTo>
                  <a:lnTo>
                    <a:pt x="89" y="41"/>
                  </a:lnTo>
                  <a:lnTo>
                    <a:pt x="87" y="39"/>
                  </a:lnTo>
                  <a:lnTo>
                    <a:pt x="85" y="37"/>
                  </a:lnTo>
                  <a:lnTo>
                    <a:pt x="81" y="33"/>
                  </a:lnTo>
                  <a:lnTo>
                    <a:pt x="77" y="31"/>
                  </a:lnTo>
                  <a:lnTo>
                    <a:pt x="75" y="29"/>
                  </a:lnTo>
                  <a:lnTo>
                    <a:pt x="73" y="27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3" y="18"/>
                  </a:lnTo>
                  <a:lnTo>
                    <a:pt x="73" y="14"/>
                  </a:lnTo>
                  <a:lnTo>
                    <a:pt x="71" y="12"/>
                  </a:lnTo>
                  <a:lnTo>
                    <a:pt x="71" y="4"/>
                  </a:lnTo>
                  <a:lnTo>
                    <a:pt x="71" y="2"/>
                  </a:lnTo>
                  <a:lnTo>
                    <a:pt x="69" y="0"/>
                  </a:lnTo>
                  <a:lnTo>
                    <a:pt x="69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8" name="Freeform 35"/>
            <p:cNvSpPr>
              <a:spLocks/>
            </p:cNvSpPr>
            <p:nvPr/>
          </p:nvSpPr>
          <p:spPr bwMode="auto">
            <a:xfrm>
              <a:off x="2378" y="1804"/>
              <a:ext cx="553" cy="401"/>
            </a:xfrm>
            <a:custGeom>
              <a:avLst/>
              <a:gdLst/>
              <a:ahLst/>
              <a:cxnLst>
                <a:cxn ang="0">
                  <a:pos x="112" y="39"/>
                </a:cxn>
                <a:cxn ang="0">
                  <a:pos x="110" y="64"/>
                </a:cxn>
                <a:cxn ang="0">
                  <a:pos x="96" y="87"/>
                </a:cxn>
                <a:cxn ang="0">
                  <a:pos x="71" y="113"/>
                </a:cxn>
                <a:cxn ang="0">
                  <a:pos x="50" y="131"/>
                </a:cxn>
                <a:cxn ang="0">
                  <a:pos x="62" y="177"/>
                </a:cxn>
                <a:cxn ang="0">
                  <a:pos x="60" y="196"/>
                </a:cxn>
                <a:cxn ang="0">
                  <a:pos x="29" y="198"/>
                </a:cxn>
                <a:cxn ang="0">
                  <a:pos x="8" y="206"/>
                </a:cxn>
                <a:cxn ang="0">
                  <a:pos x="0" y="231"/>
                </a:cxn>
                <a:cxn ang="0">
                  <a:pos x="29" y="252"/>
                </a:cxn>
                <a:cxn ang="0">
                  <a:pos x="66" y="292"/>
                </a:cxn>
                <a:cxn ang="0">
                  <a:pos x="81" y="323"/>
                </a:cxn>
                <a:cxn ang="0">
                  <a:pos x="100" y="348"/>
                </a:cxn>
                <a:cxn ang="0">
                  <a:pos x="131" y="346"/>
                </a:cxn>
                <a:cxn ang="0">
                  <a:pos x="158" y="357"/>
                </a:cxn>
                <a:cxn ang="0">
                  <a:pos x="179" y="374"/>
                </a:cxn>
                <a:cxn ang="0">
                  <a:pos x="198" y="386"/>
                </a:cxn>
                <a:cxn ang="0">
                  <a:pos x="223" y="394"/>
                </a:cxn>
                <a:cxn ang="0">
                  <a:pos x="240" y="401"/>
                </a:cxn>
                <a:cxn ang="0">
                  <a:pos x="257" y="380"/>
                </a:cxn>
                <a:cxn ang="0">
                  <a:pos x="286" y="361"/>
                </a:cxn>
                <a:cxn ang="0">
                  <a:pos x="313" y="369"/>
                </a:cxn>
                <a:cxn ang="0">
                  <a:pos x="338" y="369"/>
                </a:cxn>
                <a:cxn ang="0">
                  <a:pos x="359" y="359"/>
                </a:cxn>
                <a:cxn ang="0">
                  <a:pos x="380" y="351"/>
                </a:cxn>
                <a:cxn ang="0">
                  <a:pos x="405" y="338"/>
                </a:cxn>
                <a:cxn ang="0">
                  <a:pos x="430" y="342"/>
                </a:cxn>
                <a:cxn ang="0">
                  <a:pos x="453" y="338"/>
                </a:cxn>
                <a:cxn ang="0">
                  <a:pos x="469" y="311"/>
                </a:cxn>
                <a:cxn ang="0">
                  <a:pos x="490" y="286"/>
                </a:cxn>
                <a:cxn ang="0">
                  <a:pos x="509" y="267"/>
                </a:cxn>
                <a:cxn ang="0">
                  <a:pos x="530" y="254"/>
                </a:cxn>
                <a:cxn ang="0">
                  <a:pos x="543" y="234"/>
                </a:cxn>
                <a:cxn ang="0">
                  <a:pos x="541" y="225"/>
                </a:cxn>
                <a:cxn ang="0">
                  <a:pos x="511" y="221"/>
                </a:cxn>
                <a:cxn ang="0">
                  <a:pos x="488" y="217"/>
                </a:cxn>
                <a:cxn ang="0">
                  <a:pos x="465" y="206"/>
                </a:cxn>
                <a:cxn ang="0">
                  <a:pos x="430" y="204"/>
                </a:cxn>
                <a:cxn ang="0">
                  <a:pos x="401" y="200"/>
                </a:cxn>
                <a:cxn ang="0">
                  <a:pos x="388" y="188"/>
                </a:cxn>
                <a:cxn ang="0">
                  <a:pos x="373" y="171"/>
                </a:cxn>
                <a:cxn ang="0">
                  <a:pos x="361" y="148"/>
                </a:cxn>
                <a:cxn ang="0">
                  <a:pos x="348" y="137"/>
                </a:cxn>
                <a:cxn ang="0">
                  <a:pos x="323" y="135"/>
                </a:cxn>
                <a:cxn ang="0">
                  <a:pos x="317" y="117"/>
                </a:cxn>
                <a:cxn ang="0">
                  <a:pos x="313" y="98"/>
                </a:cxn>
                <a:cxn ang="0">
                  <a:pos x="327" y="85"/>
                </a:cxn>
                <a:cxn ang="0">
                  <a:pos x="317" y="71"/>
                </a:cxn>
                <a:cxn ang="0">
                  <a:pos x="304" y="52"/>
                </a:cxn>
                <a:cxn ang="0">
                  <a:pos x="290" y="37"/>
                </a:cxn>
                <a:cxn ang="0">
                  <a:pos x="275" y="19"/>
                </a:cxn>
                <a:cxn ang="0">
                  <a:pos x="250" y="12"/>
                </a:cxn>
                <a:cxn ang="0">
                  <a:pos x="227" y="6"/>
                </a:cxn>
                <a:cxn ang="0">
                  <a:pos x="208" y="0"/>
                </a:cxn>
                <a:cxn ang="0">
                  <a:pos x="188" y="6"/>
                </a:cxn>
                <a:cxn ang="0">
                  <a:pos x="175" y="25"/>
                </a:cxn>
                <a:cxn ang="0">
                  <a:pos x="154" y="19"/>
                </a:cxn>
                <a:cxn ang="0">
                  <a:pos x="129" y="18"/>
                </a:cxn>
              </a:cxnLst>
              <a:rect l="0" t="0" r="r" b="b"/>
              <a:pathLst>
                <a:path w="553" h="401">
                  <a:moveTo>
                    <a:pt x="121" y="19"/>
                  </a:moveTo>
                  <a:lnTo>
                    <a:pt x="119" y="25"/>
                  </a:lnTo>
                  <a:lnTo>
                    <a:pt x="117" y="31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4" y="37"/>
                  </a:lnTo>
                  <a:lnTo>
                    <a:pt x="112" y="39"/>
                  </a:lnTo>
                  <a:lnTo>
                    <a:pt x="112" y="42"/>
                  </a:lnTo>
                  <a:lnTo>
                    <a:pt x="110" y="46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58"/>
                  </a:lnTo>
                  <a:lnTo>
                    <a:pt x="108" y="60"/>
                  </a:lnTo>
                  <a:lnTo>
                    <a:pt x="110" y="64"/>
                  </a:lnTo>
                  <a:lnTo>
                    <a:pt x="110" y="66"/>
                  </a:lnTo>
                  <a:lnTo>
                    <a:pt x="110" y="69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2" y="79"/>
                  </a:lnTo>
                  <a:lnTo>
                    <a:pt x="100" y="83"/>
                  </a:lnTo>
                  <a:lnTo>
                    <a:pt x="98" y="83"/>
                  </a:lnTo>
                  <a:lnTo>
                    <a:pt x="96" y="87"/>
                  </a:lnTo>
                  <a:lnTo>
                    <a:pt x="92" y="89"/>
                  </a:lnTo>
                  <a:lnTo>
                    <a:pt x="91" y="94"/>
                  </a:lnTo>
                  <a:lnTo>
                    <a:pt x="87" y="98"/>
                  </a:lnTo>
                  <a:lnTo>
                    <a:pt x="83" y="100"/>
                  </a:lnTo>
                  <a:lnTo>
                    <a:pt x="81" y="104"/>
                  </a:lnTo>
                  <a:lnTo>
                    <a:pt x="77" y="108"/>
                  </a:lnTo>
                  <a:lnTo>
                    <a:pt x="73" y="110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6" y="115"/>
                  </a:lnTo>
                  <a:lnTo>
                    <a:pt x="64" y="117"/>
                  </a:lnTo>
                  <a:lnTo>
                    <a:pt x="60" y="119"/>
                  </a:lnTo>
                  <a:lnTo>
                    <a:pt x="56" y="123"/>
                  </a:lnTo>
                  <a:lnTo>
                    <a:pt x="54" y="127"/>
                  </a:lnTo>
                  <a:lnTo>
                    <a:pt x="52" y="129"/>
                  </a:lnTo>
                  <a:lnTo>
                    <a:pt x="50" y="131"/>
                  </a:lnTo>
                  <a:lnTo>
                    <a:pt x="48" y="135"/>
                  </a:lnTo>
                  <a:lnTo>
                    <a:pt x="48" y="140"/>
                  </a:lnTo>
                  <a:lnTo>
                    <a:pt x="50" y="148"/>
                  </a:lnTo>
                  <a:lnTo>
                    <a:pt x="54" y="160"/>
                  </a:lnTo>
                  <a:lnTo>
                    <a:pt x="56" y="165"/>
                  </a:lnTo>
                  <a:lnTo>
                    <a:pt x="56" y="171"/>
                  </a:lnTo>
                  <a:lnTo>
                    <a:pt x="60" y="173"/>
                  </a:lnTo>
                  <a:lnTo>
                    <a:pt x="62" y="177"/>
                  </a:lnTo>
                  <a:lnTo>
                    <a:pt x="66" y="179"/>
                  </a:lnTo>
                  <a:lnTo>
                    <a:pt x="68" y="181"/>
                  </a:lnTo>
                  <a:lnTo>
                    <a:pt x="68" y="183"/>
                  </a:lnTo>
                  <a:lnTo>
                    <a:pt x="66" y="186"/>
                  </a:lnTo>
                  <a:lnTo>
                    <a:pt x="66" y="188"/>
                  </a:lnTo>
                  <a:lnTo>
                    <a:pt x="64" y="192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56" y="198"/>
                  </a:lnTo>
                  <a:lnTo>
                    <a:pt x="52" y="198"/>
                  </a:lnTo>
                  <a:lnTo>
                    <a:pt x="46" y="198"/>
                  </a:lnTo>
                  <a:lnTo>
                    <a:pt x="41" y="200"/>
                  </a:lnTo>
                  <a:lnTo>
                    <a:pt x="39" y="200"/>
                  </a:lnTo>
                  <a:lnTo>
                    <a:pt x="37" y="200"/>
                  </a:lnTo>
                  <a:lnTo>
                    <a:pt x="33" y="198"/>
                  </a:lnTo>
                  <a:lnTo>
                    <a:pt x="29" y="198"/>
                  </a:lnTo>
                  <a:lnTo>
                    <a:pt x="25" y="198"/>
                  </a:lnTo>
                  <a:lnTo>
                    <a:pt x="21" y="200"/>
                  </a:lnTo>
                  <a:lnTo>
                    <a:pt x="21" y="202"/>
                  </a:lnTo>
                  <a:lnTo>
                    <a:pt x="20" y="204"/>
                  </a:lnTo>
                  <a:lnTo>
                    <a:pt x="16" y="204"/>
                  </a:lnTo>
                  <a:lnTo>
                    <a:pt x="14" y="206"/>
                  </a:lnTo>
                  <a:lnTo>
                    <a:pt x="12" y="206"/>
                  </a:lnTo>
                  <a:lnTo>
                    <a:pt x="8" y="206"/>
                  </a:lnTo>
                  <a:lnTo>
                    <a:pt x="6" y="208"/>
                  </a:lnTo>
                  <a:lnTo>
                    <a:pt x="2" y="209"/>
                  </a:lnTo>
                  <a:lnTo>
                    <a:pt x="2" y="215"/>
                  </a:lnTo>
                  <a:lnTo>
                    <a:pt x="0" y="219"/>
                  </a:lnTo>
                  <a:lnTo>
                    <a:pt x="0" y="223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2" y="234"/>
                  </a:lnTo>
                  <a:lnTo>
                    <a:pt x="12" y="234"/>
                  </a:lnTo>
                  <a:lnTo>
                    <a:pt x="20" y="236"/>
                  </a:lnTo>
                  <a:lnTo>
                    <a:pt x="20" y="238"/>
                  </a:lnTo>
                  <a:lnTo>
                    <a:pt x="21" y="242"/>
                  </a:lnTo>
                  <a:lnTo>
                    <a:pt x="27" y="248"/>
                  </a:lnTo>
                  <a:lnTo>
                    <a:pt x="27" y="250"/>
                  </a:lnTo>
                  <a:lnTo>
                    <a:pt x="29" y="252"/>
                  </a:lnTo>
                  <a:lnTo>
                    <a:pt x="33" y="255"/>
                  </a:lnTo>
                  <a:lnTo>
                    <a:pt x="39" y="261"/>
                  </a:lnTo>
                  <a:lnTo>
                    <a:pt x="46" y="271"/>
                  </a:lnTo>
                  <a:lnTo>
                    <a:pt x="54" y="277"/>
                  </a:lnTo>
                  <a:lnTo>
                    <a:pt x="56" y="279"/>
                  </a:lnTo>
                  <a:lnTo>
                    <a:pt x="62" y="286"/>
                  </a:lnTo>
                  <a:lnTo>
                    <a:pt x="64" y="288"/>
                  </a:lnTo>
                  <a:lnTo>
                    <a:pt x="66" y="292"/>
                  </a:lnTo>
                  <a:lnTo>
                    <a:pt x="66" y="300"/>
                  </a:lnTo>
                  <a:lnTo>
                    <a:pt x="68" y="302"/>
                  </a:lnTo>
                  <a:lnTo>
                    <a:pt x="68" y="303"/>
                  </a:lnTo>
                  <a:lnTo>
                    <a:pt x="69" y="307"/>
                  </a:lnTo>
                  <a:lnTo>
                    <a:pt x="69" y="309"/>
                  </a:lnTo>
                  <a:lnTo>
                    <a:pt x="73" y="315"/>
                  </a:lnTo>
                  <a:lnTo>
                    <a:pt x="77" y="321"/>
                  </a:lnTo>
                  <a:lnTo>
                    <a:pt x="81" y="323"/>
                  </a:lnTo>
                  <a:lnTo>
                    <a:pt x="81" y="326"/>
                  </a:lnTo>
                  <a:lnTo>
                    <a:pt x="83" y="330"/>
                  </a:lnTo>
                  <a:lnTo>
                    <a:pt x="85" y="334"/>
                  </a:lnTo>
                  <a:lnTo>
                    <a:pt x="87" y="336"/>
                  </a:lnTo>
                  <a:lnTo>
                    <a:pt x="91" y="342"/>
                  </a:lnTo>
                  <a:lnTo>
                    <a:pt x="92" y="348"/>
                  </a:lnTo>
                  <a:lnTo>
                    <a:pt x="98" y="348"/>
                  </a:lnTo>
                  <a:lnTo>
                    <a:pt x="100" y="348"/>
                  </a:lnTo>
                  <a:lnTo>
                    <a:pt x="102" y="348"/>
                  </a:lnTo>
                  <a:lnTo>
                    <a:pt x="106" y="348"/>
                  </a:lnTo>
                  <a:lnTo>
                    <a:pt x="112" y="348"/>
                  </a:lnTo>
                  <a:lnTo>
                    <a:pt x="115" y="348"/>
                  </a:lnTo>
                  <a:lnTo>
                    <a:pt x="119" y="348"/>
                  </a:lnTo>
                  <a:lnTo>
                    <a:pt x="123" y="346"/>
                  </a:lnTo>
                  <a:lnTo>
                    <a:pt x="127" y="346"/>
                  </a:lnTo>
                  <a:lnTo>
                    <a:pt x="131" y="346"/>
                  </a:lnTo>
                  <a:lnTo>
                    <a:pt x="133" y="348"/>
                  </a:lnTo>
                  <a:lnTo>
                    <a:pt x="137" y="351"/>
                  </a:lnTo>
                  <a:lnTo>
                    <a:pt x="142" y="351"/>
                  </a:lnTo>
                  <a:lnTo>
                    <a:pt x="144" y="353"/>
                  </a:lnTo>
                  <a:lnTo>
                    <a:pt x="14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8" y="357"/>
                  </a:lnTo>
                  <a:lnTo>
                    <a:pt x="162" y="357"/>
                  </a:lnTo>
                  <a:lnTo>
                    <a:pt x="162" y="359"/>
                  </a:lnTo>
                  <a:lnTo>
                    <a:pt x="163" y="361"/>
                  </a:lnTo>
                  <a:lnTo>
                    <a:pt x="165" y="365"/>
                  </a:lnTo>
                  <a:lnTo>
                    <a:pt x="169" y="365"/>
                  </a:lnTo>
                  <a:lnTo>
                    <a:pt x="171" y="367"/>
                  </a:lnTo>
                  <a:lnTo>
                    <a:pt x="175" y="371"/>
                  </a:lnTo>
                  <a:lnTo>
                    <a:pt x="179" y="374"/>
                  </a:lnTo>
                  <a:lnTo>
                    <a:pt x="181" y="374"/>
                  </a:lnTo>
                  <a:lnTo>
                    <a:pt x="185" y="374"/>
                  </a:lnTo>
                  <a:lnTo>
                    <a:pt x="186" y="376"/>
                  </a:lnTo>
                  <a:lnTo>
                    <a:pt x="188" y="380"/>
                  </a:lnTo>
                  <a:lnTo>
                    <a:pt x="192" y="382"/>
                  </a:lnTo>
                  <a:lnTo>
                    <a:pt x="196" y="382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8"/>
                  </a:lnTo>
                  <a:lnTo>
                    <a:pt x="204" y="388"/>
                  </a:lnTo>
                  <a:lnTo>
                    <a:pt x="206" y="390"/>
                  </a:lnTo>
                  <a:lnTo>
                    <a:pt x="208" y="392"/>
                  </a:lnTo>
                  <a:lnTo>
                    <a:pt x="213" y="392"/>
                  </a:lnTo>
                  <a:lnTo>
                    <a:pt x="215" y="392"/>
                  </a:lnTo>
                  <a:lnTo>
                    <a:pt x="217" y="392"/>
                  </a:lnTo>
                  <a:lnTo>
                    <a:pt x="223" y="394"/>
                  </a:lnTo>
                  <a:lnTo>
                    <a:pt x="225" y="394"/>
                  </a:lnTo>
                  <a:lnTo>
                    <a:pt x="227" y="396"/>
                  </a:lnTo>
                  <a:lnTo>
                    <a:pt x="229" y="397"/>
                  </a:lnTo>
                  <a:lnTo>
                    <a:pt x="233" y="397"/>
                  </a:lnTo>
                  <a:lnTo>
                    <a:pt x="233" y="399"/>
                  </a:lnTo>
                  <a:lnTo>
                    <a:pt x="233" y="399"/>
                  </a:lnTo>
                  <a:lnTo>
                    <a:pt x="238" y="399"/>
                  </a:lnTo>
                  <a:lnTo>
                    <a:pt x="240" y="401"/>
                  </a:lnTo>
                  <a:lnTo>
                    <a:pt x="242" y="401"/>
                  </a:lnTo>
                  <a:lnTo>
                    <a:pt x="242" y="399"/>
                  </a:lnTo>
                  <a:lnTo>
                    <a:pt x="244" y="397"/>
                  </a:lnTo>
                  <a:lnTo>
                    <a:pt x="246" y="394"/>
                  </a:lnTo>
                  <a:lnTo>
                    <a:pt x="250" y="392"/>
                  </a:lnTo>
                  <a:lnTo>
                    <a:pt x="250" y="386"/>
                  </a:lnTo>
                  <a:lnTo>
                    <a:pt x="254" y="382"/>
                  </a:lnTo>
                  <a:lnTo>
                    <a:pt x="257" y="380"/>
                  </a:lnTo>
                  <a:lnTo>
                    <a:pt x="259" y="378"/>
                  </a:lnTo>
                  <a:lnTo>
                    <a:pt x="263" y="376"/>
                  </a:lnTo>
                  <a:lnTo>
                    <a:pt x="265" y="374"/>
                  </a:lnTo>
                  <a:lnTo>
                    <a:pt x="269" y="371"/>
                  </a:lnTo>
                  <a:lnTo>
                    <a:pt x="271" y="369"/>
                  </a:lnTo>
                  <a:lnTo>
                    <a:pt x="275" y="367"/>
                  </a:lnTo>
                  <a:lnTo>
                    <a:pt x="282" y="365"/>
                  </a:lnTo>
                  <a:lnTo>
                    <a:pt x="286" y="361"/>
                  </a:lnTo>
                  <a:lnTo>
                    <a:pt x="294" y="361"/>
                  </a:lnTo>
                  <a:lnTo>
                    <a:pt x="296" y="363"/>
                  </a:lnTo>
                  <a:lnTo>
                    <a:pt x="300" y="365"/>
                  </a:lnTo>
                  <a:lnTo>
                    <a:pt x="302" y="367"/>
                  </a:lnTo>
                  <a:lnTo>
                    <a:pt x="304" y="367"/>
                  </a:lnTo>
                  <a:lnTo>
                    <a:pt x="309" y="367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9" y="371"/>
                  </a:lnTo>
                  <a:lnTo>
                    <a:pt x="321" y="371"/>
                  </a:lnTo>
                  <a:lnTo>
                    <a:pt x="325" y="371"/>
                  </a:lnTo>
                  <a:lnTo>
                    <a:pt x="328" y="371"/>
                  </a:lnTo>
                  <a:lnTo>
                    <a:pt x="330" y="371"/>
                  </a:lnTo>
                  <a:lnTo>
                    <a:pt x="332" y="369"/>
                  </a:lnTo>
                  <a:lnTo>
                    <a:pt x="338" y="369"/>
                  </a:lnTo>
                  <a:lnTo>
                    <a:pt x="340" y="369"/>
                  </a:lnTo>
                  <a:lnTo>
                    <a:pt x="342" y="369"/>
                  </a:lnTo>
                  <a:lnTo>
                    <a:pt x="346" y="367"/>
                  </a:lnTo>
                  <a:lnTo>
                    <a:pt x="350" y="365"/>
                  </a:lnTo>
                  <a:lnTo>
                    <a:pt x="353" y="363"/>
                  </a:lnTo>
                  <a:lnTo>
                    <a:pt x="357" y="363"/>
                  </a:lnTo>
                  <a:lnTo>
                    <a:pt x="357" y="361"/>
                  </a:lnTo>
                  <a:lnTo>
                    <a:pt x="359" y="359"/>
                  </a:lnTo>
                  <a:lnTo>
                    <a:pt x="363" y="359"/>
                  </a:lnTo>
                  <a:lnTo>
                    <a:pt x="365" y="357"/>
                  </a:lnTo>
                  <a:lnTo>
                    <a:pt x="371" y="357"/>
                  </a:lnTo>
                  <a:lnTo>
                    <a:pt x="371" y="357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8" y="351"/>
                  </a:lnTo>
                  <a:lnTo>
                    <a:pt x="380" y="351"/>
                  </a:lnTo>
                  <a:lnTo>
                    <a:pt x="384" y="346"/>
                  </a:lnTo>
                  <a:lnTo>
                    <a:pt x="388" y="344"/>
                  </a:lnTo>
                  <a:lnTo>
                    <a:pt x="390" y="340"/>
                  </a:lnTo>
                  <a:lnTo>
                    <a:pt x="394" y="340"/>
                  </a:lnTo>
                  <a:lnTo>
                    <a:pt x="396" y="338"/>
                  </a:lnTo>
                  <a:lnTo>
                    <a:pt x="399" y="338"/>
                  </a:lnTo>
                  <a:lnTo>
                    <a:pt x="401" y="338"/>
                  </a:lnTo>
                  <a:lnTo>
                    <a:pt x="405" y="338"/>
                  </a:lnTo>
                  <a:lnTo>
                    <a:pt x="409" y="340"/>
                  </a:lnTo>
                  <a:lnTo>
                    <a:pt x="411" y="340"/>
                  </a:lnTo>
                  <a:lnTo>
                    <a:pt x="415" y="340"/>
                  </a:lnTo>
                  <a:lnTo>
                    <a:pt x="419" y="340"/>
                  </a:lnTo>
                  <a:lnTo>
                    <a:pt x="421" y="340"/>
                  </a:lnTo>
                  <a:lnTo>
                    <a:pt x="424" y="340"/>
                  </a:lnTo>
                  <a:lnTo>
                    <a:pt x="426" y="342"/>
                  </a:lnTo>
                  <a:lnTo>
                    <a:pt x="430" y="342"/>
                  </a:lnTo>
                  <a:lnTo>
                    <a:pt x="432" y="342"/>
                  </a:lnTo>
                  <a:lnTo>
                    <a:pt x="434" y="344"/>
                  </a:lnTo>
                  <a:lnTo>
                    <a:pt x="438" y="344"/>
                  </a:lnTo>
                  <a:lnTo>
                    <a:pt x="440" y="342"/>
                  </a:lnTo>
                  <a:lnTo>
                    <a:pt x="446" y="342"/>
                  </a:lnTo>
                  <a:lnTo>
                    <a:pt x="449" y="340"/>
                  </a:lnTo>
                  <a:lnTo>
                    <a:pt x="451" y="338"/>
                  </a:lnTo>
                  <a:lnTo>
                    <a:pt x="453" y="338"/>
                  </a:lnTo>
                  <a:lnTo>
                    <a:pt x="453" y="332"/>
                  </a:lnTo>
                  <a:lnTo>
                    <a:pt x="455" y="330"/>
                  </a:lnTo>
                  <a:lnTo>
                    <a:pt x="457" y="330"/>
                  </a:lnTo>
                  <a:lnTo>
                    <a:pt x="461" y="328"/>
                  </a:lnTo>
                  <a:lnTo>
                    <a:pt x="463" y="323"/>
                  </a:lnTo>
                  <a:lnTo>
                    <a:pt x="463" y="319"/>
                  </a:lnTo>
                  <a:lnTo>
                    <a:pt x="465" y="315"/>
                  </a:lnTo>
                  <a:lnTo>
                    <a:pt x="469" y="311"/>
                  </a:lnTo>
                  <a:lnTo>
                    <a:pt x="469" y="307"/>
                  </a:lnTo>
                  <a:lnTo>
                    <a:pt x="470" y="305"/>
                  </a:lnTo>
                  <a:lnTo>
                    <a:pt x="474" y="300"/>
                  </a:lnTo>
                  <a:lnTo>
                    <a:pt x="478" y="296"/>
                  </a:lnTo>
                  <a:lnTo>
                    <a:pt x="480" y="296"/>
                  </a:lnTo>
                  <a:lnTo>
                    <a:pt x="482" y="294"/>
                  </a:lnTo>
                  <a:lnTo>
                    <a:pt x="486" y="290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5" y="282"/>
                  </a:lnTo>
                  <a:lnTo>
                    <a:pt x="497" y="279"/>
                  </a:lnTo>
                  <a:lnTo>
                    <a:pt x="501" y="275"/>
                  </a:lnTo>
                  <a:lnTo>
                    <a:pt x="505" y="271"/>
                  </a:lnTo>
                  <a:lnTo>
                    <a:pt x="507" y="269"/>
                  </a:lnTo>
                  <a:lnTo>
                    <a:pt x="509" y="269"/>
                  </a:lnTo>
                  <a:lnTo>
                    <a:pt x="509" y="267"/>
                  </a:lnTo>
                  <a:lnTo>
                    <a:pt x="515" y="265"/>
                  </a:lnTo>
                  <a:lnTo>
                    <a:pt x="516" y="261"/>
                  </a:lnTo>
                  <a:lnTo>
                    <a:pt x="520" y="259"/>
                  </a:lnTo>
                  <a:lnTo>
                    <a:pt x="524" y="257"/>
                  </a:lnTo>
                  <a:lnTo>
                    <a:pt x="526" y="257"/>
                  </a:lnTo>
                  <a:lnTo>
                    <a:pt x="528" y="255"/>
                  </a:lnTo>
                  <a:lnTo>
                    <a:pt x="528" y="254"/>
                  </a:lnTo>
                  <a:lnTo>
                    <a:pt x="530" y="254"/>
                  </a:lnTo>
                  <a:lnTo>
                    <a:pt x="534" y="252"/>
                  </a:lnTo>
                  <a:lnTo>
                    <a:pt x="534" y="248"/>
                  </a:lnTo>
                  <a:lnTo>
                    <a:pt x="538" y="246"/>
                  </a:lnTo>
                  <a:lnTo>
                    <a:pt x="538" y="244"/>
                  </a:lnTo>
                  <a:lnTo>
                    <a:pt x="541" y="242"/>
                  </a:lnTo>
                  <a:lnTo>
                    <a:pt x="541" y="238"/>
                  </a:lnTo>
                  <a:lnTo>
                    <a:pt x="541" y="236"/>
                  </a:lnTo>
                  <a:lnTo>
                    <a:pt x="543" y="234"/>
                  </a:lnTo>
                  <a:lnTo>
                    <a:pt x="547" y="232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3" y="227"/>
                  </a:lnTo>
                  <a:lnTo>
                    <a:pt x="553" y="225"/>
                  </a:lnTo>
                  <a:lnTo>
                    <a:pt x="551" y="225"/>
                  </a:lnTo>
                  <a:lnTo>
                    <a:pt x="543" y="225"/>
                  </a:lnTo>
                  <a:lnTo>
                    <a:pt x="541" y="225"/>
                  </a:lnTo>
                  <a:lnTo>
                    <a:pt x="540" y="225"/>
                  </a:lnTo>
                  <a:lnTo>
                    <a:pt x="538" y="227"/>
                  </a:lnTo>
                  <a:lnTo>
                    <a:pt x="534" y="227"/>
                  </a:lnTo>
                  <a:lnTo>
                    <a:pt x="530" y="227"/>
                  </a:lnTo>
                  <a:lnTo>
                    <a:pt x="526" y="225"/>
                  </a:lnTo>
                  <a:lnTo>
                    <a:pt x="522" y="223"/>
                  </a:lnTo>
                  <a:lnTo>
                    <a:pt x="518" y="221"/>
                  </a:lnTo>
                  <a:lnTo>
                    <a:pt x="511" y="221"/>
                  </a:lnTo>
                  <a:lnTo>
                    <a:pt x="507" y="219"/>
                  </a:lnTo>
                  <a:lnTo>
                    <a:pt x="505" y="219"/>
                  </a:lnTo>
                  <a:lnTo>
                    <a:pt x="501" y="219"/>
                  </a:lnTo>
                  <a:lnTo>
                    <a:pt x="497" y="219"/>
                  </a:lnTo>
                  <a:lnTo>
                    <a:pt x="495" y="219"/>
                  </a:lnTo>
                  <a:lnTo>
                    <a:pt x="493" y="219"/>
                  </a:lnTo>
                  <a:lnTo>
                    <a:pt x="490" y="219"/>
                  </a:lnTo>
                  <a:lnTo>
                    <a:pt x="488" y="217"/>
                  </a:lnTo>
                  <a:lnTo>
                    <a:pt x="484" y="217"/>
                  </a:lnTo>
                  <a:lnTo>
                    <a:pt x="480" y="215"/>
                  </a:lnTo>
                  <a:lnTo>
                    <a:pt x="478" y="215"/>
                  </a:lnTo>
                  <a:lnTo>
                    <a:pt x="474" y="213"/>
                  </a:lnTo>
                  <a:lnTo>
                    <a:pt x="472" y="209"/>
                  </a:lnTo>
                  <a:lnTo>
                    <a:pt x="470" y="208"/>
                  </a:lnTo>
                  <a:lnTo>
                    <a:pt x="469" y="208"/>
                  </a:lnTo>
                  <a:lnTo>
                    <a:pt x="465" y="206"/>
                  </a:lnTo>
                  <a:lnTo>
                    <a:pt x="463" y="204"/>
                  </a:lnTo>
                  <a:lnTo>
                    <a:pt x="461" y="204"/>
                  </a:lnTo>
                  <a:lnTo>
                    <a:pt x="457" y="204"/>
                  </a:lnTo>
                  <a:lnTo>
                    <a:pt x="453" y="204"/>
                  </a:lnTo>
                  <a:lnTo>
                    <a:pt x="446" y="204"/>
                  </a:lnTo>
                  <a:lnTo>
                    <a:pt x="444" y="204"/>
                  </a:lnTo>
                  <a:lnTo>
                    <a:pt x="436" y="204"/>
                  </a:lnTo>
                  <a:lnTo>
                    <a:pt x="430" y="204"/>
                  </a:lnTo>
                  <a:lnTo>
                    <a:pt x="426" y="204"/>
                  </a:lnTo>
                  <a:lnTo>
                    <a:pt x="422" y="204"/>
                  </a:lnTo>
                  <a:lnTo>
                    <a:pt x="417" y="204"/>
                  </a:lnTo>
                  <a:lnTo>
                    <a:pt x="413" y="204"/>
                  </a:lnTo>
                  <a:lnTo>
                    <a:pt x="409" y="204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1" y="200"/>
                  </a:lnTo>
                  <a:lnTo>
                    <a:pt x="399" y="198"/>
                  </a:lnTo>
                  <a:lnTo>
                    <a:pt x="398" y="198"/>
                  </a:lnTo>
                  <a:lnTo>
                    <a:pt x="398" y="196"/>
                  </a:lnTo>
                  <a:lnTo>
                    <a:pt x="394" y="196"/>
                  </a:lnTo>
                  <a:lnTo>
                    <a:pt x="392" y="194"/>
                  </a:lnTo>
                  <a:lnTo>
                    <a:pt x="392" y="192"/>
                  </a:lnTo>
                  <a:lnTo>
                    <a:pt x="390" y="190"/>
                  </a:lnTo>
                  <a:lnTo>
                    <a:pt x="388" y="188"/>
                  </a:lnTo>
                  <a:lnTo>
                    <a:pt x="386" y="188"/>
                  </a:lnTo>
                  <a:lnTo>
                    <a:pt x="386" y="186"/>
                  </a:lnTo>
                  <a:lnTo>
                    <a:pt x="384" y="184"/>
                  </a:lnTo>
                  <a:lnTo>
                    <a:pt x="382" y="183"/>
                  </a:lnTo>
                  <a:lnTo>
                    <a:pt x="378" y="179"/>
                  </a:lnTo>
                  <a:lnTo>
                    <a:pt x="375" y="177"/>
                  </a:lnTo>
                  <a:lnTo>
                    <a:pt x="375" y="173"/>
                  </a:lnTo>
                  <a:lnTo>
                    <a:pt x="373" y="171"/>
                  </a:lnTo>
                  <a:lnTo>
                    <a:pt x="373" y="169"/>
                  </a:lnTo>
                  <a:lnTo>
                    <a:pt x="371" y="167"/>
                  </a:lnTo>
                  <a:lnTo>
                    <a:pt x="371" y="163"/>
                  </a:lnTo>
                  <a:lnTo>
                    <a:pt x="367" y="160"/>
                  </a:lnTo>
                  <a:lnTo>
                    <a:pt x="367" y="156"/>
                  </a:lnTo>
                  <a:lnTo>
                    <a:pt x="365" y="154"/>
                  </a:lnTo>
                  <a:lnTo>
                    <a:pt x="365" y="152"/>
                  </a:lnTo>
                  <a:lnTo>
                    <a:pt x="361" y="148"/>
                  </a:lnTo>
                  <a:lnTo>
                    <a:pt x="361" y="144"/>
                  </a:lnTo>
                  <a:lnTo>
                    <a:pt x="359" y="144"/>
                  </a:lnTo>
                  <a:lnTo>
                    <a:pt x="357" y="142"/>
                  </a:lnTo>
                  <a:lnTo>
                    <a:pt x="357" y="137"/>
                  </a:lnTo>
                  <a:lnTo>
                    <a:pt x="357" y="135"/>
                  </a:lnTo>
                  <a:lnTo>
                    <a:pt x="353" y="135"/>
                  </a:lnTo>
                  <a:lnTo>
                    <a:pt x="350" y="137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38" y="137"/>
                  </a:lnTo>
                  <a:lnTo>
                    <a:pt x="336" y="137"/>
                  </a:lnTo>
                  <a:lnTo>
                    <a:pt x="332" y="137"/>
                  </a:lnTo>
                  <a:lnTo>
                    <a:pt x="330" y="137"/>
                  </a:lnTo>
                  <a:lnTo>
                    <a:pt x="328" y="137"/>
                  </a:lnTo>
                  <a:lnTo>
                    <a:pt x="325" y="137"/>
                  </a:lnTo>
                  <a:lnTo>
                    <a:pt x="323" y="135"/>
                  </a:lnTo>
                  <a:lnTo>
                    <a:pt x="321" y="133"/>
                  </a:lnTo>
                  <a:lnTo>
                    <a:pt x="321" y="131"/>
                  </a:lnTo>
                  <a:lnTo>
                    <a:pt x="321" y="127"/>
                  </a:lnTo>
                  <a:lnTo>
                    <a:pt x="319" y="127"/>
                  </a:lnTo>
                  <a:lnTo>
                    <a:pt x="319" y="123"/>
                  </a:lnTo>
                  <a:lnTo>
                    <a:pt x="317" y="121"/>
                  </a:lnTo>
                  <a:lnTo>
                    <a:pt x="317" y="119"/>
                  </a:lnTo>
                  <a:lnTo>
                    <a:pt x="317" y="117"/>
                  </a:lnTo>
                  <a:lnTo>
                    <a:pt x="315" y="115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3" y="110"/>
                  </a:lnTo>
                  <a:lnTo>
                    <a:pt x="313" y="106"/>
                  </a:lnTo>
                  <a:lnTo>
                    <a:pt x="313" y="102"/>
                  </a:lnTo>
                  <a:lnTo>
                    <a:pt x="313" y="100"/>
                  </a:lnTo>
                  <a:lnTo>
                    <a:pt x="313" y="98"/>
                  </a:lnTo>
                  <a:lnTo>
                    <a:pt x="313" y="96"/>
                  </a:lnTo>
                  <a:lnTo>
                    <a:pt x="317" y="94"/>
                  </a:lnTo>
                  <a:lnTo>
                    <a:pt x="319" y="92"/>
                  </a:lnTo>
                  <a:lnTo>
                    <a:pt x="321" y="90"/>
                  </a:lnTo>
                  <a:lnTo>
                    <a:pt x="321" y="89"/>
                  </a:lnTo>
                  <a:lnTo>
                    <a:pt x="325" y="89"/>
                  </a:lnTo>
                  <a:lnTo>
                    <a:pt x="327" y="87"/>
                  </a:lnTo>
                  <a:lnTo>
                    <a:pt x="327" y="85"/>
                  </a:lnTo>
                  <a:lnTo>
                    <a:pt x="330" y="83"/>
                  </a:lnTo>
                  <a:lnTo>
                    <a:pt x="330" y="79"/>
                  </a:lnTo>
                  <a:lnTo>
                    <a:pt x="328" y="77"/>
                  </a:lnTo>
                  <a:lnTo>
                    <a:pt x="325" y="77"/>
                  </a:lnTo>
                  <a:lnTo>
                    <a:pt x="325" y="75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17" y="71"/>
                  </a:lnTo>
                  <a:lnTo>
                    <a:pt x="315" y="69"/>
                  </a:lnTo>
                  <a:lnTo>
                    <a:pt x="313" y="67"/>
                  </a:lnTo>
                  <a:lnTo>
                    <a:pt x="311" y="66"/>
                  </a:lnTo>
                  <a:lnTo>
                    <a:pt x="309" y="62"/>
                  </a:lnTo>
                  <a:lnTo>
                    <a:pt x="307" y="60"/>
                  </a:lnTo>
                  <a:lnTo>
                    <a:pt x="305" y="56"/>
                  </a:lnTo>
                  <a:lnTo>
                    <a:pt x="304" y="56"/>
                  </a:lnTo>
                  <a:lnTo>
                    <a:pt x="304" y="52"/>
                  </a:lnTo>
                  <a:lnTo>
                    <a:pt x="300" y="48"/>
                  </a:lnTo>
                  <a:lnTo>
                    <a:pt x="300" y="46"/>
                  </a:lnTo>
                  <a:lnTo>
                    <a:pt x="298" y="44"/>
                  </a:lnTo>
                  <a:lnTo>
                    <a:pt x="296" y="42"/>
                  </a:lnTo>
                  <a:lnTo>
                    <a:pt x="294" y="42"/>
                  </a:lnTo>
                  <a:lnTo>
                    <a:pt x="294" y="41"/>
                  </a:lnTo>
                  <a:lnTo>
                    <a:pt x="294" y="39"/>
                  </a:lnTo>
                  <a:lnTo>
                    <a:pt x="290" y="37"/>
                  </a:lnTo>
                  <a:lnTo>
                    <a:pt x="288" y="33"/>
                  </a:lnTo>
                  <a:lnTo>
                    <a:pt x="286" y="31"/>
                  </a:lnTo>
                  <a:lnTo>
                    <a:pt x="284" y="29"/>
                  </a:lnTo>
                  <a:lnTo>
                    <a:pt x="284" y="27"/>
                  </a:lnTo>
                  <a:lnTo>
                    <a:pt x="282" y="25"/>
                  </a:lnTo>
                  <a:lnTo>
                    <a:pt x="280" y="21"/>
                  </a:lnTo>
                  <a:lnTo>
                    <a:pt x="277" y="19"/>
                  </a:lnTo>
                  <a:lnTo>
                    <a:pt x="275" y="19"/>
                  </a:lnTo>
                  <a:lnTo>
                    <a:pt x="271" y="19"/>
                  </a:lnTo>
                  <a:lnTo>
                    <a:pt x="267" y="18"/>
                  </a:lnTo>
                  <a:lnTo>
                    <a:pt x="265" y="18"/>
                  </a:lnTo>
                  <a:lnTo>
                    <a:pt x="261" y="18"/>
                  </a:lnTo>
                  <a:lnTo>
                    <a:pt x="259" y="16"/>
                  </a:lnTo>
                  <a:lnTo>
                    <a:pt x="257" y="14"/>
                  </a:lnTo>
                  <a:lnTo>
                    <a:pt x="254" y="14"/>
                  </a:lnTo>
                  <a:lnTo>
                    <a:pt x="250" y="12"/>
                  </a:lnTo>
                  <a:lnTo>
                    <a:pt x="248" y="12"/>
                  </a:lnTo>
                  <a:lnTo>
                    <a:pt x="242" y="12"/>
                  </a:lnTo>
                  <a:lnTo>
                    <a:pt x="240" y="12"/>
                  </a:lnTo>
                  <a:lnTo>
                    <a:pt x="236" y="12"/>
                  </a:lnTo>
                  <a:lnTo>
                    <a:pt x="234" y="12"/>
                  </a:lnTo>
                  <a:lnTo>
                    <a:pt x="233" y="12"/>
                  </a:lnTo>
                  <a:lnTo>
                    <a:pt x="229" y="10"/>
                  </a:lnTo>
                  <a:lnTo>
                    <a:pt x="227" y="6"/>
                  </a:lnTo>
                  <a:lnTo>
                    <a:pt x="223" y="6"/>
                  </a:lnTo>
                  <a:lnTo>
                    <a:pt x="223" y="4"/>
                  </a:lnTo>
                  <a:lnTo>
                    <a:pt x="221" y="4"/>
                  </a:lnTo>
                  <a:lnTo>
                    <a:pt x="219" y="2"/>
                  </a:lnTo>
                  <a:lnTo>
                    <a:pt x="215" y="2"/>
                  </a:lnTo>
                  <a:lnTo>
                    <a:pt x="215" y="0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2" y="2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0" y="4"/>
                  </a:lnTo>
                  <a:lnTo>
                    <a:pt x="188" y="6"/>
                  </a:lnTo>
                  <a:lnTo>
                    <a:pt x="185" y="8"/>
                  </a:lnTo>
                  <a:lnTo>
                    <a:pt x="183" y="12"/>
                  </a:lnTo>
                  <a:lnTo>
                    <a:pt x="181" y="14"/>
                  </a:lnTo>
                  <a:lnTo>
                    <a:pt x="181" y="18"/>
                  </a:lnTo>
                  <a:lnTo>
                    <a:pt x="179" y="19"/>
                  </a:lnTo>
                  <a:lnTo>
                    <a:pt x="179" y="21"/>
                  </a:lnTo>
                  <a:lnTo>
                    <a:pt x="177" y="23"/>
                  </a:lnTo>
                  <a:lnTo>
                    <a:pt x="175" y="25"/>
                  </a:lnTo>
                  <a:lnTo>
                    <a:pt x="173" y="27"/>
                  </a:lnTo>
                  <a:lnTo>
                    <a:pt x="171" y="25"/>
                  </a:lnTo>
                  <a:lnTo>
                    <a:pt x="167" y="25"/>
                  </a:lnTo>
                  <a:lnTo>
                    <a:pt x="163" y="25"/>
                  </a:lnTo>
                  <a:lnTo>
                    <a:pt x="162" y="23"/>
                  </a:lnTo>
                  <a:lnTo>
                    <a:pt x="158" y="21"/>
                  </a:lnTo>
                  <a:lnTo>
                    <a:pt x="156" y="21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48" y="19"/>
                  </a:lnTo>
                  <a:lnTo>
                    <a:pt x="144" y="19"/>
                  </a:lnTo>
                  <a:lnTo>
                    <a:pt x="142" y="18"/>
                  </a:lnTo>
                  <a:lnTo>
                    <a:pt x="139" y="18"/>
                  </a:lnTo>
                  <a:lnTo>
                    <a:pt x="135" y="18"/>
                  </a:lnTo>
                  <a:lnTo>
                    <a:pt x="133" y="18"/>
                  </a:lnTo>
                  <a:lnTo>
                    <a:pt x="129" y="18"/>
                  </a:lnTo>
                  <a:lnTo>
                    <a:pt x="127" y="18"/>
                  </a:lnTo>
                  <a:lnTo>
                    <a:pt x="121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49" name="Freeform 36"/>
            <p:cNvSpPr>
              <a:spLocks/>
            </p:cNvSpPr>
            <p:nvPr/>
          </p:nvSpPr>
          <p:spPr bwMode="auto">
            <a:xfrm>
              <a:off x="2389" y="1804"/>
              <a:ext cx="553" cy="401"/>
            </a:xfrm>
            <a:custGeom>
              <a:avLst/>
              <a:gdLst/>
              <a:ahLst/>
              <a:cxnLst>
                <a:cxn ang="0">
                  <a:pos x="112" y="39"/>
                </a:cxn>
                <a:cxn ang="0">
                  <a:pos x="110" y="64"/>
                </a:cxn>
                <a:cxn ang="0">
                  <a:pos x="96" y="87"/>
                </a:cxn>
                <a:cxn ang="0">
                  <a:pos x="71" y="113"/>
                </a:cxn>
                <a:cxn ang="0">
                  <a:pos x="50" y="131"/>
                </a:cxn>
                <a:cxn ang="0">
                  <a:pos x="62" y="177"/>
                </a:cxn>
                <a:cxn ang="0">
                  <a:pos x="60" y="196"/>
                </a:cxn>
                <a:cxn ang="0">
                  <a:pos x="29" y="198"/>
                </a:cxn>
                <a:cxn ang="0">
                  <a:pos x="8" y="206"/>
                </a:cxn>
                <a:cxn ang="0">
                  <a:pos x="0" y="231"/>
                </a:cxn>
                <a:cxn ang="0">
                  <a:pos x="29" y="252"/>
                </a:cxn>
                <a:cxn ang="0">
                  <a:pos x="66" y="292"/>
                </a:cxn>
                <a:cxn ang="0">
                  <a:pos x="81" y="323"/>
                </a:cxn>
                <a:cxn ang="0">
                  <a:pos x="100" y="348"/>
                </a:cxn>
                <a:cxn ang="0">
                  <a:pos x="131" y="346"/>
                </a:cxn>
                <a:cxn ang="0">
                  <a:pos x="158" y="357"/>
                </a:cxn>
                <a:cxn ang="0">
                  <a:pos x="179" y="374"/>
                </a:cxn>
                <a:cxn ang="0">
                  <a:pos x="198" y="386"/>
                </a:cxn>
                <a:cxn ang="0">
                  <a:pos x="223" y="394"/>
                </a:cxn>
                <a:cxn ang="0">
                  <a:pos x="240" y="401"/>
                </a:cxn>
                <a:cxn ang="0">
                  <a:pos x="257" y="380"/>
                </a:cxn>
                <a:cxn ang="0">
                  <a:pos x="286" y="361"/>
                </a:cxn>
                <a:cxn ang="0">
                  <a:pos x="313" y="369"/>
                </a:cxn>
                <a:cxn ang="0">
                  <a:pos x="338" y="369"/>
                </a:cxn>
                <a:cxn ang="0">
                  <a:pos x="359" y="359"/>
                </a:cxn>
                <a:cxn ang="0">
                  <a:pos x="380" y="351"/>
                </a:cxn>
                <a:cxn ang="0">
                  <a:pos x="405" y="338"/>
                </a:cxn>
                <a:cxn ang="0">
                  <a:pos x="430" y="342"/>
                </a:cxn>
                <a:cxn ang="0">
                  <a:pos x="453" y="338"/>
                </a:cxn>
                <a:cxn ang="0">
                  <a:pos x="469" y="311"/>
                </a:cxn>
                <a:cxn ang="0">
                  <a:pos x="490" y="286"/>
                </a:cxn>
                <a:cxn ang="0">
                  <a:pos x="509" y="267"/>
                </a:cxn>
                <a:cxn ang="0">
                  <a:pos x="530" y="254"/>
                </a:cxn>
                <a:cxn ang="0">
                  <a:pos x="543" y="234"/>
                </a:cxn>
                <a:cxn ang="0">
                  <a:pos x="541" y="225"/>
                </a:cxn>
                <a:cxn ang="0">
                  <a:pos x="511" y="221"/>
                </a:cxn>
                <a:cxn ang="0">
                  <a:pos x="488" y="217"/>
                </a:cxn>
                <a:cxn ang="0">
                  <a:pos x="465" y="206"/>
                </a:cxn>
                <a:cxn ang="0">
                  <a:pos x="430" y="204"/>
                </a:cxn>
                <a:cxn ang="0">
                  <a:pos x="401" y="200"/>
                </a:cxn>
                <a:cxn ang="0">
                  <a:pos x="388" y="188"/>
                </a:cxn>
                <a:cxn ang="0">
                  <a:pos x="373" y="171"/>
                </a:cxn>
                <a:cxn ang="0">
                  <a:pos x="361" y="148"/>
                </a:cxn>
                <a:cxn ang="0">
                  <a:pos x="348" y="137"/>
                </a:cxn>
                <a:cxn ang="0">
                  <a:pos x="323" y="135"/>
                </a:cxn>
                <a:cxn ang="0">
                  <a:pos x="317" y="117"/>
                </a:cxn>
                <a:cxn ang="0">
                  <a:pos x="313" y="98"/>
                </a:cxn>
                <a:cxn ang="0">
                  <a:pos x="327" y="85"/>
                </a:cxn>
                <a:cxn ang="0">
                  <a:pos x="317" y="71"/>
                </a:cxn>
                <a:cxn ang="0">
                  <a:pos x="304" y="52"/>
                </a:cxn>
                <a:cxn ang="0">
                  <a:pos x="290" y="37"/>
                </a:cxn>
                <a:cxn ang="0">
                  <a:pos x="275" y="19"/>
                </a:cxn>
                <a:cxn ang="0">
                  <a:pos x="250" y="12"/>
                </a:cxn>
                <a:cxn ang="0">
                  <a:pos x="227" y="6"/>
                </a:cxn>
                <a:cxn ang="0">
                  <a:pos x="208" y="0"/>
                </a:cxn>
                <a:cxn ang="0">
                  <a:pos x="188" y="6"/>
                </a:cxn>
                <a:cxn ang="0">
                  <a:pos x="175" y="25"/>
                </a:cxn>
                <a:cxn ang="0">
                  <a:pos x="154" y="19"/>
                </a:cxn>
                <a:cxn ang="0">
                  <a:pos x="129" y="18"/>
                </a:cxn>
              </a:cxnLst>
              <a:rect l="0" t="0" r="r" b="b"/>
              <a:pathLst>
                <a:path w="553" h="401">
                  <a:moveTo>
                    <a:pt x="121" y="19"/>
                  </a:moveTo>
                  <a:lnTo>
                    <a:pt x="119" y="25"/>
                  </a:lnTo>
                  <a:lnTo>
                    <a:pt x="117" y="31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4" y="37"/>
                  </a:lnTo>
                  <a:lnTo>
                    <a:pt x="112" y="39"/>
                  </a:lnTo>
                  <a:lnTo>
                    <a:pt x="112" y="42"/>
                  </a:lnTo>
                  <a:lnTo>
                    <a:pt x="110" y="46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58"/>
                  </a:lnTo>
                  <a:lnTo>
                    <a:pt x="108" y="60"/>
                  </a:lnTo>
                  <a:lnTo>
                    <a:pt x="110" y="64"/>
                  </a:lnTo>
                  <a:lnTo>
                    <a:pt x="110" y="66"/>
                  </a:lnTo>
                  <a:lnTo>
                    <a:pt x="110" y="69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2" y="79"/>
                  </a:lnTo>
                  <a:lnTo>
                    <a:pt x="100" y="83"/>
                  </a:lnTo>
                  <a:lnTo>
                    <a:pt x="98" y="83"/>
                  </a:lnTo>
                  <a:lnTo>
                    <a:pt x="96" y="87"/>
                  </a:lnTo>
                  <a:lnTo>
                    <a:pt x="92" y="89"/>
                  </a:lnTo>
                  <a:lnTo>
                    <a:pt x="91" y="94"/>
                  </a:lnTo>
                  <a:lnTo>
                    <a:pt x="87" y="98"/>
                  </a:lnTo>
                  <a:lnTo>
                    <a:pt x="83" y="100"/>
                  </a:lnTo>
                  <a:lnTo>
                    <a:pt x="81" y="104"/>
                  </a:lnTo>
                  <a:lnTo>
                    <a:pt x="77" y="108"/>
                  </a:lnTo>
                  <a:lnTo>
                    <a:pt x="73" y="110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6" y="115"/>
                  </a:lnTo>
                  <a:lnTo>
                    <a:pt x="64" y="117"/>
                  </a:lnTo>
                  <a:lnTo>
                    <a:pt x="60" y="119"/>
                  </a:lnTo>
                  <a:lnTo>
                    <a:pt x="56" y="123"/>
                  </a:lnTo>
                  <a:lnTo>
                    <a:pt x="54" y="127"/>
                  </a:lnTo>
                  <a:lnTo>
                    <a:pt x="52" y="129"/>
                  </a:lnTo>
                  <a:lnTo>
                    <a:pt x="50" y="131"/>
                  </a:lnTo>
                  <a:lnTo>
                    <a:pt x="48" y="135"/>
                  </a:lnTo>
                  <a:lnTo>
                    <a:pt x="48" y="140"/>
                  </a:lnTo>
                  <a:lnTo>
                    <a:pt x="50" y="148"/>
                  </a:lnTo>
                  <a:lnTo>
                    <a:pt x="54" y="160"/>
                  </a:lnTo>
                  <a:lnTo>
                    <a:pt x="56" y="165"/>
                  </a:lnTo>
                  <a:lnTo>
                    <a:pt x="56" y="171"/>
                  </a:lnTo>
                  <a:lnTo>
                    <a:pt x="60" y="173"/>
                  </a:lnTo>
                  <a:lnTo>
                    <a:pt x="62" y="177"/>
                  </a:lnTo>
                  <a:lnTo>
                    <a:pt x="66" y="179"/>
                  </a:lnTo>
                  <a:lnTo>
                    <a:pt x="68" y="181"/>
                  </a:lnTo>
                  <a:lnTo>
                    <a:pt x="68" y="183"/>
                  </a:lnTo>
                  <a:lnTo>
                    <a:pt x="66" y="186"/>
                  </a:lnTo>
                  <a:lnTo>
                    <a:pt x="66" y="188"/>
                  </a:lnTo>
                  <a:lnTo>
                    <a:pt x="64" y="192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56" y="198"/>
                  </a:lnTo>
                  <a:lnTo>
                    <a:pt x="52" y="198"/>
                  </a:lnTo>
                  <a:lnTo>
                    <a:pt x="46" y="198"/>
                  </a:lnTo>
                  <a:lnTo>
                    <a:pt x="41" y="200"/>
                  </a:lnTo>
                  <a:lnTo>
                    <a:pt x="39" y="200"/>
                  </a:lnTo>
                  <a:lnTo>
                    <a:pt x="37" y="200"/>
                  </a:lnTo>
                  <a:lnTo>
                    <a:pt x="33" y="198"/>
                  </a:lnTo>
                  <a:lnTo>
                    <a:pt x="29" y="198"/>
                  </a:lnTo>
                  <a:lnTo>
                    <a:pt x="25" y="198"/>
                  </a:lnTo>
                  <a:lnTo>
                    <a:pt x="21" y="200"/>
                  </a:lnTo>
                  <a:lnTo>
                    <a:pt x="21" y="202"/>
                  </a:lnTo>
                  <a:lnTo>
                    <a:pt x="20" y="204"/>
                  </a:lnTo>
                  <a:lnTo>
                    <a:pt x="16" y="204"/>
                  </a:lnTo>
                  <a:lnTo>
                    <a:pt x="14" y="206"/>
                  </a:lnTo>
                  <a:lnTo>
                    <a:pt x="12" y="206"/>
                  </a:lnTo>
                  <a:lnTo>
                    <a:pt x="8" y="206"/>
                  </a:lnTo>
                  <a:lnTo>
                    <a:pt x="6" y="208"/>
                  </a:lnTo>
                  <a:lnTo>
                    <a:pt x="2" y="209"/>
                  </a:lnTo>
                  <a:lnTo>
                    <a:pt x="2" y="215"/>
                  </a:lnTo>
                  <a:lnTo>
                    <a:pt x="0" y="219"/>
                  </a:lnTo>
                  <a:lnTo>
                    <a:pt x="0" y="223"/>
                  </a:lnTo>
                  <a:lnTo>
                    <a:pt x="0" y="225"/>
                  </a:lnTo>
                  <a:lnTo>
                    <a:pt x="0" y="229"/>
                  </a:lnTo>
                  <a:lnTo>
                    <a:pt x="0" y="231"/>
                  </a:lnTo>
                  <a:lnTo>
                    <a:pt x="2" y="234"/>
                  </a:lnTo>
                  <a:lnTo>
                    <a:pt x="12" y="234"/>
                  </a:lnTo>
                  <a:lnTo>
                    <a:pt x="20" y="236"/>
                  </a:lnTo>
                  <a:lnTo>
                    <a:pt x="20" y="238"/>
                  </a:lnTo>
                  <a:lnTo>
                    <a:pt x="21" y="242"/>
                  </a:lnTo>
                  <a:lnTo>
                    <a:pt x="27" y="248"/>
                  </a:lnTo>
                  <a:lnTo>
                    <a:pt x="27" y="250"/>
                  </a:lnTo>
                  <a:lnTo>
                    <a:pt x="29" y="252"/>
                  </a:lnTo>
                  <a:lnTo>
                    <a:pt x="33" y="255"/>
                  </a:lnTo>
                  <a:lnTo>
                    <a:pt x="39" y="261"/>
                  </a:lnTo>
                  <a:lnTo>
                    <a:pt x="46" y="271"/>
                  </a:lnTo>
                  <a:lnTo>
                    <a:pt x="54" y="277"/>
                  </a:lnTo>
                  <a:lnTo>
                    <a:pt x="56" y="279"/>
                  </a:lnTo>
                  <a:lnTo>
                    <a:pt x="62" y="286"/>
                  </a:lnTo>
                  <a:lnTo>
                    <a:pt x="64" y="288"/>
                  </a:lnTo>
                  <a:lnTo>
                    <a:pt x="66" y="292"/>
                  </a:lnTo>
                  <a:lnTo>
                    <a:pt x="66" y="300"/>
                  </a:lnTo>
                  <a:lnTo>
                    <a:pt x="68" y="302"/>
                  </a:lnTo>
                  <a:lnTo>
                    <a:pt x="68" y="303"/>
                  </a:lnTo>
                  <a:lnTo>
                    <a:pt x="69" y="307"/>
                  </a:lnTo>
                  <a:lnTo>
                    <a:pt x="69" y="309"/>
                  </a:lnTo>
                  <a:lnTo>
                    <a:pt x="73" y="315"/>
                  </a:lnTo>
                  <a:lnTo>
                    <a:pt x="77" y="321"/>
                  </a:lnTo>
                  <a:lnTo>
                    <a:pt x="81" y="323"/>
                  </a:lnTo>
                  <a:lnTo>
                    <a:pt x="81" y="326"/>
                  </a:lnTo>
                  <a:lnTo>
                    <a:pt x="83" y="330"/>
                  </a:lnTo>
                  <a:lnTo>
                    <a:pt x="85" y="334"/>
                  </a:lnTo>
                  <a:lnTo>
                    <a:pt x="87" y="336"/>
                  </a:lnTo>
                  <a:lnTo>
                    <a:pt x="91" y="342"/>
                  </a:lnTo>
                  <a:lnTo>
                    <a:pt x="92" y="348"/>
                  </a:lnTo>
                  <a:lnTo>
                    <a:pt x="98" y="348"/>
                  </a:lnTo>
                  <a:lnTo>
                    <a:pt x="100" y="348"/>
                  </a:lnTo>
                  <a:lnTo>
                    <a:pt x="102" y="348"/>
                  </a:lnTo>
                  <a:lnTo>
                    <a:pt x="106" y="348"/>
                  </a:lnTo>
                  <a:lnTo>
                    <a:pt x="112" y="348"/>
                  </a:lnTo>
                  <a:lnTo>
                    <a:pt x="115" y="348"/>
                  </a:lnTo>
                  <a:lnTo>
                    <a:pt x="119" y="348"/>
                  </a:lnTo>
                  <a:lnTo>
                    <a:pt x="123" y="346"/>
                  </a:lnTo>
                  <a:lnTo>
                    <a:pt x="127" y="346"/>
                  </a:lnTo>
                  <a:lnTo>
                    <a:pt x="131" y="346"/>
                  </a:lnTo>
                  <a:lnTo>
                    <a:pt x="133" y="348"/>
                  </a:lnTo>
                  <a:lnTo>
                    <a:pt x="137" y="351"/>
                  </a:lnTo>
                  <a:lnTo>
                    <a:pt x="142" y="351"/>
                  </a:lnTo>
                  <a:lnTo>
                    <a:pt x="144" y="353"/>
                  </a:lnTo>
                  <a:lnTo>
                    <a:pt x="14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8" y="357"/>
                  </a:lnTo>
                  <a:lnTo>
                    <a:pt x="162" y="357"/>
                  </a:lnTo>
                  <a:lnTo>
                    <a:pt x="162" y="359"/>
                  </a:lnTo>
                  <a:lnTo>
                    <a:pt x="163" y="361"/>
                  </a:lnTo>
                  <a:lnTo>
                    <a:pt x="165" y="365"/>
                  </a:lnTo>
                  <a:lnTo>
                    <a:pt x="169" y="365"/>
                  </a:lnTo>
                  <a:lnTo>
                    <a:pt x="171" y="367"/>
                  </a:lnTo>
                  <a:lnTo>
                    <a:pt x="175" y="371"/>
                  </a:lnTo>
                  <a:lnTo>
                    <a:pt x="179" y="374"/>
                  </a:lnTo>
                  <a:lnTo>
                    <a:pt x="181" y="374"/>
                  </a:lnTo>
                  <a:lnTo>
                    <a:pt x="185" y="374"/>
                  </a:lnTo>
                  <a:lnTo>
                    <a:pt x="186" y="376"/>
                  </a:lnTo>
                  <a:lnTo>
                    <a:pt x="188" y="380"/>
                  </a:lnTo>
                  <a:lnTo>
                    <a:pt x="192" y="382"/>
                  </a:lnTo>
                  <a:lnTo>
                    <a:pt x="196" y="382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8"/>
                  </a:lnTo>
                  <a:lnTo>
                    <a:pt x="204" y="388"/>
                  </a:lnTo>
                  <a:lnTo>
                    <a:pt x="206" y="390"/>
                  </a:lnTo>
                  <a:lnTo>
                    <a:pt x="208" y="392"/>
                  </a:lnTo>
                  <a:lnTo>
                    <a:pt x="213" y="392"/>
                  </a:lnTo>
                  <a:lnTo>
                    <a:pt x="215" y="392"/>
                  </a:lnTo>
                  <a:lnTo>
                    <a:pt x="217" y="392"/>
                  </a:lnTo>
                  <a:lnTo>
                    <a:pt x="223" y="394"/>
                  </a:lnTo>
                  <a:lnTo>
                    <a:pt x="225" y="394"/>
                  </a:lnTo>
                  <a:lnTo>
                    <a:pt x="227" y="396"/>
                  </a:lnTo>
                  <a:lnTo>
                    <a:pt x="229" y="397"/>
                  </a:lnTo>
                  <a:lnTo>
                    <a:pt x="233" y="397"/>
                  </a:lnTo>
                  <a:lnTo>
                    <a:pt x="233" y="399"/>
                  </a:lnTo>
                  <a:lnTo>
                    <a:pt x="233" y="399"/>
                  </a:lnTo>
                  <a:lnTo>
                    <a:pt x="238" y="399"/>
                  </a:lnTo>
                  <a:lnTo>
                    <a:pt x="240" y="401"/>
                  </a:lnTo>
                  <a:lnTo>
                    <a:pt x="242" y="401"/>
                  </a:lnTo>
                  <a:lnTo>
                    <a:pt x="242" y="399"/>
                  </a:lnTo>
                  <a:lnTo>
                    <a:pt x="244" y="397"/>
                  </a:lnTo>
                  <a:lnTo>
                    <a:pt x="246" y="394"/>
                  </a:lnTo>
                  <a:lnTo>
                    <a:pt x="250" y="392"/>
                  </a:lnTo>
                  <a:lnTo>
                    <a:pt x="250" y="386"/>
                  </a:lnTo>
                  <a:lnTo>
                    <a:pt x="254" y="382"/>
                  </a:lnTo>
                  <a:lnTo>
                    <a:pt x="257" y="380"/>
                  </a:lnTo>
                  <a:lnTo>
                    <a:pt x="259" y="378"/>
                  </a:lnTo>
                  <a:lnTo>
                    <a:pt x="263" y="376"/>
                  </a:lnTo>
                  <a:lnTo>
                    <a:pt x="265" y="374"/>
                  </a:lnTo>
                  <a:lnTo>
                    <a:pt x="269" y="371"/>
                  </a:lnTo>
                  <a:lnTo>
                    <a:pt x="271" y="369"/>
                  </a:lnTo>
                  <a:lnTo>
                    <a:pt x="275" y="367"/>
                  </a:lnTo>
                  <a:lnTo>
                    <a:pt x="282" y="365"/>
                  </a:lnTo>
                  <a:lnTo>
                    <a:pt x="286" y="361"/>
                  </a:lnTo>
                  <a:lnTo>
                    <a:pt x="294" y="361"/>
                  </a:lnTo>
                  <a:lnTo>
                    <a:pt x="296" y="363"/>
                  </a:lnTo>
                  <a:lnTo>
                    <a:pt x="300" y="365"/>
                  </a:lnTo>
                  <a:lnTo>
                    <a:pt x="302" y="367"/>
                  </a:lnTo>
                  <a:lnTo>
                    <a:pt x="304" y="367"/>
                  </a:lnTo>
                  <a:lnTo>
                    <a:pt x="309" y="367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9" y="371"/>
                  </a:lnTo>
                  <a:lnTo>
                    <a:pt x="321" y="371"/>
                  </a:lnTo>
                  <a:lnTo>
                    <a:pt x="325" y="371"/>
                  </a:lnTo>
                  <a:lnTo>
                    <a:pt x="328" y="371"/>
                  </a:lnTo>
                  <a:lnTo>
                    <a:pt x="330" y="371"/>
                  </a:lnTo>
                  <a:lnTo>
                    <a:pt x="332" y="369"/>
                  </a:lnTo>
                  <a:lnTo>
                    <a:pt x="338" y="369"/>
                  </a:lnTo>
                  <a:lnTo>
                    <a:pt x="340" y="369"/>
                  </a:lnTo>
                  <a:lnTo>
                    <a:pt x="342" y="369"/>
                  </a:lnTo>
                  <a:lnTo>
                    <a:pt x="346" y="367"/>
                  </a:lnTo>
                  <a:lnTo>
                    <a:pt x="350" y="365"/>
                  </a:lnTo>
                  <a:lnTo>
                    <a:pt x="353" y="363"/>
                  </a:lnTo>
                  <a:lnTo>
                    <a:pt x="357" y="363"/>
                  </a:lnTo>
                  <a:lnTo>
                    <a:pt x="357" y="361"/>
                  </a:lnTo>
                  <a:lnTo>
                    <a:pt x="359" y="359"/>
                  </a:lnTo>
                  <a:lnTo>
                    <a:pt x="363" y="359"/>
                  </a:lnTo>
                  <a:lnTo>
                    <a:pt x="365" y="357"/>
                  </a:lnTo>
                  <a:lnTo>
                    <a:pt x="371" y="357"/>
                  </a:lnTo>
                  <a:lnTo>
                    <a:pt x="371" y="357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8" y="351"/>
                  </a:lnTo>
                  <a:lnTo>
                    <a:pt x="380" y="351"/>
                  </a:lnTo>
                  <a:lnTo>
                    <a:pt x="384" y="346"/>
                  </a:lnTo>
                  <a:lnTo>
                    <a:pt x="388" y="344"/>
                  </a:lnTo>
                  <a:lnTo>
                    <a:pt x="390" y="340"/>
                  </a:lnTo>
                  <a:lnTo>
                    <a:pt x="394" y="340"/>
                  </a:lnTo>
                  <a:lnTo>
                    <a:pt x="396" y="338"/>
                  </a:lnTo>
                  <a:lnTo>
                    <a:pt x="399" y="338"/>
                  </a:lnTo>
                  <a:lnTo>
                    <a:pt x="401" y="338"/>
                  </a:lnTo>
                  <a:lnTo>
                    <a:pt x="405" y="338"/>
                  </a:lnTo>
                  <a:lnTo>
                    <a:pt x="409" y="340"/>
                  </a:lnTo>
                  <a:lnTo>
                    <a:pt x="411" y="340"/>
                  </a:lnTo>
                  <a:lnTo>
                    <a:pt x="415" y="340"/>
                  </a:lnTo>
                  <a:lnTo>
                    <a:pt x="419" y="340"/>
                  </a:lnTo>
                  <a:lnTo>
                    <a:pt x="421" y="340"/>
                  </a:lnTo>
                  <a:lnTo>
                    <a:pt x="424" y="340"/>
                  </a:lnTo>
                  <a:lnTo>
                    <a:pt x="426" y="342"/>
                  </a:lnTo>
                  <a:lnTo>
                    <a:pt x="430" y="342"/>
                  </a:lnTo>
                  <a:lnTo>
                    <a:pt x="432" y="342"/>
                  </a:lnTo>
                  <a:lnTo>
                    <a:pt x="434" y="344"/>
                  </a:lnTo>
                  <a:lnTo>
                    <a:pt x="438" y="344"/>
                  </a:lnTo>
                  <a:lnTo>
                    <a:pt x="440" y="342"/>
                  </a:lnTo>
                  <a:lnTo>
                    <a:pt x="446" y="342"/>
                  </a:lnTo>
                  <a:lnTo>
                    <a:pt x="449" y="340"/>
                  </a:lnTo>
                  <a:lnTo>
                    <a:pt x="451" y="338"/>
                  </a:lnTo>
                  <a:lnTo>
                    <a:pt x="453" y="338"/>
                  </a:lnTo>
                  <a:lnTo>
                    <a:pt x="453" y="332"/>
                  </a:lnTo>
                  <a:lnTo>
                    <a:pt x="455" y="330"/>
                  </a:lnTo>
                  <a:lnTo>
                    <a:pt x="457" y="330"/>
                  </a:lnTo>
                  <a:lnTo>
                    <a:pt x="461" y="328"/>
                  </a:lnTo>
                  <a:lnTo>
                    <a:pt x="463" y="323"/>
                  </a:lnTo>
                  <a:lnTo>
                    <a:pt x="463" y="319"/>
                  </a:lnTo>
                  <a:lnTo>
                    <a:pt x="465" y="315"/>
                  </a:lnTo>
                  <a:lnTo>
                    <a:pt x="469" y="311"/>
                  </a:lnTo>
                  <a:lnTo>
                    <a:pt x="469" y="307"/>
                  </a:lnTo>
                  <a:lnTo>
                    <a:pt x="470" y="305"/>
                  </a:lnTo>
                  <a:lnTo>
                    <a:pt x="474" y="300"/>
                  </a:lnTo>
                  <a:lnTo>
                    <a:pt x="478" y="296"/>
                  </a:lnTo>
                  <a:lnTo>
                    <a:pt x="480" y="296"/>
                  </a:lnTo>
                  <a:lnTo>
                    <a:pt x="482" y="294"/>
                  </a:lnTo>
                  <a:lnTo>
                    <a:pt x="486" y="290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5" y="282"/>
                  </a:lnTo>
                  <a:lnTo>
                    <a:pt x="497" y="279"/>
                  </a:lnTo>
                  <a:lnTo>
                    <a:pt x="501" y="275"/>
                  </a:lnTo>
                  <a:lnTo>
                    <a:pt x="505" y="271"/>
                  </a:lnTo>
                  <a:lnTo>
                    <a:pt x="507" y="269"/>
                  </a:lnTo>
                  <a:lnTo>
                    <a:pt x="509" y="269"/>
                  </a:lnTo>
                  <a:lnTo>
                    <a:pt x="509" y="267"/>
                  </a:lnTo>
                  <a:lnTo>
                    <a:pt x="515" y="265"/>
                  </a:lnTo>
                  <a:lnTo>
                    <a:pt x="516" y="261"/>
                  </a:lnTo>
                  <a:lnTo>
                    <a:pt x="520" y="259"/>
                  </a:lnTo>
                  <a:lnTo>
                    <a:pt x="524" y="257"/>
                  </a:lnTo>
                  <a:lnTo>
                    <a:pt x="526" y="257"/>
                  </a:lnTo>
                  <a:lnTo>
                    <a:pt x="528" y="255"/>
                  </a:lnTo>
                  <a:lnTo>
                    <a:pt x="528" y="254"/>
                  </a:lnTo>
                  <a:lnTo>
                    <a:pt x="530" y="254"/>
                  </a:lnTo>
                  <a:lnTo>
                    <a:pt x="534" y="252"/>
                  </a:lnTo>
                  <a:lnTo>
                    <a:pt x="534" y="248"/>
                  </a:lnTo>
                  <a:lnTo>
                    <a:pt x="538" y="246"/>
                  </a:lnTo>
                  <a:lnTo>
                    <a:pt x="538" y="244"/>
                  </a:lnTo>
                  <a:lnTo>
                    <a:pt x="541" y="242"/>
                  </a:lnTo>
                  <a:lnTo>
                    <a:pt x="541" y="238"/>
                  </a:lnTo>
                  <a:lnTo>
                    <a:pt x="541" y="236"/>
                  </a:lnTo>
                  <a:lnTo>
                    <a:pt x="543" y="234"/>
                  </a:lnTo>
                  <a:lnTo>
                    <a:pt x="547" y="232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3" y="227"/>
                  </a:lnTo>
                  <a:lnTo>
                    <a:pt x="553" y="225"/>
                  </a:lnTo>
                  <a:lnTo>
                    <a:pt x="551" y="225"/>
                  </a:lnTo>
                  <a:lnTo>
                    <a:pt x="543" y="225"/>
                  </a:lnTo>
                  <a:lnTo>
                    <a:pt x="541" y="225"/>
                  </a:lnTo>
                  <a:lnTo>
                    <a:pt x="540" y="225"/>
                  </a:lnTo>
                  <a:lnTo>
                    <a:pt x="538" y="227"/>
                  </a:lnTo>
                  <a:lnTo>
                    <a:pt x="534" y="227"/>
                  </a:lnTo>
                  <a:lnTo>
                    <a:pt x="530" y="227"/>
                  </a:lnTo>
                  <a:lnTo>
                    <a:pt x="526" y="225"/>
                  </a:lnTo>
                  <a:lnTo>
                    <a:pt x="522" y="223"/>
                  </a:lnTo>
                  <a:lnTo>
                    <a:pt x="518" y="221"/>
                  </a:lnTo>
                  <a:lnTo>
                    <a:pt x="511" y="221"/>
                  </a:lnTo>
                  <a:lnTo>
                    <a:pt x="507" y="219"/>
                  </a:lnTo>
                  <a:lnTo>
                    <a:pt x="505" y="219"/>
                  </a:lnTo>
                  <a:lnTo>
                    <a:pt x="501" y="219"/>
                  </a:lnTo>
                  <a:lnTo>
                    <a:pt x="497" y="219"/>
                  </a:lnTo>
                  <a:lnTo>
                    <a:pt x="495" y="219"/>
                  </a:lnTo>
                  <a:lnTo>
                    <a:pt x="493" y="219"/>
                  </a:lnTo>
                  <a:lnTo>
                    <a:pt x="490" y="219"/>
                  </a:lnTo>
                  <a:lnTo>
                    <a:pt x="488" y="217"/>
                  </a:lnTo>
                  <a:lnTo>
                    <a:pt x="484" y="217"/>
                  </a:lnTo>
                  <a:lnTo>
                    <a:pt x="480" y="215"/>
                  </a:lnTo>
                  <a:lnTo>
                    <a:pt x="478" y="215"/>
                  </a:lnTo>
                  <a:lnTo>
                    <a:pt x="474" y="213"/>
                  </a:lnTo>
                  <a:lnTo>
                    <a:pt x="472" y="209"/>
                  </a:lnTo>
                  <a:lnTo>
                    <a:pt x="470" y="208"/>
                  </a:lnTo>
                  <a:lnTo>
                    <a:pt x="469" y="208"/>
                  </a:lnTo>
                  <a:lnTo>
                    <a:pt x="465" y="206"/>
                  </a:lnTo>
                  <a:lnTo>
                    <a:pt x="463" y="204"/>
                  </a:lnTo>
                  <a:lnTo>
                    <a:pt x="461" y="204"/>
                  </a:lnTo>
                  <a:lnTo>
                    <a:pt x="457" y="204"/>
                  </a:lnTo>
                  <a:lnTo>
                    <a:pt x="453" y="204"/>
                  </a:lnTo>
                  <a:lnTo>
                    <a:pt x="446" y="204"/>
                  </a:lnTo>
                  <a:lnTo>
                    <a:pt x="444" y="204"/>
                  </a:lnTo>
                  <a:lnTo>
                    <a:pt x="436" y="204"/>
                  </a:lnTo>
                  <a:lnTo>
                    <a:pt x="430" y="204"/>
                  </a:lnTo>
                  <a:lnTo>
                    <a:pt x="426" y="204"/>
                  </a:lnTo>
                  <a:lnTo>
                    <a:pt x="422" y="204"/>
                  </a:lnTo>
                  <a:lnTo>
                    <a:pt x="417" y="204"/>
                  </a:lnTo>
                  <a:lnTo>
                    <a:pt x="413" y="204"/>
                  </a:lnTo>
                  <a:lnTo>
                    <a:pt x="409" y="204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1" y="200"/>
                  </a:lnTo>
                  <a:lnTo>
                    <a:pt x="399" y="198"/>
                  </a:lnTo>
                  <a:lnTo>
                    <a:pt x="398" y="198"/>
                  </a:lnTo>
                  <a:lnTo>
                    <a:pt x="398" y="196"/>
                  </a:lnTo>
                  <a:lnTo>
                    <a:pt x="394" y="196"/>
                  </a:lnTo>
                  <a:lnTo>
                    <a:pt x="392" y="194"/>
                  </a:lnTo>
                  <a:lnTo>
                    <a:pt x="392" y="192"/>
                  </a:lnTo>
                  <a:lnTo>
                    <a:pt x="390" y="190"/>
                  </a:lnTo>
                  <a:lnTo>
                    <a:pt x="388" y="188"/>
                  </a:lnTo>
                  <a:lnTo>
                    <a:pt x="386" y="188"/>
                  </a:lnTo>
                  <a:lnTo>
                    <a:pt x="386" y="186"/>
                  </a:lnTo>
                  <a:lnTo>
                    <a:pt x="384" y="184"/>
                  </a:lnTo>
                  <a:lnTo>
                    <a:pt x="382" y="183"/>
                  </a:lnTo>
                  <a:lnTo>
                    <a:pt x="378" y="179"/>
                  </a:lnTo>
                  <a:lnTo>
                    <a:pt x="375" y="177"/>
                  </a:lnTo>
                  <a:lnTo>
                    <a:pt x="375" y="173"/>
                  </a:lnTo>
                  <a:lnTo>
                    <a:pt x="373" y="171"/>
                  </a:lnTo>
                  <a:lnTo>
                    <a:pt x="373" y="169"/>
                  </a:lnTo>
                  <a:lnTo>
                    <a:pt x="371" y="167"/>
                  </a:lnTo>
                  <a:lnTo>
                    <a:pt x="371" y="163"/>
                  </a:lnTo>
                  <a:lnTo>
                    <a:pt x="367" y="160"/>
                  </a:lnTo>
                  <a:lnTo>
                    <a:pt x="367" y="156"/>
                  </a:lnTo>
                  <a:lnTo>
                    <a:pt x="365" y="154"/>
                  </a:lnTo>
                  <a:lnTo>
                    <a:pt x="365" y="152"/>
                  </a:lnTo>
                  <a:lnTo>
                    <a:pt x="361" y="148"/>
                  </a:lnTo>
                  <a:lnTo>
                    <a:pt x="361" y="144"/>
                  </a:lnTo>
                  <a:lnTo>
                    <a:pt x="359" y="144"/>
                  </a:lnTo>
                  <a:lnTo>
                    <a:pt x="357" y="142"/>
                  </a:lnTo>
                  <a:lnTo>
                    <a:pt x="357" y="137"/>
                  </a:lnTo>
                  <a:lnTo>
                    <a:pt x="357" y="135"/>
                  </a:lnTo>
                  <a:lnTo>
                    <a:pt x="353" y="135"/>
                  </a:lnTo>
                  <a:lnTo>
                    <a:pt x="350" y="137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38" y="137"/>
                  </a:lnTo>
                  <a:lnTo>
                    <a:pt x="336" y="137"/>
                  </a:lnTo>
                  <a:lnTo>
                    <a:pt x="332" y="137"/>
                  </a:lnTo>
                  <a:lnTo>
                    <a:pt x="330" y="137"/>
                  </a:lnTo>
                  <a:lnTo>
                    <a:pt x="328" y="137"/>
                  </a:lnTo>
                  <a:lnTo>
                    <a:pt x="325" y="137"/>
                  </a:lnTo>
                  <a:lnTo>
                    <a:pt x="323" y="135"/>
                  </a:lnTo>
                  <a:lnTo>
                    <a:pt x="321" y="133"/>
                  </a:lnTo>
                  <a:lnTo>
                    <a:pt x="321" y="131"/>
                  </a:lnTo>
                  <a:lnTo>
                    <a:pt x="321" y="127"/>
                  </a:lnTo>
                  <a:lnTo>
                    <a:pt x="319" y="127"/>
                  </a:lnTo>
                  <a:lnTo>
                    <a:pt x="319" y="123"/>
                  </a:lnTo>
                  <a:lnTo>
                    <a:pt x="317" y="121"/>
                  </a:lnTo>
                  <a:lnTo>
                    <a:pt x="317" y="119"/>
                  </a:lnTo>
                  <a:lnTo>
                    <a:pt x="317" y="117"/>
                  </a:lnTo>
                  <a:lnTo>
                    <a:pt x="315" y="115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3" y="110"/>
                  </a:lnTo>
                  <a:lnTo>
                    <a:pt x="313" y="106"/>
                  </a:lnTo>
                  <a:lnTo>
                    <a:pt x="313" y="102"/>
                  </a:lnTo>
                  <a:lnTo>
                    <a:pt x="313" y="100"/>
                  </a:lnTo>
                  <a:lnTo>
                    <a:pt x="313" y="98"/>
                  </a:lnTo>
                  <a:lnTo>
                    <a:pt x="313" y="96"/>
                  </a:lnTo>
                  <a:lnTo>
                    <a:pt x="317" y="94"/>
                  </a:lnTo>
                  <a:lnTo>
                    <a:pt x="319" y="92"/>
                  </a:lnTo>
                  <a:lnTo>
                    <a:pt x="321" y="90"/>
                  </a:lnTo>
                  <a:lnTo>
                    <a:pt x="321" y="89"/>
                  </a:lnTo>
                  <a:lnTo>
                    <a:pt x="325" y="89"/>
                  </a:lnTo>
                  <a:lnTo>
                    <a:pt x="327" y="87"/>
                  </a:lnTo>
                  <a:lnTo>
                    <a:pt x="327" y="85"/>
                  </a:lnTo>
                  <a:lnTo>
                    <a:pt x="330" y="83"/>
                  </a:lnTo>
                  <a:lnTo>
                    <a:pt x="330" y="79"/>
                  </a:lnTo>
                  <a:lnTo>
                    <a:pt x="328" y="77"/>
                  </a:lnTo>
                  <a:lnTo>
                    <a:pt x="325" y="77"/>
                  </a:lnTo>
                  <a:lnTo>
                    <a:pt x="325" y="75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17" y="71"/>
                  </a:lnTo>
                  <a:lnTo>
                    <a:pt x="315" y="69"/>
                  </a:lnTo>
                  <a:lnTo>
                    <a:pt x="313" y="67"/>
                  </a:lnTo>
                  <a:lnTo>
                    <a:pt x="311" y="66"/>
                  </a:lnTo>
                  <a:lnTo>
                    <a:pt x="309" y="62"/>
                  </a:lnTo>
                  <a:lnTo>
                    <a:pt x="307" y="60"/>
                  </a:lnTo>
                  <a:lnTo>
                    <a:pt x="305" y="56"/>
                  </a:lnTo>
                  <a:lnTo>
                    <a:pt x="304" y="56"/>
                  </a:lnTo>
                  <a:lnTo>
                    <a:pt x="304" y="52"/>
                  </a:lnTo>
                  <a:lnTo>
                    <a:pt x="300" y="48"/>
                  </a:lnTo>
                  <a:lnTo>
                    <a:pt x="300" y="46"/>
                  </a:lnTo>
                  <a:lnTo>
                    <a:pt x="298" y="44"/>
                  </a:lnTo>
                  <a:lnTo>
                    <a:pt x="296" y="42"/>
                  </a:lnTo>
                  <a:lnTo>
                    <a:pt x="294" y="42"/>
                  </a:lnTo>
                  <a:lnTo>
                    <a:pt x="294" y="41"/>
                  </a:lnTo>
                  <a:lnTo>
                    <a:pt x="294" y="39"/>
                  </a:lnTo>
                  <a:lnTo>
                    <a:pt x="290" y="37"/>
                  </a:lnTo>
                  <a:lnTo>
                    <a:pt x="288" y="33"/>
                  </a:lnTo>
                  <a:lnTo>
                    <a:pt x="286" y="31"/>
                  </a:lnTo>
                  <a:lnTo>
                    <a:pt x="284" y="29"/>
                  </a:lnTo>
                  <a:lnTo>
                    <a:pt x="284" y="27"/>
                  </a:lnTo>
                  <a:lnTo>
                    <a:pt x="282" y="25"/>
                  </a:lnTo>
                  <a:lnTo>
                    <a:pt x="280" y="21"/>
                  </a:lnTo>
                  <a:lnTo>
                    <a:pt x="277" y="19"/>
                  </a:lnTo>
                  <a:lnTo>
                    <a:pt x="275" y="19"/>
                  </a:lnTo>
                  <a:lnTo>
                    <a:pt x="271" y="19"/>
                  </a:lnTo>
                  <a:lnTo>
                    <a:pt x="267" y="18"/>
                  </a:lnTo>
                  <a:lnTo>
                    <a:pt x="265" y="18"/>
                  </a:lnTo>
                  <a:lnTo>
                    <a:pt x="261" y="18"/>
                  </a:lnTo>
                  <a:lnTo>
                    <a:pt x="259" y="16"/>
                  </a:lnTo>
                  <a:lnTo>
                    <a:pt x="257" y="14"/>
                  </a:lnTo>
                  <a:lnTo>
                    <a:pt x="254" y="14"/>
                  </a:lnTo>
                  <a:lnTo>
                    <a:pt x="250" y="12"/>
                  </a:lnTo>
                  <a:lnTo>
                    <a:pt x="248" y="12"/>
                  </a:lnTo>
                  <a:lnTo>
                    <a:pt x="242" y="12"/>
                  </a:lnTo>
                  <a:lnTo>
                    <a:pt x="240" y="12"/>
                  </a:lnTo>
                  <a:lnTo>
                    <a:pt x="236" y="12"/>
                  </a:lnTo>
                  <a:lnTo>
                    <a:pt x="234" y="12"/>
                  </a:lnTo>
                  <a:lnTo>
                    <a:pt x="233" y="12"/>
                  </a:lnTo>
                  <a:lnTo>
                    <a:pt x="229" y="10"/>
                  </a:lnTo>
                  <a:lnTo>
                    <a:pt x="227" y="6"/>
                  </a:lnTo>
                  <a:lnTo>
                    <a:pt x="223" y="6"/>
                  </a:lnTo>
                  <a:lnTo>
                    <a:pt x="223" y="4"/>
                  </a:lnTo>
                  <a:lnTo>
                    <a:pt x="221" y="4"/>
                  </a:lnTo>
                  <a:lnTo>
                    <a:pt x="219" y="2"/>
                  </a:lnTo>
                  <a:lnTo>
                    <a:pt x="215" y="2"/>
                  </a:lnTo>
                  <a:lnTo>
                    <a:pt x="215" y="0"/>
                  </a:lnTo>
                  <a:lnTo>
                    <a:pt x="211" y="0"/>
                  </a:lnTo>
                  <a:lnTo>
                    <a:pt x="208" y="0"/>
                  </a:lnTo>
                  <a:lnTo>
                    <a:pt x="206" y="0"/>
                  </a:lnTo>
                  <a:lnTo>
                    <a:pt x="202" y="2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0" y="4"/>
                  </a:lnTo>
                  <a:lnTo>
                    <a:pt x="188" y="6"/>
                  </a:lnTo>
                  <a:lnTo>
                    <a:pt x="185" y="8"/>
                  </a:lnTo>
                  <a:lnTo>
                    <a:pt x="183" y="12"/>
                  </a:lnTo>
                  <a:lnTo>
                    <a:pt x="181" y="14"/>
                  </a:lnTo>
                  <a:lnTo>
                    <a:pt x="181" y="18"/>
                  </a:lnTo>
                  <a:lnTo>
                    <a:pt x="179" y="19"/>
                  </a:lnTo>
                  <a:lnTo>
                    <a:pt x="179" y="21"/>
                  </a:lnTo>
                  <a:lnTo>
                    <a:pt x="177" y="23"/>
                  </a:lnTo>
                  <a:lnTo>
                    <a:pt x="175" y="25"/>
                  </a:lnTo>
                  <a:lnTo>
                    <a:pt x="173" y="27"/>
                  </a:lnTo>
                  <a:lnTo>
                    <a:pt x="171" y="25"/>
                  </a:lnTo>
                  <a:lnTo>
                    <a:pt x="167" y="25"/>
                  </a:lnTo>
                  <a:lnTo>
                    <a:pt x="163" y="25"/>
                  </a:lnTo>
                  <a:lnTo>
                    <a:pt x="162" y="23"/>
                  </a:lnTo>
                  <a:lnTo>
                    <a:pt x="158" y="21"/>
                  </a:lnTo>
                  <a:lnTo>
                    <a:pt x="156" y="21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48" y="19"/>
                  </a:lnTo>
                  <a:lnTo>
                    <a:pt x="144" y="19"/>
                  </a:lnTo>
                  <a:lnTo>
                    <a:pt x="142" y="18"/>
                  </a:lnTo>
                  <a:lnTo>
                    <a:pt x="139" y="18"/>
                  </a:lnTo>
                  <a:lnTo>
                    <a:pt x="135" y="18"/>
                  </a:lnTo>
                  <a:lnTo>
                    <a:pt x="133" y="18"/>
                  </a:lnTo>
                  <a:lnTo>
                    <a:pt x="129" y="18"/>
                  </a:lnTo>
                  <a:lnTo>
                    <a:pt x="127" y="18"/>
                  </a:lnTo>
                  <a:lnTo>
                    <a:pt x="121" y="19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0" name="Freeform 37"/>
            <p:cNvSpPr>
              <a:spLocks/>
            </p:cNvSpPr>
            <p:nvPr/>
          </p:nvSpPr>
          <p:spPr bwMode="auto">
            <a:xfrm>
              <a:off x="1966" y="1476"/>
              <a:ext cx="602" cy="722"/>
            </a:xfrm>
            <a:custGeom>
              <a:avLst/>
              <a:gdLst/>
              <a:ahLst/>
              <a:cxnLst>
                <a:cxn ang="0">
                  <a:pos x="579" y="161"/>
                </a:cxn>
                <a:cxn ang="0">
                  <a:pos x="556" y="146"/>
                </a:cxn>
                <a:cxn ang="0">
                  <a:pos x="552" y="113"/>
                </a:cxn>
                <a:cxn ang="0">
                  <a:pos x="543" y="77"/>
                </a:cxn>
                <a:cxn ang="0">
                  <a:pos x="539" y="40"/>
                </a:cxn>
                <a:cxn ang="0">
                  <a:pos x="512" y="19"/>
                </a:cxn>
                <a:cxn ang="0">
                  <a:pos x="493" y="2"/>
                </a:cxn>
                <a:cxn ang="0">
                  <a:pos x="462" y="31"/>
                </a:cxn>
                <a:cxn ang="0">
                  <a:pos x="430" y="44"/>
                </a:cxn>
                <a:cxn ang="0">
                  <a:pos x="391" y="39"/>
                </a:cxn>
                <a:cxn ang="0">
                  <a:pos x="336" y="40"/>
                </a:cxn>
                <a:cxn ang="0">
                  <a:pos x="291" y="40"/>
                </a:cxn>
                <a:cxn ang="0">
                  <a:pos x="251" y="44"/>
                </a:cxn>
                <a:cxn ang="0">
                  <a:pos x="205" y="46"/>
                </a:cxn>
                <a:cxn ang="0">
                  <a:pos x="161" y="46"/>
                </a:cxn>
                <a:cxn ang="0">
                  <a:pos x="126" y="44"/>
                </a:cxn>
                <a:cxn ang="0">
                  <a:pos x="115" y="85"/>
                </a:cxn>
                <a:cxn ang="0">
                  <a:pos x="98" y="111"/>
                </a:cxn>
                <a:cxn ang="0">
                  <a:pos x="78" y="146"/>
                </a:cxn>
                <a:cxn ang="0">
                  <a:pos x="77" y="204"/>
                </a:cxn>
                <a:cxn ang="0">
                  <a:pos x="77" y="252"/>
                </a:cxn>
                <a:cxn ang="0">
                  <a:pos x="57" y="271"/>
                </a:cxn>
                <a:cxn ang="0">
                  <a:pos x="29" y="296"/>
                </a:cxn>
                <a:cxn ang="0">
                  <a:pos x="15" y="342"/>
                </a:cxn>
                <a:cxn ang="0">
                  <a:pos x="0" y="384"/>
                </a:cxn>
                <a:cxn ang="0">
                  <a:pos x="27" y="415"/>
                </a:cxn>
                <a:cxn ang="0">
                  <a:pos x="36" y="449"/>
                </a:cxn>
                <a:cxn ang="0">
                  <a:pos x="61" y="478"/>
                </a:cxn>
                <a:cxn ang="0">
                  <a:pos x="65" y="516"/>
                </a:cxn>
                <a:cxn ang="0">
                  <a:pos x="105" y="543"/>
                </a:cxn>
                <a:cxn ang="0">
                  <a:pos x="146" y="582"/>
                </a:cxn>
                <a:cxn ang="0">
                  <a:pos x="184" y="612"/>
                </a:cxn>
                <a:cxn ang="0">
                  <a:pos x="197" y="641"/>
                </a:cxn>
                <a:cxn ang="0">
                  <a:pos x="215" y="668"/>
                </a:cxn>
                <a:cxn ang="0">
                  <a:pos x="247" y="693"/>
                </a:cxn>
                <a:cxn ang="0">
                  <a:pos x="282" y="676"/>
                </a:cxn>
                <a:cxn ang="0">
                  <a:pos x="309" y="699"/>
                </a:cxn>
                <a:cxn ang="0">
                  <a:pos x="339" y="714"/>
                </a:cxn>
                <a:cxn ang="0">
                  <a:pos x="370" y="718"/>
                </a:cxn>
                <a:cxn ang="0">
                  <a:pos x="397" y="712"/>
                </a:cxn>
                <a:cxn ang="0">
                  <a:pos x="435" y="712"/>
                </a:cxn>
                <a:cxn ang="0">
                  <a:pos x="462" y="687"/>
                </a:cxn>
                <a:cxn ang="0">
                  <a:pos x="495" y="676"/>
                </a:cxn>
                <a:cxn ang="0">
                  <a:pos x="491" y="651"/>
                </a:cxn>
                <a:cxn ang="0">
                  <a:pos x="480" y="622"/>
                </a:cxn>
                <a:cxn ang="0">
                  <a:pos x="458" y="597"/>
                </a:cxn>
                <a:cxn ang="0">
                  <a:pos x="435" y="570"/>
                </a:cxn>
                <a:cxn ang="0">
                  <a:pos x="414" y="553"/>
                </a:cxn>
                <a:cxn ang="0">
                  <a:pos x="435" y="526"/>
                </a:cxn>
                <a:cxn ang="0">
                  <a:pos x="470" y="526"/>
                </a:cxn>
                <a:cxn ang="0">
                  <a:pos x="474" y="503"/>
                </a:cxn>
                <a:cxn ang="0">
                  <a:pos x="466" y="472"/>
                </a:cxn>
                <a:cxn ang="0">
                  <a:pos x="476" y="445"/>
                </a:cxn>
                <a:cxn ang="0">
                  <a:pos x="495" y="430"/>
                </a:cxn>
                <a:cxn ang="0">
                  <a:pos x="510" y="415"/>
                </a:cxn>
                <a:cxn ang="0">
                  <a:pos x="522" y="388"/>
                </a:cxn>
                <a:cxn ang="0">
                  <a:pos x="533" y="357"/>
                </a:cxn>
                <a:cxn ang="0">
                  <a:pos x="535" y="324"/>
                </a:cxn>
                <a:cxn ang="0">
                  <a:pos x="535" y="292"/>
                </a:cxn>
                <a:cxn ang="0">
                  <a:pos x="533" y="259"/>
                </a:cxn>
                <a:cxn ang="0">
                  <a:pos x="545" y="234"/>
                </a:cxn>
                <a:cxn ang="0">
                  <a:pos x="570" y="215"/>
                </a:cxn>
                <a:cxn ang="0">
                  <a:pos x="589" y="198"/>
                </a:cxn>
              </a:cxnLst>
              <a:rect l="0" t="0" r="r" b="b"/>
              <a:pathLst>
                <a:path w="602" h="722">
                  <a:moveTo>
                    <a:pt x="602" y="184"/>
                  </a:moveTo>
                  <a:lnTo>
                    <a:pt x="600" y="179"/>
                  </a:lnTo>
                  <a:lnTo>
                    <a:pt x="600" y="175"/>
                  </a:lnTo>
                  <a:lnTo>
                    <a:pt x="597" y="173"/>
                  </a:lnTo>
                  <a:lnTo>
                    <a:pt x="597" y="173"/>
                  </a:lnTo>
                  <a:lnTo>
                    <a:pt x="595" y="171"/>
                  </a:lnTo>
                  <a:lnTo>
                    <a:pt x="589" y="171"/>
                  </a:lnTo>
                  <a:lnTo>
                    <a:pt x="585" y="169"/>
                  </a:lnTo>
                  <a:lnTo>
                    <a:pt x="583" y="167"/>
                  </a:lnTo>
                  <a:lnTo>
                    <a:pt x="581" y="165"/>
                  </a:lnTo>
                  <a:lnTo>
                    <a:pt x="579" y="161"/>
                  </a:lnTo>
                  <a:lnTo>
                    <a:pt x="579" y="159"/>
                  </a:lnTo>
                  <a:lnTo>
                    <a:pt x="575" y="157"/>
                  </a:lnTo>
                  <a:lnTo>
                    <a:pt x="574" y="157"/>
                  </a:lnTo>
                  <a:lnTo>
                    <a:pt x="570" y="157"/>
                  </a:lnTo>
                  <a:lnTo>
                    <a:pt x="566" y="157"/>
                  </a:lnTo>
                  <a:lnTo>
                    <a:pt x="564" y="157"/>
                  </a:lnTo>
                  <a:lnTo>
                    <a:pt x="562" y="157"/>
                  </a:lnTo>
                  <a:lnTo>
                    <a:pt x="556" y="156"/>
                  </a:lnTo>
                  <a:lnTo>
                    <a:pt x="556" y="152"/>
                  </a:lnTo>
                  <a:lnTo>
                    <a:pt x="556" y="150"/>
                  </a:lnTo>
                  <a:lnTo>
                    <a:pt x="556" y="146"/>
                  </a:lnTo>
                  <a:lnTo>
                    <a:pt x="554" y="144"/>
                  </a:lnTo>
                  <a:lnTo>
                    <a:pt x="554" y="140"/>
                  </a:lnTo>
                  <a:lnTo>
                    <a:pt x="554" y="138"/>
                  </a:lnTo>
                  <a:lnTo>
                    <a:pt x="554" y="134"/>
                  </a:lnTo>
                  <a:lnTo>
                    <a:pt x="554" y="131"/>
                  </a:lnTo>
                  <a:lnTo>
                    <a:pt x="554" y="129"/>
                  </a:lnTo>
                  <a:lnTo>
                    <a:pt x="554" y="127"/>
                  </a:lnTo>
                  <a:lnTo>
                    <a:pt x="552" y="123"/>
                  </a:lnTo>
                  <a:lnTo>
                    <a:pt x="552" y="121"/>
                  </a:lnTo>
                  <a:lnTo>
                    <a:pt x="552" y="117"/>
                  </a:lnTo>
                  <a:lnTo>
                    <a:pt x="552" y="113"/>
                  </a:lnTo>
                  <a:lnTo>
                    <a:pt x="552" y="111"/>
                  </a:lnTo>
                  <a:lnTo>
                    <a:pt x="551" y="108"/>
                  </a:lnTo>
                  <a:lnTo>
                    <a:pt x="551" y="106"/>
                  </a:lnTo>
                  <a:lnTo>
                    <a:pt x="551" y="102"/>
                  </a:lnTo>
                  <a:lnTo>
                    <a:pt x="547" y="102"/>
                  </a:lnTo>
                  <a:lnTo>
                    <a:pt x="545" y="96"/>
                  </a:lnTo>
                  <a:lnTo>
                    <a:pt x="541" y="90"/>
                  </a:lnTo>
                  <a:lnTo>
                    <a:pt x="541" y="86"/>
                  </a:lnTo>
                  <a:lnTo>
                    <a:pt x="541" y="83"/>
                  </a:lnTo>
                  <a:lnTo>
                    <a:pt x="543" y="81"/>
                  </a:lnTo>
                  <a:lnTo>
                    <a:pt x="543" y="77"/>
                  </a:lnTo>
                  <a:lnTo>
                    <a:pt x="545" y="71"/>
                  </a:lnTo>
                  <a:lnTo>
                    <a:pt x="545" y="67"/>
                  </a:lnTo>
                  <a:lnTo>
                    <a:pt x="545" y="62"/>
                  </a:lnTo>
                  <a:lnTo>
                    <a:pt x="545" y="58"/>
                  </a:lnTo>
                  <a:lnTo>
                    <a:pt x="545" y="56"/>
                  </a:lnTo>
                  <a:lnTo>
                    <a:pt x="545" y="52"/>
                  </a:lnTo>
                  <a:lnTo>
                    <a:pt x="545" y="48"/>
                  </a:lnTo>
                  <a:lnTo>
                    <a:pt x="543" y="46"/>
                  </a:lnTo>
                  <a:lnTo>
                    <a:pt x="539" y="44"/>
                  </a:lnTo>
                  <a:lnTo>
                    <a:pt x="539" y="40"/>
                  </a:lnTo>
                  <a:lnTo>
                    <a:pt x="539" y="40"/>
                  </a:lnTo>
                  <a:lnTo>
                    <a:pt x="535" y="39"/>
                  </a:lnTo>
                  <a:lnTo>
                    <a:pt x="531" y="35"/>
                  </a:lnTo>
                  <a:lnTo>
                    <a:pt x="529" y="33"/>
                  </a:lnTo>
                  <a:lnTo>
                    <a:pt x="526" y="33"/>
                  </a:lnTo>
                  <a:lnTo>
                    <a:pt x="524" y="31"/>
                  </a:lnTo>
                  <a:lnTo>
                    <a:pt x="522" y="31"/>
                  </a:lnTo>
                  <a:lnTo>
                    <a:pt x="522" y="29"/>
                  </a:lnTo>
                  <a:lnTo>
                    <a:pt x="518" y="27"/>
                  </a:lnTo>
                  <a:lnTo>
                    <a:pt x="516" y="23"/>
                  </a:lnTo>
                  <a:lnTo>
                    <a:pt x="514" y="21"/>
                  </a:lnTo>
                  <a:lnTo>
                    <a:pt x="512" y="19"/>
                  </a:lnTo>
                  <a:lnTo>
                    <a:pt x="510" y="17"/>
                  </a:lnTo>
                  <a:lnTo>
                    <a:pt x="510" y="15"/>
                  </a:lnTo>
                  <a:lnTo>
                    <a:pt x="506" y="14"/>
                  </a:lnTo>
                  <a:lnTo>
                    <a:pt x="503" y="14"/>
                  </a:lnTo>
                  <a:lnTo>
                    <a:pt x="506" y="10"/>
                  </a:lnTo>
                  <a:lnTo>
                    <a:pt x="503" y="10"/>
                  </a:lnTo>
                  <a:lnTo>
                    <a:pt x="503" y="8"/>
                  </a:lnTo>
                  <a:lnTo>
                    <a:pt x="499" y="6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3" y="2"/>
                  </a:lnTo>
                  <a:lnTo>
                    <a:pt x="491" y="0"/>
                  </a:lnTo>
                  <a:lnTo>
                    <a:pt x="487" y="4"/>
                  </a:lnTo>
                  <a:lnTo>
                    <a:pt x="483" y="8"/>
                  </a:lnTo>
                  <a:lnTo>
                    <a:pt x="481" y="12"/>
                  </a:lnTo>
                  <a:lnTo>
                    <a:pt x="480" y="14"/>
                  </a:lnTo>
                  <a:lnTo>
                    <a:pt x="478" y="15"/>
                  </a:lnTo>
                  <a:lnTo>
                    <a:pt x="474" y="19"/>
                  </a:lnTo>
                  <a:lnTo>
                    <a:pt x="472" y="23"/>
                  </a:lnTo>
                  <a:lnTo>
                    <a:pt x="468" y="27"/>
                  </a:lnTo>
                  <a:lnTo>
                    <a:pt x="466" y="29"/>
                  </a:lnTo>
                  <a:lnTo>
                    <a:pt x="462" y="31"/>
                  </a:lnTo>
                  <a:lnTo>
                    <a:pt x="458" y="33"/>
                  </a:lnTo>
                  <a:lnTo>
                    <a:pt x="458" y="33"/>
                  </a:lnTo>
                  <a:lnTo>
                    <a:pt x="456" y="37"/>
                  </a:lnTo>
                  <a:lnTo>
                    <a:pt x="455" y="37"/>
                  </a:lnTo>
                  <a:lnTo>
                    <a:pt x="451" y="39"/>
                  </a:lnTo>
                  <a:lnTo>
                    <a:pt x="447" y="40"/>
                  </a:lnTo>
                  <a:lnTo>
                    <a:pt x="445" y="44"/>
                  </a:lnTo>
                  <a:lnTo>
                    <a:pt x="441" y="44"/>
                  </a:lnTo>
                  <a:lnTo>
                    <a:pt x="437" y="46"/>
                  </a:lnTo>
                  <a:lnTo>
                    <a:pt x="433" y="46"/>
                  </a:lnTo>
                  <a:lnTo>
                    <a:pt x="430" y="44"/>
                  </a:lnTo>
                  <a:lnTo>
                    <a:pt x="426" y="44"/>
                  </a:lnTo>
                  <a:lnTo>
                    <a:pt x="422" y="44"/>
                  </a:lnTo>
                  <a:lnTo>
                    <a:pt x="418" y="42"/>
                  </a:lnTo>
                  <a:lnTo>
                    <a:pt x="416" y="40"/>
                  </a:lnTo>
                  <a:lnTo>
                    <a:pt x="414" y="40"/>
                  </a:lnTo>
                  <a:lnTo>
                    <a:pt x="410" y="40"/>
                  </a:lnTo>
                  <a:lnTo>
                    <a:pt x="409" y="40"/>
                  </a:lnTo>
                  <a:lnTo>
                    <a:pt x="407" y="39"/>
                  </a:lnTo>
                  <a:lnTo>
                    <a:pt x="403" y="39"/>
                  </a:lnTo>
                  <a:lnTo>
                    <a:pt x="397" y="39"/>
                  </a:lnTo>
                  <a:lnTo>
                    <a:pt x="391" y="39"/>
                  </a:lnTo>
                  <a:lnTo>
                    <a:pt x="384" y="40"/>
                  </a:lnTo>
                  <a:lnTo>
                    <a:pt x="380" y="40"/>
                  </a:lnTo>
                  <a:lnTo>
                    <a:pt x="374" y="40"/>
                  </a:lnTo>
                  <a:lnTo>
                    <a:pt x="370" y="40"/>
                  </a:lnTo>
                  <a:lnTo>
                    <a:pt x="368" y="40"/>
                  </a:lnTo>
                  <a:lnTo>
                    <a:pt x="362" y="40"/>
                  </a:lnTo>
                  <a:lnTo>
                    <a:pt x="357" y="40"/>
                  </a:lnTo>
                  <a:lnTo>
                    <a:pt x="351" y="40"/>
                  </a:lnTo>
                  <a:lnTo>
                    <a:pt x="345" y="40"/>
                  </a:lnTo>
                  <a:lnTo>
                    <a:pt x="341" y="40"/>
                  </a:lnTo>
                  <a:lnTo>
                    <a:pt x="336" y="40"/>
                  </a:lnTo>
                  <a:lnTo>
                    <a:pt x="332" y="40"/>
                  </a:lnTo>
                  <a:lnTo>
                    <a:pt x="326" y="40"/>
                  </a:lnTo>
                  <a:lnTo>
                    <a:pt x="324" y="40"/>
                  </a:lnTo>
                  <a:lnTo>
                    <a:pt x="318" y="40"/>
                  </a:lnTo>
                  <a:lnTo>
                    <a:pt x="313" y="40"/>
                  </a:lnTo>
                  <a:lnTo>
                    <a:pt x="309" y="40"/>
                  </a:lnTo>
                  <a:lnTo>
                    <a:pt x="305" y="40"/>
                  </a:lnTo>
                  <a:lnTo>
                    <a:pt x="301" y="40"/>
                  </a:lnTo>
                  <a:lnTo>
                    <a:pt x="297" y="40"/>
                  </a:lnTo>
                  <a:lnTo>
                    <a:pt x="293" y="40"/>
                  </a:lnTo>
                  <a:lnTo>
                    <a:pt x="291" y="40"/>
                  </a:lnTo>
                  <a:lnTo>
                    <a:pt x="286" y="42"/>
                  </a:lnTo>
                  <a:lnTo>
                    <a:pt x="282" y="42"/>
                  </a:lnTo>
                  <a:lnTo>
                    <a:pt x="278" y="42"/>
                  </a:lnTo>
                  <a:lnTo>
                    <a:pt x="274" y="44"/>
                  </a:lnTo>
                  <a:lnTo>
                    <a:pt x="270" y="44"/>
                  </a:lnTo>
                  <a:lnTo>
                    <a:pt x="265" y="44"/>
                  </a:lnTo>
                  <a:lnTo>
                    <a:pt x="263" y="44"/>
                  </a:lnTo>
                  <a:lnTo>
                    <a:pt x="259" y="44"/>
                  </a:lnTo>
                  <a:lnTo>
                    <a:pt x="257" y="44"/>
                  </a:lnTo>
                  <a:lnTo>
                    <a:pt x="253" y="44"/>
                  </a:lnTo>
                  <a:lnTo>
                    <a:pt x="251" y="44"/>
                  </a:lnTo>
                  <a:lnTo>
                    <a:pt x="247" y="46"/>
                  </a:lnTo>
                  <a:lnTo>
                    <a:pt x="244" y="46"/>
                  </a:lnTo>
                  <a:lnTo>
                    <a:pt x="240" y="46"/>
                  </a:lnTo>
                  <a:lnTo>
                    <a:pt x="234" y="46"/>
                  </a:lnTo>
                  <a:lnTo>
                    <a:pt x="230" y="46"/>
                  </a:lnTo>
                  <a:lnTo>
                    <a:pt x="228" y="46"/>
                  </a:lnTo>
                  <a:lnTo>
                    <a:pt x="222" y="46"/>
                  </a:lnTo>
                  <a:lnTo>
                    <a:pt x="220" y="46"/>
                  </a:lnTo>
                  <a:lnTo>
                    <a:pt x="213" y="46"/>
                  </a:lnTo>
                  <a:lnTo>
                    <a:pt x="209" y="46"/>
                  </a:lnTo>
                  <a:lnTo>
                    <a:pt x="205" y="46"/>
                  </a:lnTo>
                  <a:lnTo>
                    <a:pt x="203" y="46"/>
                  </a:lnTo>
                  <a:lnTo>
                    <a:pt x="197" y="46"/>
                  </a:lnTo>
                  <a:lnTo>
                    <a:pt x="194" y="46"/>
                  </a:lnTo>
                  <a:lnTo>
                    <a:pt x="188" y="46"/>
                  </a:lnTo>
                  <a:lnTo>
                    <a:pt x="184" y="46"/>
                  </a:lnTo>
                  <a:lnTo>
                    <a:pt x="180" y="46"/>
                  </a:lnTo>
                  <a:lnTo>
                    <a:pt x="176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65" y="46"/>
                  </a:lnTo>
                  <a:lnTo>
                    <a:pt x="161" y="46"/>
                  </a:lnTo>
                  <a:lnTo>
                    <a:pt x="159" y="46"/>
                  </a:lnTo>
                  <a:lnTo>
                    <a:pt x="155" y="46"/>
                  </a:lnTo>
                  <a:lnTo>
                    <a:pt x="151" y="46"/>
                  </a:lnTo>
                  <a:lnTo>
                    <a:pt x="148" y="46"/>
                  </a:lnTo>
                  <a:lnTo>
                    <a:pt x="146" y="44"/>
                  </a:lnTo>
                  <a:lnTo>
                    <a:pt x="142" y="44"/>
                  </a:lnTo>
                  <a:lnTo>
                    <a:pt x="138" y="44"/>
                  </a:lnTo>
                  <a:lnTo>
                    <a:pt x="134" y="44"/>
                  </a:lnTo>
                  <a:lnTo>
                    <a:pt x="132" y="44"/>
                  </a:lnTo>
                  <a:lnTo>
                    <a:pt x="128" y="44"/>
                  </a:lnTo>
                  <a:lnTo>
                    <a:pt x="126" y="44"/>
                  </a:lnTo>
                  <a:lnTo>
                    <a:pt x="125" y="44"/>
                  </a:lnTo>
                  <a:lnTo>
                    <a:pt x="121" y="46"/>
                  </a:lnTo>
                  <a:lnTo>
                    <a:pt x="117" y="44"/>
                  </a:lnTo>
                  <a:lnTo>
                    <a:pt x="117" y="50"/>
                  </a:lnTo>
                  <a:lnTo>
                    <a:pt x="117" y="56"/>
                  </a:lnTo>
                  <a:lnTo>
                    <a:pt x="117" y="62"/>
                  </a:lnTo>
                  <a:lnTo>
                    <a:pt x="115" y="67"/>
                  </a:lnTo>
                  <a:lnTo>
                    <a:pt x="115" y="71"/>
                  </a:lnTo>
                  <a:lnTo>
                    <a:pt x="115" y="75"/>
                  </a:lnTo>
                  <a:lnTo>
                    <a:pt x="115" y="79"/>
                  </a:lnTo>
                  <a:lnTo>
                    <a:pt x="115" y="85"/>
                  </a:lnTo>
                  <a:lnTo>
                    <a:pt x="115" y="86"/>
                  </a:lnTo>
                  <a:lnTo>
                    <a:pt x="115" y="88"/>
                  </a:lnTo>
                  <a:lnTo>
                    <a:pt x="113" y="92"/>
                  </a:lnTo>
                  <a:lnTo>
                    <a:pt x="111" y="96"/>
                  </a:lnTo>
                  <a:lnTo>
                    <a:pt x="111" y="102"/>
                  </a:lnTo>
                  <a:lnTo>
                    <a:pt x="111" y="108"/>
                  </a:lnTo>
                  <a:lnTo>
                    <a:pt x="111" y="110"/>
                  </a:lnTo>
                  <a:lnTo>
                    <a:pt x="111" y="111"/>
                  </a:lnTo>
                  <a:lnTo>
                    <a:pt x="107" y="111"/>
                  </a:lnTo>
                  <a:lnTo>
                    <a:pt x="103" y="111"/>
                  </a:lnTo>
                  <a:lnTo>
                    <a:pt x="98" y="111"/>
                  </a:lnTo>
                  <a:lnTo>
                    <a:pt x="94" y="111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80" y="111"/>
                  </a:lnTo>
                  <a:lnTo>
                    <a:pt x="78" y="119"/>
                  </a:lnTo>
                  <a:lnTo>
                    <a:pt x="78" y="125"/>
                  </a:lnTo>
                  <a:lnTo>
                    <a:pt x="78" y="129"/>
                  </a:lnTo>
                  <a:lnTo>
                    <a:pt x="78" y="133"/>
                  </a:lnTo>
                  <a:lnTo>
                    <a:pt x="78" y="136"/>
                  </a:lnTo>
                  <a:lnTo>
                    <a:pt x="78" y="140"/>
                  </a:lnTo>
                  <a:lnTo>
                    <a:pt x="78" y="146"/>
                  </a:lnTo>
                  <a:lnTo>
                    <a:pt x="80" y="152"/>
                  </a:lnTo>
                  <a:lnTo>
                    <a:pt x="80" y="156"/>
                  </a:lnTo>
                  <a:lnTo>
                    <a:pt x="80" y="159"/>
                  </a:lnTo>
                  <a:lnTo>
                    <a:pt x="80" y="167"/>
                  </a:lnTo>
                  <a:lnTo>
                    <a:pt x="78" y="173"/>
                  </a:lnTo>
                  <a:lnTo>
                    <a:pt x="78" y="177"/>
                  </a:lnTo>
                  <a:lnTo>
                    <a:pt x="77" y="181"/>
                  </a:lnTo>
                  <a:lnTo>
                    <a:pt x="77" y="184"/>
                  </a:lnTo>
                  <a:lnTo>
                    <a:pt x="77" y="194"/>
                  </a:lnTo>
                  <a:lnTo>
                    <a:pt x="77" y="200"/>
                  </a:lnTo>
                  <a:lnTo>
                    <a:pt x="77" y="204"/>
                  </a:lnTo>
                  <a:lnTo>
                    <a:pt x="75" y="207"/>
                  </a:lnTo>
                  <a:lnTo>
                    <a:pt x="75" y="215"/>
                  </a:lnTo>
                  <a:lnTo>
                    <a:pt x="75" y="221"/>
                  </a:lnTo>
                  <a:lnTo>
                    <a:pt x="77" y="225"/>
                  </a:lnTo>
                  <a:lnTo>
                    <a:pt x="77" y="228"/>
                  </a:lnTo>
                  <a:lnTo>
                    <a:pt x="77" y="232"/>
                  </a:lnTo>
                  <a:lnTo>
                    <a:pt x="77" y="234"/>
                  </a:lnTo>
                  <a:lnTo>
                    <a:pt x="77" y="240"/>
                  </a:lnTo>
                  <a:lnTo>
                    <a:pt x="77" y="244"/>
                  </a:lnTo>
                  <a:lnTo>
                    <a:pt x="77" y="246"/>
                  </a:lnTo>
                  <a:lnTo>
                    <a:pt x="77" y="252"/>
                  </a:lnTo>
                  <a:lnTo>
                    <a:pt x="77" y="257"/>
                  </a:lnTo>
                  <a:lnTo>
                    <a:pt x="75" y="261"/>
                  </a:lnTo>
                  <a:lnTo>
                    <a:pt x="75" y="263"/>
                  </a:lnTo>
                  <a:lnTo>
                    <a:pt x="75" y="269"/>
                  </a:lnTo>
                  <a:lnTo>
                    <a:pt x="75" y="273"/>
                  </a:lnTo>
                  <a:lnTo>
                    <a:pt x="73" y="271"/>
                  </a:lnTo>
                  <a:lnTo>
                    <a:pt x="71" y="271"/>
                  </a:lnTo>
                  <a:lnTo>
                    <a:pt x="67" y="271"/>
                  </a:lnTo>
                  <a:lnTo>
                    <a:pt x="63" y="271"/>
                  </a:lnTo>
                  <a:lnTo>
                    <a:pt x="61" y="271"/>
                  </a:lnTo>
                  <a:lnTo>
                    <a:pt x="57" y="271"/>
                  </a:lnTo>
                  <a:lnTo>
                    <a:pt x="55" y="271"/>
                  </a:lnTo>
                  <a:lnTo>
                    <a:pt x="50" y="273"/>
                  </a:lnTo>
                  <a:lnTo>
                    <a:pt x="46" y="276"/>
                  </a:lnTo>
                  <a:lnTo>
                    <a:pt x="44" y="276"/>
                  </a:lnTo>
                  <a:lnTo>
                    <a:pt x="42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36" y="290"/>
                  </a:lnTo>
                  <a:lnTo>
                    <a:pt x="34" y="294"/>
                  </a:lnTo>
                  <a:lnTo>
                    <a:pt x="31" y="296"/>
                  </a:lnTo>
                  <a:lnTo>
                    <a:pt x="29" y="296"/>
                  </a:lnTo>
                  <a:lnTo>
                    <a:pt x="27" y="301"/>
                  </a:lnTo>
                  <a:lnTo>
                    <a:pt x="21" y="305"/>
                  </a:lnTo>
                  <a:lnTo>
                    <a:pt x="23" y="309"/>
                  </a:lnTo>
                  <a:lnTo>
                    <a:pt x="23" y="313"/>
                  </a:lnTo>
                  <a:lnTo>
                    <a:pt x="23" y="317"/>
                  </a:lnTo>
                  <a:lnTo>
                    <a:pt x="23" y="323"/>
                  </a:lnTo>
                  <a:lnTo>
                    <a:pt x="23" y="326"/>
                  </a:lnTo>
                  <a:lnTo>
                    <a:pt x="23" y="332"/>
                  </a:lnTo>
                  <a:lnTo>
                    <a:pt x="21" y="334"/>
                  </a:lnTo>
                  <a:lnTo>
                    <a:pt x="17" y="340"/>
                  </a:lnTo>
                  <a:lnTo>
                    <a:pt x="15" y="342"/>
                  </a:lnTo>
                  <a:lnTo>
                    <a:pt x="15" y="346"/>
                  </a:lnTo>
                  <a:lnTo>
                    <a:pt x="11" y="349"/>
                  </a:lnTo>
                  <a:lnTo>
                    <a:pt x="11" y="351"/>
                  </a:lnTo>
                  <a:lnTo>
                    <a:pt x="9" y="353"/>
                  </a:lnTo>
                  <a:lnTo>
                    <a:pt x="9" y="359"/>
                  </a:lnTo>
                  <a:lnTo>
                    <a:pt x="9" y="365"/>
                  </a:lnTo>
                  <a:lnTo>
                    <a:pt x="9" y="367"/>
                  </a:lnTo>
                  <a:lnTo>
                    <a:pt x="9" y="370"/>
                  </a:lnTo>
                  <a:lnTo>
                    <a:pt x="6" y="374"/>
                  </a:lnTo>
                  <a:lnTo>
                    <a:pt x="2" y="380"/>
                  </a:lnTo>
                  <a:lnTo>
                    <a:pt x="0" y="384"/>
                  </a:lnTo>
                  <a:lnTo>
                    <a:pt x="0" y="386"/>
                  </a:lnTo>
                  <a:lnTo>
                    <a:pt x="0" y="388"/>
                  </a:lnTo>
                  <a:lnTo>
                    <a:pt x="0" y="392"/>
                  </a:lnTo>
                  <a:lnTo>
                    <a:pt x="2" y="394"/>
                  </a:lnTo>
                  <a:lnTo>
                    <a:pt x="6" y="397"/>
                  </a:lnTo>
                  <a:lnTo>
                    <a:pt x="9" y="403"/>
                  </a:lnTo>
                  <a:lnTo>
                    <a:pt x="13" y="405"/>
                  </a:lnTo>
                  <a:lnTo>
                    <a:pt x="15" y="409"/>
                  </a:lnTo>
                  <a:lnTo>
                    <a:pt x="17" y="411"/>
                  </a:lnTo>
                  <a:lnTo>
                    <a:pt x="25" y="411"/>
                  </a:lnTo>
                  <a:lnTo>
                    <a:pt x="27" y="415"/>
                  </a:lnTo>
                  <a:lnTo>
                    <a:pt x="29" y="418"/>
                  </a:lnTo>
                  <a:lnTo>
                    <a:pt x="29" y="420"/>
                  </a:lnTo>
                  <a:lnTo>
                    <a:pt x="31" y="422"/>
                  </a:lnTo>
                  <a:lnTo>
                    <a:pt x="32" y="426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36" y="438"/>
                  </a:lnTo>
                  <a:lnTo>
                    <a:pt x="36" y="441"/>
                  </a:lnTo>
                  <a:lnTo>
                    <a:pt x="36" y="443"/>
                  </a:lnTo>
                  <a:lnTo>
                    <a:pt x="36" y="445"/>
                  </a:lnTo>
                  <a:lnTo>
                    <a:pt x="36" y="449"/>
                  </a:lnTo>
                  <a:lnTo>
                    <a:pt x="36" y="453"/>
                  </a:lnTo>
                  <a:lnTo>
                    <a:pt x="38" y="455"/>
                  </a:lnTo>
                  <a:lnTo>
                    <a:pt x="40" y="459"/>
                  </a:lnTo>
                  <a:lnTo>
                    <a:pt x="44" y="463"/>
                  </a:lnTo>
                  <a:lnTo>
                    <a:pt x="48" y="465"/>
                  </a:lnTo>
                  <a:lnTo>
                    <a:pt x="48" y="465"/>
                  </a:lnTo>
                  <a:lnTo>
                    <a:pt x="50" y="466"/>
                  </a:lnTo>
                  <a:lnTo>
                    <a:pt x="54" y="468"/>
                  </a:lnTo>
                  <a:lnTo>
                    <a:pt x="54" y="472"/>
                  </a:lnTo>
                  <a:lnTo>
                    <a:pt x="57" y="472"/>
                  </a:lnTo>
                  <a:lnTo>
                    <a:pt x="61" y="478"/>
                  </a:lnTo>
                  <a:lnTo>
                    <a:pt x="65" y="482"/>
                  </a:lnTo>
                  <a:lnTo>
                    <a:pt x="67" y="488"/>
                  </a:lnTo>
                  <a:lnTo>
                    <a:pt x="67" y="489"/>
                  </a:lnTo>
                  <a:lnTo>
                    <a:pt x="67" y="493"/>
                  </a:lnTo>
                  <a:lnTo>
                    <a:pt x="67" y="499"/>
                  </a:lnTo>
                  <a:lnTo>
                    <a:pt x="67" y="501"/>
                  </a:lnTo>
                  <a:lnTo>
                    <a:pt x="67" y="505"/>
                  </a:lnTo>
                  <a:lnTo>
                    <a:pt x="67" y="509"/>
                  </a:lnTo>
                  <a:lnTo>
                    <a:pt x="67" y="511"/>
                  </a:lnTo>
                  <a:lnTo>
                    <a:pt x="65" y="512"/>
                  </a:lnTo>
                  <a:lnTo>
                    <a:pt x="65" y="516"/>
                  </a:lnTo>
                  <a:lnTo>
                    <a:pt x="65" y="522"/>
                  </a:lnTo>
                  <a:lnTo>
                    <a:pt x="65" y="526"/>
                  </a:lnTo>
                  <a:lnTo>
                    <a:pt x="63" y="530"/>
                  </a:lnTo>
                  <a:lnTo>
                    <a:pt x="78" y="537"/>
                  </a:lnTo>
                  <a:lnTo>
                    <a:pt x="80" y="537"/>
                  </a:lnTo>
                  <a:lnTo>
                    <a:pt x="84" y="537"/>
                  </a:lnTo>
                  <a:lnTo>
                    <a:pt x="92" y="541"/>
                  </a:lnTo>
                  <a:lnTo>
                    <a:pt x="96" y="541"/>
                  </a:lnTo>
                  <a:lnTo>
                    <a:pt x="98" y="541"/>
                  </a:lnTo>
                  <a:lnTo>
                    <a:pt x="102" y="543"/>
                  </a:lnTo>
                  <a:lnTo>
                    <a:pt x="105" y="543"/>
                  </a:lnTo>
                  <a:lnTo>
                    <a:pt x="111" y="543"/>
                  </a:lnTo>
                  <a:lnTo>
                    <a:pt x="115" y="549"/>
                  </a:lnTo>
                  <a:lnTo>
                    <a:pt x="119" y="553"/>
                  </a:lnTo>
                  <a:lnTo>
                    <a:pt x="123" y="555"/>
                  </a:lnTo>
                  <a:lnTo>
                    <a:pt x="125" y="557"/>
                  </a:lnTo>
                  <a:lnTo>
                    <a:pt x="128" y="560"/>
                  </a:lnTo>
                  <a:lnTo>
                    <a:pt x="134" y="566"/>
                  </a:lnTo>
                  <a:lnTo>
                    <a:pt x="138" y="572"/>
                  </a:lnTo>
                  <a:lnTo>
                    <a:pt x="142" y="576"/>
                  </a:lnTo>
                  <a:lnTo>
                    <a:pt x="142" y="580"/>
                  </a:lnTo>
                  <a:lnTo>
                    <a:pt x="146" y="582"/>
                  </a:lnTo>
                  <a:lnTo>
                    <a:pt x="148" y="585"/>
                  </a:lnTo>
                  <a:lnTo>
                    <a:pt x="149" y="587"/>
                  </a:lnTo>
                  <a:lnTo>
                    <a:pt x="151" y="591"/>
                  </a:lnTo>
                  <a:lnTo>
                    <a:pt x="151" y="595"/>
                  </a:lnTo>
                  <a:lnTo>
                    <a:pt x="153" y="597"/>
                  </a:lnTo>
                  <a:lnTo>
                    <a:pt x="159" y="601"/>
                  </a:lnTo>
                  <a:lnTo>
                    <a:pt x="165" y="605"/>
                  </a:lnTo>
                  <a:lnTo>
                    <a:pt x="173" y="605"/>
                  </a:lnTo>
                  <a:lnTo>
                    <a:pt x="176" y="605"/>
                  </a:lnTo>
                  <a:lnTo>
                    <a:pt x="180" y="608"/>
                  </a:lnTo>
                  <a:lnTo>
                    <a:pt x="184" y="612"/>
                  </a:lnTo>
                  <a:lnTo>
                    <a:pt x="184" y="614"/>
                  </a:lnTo>
                  <a:lnTo>
                    <a:pt x="186" y="620"/>
                  </a:lnTo>
                  <a:lnTo>
                    <a:pt x="186" y="622"/>
                  </a:lnTo>
                  <a:lnTo>
                    <a:pt x="186" y="624"/>
                  </a:lnTo>
                  <a:lnTo>
                    <a:pt x="186" y="628"/>
                  </a:lnTo>
                  <a:lnTo>
                    <a:pt x="188" y="630"/>
                  </a:lnTo>
                  <a:lnTo>
                    <a:pt x="188" y="633"/>
                  </a:lnTo>
                  <a:lnTo>
                    <a:pt x="190" y="637"/>
                  </a:lnTo>
                  <a:lnTo>
                    <a:pt x="192" y="637"/>
                  </a:lnTo>
                  <a:lnTo>
                    <a:pt x="194" y="639"/>
                  </a:lnTo>
                  <a:lnTo>
                    <a:pt x="197" y="641"/>
                  </a:lnTo>
                  <a:lnTo>
                    <a:pt x="201" y="641"/>
                  </a:lnTo>
                  <a:lnTo>
                    <a:pt x="201" y="647"/>
                  </a:lnTo>
                  <a:lnTo>
                    <a:pt x="203" y="649"/>
                  </a:lnTo>
                  <a:lnTo>
                    <a:pt x="203" y="653"/>
                  </a:lnTo>
                  <a:lnTo>
                    <a:pt x="203" y="656"/>
                  </a:lnTo>
                  <a:lnTo>
                    <a:pt x="203" y="658"/>
                  </a:lnTo>
                  <a:lnTo>
                    <a:pt x="205" y="662"/>
                  </a:lnTo>
                  <a:lnTo>
                    <a:pt x="207" y="664"/>
                  </a:lnTo>
                  <a:lnTo>
                    <a:pt x="211" y="666"/>
                  </a:lnTo>
                  <a:lnTo>
                    <a:pt x="213" y="668"/>
                  </a:lnTo>
                  <a:lnTo>
                    <a:pt x="215" y="668"/>
                  </a:lnTo>
                  <a:lnTo>
                    <a:pt x="219" y="674"/>
                  </a:lnTo>
                  <a:lnTo>
                    <a:pt x="220" y="674"/>
                  </a:lnTo>
                  <a:lnTo>
                    <a:pt x="226" y="678"/>
                  </a:lnTo>
                  <a:lnTo>
                    <a:pt x="230" y="681"/>
                  </a:lnTo>
                  <a:lnTo>
                    <a:pt x="232" y="687"/>
                  </a:lnTo>
                  <a:lnTo>
                    <a:pt x="232" y="689"/>
                  </a:lnTo>
                  <a:lnTo>
                    <a:pt x="232" y="693"/>
                  </a:lnTo>
                  <a:lnTo>
                    <a:pt x="238" y="693"/>
                  </a:lnTo>
                  <a:lnTo>
                    <a:pt x="242" y="693"/>
                  </a:lnTo>
                  <a:lnTo>
                    <a:pt x="245" y="693"/>
                  </a:lnTo>
                  <a:lnTo>
                    <a:pt x="247" y="693"/>
                  </a:lnTo>
                  <a:lnTo>
                    <a:pt x="249" y="693"/>
                  </a:lnTo>
                  <a:lnTo>
                    <a:pt x="251" y="693"/>
                  </a:lnTo>
                  <a:lnTo>
                    <a:pt x="257" y="687"/>
                  </a:lnTo>
                  <a:lnTo>
                    <a:pt x="261" y="683"/>
                  </a:lnTo>
                  <a:lnTo>
                    <a:pt x="265" y="683"/>
                  </a:lnTo>
                  <a:lnTo>
                    <a:pt x="267" y="681"/>
                  </a:lnTo>
                  <a:lnTo>
                    <a:pt x="270" y="681"/>
                  </a:lnTo>
                  <a:lnTo>
                    <a:pt x="274" y="679"/>
                  </a:lnTo>
                  <a:lnTo>
                    <a:pt x="274" y="676"/>
                  </a:lnTo>
                  <a:lnTo>
                    <a:pt x="278" y="676"/>
                  </a:lnTo>
                  <a:lnTo>
                    <a:pt x="282" y="676"/>
                  </a:lnTo>
                  <a:lnTo>
                    <a:pt x="288" y="674"/>
                  </a:lnTo>
                  <a:lnTo>
                    <a:pt x="293" y="672"/>
                  </a:lnTo>
                  <a:lnTo>
                    <a:pt x="299" y="672"/>
                  </a:lnTo>
                  <a:lnTo>
                    <a:pt x="301" y="676"/>
                  </a:lnTo>
                  <a:lnTo>
                    <a:pt x="301" y="679"/>
                  </a:lnTo>
                  <a:lnTo>
                    <a:pt x="301" y="683"/>
                  </a:lnTo>
                  <a:lnTo>
                    <a:pt x="303" y="685"/>
                  </a:lnTo>
                  <a:lnTo>
                    <a:pt x="305" y="689"/>
                  </a:lnTo>
                  <a:lnTo>
                    <a:pt x="307" y="693"/>
                  </a:lnTo>
                  <a:lnTo>
                    <a:pt x="309" y="695"/>
                  </a:lnTo>
                  <a:lnTo>
                    <a:pt x="309" y="699"/>
                  </a:lnTo>
                  <a:lnTo>
                    <a:pt x="311" y="701"/>
                  </a:lnTo>
                  <a:lnTo>
                    <a:pt x="314" y="702"/>
                  </a:lnTo>
                  <a:lnTo>
                    <a:pt x="316" y="704"/>
                  </a:lnTo>
                  <a:lnTo>
                    <a:pt x="322" y="708"/>
                  </a:lnTo>
                  <a:lnTo>
                    <a:pt x="326" y="710"/>
                  </a:lnTo>
                  <a:lnTo>
                    <a:pt x="330" y="716"/>
                  </a:lnTo>
                  <a:lnTo>
                    <a:pt x="330" y="720"/>
                  </a:lnTo>
                  <a:lnTo>
                    <a:pt x="334" y="720"/>
                  </a:lnTo>
                  <a:lnTo>
                    <a:pt x="336" y="720"/>
                  </a:lnTo>
                  <a:lnTo>
                    <a:pt x="338" y="718"/>
                  </a:lnTo>
                  <a:lnTo>
                    <a:pt x="339" y="714"/>
                  </a:lnTo>
                  <a:lnTo>
                    <a:pt x="345" y="714"/>
                  </a:lnTo>
                  <a:lnTo>
                    <a:pt x="347" y="712"/>
                  </a:lnTo>
                  <a:lnTo>
                    <a:pt x="351" y="712"/>
                  </a:lnTo>
                  <a:lnTo>
                    <a:pt x="353" y="712"/>
                  </a:lnTo>
                  <a:lnTo>
                    <a:pt x="357" y="712"/>
                  </a:lnTo>
                  <a:lnTo>
                    <a:pt x="359" y="712"/>
                  </a:lnTo>
                  <a:lnTo>
                    <a:pt x="361" y="710"/>
                  </a:lnTo>
                  <a:lnTo>
                    <a:pt x="362" y="710"/>
                  </a:lnTo>
                  <a:lnTo>
                    <a:pt x="364" y="710"/>
                  </a:lnTo>
                  <a:lnTo>
                    <a:pt x="366" y="714"/>
                  </a:lnTo>
                  <a:lnTo>
                    <a:pt x="370" y="718"/>
                  </a:lnTo>
                  <a:lnTo>
                    <a:pt x="372" y="720"/>
                  </a:lnTo>
                  <a:lnTo>
                    <a:pt x="374" y="722"/>
                  </a:lnTo>
                  <a:lnTo>
                    <a:pt x="378" y="722"/>
                  </a:lnTo>
                  <a:lnTo>
                    <a:pt x="380" y="722"/>
                  </a:lnTo>
                  <a:lnTo>
                    <a:pt x="382" y="722"/>
                  </a:lnTo>
                  <a:lnTo>
                    <a:pt x="385" y="720"/>
                  </a:lnTo>
                  <a:lnTo>
                    <a:pt x="385" y="716"/>
                  </a:lnTo>
                  <a:lnTo>
                    <a:pt x="389" y="714"/>
                  </a:lnTo>
                  <a:lnTo>
                    <a:pt x="391" y="714"/>
                  </a:lnTo>
                  <a:lnTo>
                    <a:pt x="395" y="712"/>
                  </a:lnTo>
                  <a:lnTo>
                    <a:pt x="397" y="712"/>
                  </a:lnTo>
                  <a:lnTo>
                    <a:pt x="403" y="712"/>
                  </a:lnTo>
                  <a:lnTo>
                    <a:pt x="407" y="712"/>
                  </a:lnTo>
                  <a:lnTo>
                    <a:pt x="412" y="712"/>
                  </a:lnTo>
                  <a:lnTo>
                    <a:pt x="414" y="712"/>
                  </a:lnTo>
                  <a:lnTo>
                    <a:pt x="418" y="712"/>
                  </a:lnTo>
                  <a:lnTo>
                    <a:pt x="422" y="712"/>
                  </a:lnTo>
                  <a:lnTo>
                    <a:pt x="424" y="712"/>
                  </a:lnTo>
                  <a:lnTo>
                    <a:pt x="428" y="712"/>
                  </a:lnTo>
                  <a:lnTo>
                    <a:pt x="432" y="712"/>
                  </a:lnTo>
                  <a:lnTo>
                    <a:pt x="433" y="712"/>
                  </a:lnTo>
                  <a:lnTo>
                    <a:pt x="435" y="712"/>
                  </a:lnTo>
                  <a:lnTo>
                    <a:pt x="439" y="710"/>
                  </a:lnTo>
                  <a:lnTo>
                    <a:pt x="441" y="710"/>
                  </a:lnTo>
                  <a:lnTo>
                    <a:pt x="443" y="708"/>
                  </a:lnTo>
                  <a:lnTo>
                    <a:pt x="445" y="708"/>
                  </a:lnTo>
                  <a:lnTo>
                    <a:pt x="445" y="702"/>
                  </a:lnTo>
                  <a:lnTo>
                    <a:pt x="447" y="702"/>
                  </a:lnTo>
                  <a:lnTo>
                    <a:pt x="447" y="701"/>
                  </a:lnTo>
                  <a:lnTo>
                    <a:pt x="451" y="695"/>
                  </a:lnTo>
                  <a:lnTo>
                    <a:pt x="455" y="693"/>
                  </a:lnTo>
                  <a:lnTo>
                    <a:pt x="458" y="689"/>
                  </a:lnTo>
                  <a:lnTo>
                    <a:pt x="462" y="687"/>
                  </a:lnTo>
                  <a:lnTo>
                    <a:pt x="464" y="683"/>
                  </a:lnTo>
                  <a:lnTo>
                    <a:pt x="464" y="681"/>
                  </a:lnTo>
                  <a:lnTo>
                    <a:pt x="466" y="679"/>
                  </a:lnTo>
                  <a:lnTo>
                    <a:pt x="468" y="678"/>
                  </a:lnTo>
                  <a:lnTo>
                    <a:pt x="472" y="676"/>
                  </a:lnTo>
                  <a:lnTo>
                    <a:pt x="476" y="676"/>
                  </a:lnTo>
                  <a:lnTo>
                    <a:pt x="480" y="676"/>
                  </a:lnTo>
                  <a:lnTo>
                    <a:pt x="485" y="676"/>
                  </a:lnTo>
                  <a:lnTo>
                    <a:pt x="487" y="676"/>
                  </a:lnTo>
                  <a:lnTo>
                    <a:pt x="491" y="676"/>
                  </a:lnTo>
                  <a:lnTo>
                    <a:pt x="495" y="676"/>
                  </a:lnTo>
                  <a:lnTo>
                    <a:pt x="497" y="674"/>
                  </a:lnTo>
                  <a:lnTo>
                    <a:pt x="499" y="670"/>
                  </a:lnTo>
                  <a:lnTo>
                    <a:pt x="503" y="666"/>
                  </a:lnTo>
                  <a:lnTo>
                    <a:pt x="501" y="666"/>
                  </a:lnTo>
                  <a:lnTo>
                    <a:pt x="501" y="664"/>
                  </a:lnTo>
                  <a:lnTo>
                    <a:pt x="499" y="662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4"/>
                  </a:lnTo>
                  <a:lnTo>
                    <a:pt x="491" y="654"/>
                  </a:lnTo>
                  <a:lnTo>
                    <a:pt x="491" y="651"/>
                  </a:lnTo>
                  <a:lnTo>
                    <a:pt x="489" y="649"/>
                  </a:lnTo>
                  <a:lnTo>
                    <a:pt x="487" y="647"/>
                  </a:lnTo>
                  <a:lnTo>
                    <a:pt x="485" y="645"/>
                  </a:lnTo>
                  <a:lnTo>
                    <a:pt x="483" y="641"/>
                  </a:lnTo>
                  <a:lnTo>
                    <a:pt x="483" y="637"/>
                  </a:lnTo>
                  <a:lnTo>
                    <a:pt x="481" y="635"/>
                  </a:lnTo>
                  <a:lnTo>
                    <a:pt x="481" y="633"/>
                  </a:lnTo>
                  <a:lnTo>
                    <a:pt x="481" y="631"/>
                  </a:lnTo>
                  <a:lnTo>
                    <a:pt x="480" y="628"/>
                  </a:lnTo>
                  <a:lnTo>
                    <a:pt x="480" y="624"/>
                  </a:lnTo>
                  <a:lnTo>
                    <a:pt x="480" y="622"/>
                  </a:lnTo>
                  <a:lnTo>
                    <a:pt x="480" y="618"/>
                  </a:lnTo>
                  <a:lnTo>
                    <a:pt x="478" y="616"/>
                  </a:lnTo>
                  <a:lnTo>
                    <a:pt x="476" y="614"/>
                  </a:lnTo>
                  <a:lnTo>
                    <a:pt x="474" y="612"/>
                  </a:lnTo>
                  <a:lnTo>
                    <a:pt x="470" y="610"/>
                  </a:lnTo>
                  <a:lnTo>
                    <a:pt x="468" y="608"/>
                  </a:lnTo>
                  <a:lnTo>
                    <a:pt x="464" y="607"/>
                  </a:lnTo>
                  <a:lnTo>
                    <a:pt x="462" y="605"/>
                  </a:lnTo>
                  <a:lnTo>
                    <a:pt x="460" y="601"/>
                  </a:lnTo>
                  <a:lnTo>
                    <a:pt x="458" y="599"/>
                  </a:lnTo>
                  <a:lnTo>
                    <a:pt x="458" y="597"/>
                  </a:lnTo>
                  <a:lnTo>
                    <a:pt x="458" y="595"/>
                  </a:lnTo>
                  <a:lnTo>
                    <a:pt x="456" y="593"/>
                  </a:lnTo>
                  <a:lnTo>
                    <a:pt x="453" y="589"/>
                  </a:lnTo>
                  <a:lnTo>
                    <a:pt x="449" y="585"/>
                  </a:lnTo>
                  <a:lnTo>
                    <a:pt x="447" y="582"/>
                  </a:lnTo>
                  <a:lnTo>
                    <a:pt x="443" y="580"/>
                  </a:lnTo>
                  <a:lnTo>
                    <a:pt x="441" y="578"/>
                  </a:lnTo>
                  <a:lnTo>
                    <a:pt x="441" y="578"/>
                  </a:lnTo>
                  <a:lnTo>
                    <a:pt x="439" y="574"/>
                  </a:lnTo>
                  <a:lnTo>
                    <a:pt x="439" y="572"/>
                  </a:lnTo>
                  <a:lnTo>
                    <a:pt x="435" y="570"/>
                  </a:lnTo>
                  <a:lnTo>
                    <a:pt x="433" y="568"/>
                  </a:lnTo>
                  <a:lnTo>
                    <a:pt x="432" y="566"/>
                  </a:lnTo>
                  <a:lnTo>
                    <a:pt x="432" y="562"/>
                  </a:lnTo>
                  <a:lnTo>
                    <a:pt x="428" y="560"/>
                  </a:lnTo>
                  <a:lnTo>
                    <a:pt x="424" y="560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6" y="560"/>
                  </a:lnTo>
                  <a:lnTo>
                    <a:pt x="414" y="560"/>
                  </a:lnTo>
                  <a:lnTo>
                    <a:pt x="414" y="557"/>
                  </a:lnTo>
                  <a:lnTo>
                    <a:pt x="414" y="553"/>
                  </a:lnTo>
                  <a:lnTo>
                    <a:pt x="414" y="551"/>
                  </a:lnTo>
                  <a:lnTo>
                    <a:pt x="414" y="547"/>
                  </a:lnTo>
                  <a:lnTo>
                    <a:pt x="414" y="543"/>
                  </a:lnTo>
                  <a:lnTo>
                    <a:pt x="416" y="541"/>
                  </a:lnTo>
                  <a:lnTo>
                    <a:pt x="418" y="537"/>
                  </a:lnTo>
                  <a:lnTo>
                    <a:pt x="422" y="537"/>
                  </a:lnTo>
                  <a:lnTo>
                    <a:pt x="424" y="537"/>
                  </a:lnTo>
                  <a:lnTo>
                    <a:pt x="426" y="536"/>
                  </a:lnTo>
                  <a:lnTo>
                    <a:pt x="430" y="534"/>
                  </a:lnTo>
                  <a:lnTo>
                    <a:pt x="433" y="532"/>
                  </a:lnTo>
                  <a:lnTo>
                    <a:pt x="435" y="526"/>
                  </a:lnTo>
                  <a:lnTo>
                    <a:pt x="439" y="524"/>
                  </a:lnTo>
                  <a:lnTo>
                    <a:pt x="441" y="524"/>
                  </a:lnTo>
                  <a:lnTo>
                    <a:pt x="445" y="522"/>
                  </a:lnTo>
                  <a:lnTo>
                    <a:pt x="449" y="522"/>
                  </a:lnTo>
                  <a:lnTo>
                    <a:pt x="451" y="522"/>
                  </a:lnTo>
                  <a:lnTo>
                    <a:pt x="453" y="524"/>
                  </a:lnTo>
                  <a:lnTo>
                    <a:pt x="456" y="526"/>
                  </a:lnTo>
                  <a:lnTo>
                    <a:pt x="460" y="526"/>
                  </a:lnTo>
                  <a:lnTo>
                    <a:pt x="464" y="528"/>
                  </a:lnTo>
                  <a:lnTo>
                    <a:pt x="468" y="528"/>
                  </a:lnTo>
                  <a:lnTo>
                    <a:pt x="470" y="526"/>
                  </a:lnTo>
                  <a:lnTo>
                    <a:pt x="472" y="526"/>
                  </a:lnTo>
                  <a:lnTo>
                    <a:pt x="476" y="526"/>
                  </a:lnTo>
                  <a:lnTo>
                    <a:pt x="478" y="524"/>
                  </a:lnTo>
                  <a:lnTo>
                    <a:pt x="478" y="520"/>
                  </a:lnTo>
                  <a:lnTo>
                    <a:pt x="478" y="516"/>
                  </a:lnTo>
                  <a:lnTo>
                    <a:pt x="478" y="512"/>
                  </a:lnTo>
                  <a:lnTo>
                    <a:pt x="478" y="509"/>
                  </a:lnTo>
                  <a:lnTo>
                    <a:pt x="478" y="507"/>
                  </a:lnTo>
                  <a:lnTo>
                    <a:pt x="478" y="505"/>
                  </a:lnTo>
                  <a:lnTo>
                    <a:pt x="476" y="503"/>
                  </a:lnTo>
                  <a:lnTo>
                    <a:pt x="474" y="503"/>
                  </a:lnTo>
                  <a:lnTo>
                    <a:pt x="474" y="499"/>
                  </a:lnTo>
                  <a:lnTo>
                    <a:pt x="470" y="499"/>
                  </a:lnTo>
                  <a:lnTo>
                    <a:pt x="468" y="497"/>
                  </a:lnTo>
                  <a:lnTo>
                    <a:pt x="468" y="493"/>
                  </a:lnTo>
                  <a:lnTo>
                    <a:pt x="468" y="489"/>
                  </a:lnTo>
                  <a:lnTo>
                    <a:pt x="468" y="486"/>
                  </a:lnTo>
                  <a:lnTo>
                    <a:pt x="468" y="482"/>
                  </a:lnTo>
                  <a:lnTo>
                    <a:pt x="468" y="478"/>
                  </a:lnTo>
                  <a:lnTo>
                    <a:pt x="468" y="476"/>
                  </a:lnTo>
                  <a:lnTo>
                    <a:pt x="468" y="474"/>
                  </a:lnTo>
                  <a:lnTo>
                    <a:pt x="466" y="472"/>
                  </a:lnTo>
                  <a:lnTo>
                    <a:pt x="462" y="472"/>
                  </a:lnTo>
                  <a:lnTo>
                    <a:pt x="462" y="468"/>
                  </a:lnTo>
                  <a:lnTo>
                    <a:pt x="462" y="465"/>
                  </a:lnTo>
                  <a:lnTo>
                    <a:pt x="462" y="463"/>
                  </a:lnTo>
                  <a:lnTo>
                    <a:pt x="464" y="459"/>
                  </a:lnTo>
                  <a:lnTo>
                    <a:pt x="464" y="457"/>
                  </a:lnTo>
                  <a:lnTo>
                    <a:pt x="466" y="455"/>
                  </a:lnTo>
                  <a:lnTo>
                    <a:pt x="468" y="451"/>
                  </a:lnTo>
                  <a:lnTo>
                    <a:pt x="472" y="447"/>
                  </a:lnTo>
                  <a:lnTo>
                    <a:pt x="476" y="447"/>
                  </a:lnTo>
                  <a:lnTo>
                    <a:pt x="476" y="445"/>
                  </a:lnTo>
                  <a:lnTo>
                    <a:pt x="478" y="445"/>
                  </a:lnTo>
                  <a:lnTo>
                    <a:pt x="480" y="443"/>
                  </a:lnTo>
                  <a:lnTo>
                    <a:pt x="481" y="443"/>
                  </a:lnTo>
                  <a:lnTo>
                    <a:pt x="483" y="441"/>
                  </a:lnTo>
                  <a:lnTo>
                    <a:pt x="485" y="443"/>
                  </a:lnTo>
                  <a:lnTo>
                    <a:pt x="485" y="441"/>
                  </a:lnTo>
                  <a:lnTo>
                    <a:pt x="487" y="440"/>
                  </a:lnTo>
                  <a:lnTo>
                    <a:pt x="489" y="438"/>
                  </a:lnTo>
                  <a:lnTo>
                    <a:pt x="491" y="436"/>
                  </a:lnTo>
                  <a:lnTo>
                    <a:pt x="493" y="432"/>
                  </a:lnTo>
                  <a:lnTo>
                    <a:pt x="495" y="430"/>
                  </a:lnTo>
                  <a:lnTo>
                    <a:pt x="495" y="428"/>
                  </a:lnTo>
                  <a:lnTo>
                    <a:pt x="499" y="428"/>
                  </a:lnTo>
                  <a:lnTo>
                    <a:pt x="499" y="426"/>
                  </a:lnTo>
                  <a:lnTo>
                    <a:pt x="501" y="424"/>
                  </a:lnTo>
                  <a:lnTo>
                    <a:pt x="503" y="422"/>
                  </a:lnTo>
                  <a:lnTo>
                    <a:pt x="503" y="422"/>
                  </a:lnTo>
                  <a:lnTo>
                    <a:pt x="504" y="420"/>
                  </a:lnTo>
                  <a:lnTo>
                    <a:pt x="506" y="418"/>
                  </a:lnTo>
                  <a:lnTo>
                    <a:pt x="506" y="417"/>
                  </a:lnTo>
                  <a:lnTo>
                    <a:pt x="508" y="415"/>
                  </a:lnTo>
                  <a:lnTo>
                    <a:pt x="510" y="415"/>
                  </a:lnTo>
                  <a:lnTo>
                    <a:pt x="512" y="413"/>
                  </a:lnTo>
                  <a:lnTo>
                    <a:pt x="512" y="411"/>
                  </a:lnTo>
                  <a:lnTo>
                    <a:pt x="514" y="407"/>
                  </a:lnTo>
                  <a:lnTo>
                    <a:pt x="516" y="405"/>
                  </a:lnTo>
                  <a:lnTo>
                    <a:pt x="518" y="403"/>
                  </a:lnTo>
                  <a:lnTo>
                    <a:pt x="520" y="403"/>
                  </a:lnTo>
                  <a:lnTo>
                    <a:pt x="520" y="399"/>
                  </a:lnTo>
                  <a:lnTo>
                    <a:pt x="522" y="397"/>
                  </a:lnTo>
                  <a:lnTo>
                    <a:pt x="522" y="394"/>
                  </a:lnTo>
                  <a:lnTo>
                    <a:pt x="522" y="392"/>
                  </a:lnTo>
                  <a:lnTo>
                    <a:pt x="522" y="388"/>
                  </a:lnTo>
                  <a:lnTo>
                    <a:pt x="520" y="386"/>
                  </a:lnTo>
                  <a:lnTo>
                    <a:pt x="520" y="384"/>
                  </a:lnTo>
                  <a:lnTo>
                    <a:pt x="520" y="380"/>
                  </a:lnTo>
                  <a:lnTo>
                    <a:pt x="520" y="376"/>
                  </a:lnTo>
                  <a:lnTo>
                    <a:pt x="520" y="376"/>
                  </a:lnTo>
                  <a:lnTo>
                    <a:pt x="522" y="374"/>
                  </a:lnTo>
                  <a:lnTo>
                    <a:pt x="524" y="370"/>
                  </a:lnTo>
                  <a:lnTo>
                    <a:pt x="527" y="369"/>
                  </a:lnTo>
                  <a:lnTo>
                    <a:pt x="529" y="365"/>
                  </a:lnTo>
                  <a:lnTo>
                    <a:pt x="533" y="363"/>
                  </a:lnTo>
                  <a:lnTo>
                    <a:pt x="533" y="357"/>
                  </a:lnTo>
                  <a:lnTo>
                    <a:pt x="535" y="353"/>
                  </a:lnTo>
                  <a:lnTo>
                    <a:pt x="535" y="351"/>
                  </a:lnTo>
                  <a:lnTo>
                    <a:pt x="535" y="349"/>
                  </a:lnTo>
                  <a:lnTo>
                    <a:pt x="535" y="346"/>
                  </a:lnTo>
                  <a:lnTo>
                    <a:pt x="537" y="344"/>
                  </a:lnTo>
                  <a:lnTo>
                    <a:pt x="535" y="340"/>
                  </a:lnTo>
                  <a:lnTo>
                    <a:pt x="535" y="338"/>
                  </a:lnTo>
                  <a:lnTo>
                    <a:pt x="535" y="334"/>
                  </a:lnTo>
                  <a:lnTo>
                    <a:pt x="535" y="332"/>
                  </a:lnTo>
                  <a:lnTo>
                    <a:pt x="535" y="328"/>
                  </a:lnTo>
                  <a:lnTo>
                    <a:pt x="535" y="324"/>
                  </a:lnTo>
                  <a:lnTo>
                    <a:pt x="535" y="323"/>
                  </a:lnTo>
                  <a:lnTo>
                    <a:pt x="535" y="319"/>
                  </a:lnTo>
                  <a:lnTo>
                    <a:pt x="535" y="315"/>
                  </a:lnTo>
                  <a:lnTo>
                    <a:pt x="537" y="311"/>
                  </a:lnTo>
                  <a:lnTo>
                    <a:pt x="537" y="307"/>
                  </a:lnTo>
                  <a:lnTo>
                    <a:pt x="537" y="305"/>
                  </a:lnTo>
                  <a:lnTo>
                    <a:pt x="537" y="301"/>
                  </a:lnTo>
                  <a:lnTo>
                    <a:pt x="537" y="298"/>
                  </a:lnTo>
                  <a:lnTo>
                    <a:pt x="537" y="296"/>
                  </a:lnTo>
                  <a:lnTo>
                    <a:pt x="537" y="294"/>
                  </a:lnTo>
                  <a:lnTo>
                    <a:pt x="535" y="292"/>
                  </a:lnTo>
                  <a:lnTo>
                    <a:pt x="535" y="288"/>
                  </a:lnTo>
                  <a:lnTo>
                    <a:pt x="535" y="286"/>
                  </a:lnTo>
                  <a:lnTo>
                    <a:pt x="535" y="282"/>
                  </a:lnTo>
                  <a:lnTo>
                    <a:pt x="535" y="278"/>
                  </a:lnTo>
                  <a:lnTo>
                    <a:pt x="533" y="278"/>
                  </a:lnTo>
                  <a:lnTo>
                    <a:pt x="533" y="275"/>
                  </a:lnTo>
                  <a:lnTo>
                    <a:pt x="533" y="271"/>
                  </a:lnTo>
                  <a:lnTo>
                    <a:pt x="533" y="269"/>
                  </a:lnTo>
                  <a:lnTo>
                    <a:pt x="533" y="265"/>
                  </a:lnTo>
                  <a:lnTo>
                    <a:pt x="533" y="261"/>
                  </a:lnTo>
                  <a:lnTo>
                    <a:pt x="533" y="259"/>
                  </a:lnTo>
                  <a:lnTo>
                    <a:pt x="533" y="255"/>
                  </a:lnTo>
                  <a:lnTo>
                    <a:pt x="533" y="253"/>
                  </a:lnTo>
                  <a:lnTo>
                    <a:pt x="533" y="252"/>
                  </a:lnTo>
                  <a:lnTo>
                    <a:pt x="535" y="248"/>
                  </a:lnTo>
                  <a:lnTo>
                    <a:pt x="537" y="246"/>
                  </a:lnTo>
                  <a:lnTo>
                    <a:pt x="539" y="244"/>
                  </a:lnTo>
                  <a:lnTo>
                    <a:pt x="539" y="242"/>
                  </a:lnTo>
                  <a:lnTo>
                    <a:pt x="541" y="240"/>
                  </a:lnTo>
                  <a:lnTo>
                    <a:pt x="541" y="236"/>
                  </a:lnTo>
                  <a:lnTo>
                    <a:pt x="543" y="236"/>
                  </a:lnTo>
                  <a:lnTo>
                    <a:pt x="545" y="234"/>
                  </a:lnTo>
                  <a:lnTo>
                    <a:pt x="547" y="232"/>
                  </a:lnTo>
                  <a:lnTo>
                    <a:pt x="549" y="230"/>
                  </a:lnTo>
                  <a:lnTo>
                    <a:pt x="551" y="230"/>
                  </a:lnTo>
                  <a:lnTo>
                    <a:pt x="552" y="227"/>
                  </a:lnTo>
                  <a:lnTo>
                    <a:pt x="556" y="227"/>
                  </a:lnTo>
                  <a:lnTo>
                    <a:pt x="556" y="223"/>
                  </a:lnTo>
                  <a:lnTo>
                    <a:pt x="558" y="221"/>
                  </a:lnTo>
                  <a:lnTo>
                    <a:pt x="562" y="219"/>
                  </a:lnTo>
                  <a:lnTo>
                    <a:pt x="566" y="217"/>
                  </a:lnTo>
                  <a:lnTo>
                    <a:pt x="566" y="217"/>
                  </a:lnTo>
                  <a:lnTo>
                    <a:pt x="570" y="215"/>
                  </a:lnTo>
                  <a:lnTo>
                    <a:pt x="572" y="213"/>
                  </a:lnTo>
                  <a:lnTo>
                    <a:pt x="574" y="211"/>
                  </a:lnTo>
                  <a:lnTo>
                    <a:pt x="574" y="209"/>
                  </a:lnTo>
                  <a:lnTo>
                    <a:pt x="574" y="207"/>
                  </a:lnTo>
                  <a:lnTo>
                    <a:pt x="577" y="207"/>
                  </a:lnTo>
                  <a:lnTo>
                    <a:pt x="579" y="205"/>
                  </a:lnTo>
                  <a:lnTo>
                    <a:pt x="583" y="204"/>
                  </a:lnTo>
                  <a:lnTo>
                    <a:pt x="583" y="202"/>
                  </a:lnTo>
                  <a:lnTo>
                    <a:pt x="585" y="200"/>
                  </a:lnTo>
                  <a:lnTo>
                    <a:pt x="587" y="198"/>
                  </a:lnTo>
                  <a:lnTo>
                    <a:pt x="589" y="198"/>
                  </a:lnTo>
                  <a:lnTo>
                    <a:pt x="591" y="196"/>
                  </a:lnTo>
                  <a:lnTo>
                    <a:pt x="591" y="194"/>
                  </a:lnTo>
                  <a:lnTo>
                    <a:pt x="593" y="192"/>
                  </a:lnTo>
                  <a:lnTo>
                    <a:pt x="595" y="190"/>
                  </a:lnTo>
                  <a:lnTo>
                    <a:pt x="597" y="190"/>
                  </a:lnTo>
                  <a:lnTo>
                    <a:pt x="598" y="188"/>
                  </a:lnTo>
                  <a:lnTo>
                    <a:pt x="600" y="186"/>
                  </a:lnTo>
                  <a:lnTo>
                    <a:pt x="600" y="184"/>
                  </a:lnTo>
                  <a:lnTo>
                    <a:pt x="602" y="1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1" name="Freeform 38"/>
            <p:cNvSpPr>
              <a:spLocks/>
            </p:cNvSpPr>
            <p:nvPr/>
          </p:nvSpPr>
          <p:spPr bwMode="auto">
            <a:xfrm>
              <a:off x="1966" y="1476"/>
              <a:ext cx="602" cy="722"/>
            </a:xfrm>
            <a:custGeom>
              <a:avLst/>
              <a:gdLst/>
              <a:ahLst/>
              <a:cxnLst>
                <a:cxn ang="0">
                  <a:pos x="579" y="161"/>
                </a:cxn>
                <a:cxn ang="0">
                  <a:pos x="556" y="146"/>
                </a:cxn>
                <a:cxn ang="0">
                  <a:pos x="552" y="113"/>
                </a:cxn>
                <a:cxn ang="0">
                  <a:pos x="543" y="77"/>
                </a:cxn>
                <a:cxn ang="0">
                  <a:pos x="539" y="40"/>
                </a:cxn>
                <a:cxn ang="0">
                  <a:pos x="512" y="19"/>
                </a:cxn>
                <a:cxn ang="0">
                  <a:pos x="493" y="2"/>
                </a:cxn>
                <a:cxn ang="0">
                  <a:pos x="462" y="31"/>
                </a:cxn>
                <a:cxn ang="0">
                  <a:pos x="430" y="44"/>
                </a:cxn>
                <a:cxn ang="0">
                  <a:pos x="391" y="39"/>
                </a:cxn>
                <a:cxn ang="0">
                  <a:pos x="336" y="40"/>
                </a:cxn>
                <a:cxn ang="0">
                  <a:pos x="291" y="40"/>
                </a:cxn>
                <a:cxn ang="0">
                  <a:pos x="251" y="44"/>
                </a:cxn>
                <a:cxn ang="0">
                  <a:pos x="205" y="46"/>
                </a:cxn>
                <a:cxn ang="0">
                  <a:pos x="161" y="46"/>
                </a:cxn>
                <a:cxn ang="0">
                  <a:pos x="126" y="44"/>
                </a:cxn>
                <a:cxn ang="0">
                  <a:pos x="115" y="85"/>
                </a:cxn>
                <a:cxn ang="0">
                  <a:pos x="98" y="111"/>
                </a:cxn>
                <a:cxn ang="0">
                  <a:pos x="78" y="146"/>
                </a:cxn>
                <a:cxn ang="0">
                  <a:pos x="77" y="204"/>
                </a:cxn>
                <a:cxn ang="0">
                  <a:pos x="77" y="252"/>
                </a:cxn>
                <a:cxn ang="0">
                  <a:pos x="57" y="271"/>
                </a:cxn>
                <a:cxn ang="0">
                  <a:pos x="29" y="296"/>
                </a:cxn>
                <a:cxn ang="0">
                  <a:pos x="15" y="342"/>
                </a:cxn>
                <a:cxn ang="0">
                  <a:pos x="0" y="384"/>
                </a:cxn>
                <a:cxn ang="0">
                  <a:pos x="27" y="415"/>
                </a:cxn>
                <a:cxn ang="0">
                  <a:pos x="36" y="449"/>
                </a:cxn>
                <a:cxn ang="0">
                  <a:pos x="61" y="478"/>
                </a:cxn>
                <a:cxn ang="0">
                  <a:pos x="65" y="516"/>
                </a:cxn>
                <a:cxn ang="0">
                  <a:pos x="105" y="543"/>
                </a:cxn>
                <a:cxn ang="0">
                  <a:pos x="146" y="582"/>
                </a:cxn>
                <a:cxn ang="0">
                  <a:pos x="184" y="612"/>
                </a:cxn>
                <a:cxn ang="0">
                  <a:pos x="197" y="641"/>
                </a:cxn>
                <a:cxn ang="0">
                  <a:pos x="215" y="668"/>
                </a:cxn>
                <a:cxn ang="0">
                  <a:pos x="247" y="693"/>
                </a:cxn>
                <a:cxn ang="0">
                  <a:pos x="282" y="676"/>
                </a:cxn>
                <a:cxn ang="0">
                  <a:pos x="309" y="699"/>
                </a:cxn>
                <a:cxn ang="0">
                  <a:pos x="339" y="714"/>
                </a:cxn>
                <a:cxn ang="0">
                  <a:pos x="370" y="718"/>
                </a:cxn>
                <a:cxn ang="0">
                  <a:pos x="397" y="712"/>
                </a:cxn>
                <a:cxn ang="0">
                  <a:pos x="435" y="712"/>
                </a:cxn>
                <a:cxn ang="0">
                  <a:pos x="462" y="687"/>
                </a:cxn>
                <a:cxn ang="0">
                  <a:pos x="495" y="676"/>
                </a:cxn>
                <a:cxn ang="0">
                  <a:pos x="491" y="651"/>
                </a:cxn>
                <a:cxn ang="0">
                  <a:pos x="480" y="622"/>
                </a:cxn>
                <a:cxn ang="0">
                  <a:pos x="458" y="597"/>
                </a:cxn>
                <a:cxn ang="0">
                  <a:pos x="435" y="570"/>
                </a:cxn>
                <a:cxn ang="0">
                  <a:pos x="414" y="553"/>
                </a:cxn>
                <a:cxn ang="0">
                  <a:pos x="435" y="526"/>
                </a:cxn>
                <a:cxn ang="0">
                  <a:pos x="470" y="526"/>
                </a:cxn>
                <a:cxn ang="0">
                  <a:pos x="474" y="503"/>
                </a:cxn>
                <a:cxn ang="0">
                  <a:pos x="466" y="472"/>
                </a:cxn>
                <a:cxn ang="0">
                  <a:pos x="476" y="445"/>
                </a:cxn>
                <a:cxn ang="0">
                  <a:pos x="495" y="430"/>
                </a:cxn>
                <a:cxn ang="0">
                  <a:pos x="510" y="415"/>
                </a:cxn>
                <a:cxn ang="0">
                  <a:pos x="522" y="388"/>
                </a:cxn>
                <a:cxn ang="0">
                  <a:pos x="533" y="357"/>
                </a:cxn>
                <a:cxn ang="0">
                  <a:pos x="535" y="324"/>
                </a:cxn>
                <a:cxn ang="0">
                  <a:pos x="535" y="292"/>
                </a:cxn>
                <a:cxn ang="0">
                  <a:pos x="533" y="259"/>
                </a:cxn>
                <a:cxn ang="0">
                  <a:pos x="545" y="234"/>
                </a:cxn>
                <a:cxn ang="0">
                  <a:pos x="570" y="215"/>
                </a:cxn>
                <a:cxn ang="0">
                  <a:pos x="589" y="198"/>
                </a:cxn>
              </a:cxnLst>
              <a:rect l="0" t="0" r="r" b="b"/>
              <a:pathLst>
                <a:path w="602" h="722">
                  <a:moveTo>
                    <a:pt x="602" y="184"/>
                  </a:moveTo>
                  <a:lnTo>
                    <a:pt x="600" y="179"/>
                  </a:lnTo>
                  <a:lnTo>
                    <a:pt x="600" y="175"/>
                  </a:lnTo>
                  <a:lnTo>
                    <a:pt x="597" y="173"/>
                  </a:lnTo>
                  <a:lnTo>
                    <a:pt x="597" y="173"/>
                  </a:lnTo>
                  <a:lnTo>
                    <a:pt x="595" y="171"/>
                  </a:lnTo>
                  <a:lnTo>
                    <a:pt x="589" y="171"/>
                  </a:lnTo>
                  <a:lnTo>
                    <a:pt x="585" y="169"/>
                  </a:lnTo>
                  <a:lnTo>
                    <a:pt x="583" y="167"/>
                  </a:lnTo>
                  <a:lnTo>
                    <a:pt x="581" y="165"/>
                  </a:lnTo>
                  <a:lnTo>
                    <a:pt x="579" y="161"/>
                  </a:lnTo>
                  <a:lnTo>
                    <a:pt x="579" y="159"/>
                  </a:lnTo>
                  <a:lnTo>
                    <a:pt x="575" y="157"/>
                  </a:lnTo>
                  <a:lnTo>
                    <a:pt x="574" y="157"/>
                  </a:lnTo>
                  <a:lnTo>
                    <a:pt x="570" y="157"/>
                  </a:lnTo>
                  <a:lnTo>
                    <a:pt x="566" y="157"/>
                  </a:lnTo>
                  <a:lnTo>
                    <a:pt x="564" y="157"/>
                  </a:lnTo>
                  <a:lnTo>
                    <a:pt x="562" y="157"/>
                  </a:lnTo>
                  <a:lnTo>
                    <a:pt x="556" y="156"/>
                  </a:lnTo>
                  <a:lnTo>
                    <a:pt x="556" y="152"/>
                  </a:lnTo>
                  <a:lnTo>
                    <a:pt x="556" y="150"/>
                  </a:lnTo>
                  <a:lnTo>
                    <a:pt x="556" y="146"/>
                  </a:lnTo>
                  <a:lnTo>
                    <a:pt x="554" y="144"/>
                  </a:lnTo>
                  <a:lnTo>
                    <a:pt x="554" y="140"/>
                  </a:lnTo>
                  <a:lnTo>
                    <a:pt x="554" y="138"/>
                  </a:lnTo>
                  <a:lnTo>
                    <a:pt x="554" y="134"/>
                  </a:lnTo>
                  <a:lnTo>
                    <a:pt x="554" y="131"/>
                  </a:lnTo>
                  <a:lnTo>
                    <a:pt x="554" y="129"/>
                  </a:lnTo>
                  <a:lnTo>
                    <a:pt x="554" y="127"/>
                  </a:lnTo>
                  <a:lnTo>
                    <a:pt x="552" y="123"/>
                  </a:lnTo>
                  <a:lnTo>
                    <a:pt x="552" y="121"/>
                  </a:lnTo>
                  <a:lnTo>
                    <a:pt x="552" y="117"/>
                  </a:lnTo>
                  <a:lnTo>
                    <a:pt x="552" y="113"/>
                  </a:lnTo>
                  <a:lnTo>
                    <a:pt x="552" y="111"/>
                  </a:lnTo>
                  <a:lnTo>
                    <a:pt x="551" y="108"/>
                  </a:lnTo>
                  <a:lnTo>
                    <a:pt x="551" y="106"/>
                  </a:lnTo>
                  <a:lnTo>
                    <a:pt x="551" y="102"/>
                  </a:lnTo>
                  <a:lnTo>
                    <a:pt x="547" y="102"/>
                  </a:lnTo>
                  <a:lnTo>
                    <a:pt x="545" y="96"/>
                  </a:lnTo>
                  <a:lnTo>
                    <a:pt x="541" y="90"/>
                  </a:lnTo>
                  <a:lnTo>
                    <a:pt x="541" y="86"/>
                  </a:lnTo>
                  <a:lnTo>
                    <a:pt x="541" y="83"/>
                  </a:lnTo>
                  <a:lnTo>
                    <a:pt x="543" y="81"/>
                  </a:lnTo>
                  <a:lnTo>
                    <a:pt x="543" y="77"/>
                  </a:lnTo>
                  <a:lnTo>
                    <a:pt x="545" y="71"/>
                  </a:lnTo>
                  <a:lnTo>
                    <a:pt x="545" y="67"/>
                  </a:lnTo>
                  <a:lnTo>
                    <a:pt x="545" y="62"/>
                  </a:lnTo>
                  <a:lnTo>
                    <a:pt x="545" y="58"/>
                  </a:lnTo>
                  <a:lnTo>
                    <a:pt x="545" y="56"/>
                  </a:lnTo>
                  <a:lnTo>
                    <a:pt x="545" y="52"/>
                  </a:lnTo>
                  <a:lnTo>
                    <a:pt x="545" y="48"/>
                  </a:lnTo>
                  <a:lnTo>
                    <a:pt x="543" y="46"/>
                  </a:lnTo>
                  <a:lnTo>
                    <a:pt x="539" y="44"/>
                  </a:lnTo>
                  <a:lnTo>
                    <a:pt x="539" y="40"/>
                  </a:lnTo>
                  <a:lnTo>
                    <a:pt x="539" y="40"/>
                  </a:lnTo>
                  <a:lnTo>
                    <a:pt x="535" y="39"/>
                  </a:lnTo>
                  <a:lnTo>
                    <a:pt x="531" y="35"/>
                  </a:lnTo>
                  <a:lnTo>
                    <a:pt x="529" y="33"/>
                  </a:lnTo>
                  <a:lnTo>
                    <a:pt x="526" y="33"/>
                  </a:lnTo>
                  <a:lnTo>
                    <a:pt x="524" y="31"/>
                  </a:lnTo>
                  <a:lnTo>
                    <a:pt x="522" y="31"/>
                  </a:lnTo>
                  <a:lnTo>
                    <a:pt x="522" y="29"/>
                  </a:lnTo>
                  <a:lnTo>
                    <a:pt x="518" y="27"/>
                  </a:lnTo>
                  <a:lnTo>
                    <a:pt x="516" y="23"/>
                  </a:lnTo>
                  <a:lnTo>
                    <a:pt x="514" y="21"/>
                  </a:lnTo>
                  <a:lnTo>
                    <a:pt x="512" y="19"/>
                  </a:lnTo>
                  <a:lnTo>
                    <a:pt x="510" y="17"/>
                  </a:lnTo>
                  <a:lnTo>
                    <a:pt x="510" y="15"/>
                  </a:lnTo>
                  <a:lnTo>
                    <a:pt x="506" y="14"/>
                  </a:lnTo>
                  <a:lnTo>
                    <a:pt x="503" y="14"/>
                  </a:lnTo>
                  <a:lnTo>
                    <a:pt x="506" y="10"/>
                  </a:lnTo>
                  <a:lnTo>
                    <a:pt x="503" y="10"/>
                  </a:lnTo>
                  <a:lnTo>
                    <a:pt x="503" y="8"/>
                  </a:lnTo>
                  <a:lnTo>
                    <a:pt x="499" y="6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3" y="2"/>
                  </a:lnTo>
                  <a:lnTo>
                    <a:pt x="491" y="0"/>
                  </a:lnTo>
                  <a:lnTo>
                    <a:pt x="487" y="4"/>
                  </a:lnTo>
                  <a:lnTo>
                    <a:pt x="483" y="8"/>
                  </a:lnTo>
                  <a:lnTo>
                    <a:pt x="481" y="12"/>
                  </a:lnTo>
                  <a:lnTo>
                    <a:pt x="480" y="14"/>
                  </a:lnTo>
                  <a:lnTo>
                    <a:pt x="478" y="15"/>
                  </a:lnTo>
                  <a:lnTo>
                    <a:pt x="474" y="19"/>
                  </a:lnTo>
                  <a:lnTo>
                    <a:pt x="472" y="23"/>
                  </a:lnTo>
                  <a:lnTo>
                    <a:pt x="468" y="27"/>
                  </a:lnTo>
                  <a:lnTo>
                    <a:pt x="466" y="29"/>
                  </a:lnTo>
                  <a:lnTo>
                    <a:pt x="462" y="31"/>
                  </a:lnTo>
                  <a:lnTo>
                    <a:pt x="458" y="33"/>
                  </a:lnTo>
                  <a:lnTo>
                    <a:pt x="458" y="33"/>
                  </a:lnTo>
                  <a:lnTo>
                    <a:pt x="456" y="37"/>
                  </a:lnTo>
                  <a:lnTo>
                    <a:pt x="455" y="37"/>
                  </a:lnTo>
                  <a:lnTo>
                    <a:pt x="451" y="39"/>
                  </a:lnTo>
                  <a:lnTo>
                    <a:pt x="447" y="40"/>
                  </a:lnTo>
                  <a:lnTo>
                    <a:pt x="445" y="44"/>
                  </a:lnTo>
                  <a:lnTo>
                    <a:pt x="441" y="44"/>
                  </a:lnTo>
                  <a:lnTo>
                    <a:pt x="437" y="46"/>
                  </a:lnTo>
                  <a:lnTo>
                    <a:pt x="433" y="46"/>
                  </a:lnTo>
                  <a:lnTo>
                    <a:pt x="430" y="44"/>
                  </a:lnTo>
                  <a:lnTo>
                    <a:pt x="426" y="44"/>
                  </a:lnTo>
                  <a:lnTo>
                    <a:pt x="422" y="44"/>
                  </a:lnTo>
                  <a:lnTo>
                    <a:pt x="418" y="42"/>
                  </a:lnTo>
                  <a:lnTo>
                    <a:pt x="416" y="40"/>
                  </a:lnTo>
                  <a:lnTo>
                    <a:pt x="414" y="40"/>
                  </a:lnTo>
                  <a:lnTo>
                    <a:pt x="410" y="40"/>
                  </a:lnTo>
                  <a:lnTo>
                    <a:pt x="409" y="40"/>
                  </a:lnTo>
                  <a:lnTo>
                    <a:pt x="407" y="39"/>
                  </a:lnTo>
                  <a:lnTo>
                    <a:pt x="403" y="39"/>
                  </a:lnTo>
                  <a:lnTo>
                    <a:pt x="397" y="39"/>
                  </a:lnTo>
                  <a:lnTo>
                    <a:pt x="391" y="39"/>
                  </a:lnTo>
                  <a:lnTo>
                    <a:pt x="384" y="40"/>
                  </a:lnTo>
                  <a:lnTo>
                    <a:pt x="380" y="40"/>
                  </a:lnTo>
                  <a:lnTo>
                    <a:pt x="374" y="40"/>
                  </a:lnTo>
                  <a:lnTo>
                    <a:pt x="370" y="40"/>
                  </a:lnTo>
                  <a:lnTo>
                    <a:pt x="368" y="40"/>
                  </a:lnTo>
                  <a:lnTo>
                    <a:pt x="362" y="40"/>
                  </a:lnTo>
                  <a:lnTo>
                    <a:pt x="357" y="40"/>
                  </a:lnTo>
                  <a:lnTo>
                    <a:pt x="351" y="40"/>
                  </a:lnTo>
                  <a:lnTo>
                    <a:pt x="345" y="40"/>
                  </a:lnTo>
                  <a:lnTo>
                    <a:pt x="341" y="40"/>
                  </a:lnTo>
                  <a:lnTo>
                    <a:pt x="336" y="40"/>
                  </a:lnTo>
                  <a:lnTo>
                    <a:pt x="332" y="40"/>
                  </a:lnTo>
                  <a:lnTo>
                    <a:pt x="326" y="40"/>
                  </a:lnTo>
                  <a:lnTo>
                    <a:pt x="324" y="40"/>
                  </a:lnTo>
                  <a:lnTo>
                    <a:pt x="318" y="40"/>
                  </a:lnTo>
                  <a:lnTo>
                    <a:pt x="313" y="40"/>
                  </a:lnTo>
                  <a:lnTo>
                    <a:pt x="309" y="40"/>
                  </a:lnTo>
                  <a:lnTo>
                    <a:pt x="305" y="40"/>
                  </a:lnTo>
                  <a:lnTo>
                    <a:pt x="301" y="40"/>
                  </a:lnTo>
                  <a:lnTo>
                    <a:pt x="297" y="40"/>
                  </a:lnTo>
                  <a:lnTo>
                    <a:pt x="293" y="40"/>
                  </a:lnTo>
                  <a:lnTo>
                    <a:pt x="291" y="40"/>
                  </a:lnTo>
                  <a:lnTo>
                    <a:pt x="286" y="42"/>
                  </a:lnTo>
                  <a:lnTo>
                    <a:pt x="282" y="42"/>
                  </a:lnTo>
                  <a:lnTo>
                    <a:pt x="278" y="42"/>
                  </a:lnTo>
                  <a:lnTo>
                    <a:pt x="274" y="44"/>
                  </a:lnTo>
                  <a:lnTo>
                    <a:pt x="270" y="44"/>
                  </a:lnTo>
                  <a:lnTo>
                    <a:pt x="265" y="44"/>
                  </a:lnTo>
                  <a:lnTo>
                    <a:pt x="263" y="44"/>
                  </a:lnTo>
                  <a:lnTo>
                    <a:pt x="259" y="44"/>
                  </a:lnTo>
                  <a:lnTo>
                    <a:pt x="257" y="44"/>
                  </a:lnTo>
                  <a:lnTo>
                    <a:pt x="253" y="44"/>
                  </a:lnTo>
                  <a:lnTo>
                    <a:pt x="251" y="44"/>
                  </a:lnTo>
                  <a:lnTo>
                    <a:pt x="247" y="46"/>
                  </a:lnTo>
                  <a:lnTo>
                    <a:pt x="244" y="46"/>
                  </a:lnTo>
                  <a:lnTo>
                    <a:pt x="240" y="46"/>
                  </a:lnTo>
                  <a:lnTo>
                    <a:pt x="234" y="46"/>
                  </a:lnTo>
                  <a:lnTo>
                    <a:pt x="230" y="46"/>
                  </a:lnTo>
                  <a:lnTo>
                    <a:pt x="228" y="46"/>
                  </a:lnTo>
                  <a:lnTo>
                    <a:pt x="222" y="46"/>
                  </a:lnTo>
                  <a:lnTo>
                    <a:pt x="220" y="46"/>
                  </a:lnTo>
                  <a:lnTo>
                    <a:pt x="213" y="46"/>
                  </a:lnTo>
                  <a:lnTo>
                    <a:pt x="209" y="46"/>
                  </a:lnTo>
                  <a:lnTo>
                    <a:pt x="205" y="46"/>
                  </a:lnTo>
                  <a:lnTo>
                    <a:pt x="203" y="46"/>
                  </a:lnTo>
                  <a:lnTo>
                    <a:pt x="197" y="46"/>
                  </a:lnTo>
                  <a:lnTo>
                    <a:pt x="194" y="46"/>
                  </a:lnTo>
                  <a:lnTo>
                    <a:pt x="188" y="46"/>
                  </a:lnTo>
                  <a:lnTo>
                    <a:pt x="184" y="46"/>
                  </a:lnTo>
                  <a:lnTo>
                    <a:pt x="180" y="46"/>
                  </a:lnTo>
                  <a:lnTo>
                    <a:pt x="176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65" y="46"/>
                  </a:lnTo>
                  <a:lnTo>
                    <a:pt x="161" y="46"/>
                  </a:lnTo>
                  <a:lnTo>
                    <a:pt x="159" y="46"/>
                  </a:lnTo>
                  <a:lnTo>
                    <a:pt x="155" y="46"/>
                  </a:lnTo>
                  <a:lnTo>
                    <a:pt x="151" y="46"/>
                  </a:lnTo>
                  <a:lnTo>
                    <a:pt x="148" y="46"/>
                  </a:lnTo>
                  <a:lnTo>
                    <a:pt x="146" y="44"/>
                  </a:lnTo>
                  <a:lnTo>
                    <a:pt x="142" y="44"/>
                  </a:lnTo>
                  <a:lnTo>
                    <a:pt x="138" y="44"/>
                  </a:lnTo>
                  <a:lnTo>
                    <a:pt x="134" y="44"/>
                  </a:lnTo>
                  <a:lnTo>
                    <a:pt x="132" y="44"/>
                  </a:lnTo>
                  <a:lnTo>
                    <a:pt x="128" y="44"/>
                  </a:lnTo>
                  <a:lnTo>
                    <a:pt x="126" y="44"/>
                  </a:lnTo>
                  <a:lnTo>
                    <a:pt x="125" y="44"/>
                  </a:lnTo>
                  <a:lnTo>
                    <a:pt x="121" y="46"/>
                  </a:lnTo>
                  <a:lnTo>
                    <a:pt x="117" y="44"/>
                  </a:lnTo>
                  <a:lnTo>
                    <a:pt x="117" y="50"/>
                  </a:lnTo>
                  <a:lnTo>
                    <a:pt x="117" y="56"/>
                  </a:lnTo>
                  <a:lnTo>
                    <a:pt x="117" y="62"/>
                  </a:lnTo>
                  <a:lnTo>
                    <a:pt x="115" y="67"/>
                  </a:lnTo>
                  <a:lnTo>
                    <a:pt x="115" y="71"/>
                  </a:lnTo>
                  <a:lnTo>
                    <a:pt x="115" y="75"/>
                  </a:lnTo>
                  <a:lnTo>
                    <a:pt x="115" y="79"/>
                  </a:lnTo>
                  <a:lnTo>
                    <a:pt x="115" y="85"/>
                  </a:lnTo>
                  <a:lnTo>
                    <a:pt x="115" y="86"/>
                  </a:lnTo>
                  <a:lnTo>
                    <a:pt x="115" y="88"/>
                  </a:lnTo>
                  <a:lnTo>
                    <a:pt x="113" y="92"/>
                  </a:lnTo>
                  <a:lnTo>
                    <a:pt x="111" y="96"/>
                  </a:lnTo>
                  <a:lnTo>
                    <a:pt x="111" y="102"/>
                  </a:lnTo>
                  <a:lnTo>
                    <a:pt x="111" y="108"/>
                  </a:lnTo>
                  <a:lnTo>
                    <a:pt x="111" y="110"/>
                  </a:lnTo>
                  <a:lnTo>
                    <a:pt x="111" y="111"/>
                  </a:lnTo>
                  <a:lnTo>
                    <a:pt x="107" y="111"/>
                  </a:lnTo>
                  <a:lnTo>
                    <a:pt x="103" y="111"/>
                  </a:lnTo>
                  <a:lnTo>
                    <a:pt x="98" y="111"/>
                  </a:lnTo>
                  <a:lnTo>
                    <a:pt x="94" y="111"/>
                  </a:lnTo>
                  <a:lnTo>
                    <a:pt x="88" y="111"/>
                  </a:lnTo>
                  <a:lnTo>
                    <a:pt x="84" y="111"/>
                  </a:lnTo>
                  <a:lnTo>
                    <a:pt x="80" y="111"/>
                  </a:lnTo>
                  <a:lnTo>
                    <a:pt x="78" y="119"/>
                  </a:lnTo>
                  <a:lnTo>
                    <a:pt x="78" y="125"/>
                  </a:lnTo>
                  <a:lnTo>
                    <a:pt x="78" y="129"/>
                  </a:lnTo>
                  <a:lnTo>
                    <a:pt x="78" y="133"/>
                  </a:lnTo>
                  <a:lnTo>
                    <a:pt x="78" y="136"/>
                  </a:lnTo>
                  <a:lnTo>
                    <a:pt x="78" y="140"/>
                  </a:lnTo>
                  <a:lnTo>
                    <a:pt x="78" y="146"/>
                  </a:lnTo>
                  <a:lnTo>
                    <a:pt x="80" y="152"/>
                  </a:lnTo>
                  <a:lnTo>
                    <a:pt x="80" y="156"/>
                  </a:lnTo>
                  <a:lnTo>
                    <a:pt x="80" y="159"/>
                  </a:lnTo>
                  <a:lnTo>
                    <a:pt x="80" y="167"/>
                  </a:lnTo>
                  <a:lnTo>
                    <a:pt x="78" y="173"/>
                  </a:lnTo>
                  <a:lnTo>
                    <a:pt x="78" y="177"/>
                  </a:lnTo>
                  <a:lnTo>
                    <a:pt x="77" y="181"/>
                  </a:lnTo>
                  <a:lnTo>
                    <a:pt x="77" y="184"/>
                  </a:lnTo>
                  <a:lnTo>
                    <a:pt x="77" y="194"/>
                  </a:lnTo>
                  <a:lnTo>
                    <a:pt x="77" y="200"/>
                  </a:lnTo>
                  <a:lnTo>
                    <a:pt x="77" y="204"/>
                  </a:lnTo>
                  <a:lnTo>
                    <a:pt x="75" y="207"/>
                  </a:lnTo>
                  <a:lnTo>
                    <a:pt x="75" y="215"/>
                  </a:lnTo>
                  <a:lnTo>
                    <a:pt x="75" y="221"/>
                  </a:lnTo>
                  <a:lnTo>
                    <a:pt x="77" y="225"/>
                  </a:lnTo>
                  <a:lnTo>
                    <a:pt x="77" y="228"/>
                  </a:lnTo>
                  <a:lnTo>
                    <a:pt x="77" y="232"/>
                  </a:lnTo>
                  <a:lnTo>
                    <a:pt x="77" y="234"/>
                  </a:lnTo>
                  <a:lnTo>
                    <a:pt x="77" y="240"/>
                  </a:lnTo>
                  <a:lnTo>
                    <a:pt x="77" y="244"/>
                  </a:lnTo>
                  <a:lnTo>
                    <a:pt x="77" y="246"/>
                  </a:lnTo>
                  <a:lnTo>
                    <a:pt x="77" y="252"/>
                  </a:lnTo>
                  <a:lnTo>
                    <a:pt x="77" y="257"/>
                  </a:lnTo>
                  <a:lnTo>
                    <a:pt x="75" y="261"/>
                  </a:lnTo>
                  <a:lnTo>
                    <a:pt x="75" y="263"/>
                  </a:lnTo>
                  <a:lnTo>
                    <a:pt x="75" y="269"/>
                  </a:lnTo>
                  <a:lnTo>
                    <a:pt x="75" y="273"/>
                  </a:lnTo>
                  <a:lnTo>
                    <a:pt x="73" y="271"/>
                  </a:lnTo>
                  <a:lnTo>
                    <a:pt x="71" y="271"/>
                  </a:lnTo>
                  <a:lnTo>
                    <a:pt x="67" y="271"/>
                  </a:lnTo>
                  <a:lnTo>
                    <a:pt x="63" y="271"/>
                  </a:lnTo>
                  <a:lnTo>
                    <a:pt x="61" y="271"/>
                  </a:lnTo>
                  <a:lnTo>
                    <a:pt x="57" y="271"/>
                  </a:lnTo>
                  <a:lnTo>
                    <a:pt x="55" y="271"/>
                  </a:lnTo>
                  <a:lnTo>
                    <a:pt x="50" y="273"/>
                  </a:lnTo>
                  <a:lnTo>
                    <a:pt x="46" y="276"/>
                  </a:lnTo>
                  <a:lnTo>
                    <a:pt x="44" y="276"/>
                  </a:lnTo>
                  <a:lnTo>
                    <a:pt x="42" y="278"/>
                  </a:lnTo>
                  <a:lnTo>
                    <a:pt x="40" y="282"/>
                  </a:lnTo>
                  <a:lnTo>
                    <a:pt x="38" y="286"/>
                  </a:lnTo>
                  <a:lnTo>
                    <a:pt x="36" y="290"/>
                  </a:lnTo>
                  <a:lnTo>
                    <a:pt x="34" y="294"/>
                  </a:lnTo>
                  <a:lnTo>
                    <a:pt x="31" y="296"/>
                  </a:lnTo>
                  <a:lnTo>
                    <a:pt x="29" y="296"/>
                  </a:lnTo>
                  <a:lnTo>
                    <a:pt x="27" y="301"/>
                  </a:lnTo>
                  <a:lnTo>
                    <a:pt x="21" y="305"/>
                  </a:lnTo>
                  <a:lnTo>
                    <a:pt x="23" y="309"/>
                  </a:lnTo>
                  <a:lnTo>
                    <a:pt x="23" y="313"/>
                  </a:lnTo>
                  <a:lnTo>
                    <a:pt x="23" y="317"/>
                  </a:lnTo>
                  <a:lnTo>
                    <a:pt x="23" y="323"/>
                  </a:lnTo>
                  <a:lnTo>
                    <a:pt x="23" y="326"/>
                  </a:lnTo>
                  <a:lnTo>
                    <a:pt x="23" y="332"/>
                  </a:lnTo>
                  <a:lnTo>
                    <a:pt x="21" y="334"/>
                  </a:lnTo>
                  <a:lnTo>
                    <a:pt x="17" y="340"/>
                  </a:lnTo>
                  <a:lnTo>
                    <a:pt x="15" y="342"/>
                  </a:lnTo>
                  <a:lnTo>
                    <a:pt x="15" y="346"/>
                  </a:lnTo>
                  <a:lnTo>
                    <a:pt x="11" y="349"/>
                  </a:lnTo>
                  <a:lnTo>
                    <a:pt x="11" y="351"/>
                  </a:lnTo>
                  <a:lnTo>
                    <a:pt x="9" y="353"/>
                  </a:lnTo>
                  <a:lnTo>
                    <a:pt x="9" y="359"/>
                  </a:lnTo>
                  <a:lnTo>
                    <a:pt x="9" y="365"/>
                  </a:lnTo>
                  <a:lnTo>
                    <a:pt x="9" y="367"/>
                  </a:lnTo>
                  <a:lnTo>
                    <a:pt x="9" y="370"/>
                  </a:lnTo>
                  <a:lnTo>
                    <a:pt x="6" y="374"/>
                  </a:lnTo>
                  <a:lnTo>
                    <a:pt x="2" y="380"/>
                  </a:lnTo>
                  <a:lnTo>
                    <a:pt x="0" y="384"/>
                  </a:lnTo>
                  <a:lnTo>
                    <a:pt x="0" y="386"/>
                  </a:lnTo>
                  <a:lnTo>
                    <a:pt x="0" y="388"/>
                  </a:lnTo>
                  <a:lnTo>
                    <a:pt x="0" y="392"/>
                  </a:lnTo>
                  <a:lnTo>
                    <a:pt x="2" y="394"/>
                  </a:lnTo>
                  <a:lnTo>
                    <a:pt x="6" y="397"/>
                  </a:lnTo>
                  <a:lnTo>
                    <a:pt x="9" y="403"/>
                  </a:lnTo>
                  <a:lnTo>
                    <a:pt x="13" y="405"/>
                  </a:lnTo>
                  <a:lnTo>
                    <a:pt x="15" y="409"/>
                  </a:lnTo>
                  <a:lnTo>
                    <a:pt x="17" y="411"/>
                  </a:lnTo>
                  <a:lnTo>
                    <a:pt x="25" y="411"/>
                  </a:lnTo>
                  <a:lnTo>
                    <a:pt x="27" y="415"/>
                  </a:lnTo>
                  <a:lnTo>
                    <a:pt x="29" y="418"/>
                  </a:lnTo>
                  <a:lnTo>
                    <a:pt x="29" y="420"/>
                  </a:lnTo>
                  <a:lnTo>
                    <a:pt x="31" y="422"/>
                  </a:lnTo>
                  <a:lnTo>
                    <a:pt x="32" y="426"/>
                  </a:lnTo>
                  <a:lnTo>
                    <a:pt x="36" y="430"/>
                  </a:lnTo>
                  <a:lnTo>
                    <a:pt x="36" y="436"/>
                  </a:lnTo>
                  <a:lnTo>
                    <a:pt x="36" y="438"/>
                  </a:lnTo>
                  <a:lnTo>
                    <a:pt x="36" y="441"/>
                  </a:lnTo>
                  <a:lnTo>
                    <a:pt x="36" y="443"/>
                  </a:lnTo>
                  <a:lnTo>
                    <a:pt x="36" y="445"/>
                  </a:lnTo>
                  <a:lnTo>
                    <a:pt x="36" y="449"/>
                  </a:lnTo>
                  <a:lnTo>
                    <a:pt x="36" y="453"/>
                  </a:lnTo>
                  <a:lnTo>
                    <a:pt x="38" y="455"/>
                  </a:lnTo>
                  <a:lnTo>
                    <a:pt x="40" y="459"/>
                  </a:lnTo>
                  <a:lnTo>
                    <a:pt x="44" y="463"/>
                  </a:lnTo>
                  <a:lnTo>
                    <a:pt x="48" y="465"/>
                  </a:lnTo>
                  <a:lnTo>
                    <a:pt x="48" y="465"/>
                  </a:lnTo>
                  <a:lnTo>
                    <a:pt x="50" y="466"/>
                  </a:lnTo>
                  <a:lnTo>
                    <a:pt x="54" y="468"/>
                  </a:lnTo>
                  <a:lnTo>
                    <a:pt x="54" y="472"/>
                  </a:lnTo>
                  <a:lnTo>
                    <a:pt x="57" y="472"/>
                  </a:lnTo>
                  <a:lnTo>
                    <a:pt x="61" y="478"/>
                  </a:lnTo>
                  <a:lnTo>
                    <a:pt x="65" y="482"/>
                  </a:lnTo>
                  <a:lnTo>
                    <a:pt x="67" y="488"/>
                  </a:lnTo>
                  <a:lnTo>
                    <a:pt x="67" y="489"/>
                  </a:lnTo>
                  <a:lnTo>
                    <a:pt x="67" y="493"/>
                  </a:lnTo>
                  <a:lnTo>
                    <a:pt x="67" y="499"/>
                  </a:lnTo>
                  <a:lnTo>
                    <a:pt x="67" y="501"/>
                  </a:lnTo>
                  <a:lnTo>
                    <a:pt x="67" y="505"/>
                  </a:lnTo>
                  <a:lnTo>
                    <a:pt x="67" y="509"/>
                  </a:lnTo>
                  <a:lnTo>
                    <a:pt x="67" y="511"/>
                  </a:lnTo>
                  <a:lnTo>
                    <a:pt x="65" y="512"/>
                  </a:lnTo>
                  <a:lnTo>
                    <a:pt x="65" y="516"/>
                  </a:lnTo>
                  <a:lnTo>
                    <a:pt x="65" y="522"/>
                  </a:lnTo>
                  <a:lnTo>
                    <a:pt x="65" y="526"/>
                  </a:lnTo>
                  <a:lnTo>
                    <a:pt x="63" y="530"/>
                  </a:lnTo>
                  <a:lnTo>
                    <a:pt x="78" y="537"/>
                  </a:lnTo>
                  <a:lnTo>
                    <a:pt x="80" y="537"/>
                  </a:lnTo>
                  <a:lnTo>
                    <a:pt x="84" y="537"/>
                  </a:lnTo>
                  <a:lnTo>
                    <a:pt x="92" y="541"/>
                  </a:lnTo>
                  <a:lnTo>
                    <a:pt x="96" y="541"/>
                  </a:lnTo>
                  <a:lnTo>
                    <a:pt x="98" y="541"/>
                  </a:lnTo>
                  <a:lnTo>
                    <a:pt x="102" y="543"/>
                  </a:lnTo>
                  <a:lnTo>
                    <a:pt x="105" y="543"/>
                  </a:lnTo>
                  <a:lnTo>
                    <a:pt x="111" y="543"/>
                  </a:lnTo>
                  <a:lnTo>
                    <a:pt x="115" y="549"/>
                  </a:lnTo>
                  <a:lnTo>
                    <a:pt x="119" y="553"/>
                  </a:lnTo>
                  <a:lnTo>
                    <a:pt x="123" y="555"/>
                  </a:lnTo>
                  <a:lnTo>
                    <a:pt x="125" y="557"/>
                  </a:lnTo>
                  <a:lnTo>
                    <a:pt x="128" y="560"/>
                  </a:lnTo>
                  <a:lnTo>
                    <a:pt x="134" y="566"/>
                  </a:lnTo>
                  <a:lnTo>
                    <a:pt x="138" y="572"/>
                  </a:lnTo>
                  <a:lnTo>
                    <a:pt x="142" y="576"/>
                  </a:lnTo>
                  <a:lnTo>
                    <a:pt x="142" y="580"/>
                  </a:lnTo>
                  <a:lnTo>
                    <a:pt x="146" y="582"/>
                  </a:lnTo>
                  <a:lnTo>
                    <a:pt x="148" y="585"/>
                  </a:lnTo>
                  <a:lnTo>
                    <a:pt x="149" y="587"/>
                  </a:lnTo>
                  <a:lnTo>
                    <a:pt x="151" y="591"/>
                  </a:lnTo>
                  <a:lnTo>
                    <a:pt x="151" y="595"/>
                  </a:lnTo>
                  <a:lnTo>
                    <a:pt x="153" y="597"/>
                  </a:lnTo>
                  <a:lnTo>
                    <a:pt x="159" y="601"/>
                  </a:lnTo>
                  <a:lnTo>
                    <a:pt x="165" y="605"/>
                  </a:lnTo>
                  <a:lnTo>
                    <a:pt x="173" y="605"/>
                  </a:lnTo>
                  <a:lnTo>
                    <a:pt x="176" y="605"/>
                  </a:lnTo>
                  <a:lnTo>
                    <a:pt x="180" y="608"/>
                  </a:lnTo>
                  <a:lnTo>
                    <a:pt x="184" y="612"/>
                  </a:lnTo>
                  <a:lnTo>
                    <a:pt x="184" y="614"/>
                  </a:lnTo>
                  <a:lnTo>
                    <a:pt x="186" y="620"/>
                  </a:lnTo>
                  <a:lnTo>
                    <a:pt x="186" y="622"/>
                  </a:lnTo>
                  <a:lnTo>
                    <a:pt x="186" y="624"/>
                  </a:lnTo>
                  <a:lnTo>
                    <a:pt x="186" y="628"/>
                  </a:lnTo>
                  <a:lnTo>
                    <a:pt x="188" y="630"/>
                  </a:lnTo>
                  <a:lnTo>
                    <a:pt x="188" y="633"/>
                  </a:lnTo>
                  <a:lnTo>
                    <a:pt x="190" y="637"/>
                  </a:lnTo>
                  <a:lnTo>
                    <a:pt x="192" y="637"/>
                  </a:lnTo>
                  <a:lnTo>
                    <a:pt x="194" y="639"/>
                  </a:lnTo>
                  <a:lnTo>
                    <a:pt x="197" y="641"/>
                  </a:lnTo>
                  <a:lnTo>
                    <a:pt x="201" y="641"/>
                  </a:lnTo>
                  <a:lnTo>
                    <a:pt x="201" y="647"/>
                  </a:lnTo>
                  <a:lnTo>
                    <a:pt x="203" y="649"/>
                  </a:lnTo>
                  <a:lnTo>
                    <a:pt x="203" y="653"/>
                  </a:lnTo>
                  <a:lnTo>
                    <a:pt x="203" y="656"/>
                  </a:lnTo>
                  <a:lnTo>
                    <a:pt x="203" y="658"/>
                  </a:lnTo>
                  <a:lnTo>
                    <a:pt x="205" y="662"/>
                  </a:lnTo>
                  <a:lnTo>
                    <a:pt x="207" y="664"/>
                  </a:lnTo>
                  <a:lnTo>
                    <a:pt x="211" y="666"/>
                  </a:lnTo>
                  <a:lnTo>
                    <a:pt x="213" y="668"/>
                  </a:lnTo>
                  <a:lnTo>
                    <a:pt x="215" y="668"/>
                  </a:lnTo>
                  <a:lnTo>
                    <a:pt x="219" y="674"/>
                  </a:lnTo>
                  <a:lnTo>
                    <a:pt x="220" y="674"/>
                  </a:lnTo>
                  <a:lnTo>
                    <a:pt x="226" y="678"/>
                  </a:lnTo>
                  <a:lnTo>
                    <a:pt x="230" y="681"/>
                  </a:lnTo>
                  <a:lnTo>
                    <a:pt x="232" y="687"/>
                  </a:lnTo>
                  <a:lnTo>
                    <a:pt x="232" y="689"/>
                  </a:lnTo>
                  <a:lnTo>
                    <a:pt x="232" y="693"/>
                  </a:lnTo>
                  <a:lnTo>
                    <a:pt x="238" y="693"/>
                  </a:lnTo>
                  <a:lnTo>
                    <a:pt x="242" y="693"/>
                  </a:lnTo>
                  <a:lnTo>
                    <a:pt x="245" y="693"/>
                  </a:lnTo>
                  <a:lnTo>
                    <a:pt x="247" y="693"/>
                  </a:lnTo>
                  <a:lnTo>
                    <a:pt x="249" y="693"/>
                  </a:lnTo>
                  <a:lnTo>
                    <a:pt x="251" y="693"/>
                  </a:lnTo>
                  <a:lnTo>
                    <a:pt x="257" y="687"/>
                  </a:lnTo>
                  <a:lnTo>
                    <a:pt x="261" y="683"/>
                  </a:lnTo>
                  <a:lnTo>
                    <a:pt x="265" y="683"/>
                  </a:lnTo>
                  <a:lnTo>
                    <a:pt x="267" y="681"/>
                  </a:lnTo>
                  <a:lnTo>
                    <a:pt x="270" y="681"/>
                  </a:lnTo>
                  <a:lnTo>
                    <a:pt x="274" y="679"/>
                  </a:lnTo>
                  <a:lnTo>
                    <a:pt x="274" y="676"/>
                  </a:lnTo>
                  <a:lnTo>
                    <a:pt x="278" y="676"/>
                  </a:lnTo>
                  <a:lnTo>
                    <a:pt x="282" y="676"/>
                  </a:lnTo>
                  <a:lnTo>
                    <a:pt x="288" y="674"/>
                  </a:lnTo>
                  <a:lnTo>
                    <a:pt x="293" y="672"/>
                  </a:lnTo>
                  <a:lnTo>
                    <a:pt x="299" y="672"/>
                  </a:lnTo>
                  <a:lnTo>
                    <a:pt x="301" y="676"/>
                  </a:lnTo>
                  <a:lnTo>
                    <a:pt x="301" y="679"/>
                  </a:lnTo>
                  <a:lnTo>
                    <a:pt x="301" y="683"/>
                  </a:lnTo>
                  <a:lnTo>
                    <a:pt x="303" y="685"/>
                  </a:lnTo>
                  <a:lnTo>
                    <a:pt x="305" y="689"/>
                  </a:lnTo>
                  <a:lnTo>
                    <a:pt x="307" y="693"/>
                  </a:lnTo>
                  <a:lnTo>
                    <a:pt x="309" y="695"/>
                  </a:lnTo>
                  <a:lnTo>
                    <a:pt x="309" y="699"/>
                  </a:lnTo>
                  <a:lnTo>
                    <a:pt x="311" y="701"/>
                  </a:lnTo>
                  <a:lnTo>
                    <a:pt x="314" y="702"/>
                  </a:lnTo>
                  <a:lnTo>
                    <a:pt x="316" y="704"/>
                  </a:lnTo>
                  <a:lnTo>
                    <a:pt x="322" y="708"/>
                  </a:lnTo>
                  <a:lnTo>
                    <a:pt x="326" y="710"/>
                  </a:lnTo>
                  <a:lnTo>
                    <a:pt x="330" y="716"/>
                  </a:lnTo>
                  <a:lnTo>
                    <a:pt x="330" y="720"/>
                  </a:lnTo>
                  <a:lnTo>
                    <a:pt x="334" y="720"/>
                  </a:lnTo>
                  <a:lnTo>
                    <a:pt x="336" y="720"/>
                  </a:lnTo>
                  <a:lnTo>
                    <a:pt x="338" y="718"/>
                  </a:lnTo>
                  <a:lnTo>
                    <a:pt x="339" y="714"/>
                  </a:lnTo>
                  <a:lnTo>
                    <a:pt x="345" y="714"/>
                  </a:lnTo>
                  <a:lnTo>
                    <a:pt x="347" y="712"/>
                  </a:lnTo>
                  <a:lnTo>
                    <a:pt x="351" y="712"/>
                  </a:lnTo>
                  <a:lnTo>
                    <a:pt x="353" y="712"/>
                  </a:lnTo>
                  <a:lnTo>
                    <a:pt x="357" y="712"/>
                  </a:lnTo>
                  <a:lnTo>
                    <a:pt x="359" y="712"/>
                  </a:lnTo>
                  <a:lnTo>
                    <a:pt x="361" y="710"/>
                  </a:lnTo>
                  <a:lnTo>
                    <a:pt x="362" y="710"/>
                  </a:lnTo>
                  <a:lnTo>
                    <a:pt x="364" y="710"/>
                  </a:lnTo>
                  <a:lnTo>
                    <a:pt x="366" y="714"/>
                  </a:lnTo>
                  <a:lnTo>
                    <a:pt x="370" y="718"/>
                  </a:lnTo>
                  <a:lnTo>
                    <a:pt x="372" y="720"/>
                  </a:lnTo>
                  <a:lnTo>
                    <a:pt x="374" y="722"/>
                  </a:lnTo>
                  <a:lnTo>
                    <a:pt x="378" y="722"/>
                  </a:lnTo>
                  <a:lnTo>
                    <a:pt x="380" y="722"/>
                  </a:lnTo>
                  <a:lnTo>
                    <a:pt x="382" y="722"/>
                  </a:lnTo>
                  <a:lnTo>
                    <a:pt x="385" y="720"/>
                  </a:lnTo>
                  <a:lnTo>
                    <a:pt x="385" y="716"/>
                  </a:lnTo>
                  <a:lnTo>
                    <a:pt x="389" y="714"/>
                  </a:lnTo>
                  <a:lnTo>
                    <a:pt x="391" y="714"/>
                  </a:lnTo>
                  <a:lnTo>
                    <a:pt x="395" y="712"/>
                  </a:lnTo>
                  <a:lnTo>
                    <a:pt x="397" y="712"/>
                  </a:lnTo>
                  <a:lnTo>
                    <a:pt x="403" y="712"/>
                  </a:lnTo>
                  <a:lnTo>
                    <a:pt x="407" y="712"/>
                  </a:lnTo>
                  <a:lnTo>
                    <a:pt x="412" y="712"/>
                  </a:lnTo>
                  <a:lnTo>
                    <a:pt x="414" y="712"/>
                  </a:lnTo>
                  <a:lnTo>
                    <a:pt x="418" y="712"/>
                  </a:lnTo>
                  <a:lnTo>
                    <a:pt x="422" y="712"/>
                  </a:lnTo>
                  <a:lnTo>
                    <a:pt x="424" y="712"/>
                  </a:lnTo>
                  <a:lnTo>
                    <a:pt x="428" y="712"/>
                  </a:lnTo>
                  <a:lnTo>
                    <a:pt x="432" y="712"/>
                  </a:lnTo>
                  <a:lnTo>
                    <a:pt x="433" y="712"/>
                  </a:lnTo>
                  <a:lnTo>
                    <a:pt x="435" y="712"/>
                  </a:lnTo>
                  <a:lnTo>
                    <a:pt x="439" y="710"/>
                  </a:lnTo>
                  <a:lnTo>
                    <a:pt x="441" y="710"/>
                  </a:lnTo>
                  <a:lnTo>
                    <a:pt x="443" y="708"/>
                  </a:lnTo>
                  <a:lnTo>
                    <a:pt x="445" y="708"/>
                  </a:lnTo>
                  <a:lnTo>
                    <a:pt x="445" y="702"/>
                  </a:lnTo>
                  <a:lnTo>
                    <a:pt x="447" y="702"/>
                  </a:lnTo>
                  <a:lnTo>
                    <a:pt x="447" y="701"/>
                  </a:lnTo>
                  <a:lnTo>
                    <a:pt x="451" y="695"/>
                  </a:lnTo>
                  <a:lnTo>
                    <a:pt x="455" y="693"/>
                  </a:lnTo>
                  <a:lnTo>
                    <a:pt x="458" y="689"/>
                  </a:lnTo>
                  <a:lnTo>
                    <a:pt x="462" y="687"/>
                  </a:lnTo>
                  <a:lnTo>
                    <a:pt x="464" y="683"/>
                  </a:lnTo>
                  <a:lnTo>
                    <a:pt x="464" y="681"/>
                  </a:lnTo>
                  <a:lnTo>
                    <a:pt x="466" y="679"/>
                  </a:lnTo>
                  <a:lnTo>
                    <a:pt x="468" y="678"/>
                  </a:lnTo>
                  <a:lnTo>
                    <a:pt x="472" y="676"/>
                  </a:lnTo>
                  <a:lnTo>
                    <a:pt x="476" y="676"/>
                  </a:lnTo>
                  <a:lnTo>
                    <a:pt x="480" y="676"/>
                  </a:lnTo>
                  <a:lnTo>
                    <a:pt x="485" y="676"/>
                  </a:lnTo>
                  <a:lnTo>
                    <a:pt x="487" y="676"/>
                  </a:lnTo>
                  <a:lnTo>
                    <a:pt x="491" y="676"/>
                  </a:lnTo>
                  <a:lnTo>
                    <a:pt x="495" y="676"/>
                  </a:lnTo>
                  <a:lnTo>
                    <a:pt x="497" y="674"/>
                  </a:lnTo>
                  <a:lnTo>
                    <a:pt x="499" y="670"/>
                  </a:lnTo>
                  <a:lnTo>
                    <a:pt x="503" y="666"/>
                  </a:lnTo>
                  <a:lnTo>
                    <a:pt x="501" y="666"/>
                  </a:lnTo>
                  <a:lnTo>
                    <a:pt x="501" y="664"/>
                  </a:lnTo>
                  <a:lnTo>
                    <a:pt x="499" y="662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4"/>
                  </a:lnTo>
                  <a:lnTo>
                    <a:pt x="491" y="654"/>
                  </a:lnTo>
                  <a:lnTo>
                    <a:pt x="491" y="651"/>
                  </a:lnTo>
                  <a:lnTo>
                    <a:pt x="489" y="649"/>
                  </a:lnTo>
                  <a:lnTo>
                    <a:pt x="487" y="647"/>
                  </a:lnTo>
                  <a:lnTo>
                    <a:pt x="485" y="645"/>
                  </a:lnTo>
                  <a:lnTo>
                    <a:pt x="483" y="641"/>
                  </a:lnTo>
                  <a:lnTo>
                    <a:pt x="483" y="637"/>
                  </a:lnTo>
                  <a:lnTo>
                    <a:pt x="481" y="635"/>
                  </a:lnTo>
                  <a:lnTo>
                    <a:pt x="481" y="633"/>
                  </a:lnTo>
                  <a:lnTo>
                    <a:pt x="481" y="631"/>
                  </a:lnTo>
                  <a:lnTo>
                    <a:pt x="480" y="628"/>
                  </a:lnTo>
                  <a:lnTo>
                    <a:pt x="480" y="624"/>
                  </a:lnTo>
                  <a:lnTo>
                    <a:pt x="480" y="622"/>
                  </a:lnTo>
                  <a:lnTo>
                    <a:pt x="480" y="618"/>
                  </a:lnTo>
                  <a:lnTo>
                    <a:pt x="478" y="616"/>
                  </a:lnTo>
                  <a:lnTo>
                    <a:pt x="476" y="614"/>
                  </a:lnTo>
                  <a:lnTo>
                    <a:pt x="474" y="612"/>
                  </a:lnTo>
                  <a:lnTo>
                    <a:pt x="470" y="610"/>
                  </a:lnTo>
                  <a:lnTo>
                    <a:pt x="468" y="608"/>
                  </a:lnTo>
                  <a:lnTo>
                    <a:pt x="464" y="607"/>
                  </a:lnTo>
                  <a:lnTo>
                    <a:pt x="462" y="605"/>
                  </a:lnTo>
                  <a:lnTo>
                    <a:pt x="460" y="601"/>
                  </a:lnTo>
                  <a:lnTo>
                    <a:pt x="458" y="599"/>
                  </a:lnTo>
                  <a:lnTo>
                    <a:pt x="458" y="597"/>
                  </a:lnTo>
                  <a:lnTo>
                    <a:pt x="458" y="595"/>
                  </a:lnTo>
                  <a:lnTo>
                    <a:pt x="456" y="593"/>
                  </a:lnTo>
                  <a:lnTo>
                    <a:pt x="453" y="589"/>
                  </a:lnTo>
                  <a:lnTo>
                    <a:pt x="449" y="585"/>
                  </a:lnTo>
                  <a:lnTo>
                    <a:pt x="447" y="582"/>
                  </a:lnTo>
                  <a:lnTo>
                    <a:pt x="443" y="580"/>
                  </a:lnTo>
                  <a:lnTo>
                    <a:pt x="441" y="578"/>
                  </a:lnTo>
                  <a:lnTo>
                    <a:pt x="441" y="578"/>
                  </a:lnTo>
                  <a:lnTo>
                    <a:pt x="439" y="574"/>
                  </a:lnTo>
                  <a:lnTo>
                    <a:pt x="439" y="572"/>
                  </a:lnTo>
                  <a:lnTo>
                    <a:pt x="435" y="570"/>
                  </a:lnTo>
                  <a:lnTo>
                    <a:pt x="433" y="568"/>
                  </a:lnTo>
                  <a:lnTo>
                    <a:pt x="432" y="566"/>
                  </a:lnTo>
                  <a:lnTo>
                    <a:pt x="432" y="562"/>
                  </a:lnTo>
                  <a:lnTo>
                    <a:pt x="428" y="560"/>
                  </a:lnTo>
                  <a:lnTo>
                    <a:pt x="424" y="560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6" y="560"/>
                  </a:lnTo>
                  <a:lnTo>
                    <a:pt x="414" y="560"/>
                  </a:lnTo>
                  <a:lnTo>
                    <a:pt x="414" y="557"/>
                  </a:lnTo>
                  <a:lnTo>
                    <a:pt x="414" y="553"/>
                  </a:lnTo>
                  <a:lnTo>
                    <a:pt x="414" y="551"/>
                  </a:lnTo>
                  <a:lnTo>
                    <a:pt x="414" y="547"/>
                  </a:lnTo>
                  <a:lnTo>
                    <a:pt x="414" y="543"/>
                  </a:lnTo>
                  <a:lnTo>
                    <a:pt x="416" y="541"/>
                  </a:lnTo>
                  <a:lnTo>
                    <a:pt x="418" y="537"/>
                  </a:lnTo>
                  <a:lnTo>
                    <a:pt x="422" y="537"/>
                  </a:lnTo>
                  <a:lnTo>
                    <a:pt x="424" y="537"/>
                  </a:lnTo>
                  <a:lnTo>
                    <a:pt x="426" y="536"/>
                  </a:lnTo>
                  <a:lnTo>
                    <a:pt x="430" y="534"/>
                  </a:lnTo>
                  <a:lnTo>
                    <a:pt x="433" y="532"/>
                  </a:lnTo>
                  <a:lnTo>
                    <a:pt x="435" y="526"/>
                  </a:lnTo>
                  <a:lnTo>
                    <a:pt x="439" y="524"/>
                  </a:lnTo>
                  <a:lnTo>
                    <a:pt x="441" y="524"/>
                  </a:lnTo>
                  <a:lnTo>
                    <a:pt x="445" y="522"/>
                  </a:lnTo>
                  <a:lnTo>
                    <a:pt x="449" y="522"/>
                  </a:lnTo>
                  <a:lnTo>
                    <a:pt x="451" y="522"/>
                  </a:lnTo>
                  <a:lnTo>
                    <a:pt x="453" y="524"/>
                  </a:lnTo>
                  <a:lnTo>
                    <a:pt x="456" y="526"/>
                  </a:lnTo>
                  <a:lnTo>
                    <a:pt x="460" y="526"/>
                  </a:lnTo>
                  <a:lnTo>
                    <a:pt x="464" y="528"/>
                  </a:lnTo>
                  <a:lnTo>
                    <a:pt x="468" y="528"/>
                  </a:lnTo>
                  <a:lnTo>
                    <a:pt x="470" y="526"/>
                  </a:lnTo>
                  <a:lnTo>
                    <a:pt x="472" y="526"/>
                  </a:lnTo>
                  <a:lnTo>
                    <a:pt x="476" y="526"/>
                  </a:lnTo>
                  <a:lnTo>
                    <a:pt x="478" y="524"/>
                  </a:lnTo>
                  <a:lnTo>
                    <a:pt x="478" y="520"/>
                  </a:lnTo>
                  <a:lnTo>
                    <a:pt x="478" y="516"/>
                  </a:lnTo>
                  <a:lnTo>
                    <a:pt x="478" y="512"/>
                  </a:lnTo>
                  <a:lnTo>
                    <a:pt x="478" y="509"/>
                  </a:lnTo>
                  <a:lnTo>
                    <a:pt x="478" y="507"/>
                  </a:lnTo>
                  <a:lnTo>
                    <a:pt x="478" y="505"/>
                  </a:lnTo>
                  <a:lnTo>
                    <a:pt x="476" y="503"/>
                  </a:lnTo>
                  <a:lnTo>
                    <a:pt x="474" y="503"/>
                  </a:lnTo>
                  <a:lnTo>
                    <a:pt x="474" y="499"/>
                  </a:lnTo>
                  <a:lnTo>
                    <a:pt x="470" y="499"/>
                  </a:lnTo>
                  <a:lnTo>
                    <a:pt x="468" y="497"/>
                  </a:lnTo>
                  <a:lnTo>
                    <a:pt x="468" y="493"/>
                  </a:lnTo>
                  <a:lnTo>
                    <a:pt x="468" y="489"/>
                  </a:lnTo>
                  <a:lnTo>
                    <a:pt x="468" y="486"/>
                  </a:lnTo>
                  <a:lnTo>
                    <a:pt x="468" y="482"/>
                  </a:lnTo>
                  <a:lnTo>
                    <a:pt x="468" y="478"/>
                  </a:lnTo>
                  <a:lnTo>
                    <a:pt x="468" y="476"/>
                  </a:lnTo>
                  <a:lnTo>
                    <a:pt x="468" y="474"/>
                  </a:lnTo>
                  <a:lnTo>
                    <a:pt x="466" y="472"/>
                  </a:lnTo>
                  <a:lnTo>
                    <a:pt x="462" y="472"/>
                  </a:lnTo>
                  <a:lnTo>
                    <a:pt x="462" y="468"/>
                  </a:lnTo>
                  <a:lnTo>
                    <a:pt x="462" y="465"/>
                  </a:lnTo>
                  <a:lnTo>
                    <a:pt x="462" y="463"/>
                  </a:lnTo>
                  <a:lnTo>
                    <a:pt x="464" y="459"/>
                  </a:lnTo>
                  <a:lnTo>
                    <a:pt x="464" y="457"/>
                  </a:lnTo>
                  <a:lnTo>
                    <a:pt x="466" y="455"/>
                  </a:lnTo>
                  <a:lnTo>
                    <a:pt x="468" y="451"/>
                  </a:lnTo>
                  <a:lnTo>
                    <a:pt x="472" y="447"/>
                  </a:lnTo>
                  <a:lnTo>
                    <a:pt x="476" y="447"/>
                  </a:lnTo>
                  <a:lnTo>
                    <a:pt x="476" y="445"/>
                  </a:lnTo>
                  <a:lnTo>
                    <a:pt x="478" y="445"/>
                  </a:lnTo>
                  <a:lnTo>
                    <a:pt x="480" y="443"/>
                  </a:lnTo>
                  <a:lnTo>
                    <a:pt x="481" y="443"/>
                  </a:lnTo>
                  <a:lnTo>
                    <a:pt x="483" y="441"/>
                  </a:lnTo>
                  <a:lnTo>
                    <a:pt x="485" y="443"/>
                  </a:lnTo>
                  <a:lnTo>
                    <a:pt x="485" y="441"/>
                  </a:lnTo>
                  <a:lnTo>
                    <a:pt x="487" y="440"/>
                  </a:lnTo>
                  <a:lnTo>
                    <a:pt x="489" y="438"/>
                  </a:lnTo>
                  <a:lnTo>
                    <a:pt x="491" y="436"/>
                  </a:lnTo>
                  <a:lnTo>
                    <a:pt x="493" y="432"/>
                  </a:lnTo>
                  <a:lnTo>
                    <a:pt x="495" y="430"/>
                  </a:lnTo>
                  <a:lnTo>
                    <a:pt x="495" y="428"/>
                  </a:lnTo>
                  <a:lnTo>
                    <a:pt x="499" y="428"/>
                  </a:lnTo>
                  <a:lnTo>
                    <a:pt x="499" y="426"/>
                  </a:lnTo>
                  <a:lnTo>
                    <a:pt x="501" y="424"/>
                  </a:lnTo>
                  <a:lnTo>
                    <a:pt x="503" y="422"/>
                  </a:lnTo>
                  <a:lnTo>
                    <a:pt x="503" y="422"/>
                  </a:lnTo>
                  <a:lnTo>
                    <a:pt x="504" y="420"/>
                  </a:lnTo>
                  <a:lnTo>
                    <a:pt x="506" y="418"/>
                  </a:lnTo>
                  <a:lnTo>
                    <a:pt x="506" y="417"/>
                  </a:lnTo>
                  <a:lnTo>
                    <a:pt x="508" y="415"/>
                  </a:lnTo>
                  <a:lnTo>
                    <a:pt x="510" y="415"/>
                  </a:lnTo>
                  <a:lnTo>
                    <a:pt x="512" y="413"/>
                  </a:lnTo>
                  <a:lnTo>
                    <a:pt x="512" y="411"/>
                  </a:lnTo>
                  <a:lnTo>
                    <a:pt x="514" y="407"/>
                  </a:lnTo>
                  <a:lnTo>
                    <a:pt x="516" y="405"/>
                  </a:lnTo>
                  <a:lnTo>
                    <a:pt x="518" y="403"/>
                  </a:lnTo>
                  <a:lnTo>
                    <a:pt x="520" y="403"/>
                  </a:lnTo>
                  <a:lnTo>
                    <a:pt x="520" y="399"/>
                  </a:lnTo>
                  <a:lnTo>
                    <a:pt x="522" y="397"/>
                  </a:lnTo>
                  <a:lnTo>
                    <a:pt x="522" y="394"/>
                  </a:lnTo>
                  <a:lnTo>
                    <a:pt x="522" y="392"/>
                  </a:lnTo>
                  <a:lnTo>
                    <a:pt x="522" y="388"/>
                  </a:lnTo>
                  <a:lnTo>
                    <a:pt x="520" y="386"/>
                  </a:lnTo>
                  <a:lnTo>
                    <a:pt x="520" y="384"/>
                  </a:lnTo>
                  <a:lnTo>
                    <a:pt x="520" y="380"/>
                  </a:lnTo>
                  <a:lnTo>
                    <a:pt x="520" y="376"/>
                  </a:lnTo>
                  <a:lnTo>
                    <a:pt x="520" y="376"/>
                  </a:lnTo>
                  <a:lnTo>
                    <a:pt x="522" y="374"/>
                  </a:lnTo>
                  <a:lnTo>
                    <a:pt x="524" y="370"/>
                  </a:lnTo>
                  <a:lnTo>
                    <a:pt x="527" y="369"/>
                  </a:lnTo>
                  <a:lnTo>
                    <a:pt x="529" y="365"/>
                  </a:lnTo>
                  <a:lnTo>
                    <a:pt x="533" y="363"/>
                  </a:lnTo>
                  <a:lnTo>
                    <a:pt x="533" y="357"/>
                  </a:lnTo>
                  <a:lnTo>
                    <a:pt x="535" y="353"/>
                  </a:lnTo>
                  <a:lnTo>
                    <a:pt x="535" y="351"/>
                  </a:lnTo>
                  <a:lnTo>
                    <a:pt x="535" y="349"/>
                  </a:lnTo>
                  <a:lnTo>
                    <a:pt x="535" y="346"/>
                  </a:lnTo>
                  <a:lnTo>
                    <a:pt x="537" y="344"/>
                  </a:lnTo>
                  <a:lnTo>
                    <a:pt x="535" y="340"/>
                  </a:lnTo>
                  <a:lnTo>
                    <a:pt x="535" y="338"/>
                  </a:lnTo>
                  <a:lnTo>
                    <a:pt x="535" y="334"/>
                  </a:lnTo>
                  <a:lnTo>
                    <a:pt x="535" y="332"/>
                  </a:lnTo>
                  <a:lnTo>
                    <a:pt x="535" y="328"/>
                  </a:lnTo>
                  <a:lnTo>
                    <a:pt x="535" y="324"/>
                  </a:lnTo>
                  <a:lnTo>
                    <a:pt x="535" y="323"/>
                  </a:lnTo>
                  <a:lnTo>
                    <a:pt x="535" y="319"/>
                  </a:lnTo>
                  <a:lnTo>
                    <a:pt x="535" y="315"/>
                  </a:lnTo>
                  <a:lnTo>
                    <a:pt x="537" y="311"/>
                  </a:lnTo>
                  <a:lnTo>
                    <a:pt x="537" y="307"/>
                  </a:lnTo>
                  <a:lnTo>
                    <a:pt x="537" y="305"/>
                  </a:lnTo>
                  <a:lnTo>
                    <a:pt x="537" y="301"/>
                  </a:lnTo>
                  <a:lnTo>
                    <a:pt x="537" y="298"/>
                  </a:lnTo>
                  <a:lnTo>
                    <a:pt x="537" y="296"/>
                  </a:lnTo>
                  <a:lnTo>
                    <a:pt x="537" y="294"/>
                  </a:lnTo>
                  <a:lnTo>
                    <a:pt x="535" y="292"/>
                  </a:lnTo>
                  <a:lnTo>
                    <a:pt x="535" y="288"/>
                  </a:lnTo>
                  <a:lnTo>
                    <a:pt x="535" y="286"/>
                  </a:lnTo>
                  <a:lnTo>
                    <a:pt x="535" y="282"/>
                  </a:lnTo>
                  <a:lnTo>
                    <a:pt x="535" y="278"/>
                  </a:lnTo>
                  <a:lnTo>
                    <a:pt x="533" y="278"/>
                  </a:lnTo>
                  <a:lnTo>
                    <a:pt x="533" y="275"/>
                  </a:lnTo>
                  <a:lnTo>
                    <a:pt x="533" y="271"/>
                  </a:lnTo>
                  <a:lnTo>
                    <a:pt x="533" y="269"/>
                  </a:lnTo>
                  <a:lnTo>
                    <a:pt x="533" y="265"/>
                  </a:lnTo>
                  <a:lnTo>
                    <a:pt x="533" y="261"/>
                  </a:lnTo>
                  <a:lnTo>
                    <a:pt x="533" y="259"/>
                  </a:lnTo>
                  <a:lnTo>
                    <a:pt x="533" y="255"/>
                  </a:lnTo>
                  <a:lnTo>
                    <a:pt x="533" y="253"/>
                  </a:lnTo>
                  <a:lnTo>
                    <a:pt x="533" y="252"/>
                  </a:lnTo>
                  <a:lnTo>
                    <a:pt x="535" y="248"/>
                  </a:lnTo>
                  <a:lnTo>
                    <a:pt x="537" y="246"/>
                  </a:lnTo>
                  <a:lnTo>
                    <a:pt x="539" y="244"/>
                  </a:lnTo>
                  <a:lnTo>
                    <a:pt x="539" y="242"/>
                  </a:lnTo>
                  <a:lnTo>
                    <a:pt x="541" y="240"/>
                  </a:lnTo>
                  <a:lnTo>
                    <a:pt x="541" y="236"/>
                  </a:lnTo>
                  <a:lnTo>
                    <a:pt x="543" y="236"/>
                  </a:lnTo>
                  <a:lnTo>
                    <a:pt x="545" y="234"/>
                  </a:lnTo>
                  <a:lnTo>
                    <a:pt x="547" y="232"/>
                  </a:lnTo>
                  <a:lnTo>
                    <a:pt x="549" y="230"/>
                  </a:lnTo>
                  <a:lnTo>
                    <a:pt x="551" y="230"/>
                  </a:lnTo>
                  <a:lnTo>
                    <a:pt x="552" y="227"/>
                  </a:lnTo>
                  <a:lnTo>
                    <a:pt x="556" y="227"/>
                  </a:lnTo>
                  <a:lnTo>
                    <a:pt x="556" y="223"/>
                  </a:lnTo>
                  <a:lnTo>
                    <a:pt x="558" y="221"/>
                  </a:lnTo>
                  <a:lnTo>
                    <a:pt x="562" y="219"/>
                  </a:lnTo>
                  <a:lnTo>
                    <a:pt x="566" y="217"/>
                  </a:lnTo>
                  <a:lnTo>
                    <a:pt x="566" y="217"/>
                  </a:lnTo>
                  <a:lnTo>
                    <a:pt x="570" y="215"/>
                  </a:lnTo>
                  <a:lnTo>
                    <a:pt x="572" y="213"/>
                  </a:lnTo>
                  <a:lnTo>
                    <a:pt x="574" y="211"/>
                  </a:lnTo>
                  <a:lnTo>
                    <a:pt x="574" y="209"/>
                  </a:lnTo>
                  <a:lnTo>
                    <a:pt x="574" y="207"/>
                  </a:lnTo>
                  <a:lnTo>
                    <a:pt x="577" y="207"/>
                  </a:lnTo>
                  <a:lnTo>
                    <a:pt x="579" y="205"/>
                  </a:lnTo>
                  <a:lnTo>
                    <a:pt x="583" y="204"/>
                  </a:lnTo>
                  <a:lnTo>
                    <a:pt x="583" y="202"/>
                  </a:lnTo>
                  <a:lnTo>
                    <a:pt x="585" y="200"/>
                  </a:lnTo>
                  <a:lnTo>
                    <a:pt x="587" y="198"/>
                  </a:lnTo>
                  <a:lnTo>
                    <a:pt x="589" y="198"/>
                  </a:lnTo>
                  <a:lnTo>
                    <a:pt x="591" y="196"/>
                  </a:lnTo>
                  <a:lnTo>
                    <a:pt x="591" y="194"/>
                  </a:lnTo>
                  <a:lnTo>
                    <a:pt x="593" y="192"/>
                  </a:lnTo>
                  <a:lnTo>
                    <a:pt x="595" y="190"/>
                  </a:lnTo>
                  <a:lnTo>
                    <a:pt x="597" y="190"/>
                  </a:lnTo>
                  <a:lnTo>
                    <a:pt x="598" y="188"/>
                  </a:lnTo>
                  <a:lnTo>
                    <a:pt x="600" y="186"/>
                  </a:lnTo>
                  <a:lnTo>
                    <a:pt x="600" y="184"/>
                  </a:lnTo>
                  <a:lnTo>
                    <a:pt x="602" y="18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2" name="Freeform 39"/>
            <p:cNvSpPr>
              <a:spLocks/>
            </p:cNvSpPr>
            <p:nvPr/>
          </p:nvSpPr>
          <p:spPr bwMode="auto">
            <a:xfrm>
              <a:off x="1703" y="1914"/>
              <a:ext cx="476" cy="337"/>
            </a:xfrm>
            <a:custGeom>
              <a:avLst/>
              <a:gdLst/>
              <a:ahLst/>
              <a:cxnLst>
                <a:cxn ang="0">
                  <a:pos x="449" y="228"/>
                </a:cxn>
                <a:cxn ang="0">
                  <a:pos x="428" y="228"/>
                </a:cxn>
                <a:cxn ang="0">
                  <a:pos x="409" y="220"/>
                </a:cxn>
                <a:cxn ang="0">
                  <a:pos x="389" y="226"/>
                </a:cxn>
                <a:cxn ang="0">
                  <a:pos x="363" y="234"/>
                </a:cxn>
                <a:cxn ang="0">
                  <a:pos x="347" y="241"/>
                </a:cxn>
                <a:cxn ang="0">
                  <a:pos x="320" y="245"/>
                </a:cxn>
                <a:cxn ang="0">
                  <a:pos x="299" y="238"/>
                </a:cxn>
                <a:cxn ang="0">
                  <a:pos x="280" y="261"/>
                </a:cxn>
                <a:cxn ang="0">
                  <a:pos x="255" y="249"/>
                </a:cxn>
                <a:cxn ang="0">
                  <a:pos x="228" y="245"/>
                </a:cxn>
                <a:cxn ang="0">
                  <a:pos x="211" y="234"/>
                </a:cxn>
                <a:cxn ang="0">
                  <a:pos x="192" y="220"/>
                </a:cxn>
                <a:cxn ang="0">
                  <a:pos x="171" y="226"/>
                </a:cxn>
                <a:cxn ang="0">
                  <a:pos x="146" y="247"/>
                </a:cxn>
                <a:cxn ang="0">
                  <a:pos x="140" y="276"/>
                </a:cxn>
                <a:cxn ang="0">
                  <a:pos x="129" y="286"/>
                </a:cxn>
                <a:cxn ang="0">
                  <a:pos x="105" y="284"/>
                </a:cxn>
                <a:cxn ang="0">
                  <a:pos x="88" y="293"/>
                </a:cxn>
                <a:cxn ang="0">
                  <a:pos x="73" y="305"/>
                </a:cxn>
                <a:cxn ang="0">
                  <a:pos x="67" y="326"/>
                </a:cxn>
                <a:cxn ang="0">
                  <a:pos x="59" y="334"/>
                </a:cxn>
                <a:cxn ang="0">
                  <a:pos x="59" y="309"/>
                </a:cxn>
                <a:cxn ang="0">
                  <a:pos x="40" y="293"/>
                </a:cxn>
                <a:cxn ang="0">
                  <a:pos x="34" y="274"/>
                </a:cxn>
                <a:cxn ang="0">
                  <a:pos x="15" y="257"/>
                </a:cxn>
                <a:cxn ang="0">
                  <a:pos x="8" y="238"/>
                </a:cxn>
                <a:cxn ang="0">
                  <a:pos x="8" y="218"/>
                </a:cxn>
                <a:cxn ang="0">
                  <a:pos x="6" y="195"/>
                </a:cxn>
                <a:cxn ang="0">
                  <a:pos x="8" y="176"/>
                </a:cxn>
                <a:cxn ang="0">
                  <a:pos x="17" y="157"/>
                </a:cxn>
                <a:cxn ang="0">
                  <a:pos x="27" y="142"/>
                </a:cxn>
                <a:cxn ang="0">
                  <a:pos x="38" y="126"/>
                </a:cxn>
                <a:cxn ang="0">
                  <a:pos x="67" y="128"/>
                </a:cxn>
                <a:cxn ang="0">
                  <a:pos x="96" y="126"/>
                </a:cxn>
                <a:cxn ang="0">
                  <a:pos x="123" y="119"/>
                </a:cxn>
                <a:cxn ang="0">
                  <a:pos x="150" y="117"/>
                </a:cxn>
                <a:cxn ang="0">
                  <a:pos x="163" y="94"/>
                </a:cxn>
                <a:cxn ang="0">
                  <a:pos x="184" y="74"/>
                </a:cxn>
                <a:cxn ang="0">
                  <a:pos x="203" y="74"/>
                </a:cxn>
                <a:cxn ang="0">
                  <a:pos x="221" y="67"/>
                </a:cxn>
                <a:cxn ang="0">
                  <a:pos x="230" y="51"/>
                </a:cxn>
                <a:cxn ang="0">
                  <a:pos x="246" y="40"/>
                </a:cxn>
                <a:cxn ang="0">
                  <a:pos x="263" y="27"/>
                </a:cxn>
                <a:cxn ang="0">
                  <a:pos x="276" y="7"/>
                </a:cxn>
                <a:cxn ang="0">
                  <a:pos x="301" y="5"/>
                </a:cxn>
                <a:cxn ang="0">
                  <a:pos x="307" y="21"/>
                </a:cxn>
                <a:cxn ang="0">
                  <a:pos x="324" y="36"/>
                </a:cxn>
                <a:cxn ang="0">
                  <a:pos x="330" y="57"/>
                </a:cxn>
                <a:cxn ang="0">
                  <a:pos x="328" y="82"/>
                </a:cxn>
                <a:cxn ang="0">
                  <a:pos x="341" y="96"/>
                </a:cxn>
                <a:cxn ang="0">
                  <a:pos x="361" y="101"/>
                </a:cxn>
                <a:cxn ang="0">
                  <a:pos x="378" y="111"/>
                </a:cxn>
                <a:cxn ang="0">
                  <a:pos x="389" y="122"/>
                </a:cxn>
                <a:cxn ang="0">
                  <a:pos x="405" y="136"/>
                </a:cxn>
                <a:cxn ang="0">
                  <a:pos x="412" y="155"/>
                </a:cxn>
                <a:cxn ang="0">
                  <a:pos x="432" y="165"/>
                </a:cxn>
                <a:cxn ang="0">
                  <a:pos x="443" y="172"/>
                </a:cxn>
                <a:cxn ang="0">
                  <a:pos x="449" y="192"/>
                </a:cxn>
                <a:cxn ang="0">
                  <a:pos x="462" y="207"/>
                </a:cxn>
                <a:cxn ang="0">
                  <a:pos x="474" y="228"/>
                </a:cxn>
              </a:cxnLst>
              <a:rect l="0" t="0" r="r" b="b"/>
              <a:pathLst>
                <a:path w="476" h="337">
                  <a:moveTo>
                    <a:pt x="476" y="230"/>
                  </a:moveTo>
                  <a:lnTo>
                    <a:pt x="470" y="228"/>
                  </a:lnTo>
                  <a:lnTo>
                    <a:pt x="466" y="228"/>
                  </a:lnTo>
                  <a:lnTo>
                    <a:pt x="462" y="228"/>
                  </a:lnTo>
                  <a:lnTo>
                    <a:pt x="460" y="226"/>
                  </a:lnTo>
                  <a:lnTo>
                    <a:pt x="457" y="228"/>
                  </a:lnTo>
                  <a:lnTo>
                    <a:pt x="453" y="228"/>
                  </a:lnTo>
                  <a:lnTo>
                    <a:pt x="449" y="228"/>
                  </a:lnTo>
                  <a:lnTo>
                    <a:pt x="447" y="228"/>
                  </a:lnTo>
                  <a:lnTo>
                    <a:pt x="445" y="228"/>
                  </a:lnTo>
                  <a:lnTo>
                    <a:pt x="441" y="228"/>
                  </a:lnTo>
                  <a:lnTo>
                    <a:pt x="439" y="228"/>
                  </a:lnTo>
                  <a:lnTo>
                    <a:pt x="437" y="228"/>
                  </a:lnTo>
                  <a:lnTo>
                    <a:pt x="434" y="228"/>
                  </a:lnTo>
                  <a:lnTo>
                    <a:pt x="432" y="228"/>
                  </a:lnTo>
                  <a:lnTo>
                    <a:pt x="428" y="228"/>
                  </a:lnTo>
                  <a:lnTo>
                    <a:pt x="424" y="228"/>
                  </a:lnTo>
                  <a:lnTo>
                    <a:pt x="422" y="224"/>
                  </a:lnTo>
                  <a:lnTo>
                    <a:pt x="418" y="224"/>
                  </a:lnTo>
                  <a:lnTo>
                    <a:pt x="416" y="222"/>
                  </a:lnTo>
                  <a:lnTo>
                    <a:pt x="416" y="220"/>
                  </a:lnTo>
                  <a:lnTo>
                    <a:pt x="414" y="220"/>
                  </a:lnTo>
                  <a:lnTo>
                    <a:pt x="412" y="220"/>
                  </a:lnTo>
                  <a:lnTo>
                    <a:pt x="409" y="220"/>
                  </a:lnTo>
                  <a:lnTo>
                    <a:pt x="407" y="220"/>
                  </a:lnTo>
                  <a:lnTo>
                    <a:pt x="405" y="220"/>
                  </a:lnTo>
                  <a:lnTo>
                    <a:pt x="401" y="220"/>
                  </a:lnTo>
                  <a:lnTo>
                    <a:pt x="397" y="220"/>
                  </a:lnTo>
                  <a:lnTo>
                    <a:pt x="395" y="222"/>
                  </a:lnTo>
                  <a:lnTo>
                    <a:pt x="395" y="224"/>
                  </a:lnTo>
                  <a:lnTo>
                    <a:pt x="391" y="224"/>
                  </a:lnTo>
                  <a:lnTo>
                    <a:pt x="389" y="226"/>
                  </a:lnTo>
                  <a:lnTo>
                    <a:pt x="388" y="228"/>
                  </a:lnTo>
                  <a:lnTo>
                    <a:pt x="386" y="230"/>
                  </a:lnTo>
                  <a:lnTo>
                    <a:pt x="382" y="232"/>
                  </a:lnTo>
                  <a:lnTo>
                    <a:pt x="378" y="232"/>
                  </a:lnTo>
                  <a:lnTo>
                    <a:pt x="374" y="232"/>
                  </a:lnTo>
                  <a:lnTo>
                    <a:pt x="370" y="232"/>
                  </a:lnTo>
                  <a:lnTo>
                    <a:pt x="366" y="232"/>
                  </a:lnTo>
                  <a:lnTo>
                    <a:pt x="363" y="234"/>
                  </a:lnTo>
                  <a:lnTo>
                    <a:pt x="361" y="234"/>
                  </a:lnTo>
                  <a:lnTo>
                    <a:pt x="357" y="234"/>
                  </a:lnTo>
                  <a:lnTo>
                    <a:pt x="355" y="234"/>
                  </a:lnTo>
                  <a:lnTo>
                    <a:pt x="353" y="236"/>
                  </a:lnTo>
                  <a:lnTo>
                    <a:pt x="351" y="238"/>
                  </a:lnTo>
                  <a:lnTo>
                    <a:pt x="349" y="238"/>
                  </a:lnTo>
                  <a:lnTo>
                    <a:pt x="349" y="240"/>
                  </a:lnTo>
                  <a:lnTo>
                    <a:pt x="347" y="241"/>
                  </a:lnTo>
                  <a:lnTo>
                    <a:pt x="343" y="243"/>
                  </a:lnTo>
                  <a:lnTo>
                    <a:pt x="341" y="243"/>
                  </a:lnTo>
                  <a:lnTo>
                    <a:pt x="338" y="245"/>
                  </a:lnTo>
                  <a:lnTo>
                    <a:pt x="334" y="245"/>
                  </a:lnTo>
                  <a:lnTo>
                    <a:pt x="332" y="245"/>
                  </a:lnTo>
                  <a:lnTo>
                    <a:pt x="324" y="245"/>
                  </a:lnTo>
                  <a:lnTo>
                    <a:pt x="322" y="245"/>
                  </a:lnTo>
                  <a:lnTo>
                    <a:pt x="320" y="245"/>
                  </a:lnTo>
                  <a:lnTo>
                    <a:pt x="318" y="243"/>
                  </a:lnTo>
                  <a:lnTo>
                    <a:pt x="317" y="243"/>
                  </a:lnTo>
                  <a:lnTo>
                    <a:pt x="315" y="240"/>
                  </a:lnTo>
                  <a:lnTo>
                    <a:pt x="311" y="240"/>
                  </a:lnTo>
                  <a:lnTo>
                    <a:pt x="309" y="238"/>
                  </a:lnTo>
                  <a:lnTo>
                    <a:pt x="305" y="238"/>
                  </a:lnTo>
                  <a:lnTo>
                    <a:pt x="301" y="238"/>
                  </a:lnTo>
                  <a:lnTo>
                    <a:pt x="299" y="238"/>
                  </a:lnTo>
                  <a:lnTo>
                    <a:pt x="297" y="238"/>
                  </a:lnTo>
                  <a:lnTo>
                    <a:pt x="292" y="243"/>
                  </a:lnTo>
                  <a:lnTo>
                    <a:pt x="292" y="245"/>
                  </a:lnTo>
                  <a:lnTo>
                    <a:pt x="290" y="247"/>
                  </a:lnTo>
                  <a:lnTo>
                    <a:pt x="288" y="251"/>
                  </a:lnTo>
                  <a:lnTo>
                    <a:pt x="286" y="255"/>
                  </a:lnTo>
                  <a:lnTo>
                    <a:pt x="286" y="257"/>
                  </a:lnTo>
                  <a:lnTo>
                    <a:pt x="280" y="261"/>
                  </a:lnTo>
                  <a:lnTo>
                    <a:pt x="272" y="263"/>
                  </a:lnTo>
                  <a:lnTo>
                    <a:pt x="272" y="261"/>
                  </a:lnTo>
                  <a:lnTo>
                    <a:pt x="270" y="261"/>
                  </a:lnTo>
                  <a:lnTo>
                    <a:pt x="269" y="259"/>
                  </a:lnTo>
                  <a:lnTo>
                    <a:pt x="267" y="259"/>
                  </a:lnTo>
                  <a:lnTo>
                    <a:pt x="261" y="253"/>
                  </a:lnTo>
                  <a:lnTo>
                    <a:pt x="257" y="251"/>
                  </a:lnTo>
                  <a:lnTo>
                    <a:pt x="255" y="249"/>
                  </a:lnTo>
                  <a:lnTo>
                    <a:pt x="251" y="249"/>
                  </a:lnTo>
                  <a:lnTo>
                    <a:pt x="249" y="245"/>
                  </a:lnTo>
                  <a:lnTo>
                    <a:pt x="246" y="245"/>
                  </a:lnTo>
                  <a:lnTo>
                    <a:pt x="242" y="245"/>
                  </a:lnTo>
                  <a:lnTo>
                    <a:pt x="236" y="245"/>
                  </a:lnTo>
                  <a:lnTo>
                    <a:pt x="234" y="245"/>
                  </a:lnTo>
                  <a:lnTo>
                    <a:pt x="230" y="245"/>
                  </a:lnTo>
                  <a:lnTo>
                    <a:pt x="228" y="245"/>
                  </a:lnTo>
                  <a:lnTo>
                    <a:pt x="224" y="245"/>
                  </a:lnTo>
                  <a:lnTo>
                    <a:pt x="223" y="245"/>
                  </a:lnTo>
                  <a:lnTo>
                    <a:pt x="219" y="245"/>
                  </a:lnTo>
                  <a:lnTo>
                    <a:pt x="219" y="241"/>
                  </a:lnTo>
                  <a:lnTo>
                    <a:pt x="215" y="241"/>
                  </a:lnTo>
                  <a:lnTo>
                    <a:pt x="215" y="238"/>
                  </a:lnTo>
                  <a:lnTo>
                    <a:pt x="211" y="238"/>
                  </a:lnTo>
                  <a:lnTo>
                    <a:pt x="211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7" y="228"/>
                  </a:lnTo>
                  <a:lnTo>
                    <a:pt x="203" y="226"/>
                  </a:lnTo>
                  <a:lnTo>
                    <a:pt x="200" y="224"/>
                  </a:lnTo>
                  <a:lnTo>
                    <a:pt x="198" y="220"/>
                  </a:lnTo>
                  <a:lnTo>
                    <a:pt x="194" y="220"/>
                  </a:lnTo>
                  <a:lnTo>
                    <a:pt x="192" y="220"/>
                  </a:lnTo>
                  <a:lnTo>
                    <a:pt x="190" y="218"/>
                  </a:lnTo>
                  <a:lnTo>
                    <a:pt x="186" y="218"/>
                  </a:lnTo>
                  <a:lnTo>
                    <a:pt x="184" y="218"/>
                  </a:lnTo>
                  <a:lnTo>
                    <a:pt x="180" y="220"/>
                  </a:lnTo>
                  <a:lnTo>
                    <a:pt x="176" y="220"/>
                  </a:lnTo>
                  <a:lnTo>
                    <a:pt x="175" y="222"/>
                  </a:lnTo>
                  <a:lnTo>
                    <a:pt x="173" y="224"/>
                  </a:lnTo>
                  <a:lnTo>
                    <a:pt x="171" y="226"/>
                  </a:lnTo>
                  <a:lnTo>
                    <a:pt x="167" y="228"/>
                  </a:lnTo>
                  <a:lnTo>
                    <a:pt x="165" y="232"/>
                  </a:lnTo>
                  <a:lnTo>
                    <a:pt x="161" y="234"/>
                  </a:lnTo>
                  <a:lnTo>
                    <a:pt x="157" y="238"/>
                  </a:lnTo>
                  <a:lnTo>
                    <a:pt x="155" y="240"/>
                  </a:lnTo>
                  <a:lnTo>
                    <a:pt x="152" y="243"/>
                  </a:lnTo>
                  <a:lnTo>
                    <a:pt x="148" y="245"/>
                  </a:lnTo>
                  <a:lnTo>
                    <a:pt x="146" y="247"/>
                  </a:lnTo>
                  <a:lnTo>
                    <a:pt x="142" y="251"/>
                  </a:lnTo>
                  <a:lnTo>
                    <a:pt x="142" y="257"/>
                  </a:lnTo>
                  <a:lnTo>
                    <a:pt x="142" y="261"/>
                  </a:lnTo>
                  <a:lnTo>
                    <a:pt x="142" y="264"/>
                  </a:lnTo>
                  <a:lnTo>
                    <a:pt x="140" y="266"/>
                  </a:lnTo>
                  <a:lnTo>
                    <a:pt x="140" y="270"/>
                  </a:lnTo>
                  <a:lnTo>
                    <a:pt x="140" y="272"/>
                  </a:lnTo>
                  <a:lnTo>
                    <a:pt x="140" y="276"/>
                  </a:lnTo>
                  <a:lnTo>
                    <a:pt x="140" y="280"/>
                  </a:lnTo>
                  <a:lnTo>
                    <a:pt x="140" y="282"/>
                  </a:lnTo>
                  <a:lnTo>
                    <a:pt x="140" y="284"/>
                  </a:lnTo>
                  <a:lnTo>
                    <a:pt x="140" y="287"/>
                  </a:lnTo>
                  <a:lnTo>
                    <a:pt x="136" y="287"/>
                  </a:lnTo>
                  <a:lnTo>
                    <a:pt x="134" y="287"/>
                  </a:lnTo>
                  <a:lnTo>
                    <a:pt x="130" y="287"/>
                  </a:lnTo>
                  <a:lnTo>
                    <a:pt x="129" y="286"/>
                  </a:lnTo>
                  <a:lnTo>
                    <a:pt x="127" y="286"/>
                  </a:lnTo>
                  <a:lnTo>
                    <a:pt x="123" y="284"/>
                  </a:lnTo>
                  <a:lnTo>
                    <a:pt x="121" y="284"/>
                  </a:lnTo>
                  <a:lnTo>
                    <a:pt x="117" y="282"/>
                  </a:lnTo>
                  <a:lnTo>
                    <a:pt x="113" y="282"/>
                  </a:lnTo>
                  <a:lnTo>
                    <a:pt x="111" y="284"/>
                  </a:lnTo>
                  <a:lnTo>
                    <a:pt x="107" y="284"/>
                  </a:lnTo>
                  <a:lnTo>
                    <a:pt x="105" y="284"/>
                  </a:lnTo>
                  <a:lnTo>
                    <a:pt x="104" y="284"/>
                  </a:lnTo>
                  <a:lnTo>
                    <a:pt x="102" y="286"/>
                  </a:lnTo>
                  <a:lnTo>
                    <a:pt x="100" y="286"/>
                  </a:lnTo>
                  <a:lnTo>
                    <a:pt x="96" y="287"/>
                  </a:lnTo>
                  <a:lnTo>
                    <a:pt x="94" y="289"/>
                  </a:lnTo>
                  <a:lnTo>
                    <a:pt x="92" y="289"/>
                  </a:lnTo>
                  <a:lnTo>
                    <a:pt x="92" y="291"/>
                  </a:lnTo>
                  <a:lnTo>
                    <a:pt x="88" y="293"/>
                  </a:lnTo>
                  <a:lnTo>
                    <a:pt x="86" y="293"/>
                  </a:lnTo>
                  <a:lnTo>
                    <a:pt x="82" y="293"/>
                  </a:lnTo>
                  <a:lnTo>
                    <a:pt x="81" y="293"/>
                  </a:lnTo>
                  <a:lnTo>
                    <a:pt x="79" y="295"/>
                  </a:lnTo>
                  <a:lnTo>
                    <a:pt x="77" y="295"/>
                  </a:lnTo>
                  <a:lnTo>
                    <a:pt x="75" y="299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1" y="309"/>
                  </a:lnTo>
                  <a:lnTo>
                    <a:pt x="71" y="311"/>
                  </a:lnTo>
                  <a:lnTo>
                    <a:pt x="71" y="314"/>
                  </a:lnTo>
                  <a:lnTo>
                    <a:pt x="69" y="316"/>
                  </a:lnTo>
                  <a:lnTo>
                    <a:pt x="69" y="320"/>
                  </a:lnTo>
                  <a:lnTo>
                    <a:pt x="69" y="322"/>
                  </a:lnTo>
                  <a:lnTo>
                    <a:pt x="67" y="324"/>
                  </a:lnTo>
                  <a:lnTo>
                    <a:pt x="67" y="326"/>
                  </a:lnTo>
                  <a:lnTo>
                    <a:pt x="67" y="328"/>
                  </a:lnTo>
                  <a:lnTo>
                    <a:pt x="65" y="330"/>
                  </a:lnTo>
                  <a:lnTo>
                    <a:pt x="65" y="332"/>
                  </a:lnTo>
                  <a:lnTo>
                    <a:pt x="63" y="332"/>
                  </a:lnTo>
                  <a:lnTo>
                    <a:pt x="61" y="334"/>
                  </a:lnTo>
                  <a:lnTo>
                    <a:pt x="61" y="335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9" y="328"/>
                  </a:lnTo>
                  <a:lnTo>
                    <a:pt x="59" y="324"/>
                  </a:lnTo>
                  <a:lnTo>
                    <a:pt x="59" y="320"/>
                  </a:lnTo>
                  <a:lnTo>
                    <a:pt x="59" y="316"/>
                  </a:lnTo>
                  <a:lnTo>
                    <a:pt x="59" y="314"/>
                  </a:lnTo>
                  <a:lnTo>
                    <a:pt x="59" y="312"/>
                  </a:lnTo>
                  <a:lnTo>
                    <a:pt x="59" y="311"/>
                  </a:lnTo>
                  <a:lnTo>
                    <a:pt x="59" y="309"/>
                  </a:lnTo>
                  <a:lnTo>
                    <a:pt x="58" y="307"/>
                  </a:lnTo>
                  <a:lnTo>
                    <a:pt x="56" y="303"/>
                  </a:lnTo>
                  <a:lnTo>
                    <a:pt x="52" y="299"/>
                  </a:lnTo>
                  <a:lnTo>
                    <a:pt x="50" y="299"/>
                  </a:lnTo>
                  <a:lnTo>
                    <a:pt x="46" y="299"/>
                  </a:lnTo>
                  <a:lnTo>
                    <a:pt x="42" y="299"/>
                  </a:lnTo>
                  <a:lnTo>
                    <a:pt x="40" y="295"/>
                  </a:lnTo>
                  <a:lnTo>
                    <a:pt x="40" y="293"/>
                  </a:lnTo>
                  <a:lnTo>
                    <a:pt x="40" y="289"/>
                  </a:lnTo>
                  <a:lnTo>
                    <a:pt x="38" y="287"/>
                  </a:lnTo>
                  <a:lnTo>
                    <a:pt x="38" y="286"/>
                  </a:lnTo>
                  <a:lnTo>
                    <a:pt x="38" y="284"/>
                  </a:lnTo>
                  <a:lnTo>
                    <a:pt x="36" y="282"/>
                  </a:lnTo>
                  <a:lnTo>
                    <a:pt x="36" y="278"/>
                  </a:lnTo>
                  <a:lnTo>
                    <a:pt x="34" y="276"/>
                  </a:lnTo>
                  <a:lnTo>
                    <a:pt x="34" y="274"/>
                  </a:lnTo>
                  <a:lnTo>
                    <a:pt x="34" y="270"/>
                  </a:lnTo>
                  <a:lnTo>
                    <a:pt x="31" y="270"/>
                  </a:lnTo>
                  <a:lnTo>
                    <a:pt x="27" y="266"/>
                  </a:lnTo>
                  <a:lnTo>
                    <a:pt x="25" y="264"/>
                  </a:lnTo>
                  <a:lnTo>
                    <a:pt x="21" y="264"/>
                  </a:lnTo>
                  <a:lnTo>
                    <a:pt x="21" y="261"/>
                  </a:lnTo>
                  <a:lnTo>
                    <a:pt x="19" y="259"/>
                  </a:lnTo>
                  <a:lnTo>
                    <a:pt x="15" y="257"/>
                  </a:lnTo>
                  <a:lnTo>
                    <a:pt x="15" y="255"/>
                  </a:lnTo>
                  <a:lnTo>
                    <a:pt x="13" y="253"/>
                  </a:lnTo>
                  <a:lnTo>
                    <a:pt x="11" y="249"/>
                  </a:lnTo>
                  <a:lnTo>
                    <a:pt x="10" y="247"/>
                  </a:lnTo>
                  <a:lnTo>
                    <a:pt x="10" y="245"/>
                  </a:lnTo>
                  <a:lnTo>
                    <a:pt x="8" y="245"/>
                  </a:lnTo>
                  <a:lnTo>
                    <a:pt x="8" y="241"/>
                  </a:lnTo>
                  <a:lnTo>
                    <a:pt x="8" y="238"/>
                  </a:lnTo>
                  <a:lnTo>
                    <a:pt x="8" y="236"/>
                  </a:lnTo>
                  <a:lnTo>
                    <a:pt x="8" y="234"/>
                  </a:lnTo>
                  <a:lnTo>
                    <a:pt x="8" y="230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8"/>
                  </a:lnTo>
                  <a:lnTo>
                    <a:pt x="8" y="213"/>
                  </a:lnTo>
                  <a:lnTo>
                    <a:pt x="8" y="211"/>
                  </a:lnTo>
                  <a:lnTo>
                    <a:pt x="8" y="209"/>
                  </a:lnTo>
                  <a:lnTo>
                    <a:pt x="8" y="207"/>
                  </a:lnTo>
                  <a:lnTo>
                    <a:pt x="10" y="203"/>
                  </a:lnTo>
                  <a:lnTo>
                    <a:pt x="10" y="201"/>
                  </a:lnTo>
                  <a:lnTo>
                    <a:pt x="8" y="199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0"/>
                  </a:lnTo>
                  <a:lnTo>
                    <a:pt x="4" y="188"/>
                  </a:lnTo>
                  <a:lnTo>
                    <a:pt x="2" y="184"/>
                  </a:lnTo>
                  <a:lnTo>
                    <a:pt x="0" y="180"/>
                  </a:lnTo>
                  <a:lnTo>
                    <a:pt x="4" y="178"/>
                  </a:lnTo>
                  <a:lnTo>
                    <a:pt x="6" y="176"/>
                  </a:lnTo>
                  <a:lnTo>
                    <a:pt x="8" y="176"/>
                  </a:lnTo>
                  <a:lnTo>
                    <a:pt x="10" y="172"/>
                  </a:lnTo>
                  <a:lnTo>
                    <a:pt x="11" y="170"/>
                  </a:lnTo>
                  <a:lnTo>
                    <a:pt x="13" y="170"/>
                  </a:lnTo>
                  <a:lnTo>
                    <a:pt x="13" y="167"/>
                  </a:lnTo>
                  <a:lnTo>
                    <a:pt x="15" y="165"/>
                  </a:lnTo>
                  <a:lnTo>
                    <a:pt x="15" y="163"/>
                  </a:lnTo>
                  <a:lnTo>
                    <a:pt x="15" y="159"/>
                  </a:lnTo>
                  <a:lnTo>
                    <a:pt x="17" y="157"/>
                  </a:lnTo>
                  <a:lnTo>
                    <a:pt x="17" y="153"/>
                  </a:lnTo>
                  <a:lnTo>
                    <a:pt x="19" y="151"/>
                  </a:lnTo>
                  <a:lnTo>
                    <a:pt x="19" y="149"/>
                  </a:lnTo>
                  <a:lnTo>
                    <a:pt x="21" y="147"/>
                  </a:lnTo>
                  <a:lnTo>
                    <a:pt x="21" y="145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7" y="142"/>
                  </a:lnTo>
                  <a:lnTo>
                    <a:pt x="29" y="140"/>
                  </a:lnTo>
                  <a:lnTo>
                    <a:pt x="31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6" y="128"/>
                  </a:lnTo>
                  <a:lnTo>
                    <a:pt x="38" y="126"/>
                  </a:lnTo>
                  <a:lnTo>
                    <a:pt x="42" y="126"/>
                  </a:lnTo>
                  <a:lnTo>
                    <a:pt x="46" y="126"/>
                  </a:lnTo>
                  <a:lnTo>
                    <a:pt x="52" y="126"/>
                  </a:lnTo>
                  <a:lnTo>
                    <a:pt x="54" y="128"/>
                  </a:lnTo>
                  <a:lnTo>
                    <a:pt x="58" y="128"/>
                  </a:lnTo>
                  <a:lnTo>
                    <a:pt x="59" y="128"/>
                  </a:lnTo>
                  <a:lnTo>
                    <a:pt x="63" y="128"/>
                  </a:lnTo>
                  <a:lnTo>
                    <a:pt x="67" y="128"/>
                  </a:lnTo>
                  <a:lnTo>
                    <a:pt x="69" y="128"/>
                  </a:lnTo>
                  <a:lnTo>
                    <a:pt x="73" y="128"/>
                  </a:lnTo>
                  <a:lnTo>
                    <a:pt x="77" y="128"/>
                  </a:lnTo>
                  <a:lnTo>
                    <a:pt x="82" y="128"/>
                  </a:lnTo>
                  <a:lnTo>
                    <a:pt x="86" y="128"/>
                  </a:lnTo>
                  <a:lnTo>
                    <a:pt x="88" y="128"/>
                  </a:lnTo>
                  <a:lnTo>
                    <a:pt x="92" y="126"/>
                  </a:lnTo>
                  <a:lnTo>
                    <a:pt x="96" y="126"/>
                  </a:lnTo>
                  <a:lnTo>
                    <a:pt x="98" y="126"/>
                  </a:lnTo>
                  <a:lnTo>
                    <a:pt x="102" y="124"/>
                  </a:lnTo>
                  <a:lnTo>
                    <a:pt x="104" y="124"/>
                  </a:lnTo>
                  <a:lnTo>
                    <a:pt x="107" y="122"/>
                  </a:lnTo>
                  <a:lnTo>
                    <a:pt x="109" y="122"/>
                  </a:lnTo>
                  <a:lnTo>
                    <a:pt x="113" y="121"/>
                  </a:lnTo>
                  <a:lnTo>
                    <a:pt x="117" y="119"/>
                  </a:lnTo>
                  <a:lnTo>
                    <a:pt x="123" y="119"/>
                  </a:lnTo>
                  <a:lnTo>
                    <a:pt x="127" y="119"/>
                  </a:lnTo>
                  <a:lnTo>
                    <a:pt x="130" y="119"/>
                  </a:lnTo>
                  <a:lnTo>
                    <a:pt x="134" y="119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48" y="119"/>
                  </a:lnTo>
                  <a:lnTo>
                    <a:pt x="150" y="117"/>
                  </a:lnTo>
                  <a:lnTo>
                    <a:pt x="152" y="113"/>
                  </a:lnTo>
                  <a:lnTo>
                    <a:pt x="153" y="111"/>
                  </a:lnTo>
                  <a:lnTo>
                    <a:pt x="155" y="109"/>
                  </a:lnTo>
                  <a:lnTo>
                    <a:pt x="155" y="105"/>
                  </a:lnTo>
                  <a:lnTo>
                    <a:pt x="157" y="105"/>
                  </a:lnTo>
                  <a:lnTo>
                    <a:pt x="159" y="101"/>
                  </a:lnTo>
                  <a:lnTo>
                    <a:pt x="161" y="98"/>
                  </a:lnTo>
                  <a:lnTo>
                    <a:pt x="163" y="94"/>
                  </a:lnTo>
                  <a:lnTo>
                    <a:pt x="167" y="90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73" y="80"/>
                  </a:lnTo>
                  <a:lnTo>
                    <a:pt x="175" y="78"/>
                  </a:lnTo>
                  <a:lnTo>
                    <a:pt x="176" y="78"/>
                  </a:lnTo>
                  <a:lnTo>
                    <a:pt x="178" y="74"/>
                  </a:lnTo>
                  <a:lnTo>
                    <a:pt x="184" y="74"/>
                  </a:lnTo>
                  <a:lnTo>
                    <a:pt x="186" y="74"/>
                  </a:lnTo>
                  <a:lnTo>
                    <a:pt x="190" y="74"/>
                  </a:lnTo>
                  <a:lnTo>
                    <a:pt x="192" y="74"/>
                  </a:lnTo>
                  <a:lnTo>
                    <a:pt x="194" y="76"/>
                  </a:lnTo>
                  <a:lnTo>
                    <a:pt x="196" y="76"/>
                  </a:lnTo>
                  <a:lnTo>
                    <a:pt x="198" y="74"/>
                  </a:lnTo>
                  <a:lnTo>
                    <a:pt x="201" y="74"/>
                  </a:lnTo>
                  <a:lnTo>
                    <a:pt x="203" y="74"/>
                  </a:lnTo>
                  <a:lnTo>
                    <a:pt x="207" y="74"/>
                  </a:lnTo>
                  <a:lnTo>
                    <a:pt x="209" y="74"/>
                  </a:lnTo>
                  <a:lnTo>
                    <a:pt x="211" y="74"/>
                  </a:lnTo>
                  <a:lnTo>
                    <a:pt x="215" y="73"/>
                  </a:lnTo>
                  <a:lnTo>
                    <a:pt x="217" y="71"/>
                  </a:lnTo>
                  <a:lnTo>
                    <a:pt x="219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3" y="65"/>
                  </a:lnTo>
                  <a:lnTo>
                    <a:pt x="223" y="61"/>
                  </a:lnTo>
                  <a:lnTo>
                    <a:pt x="224" y="61"/>
                  </a:lnTo>
                  <a:lnTo>
                    <a:pt x="226" y="61"/>
                  </a:lnTo>
                  <a:lnTo>
                    <a:pt x="226" y="57"/>
                  </a:lnTo>
                  <a:lnTo>
                    <a:pt x="228" y="55"/>
                  </a:lnTo>
                  <a:lnTo>
                    <a:pt x="228" y="53"/>
                  </a:lnTo>
                  <a:lnTo>
                    <a:pt x="230" y="51"/>
                  </a:lnTo>
                  <a:lnTo>
                    <a:pt x="232" y="51"/>
                  </a:lnTo>
                  <a:lnTo>
                    <a:pt x="234" y="50"/>
                  </a:lnTo>
                  <a:lnTo>
                    <a:pt x="236" y="48"/>
                  </a:lnTo>
                  <a:lnTo>
                    <a:pt x="236" y="46"/>
                  </a:lnTo>
                  <a:lnTo>
                    <a:pt x="240" y="44"/>
                  </a:lnTo>
                  <a:lnTo>
                    <a:pt x="244" y="44"/>
                  </a:lnTo>
                  <a:lnTo>
                    <a:pt x="244" y="40"/>
                  </a:lnTo>
                  <a:lnTo>
                    <a:pt x="246" y="40"/>
                  </a:lnTo>
                  <a:lnTo>
                    <a:pt x="247" y="38"/>
                  </a:lnTo>
                  <a:lnTo>
                    <a:pt x="247" y="36"/>
                  </a:lnTo>
                  <a:lnTo>
                    <a:pt x="251" y="34"/>
                  </a:lnTo>
                  <a:lnTo>
                    <a:pt x="253" y="32"/>
                  </a:lnTo>
                  <a:lnTo>
                    <a:pt x="255" y="30"/>
                  </a:lnTo>
                  <a:lnTo>
                    <a:pt x="259" y="28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5" y="23"/>
                  </a:lnTo>
                  <a:lnTo>
                    <a:pt x="267" y="19"/>
                  </a:lnTo>
                  <a:lnTo>
                    <a:pt x="269" y="17"/>
                  </a:lnTo>
                  <a:lnTo>
                    <a:pt x="270" y="13"/>
                  </a:lnTo>
                  <a:lnTo>
                    <a:pt x="272" y="11"/>
                  </a:lnTo>
                  <a:lnTo>
                    <a:pt x="272" y="9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80" y="5"/>
                  </a:lnTo>
                  <a:lnTo>
                    <a:pt x="284" y="5"/>
                  </a:lnTo>
                  <a:lnTo>
                    <a:pt x="286" y="3"/>
                  </a:lnTo>
                  <a:lnTo>
                    <a:pt x="294" y="3"/>
                  </a:lnTo>
                  <a:lnTo>
                    <a:pt x="297" y="2"/>
                  </a:lnTo>
                  <a:lnTo>
                    <a:pt x="299" y="2"/>
                  </a:lnTo>
                  <a:lnTo>
                    <a:pt x="301" y="0"/>
                  </a:lnTo>
                  <a:lnTo>
                    <a:pt x="301" y="5"/>
                  </a:lnTo>
                  <a:lnTo>
                    <a:pt x="303" y="7"/>
                  </a:lnTo>
                  <a:lnTo>
                    <a:pt x="303" y="9"/>
                  </a:lnTo>
                  <a:lnTo>
                    <a:pt x="303" y="13"/>
                  </a:lnTo>
                  <a:lnTo>
                    <a:pt x="303" y="15"/>
                  </a:lnTo>
                  <a:lnTo>
                    <a:pt x="303" y="17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7" y="21"/>
                  </a:lnTo>
                  <a:lnTo>
                    <a:pt x="309" y="23"/>
                  </a:lnTo>
                  <a:lnTo>
                    <a:pt x="311" y="25"/>
                  </a:lnTo>
                  <a:lnTo>
                    <a:pt x="313" y="27"/>
                  </a:lnTo>
                  <a:lnTo>
                    <a:pt x="315" y="30"/>
                  </a:lnTo>
                  <a:lnTo>
                    <a:pt x="317" y="32"/>
                  </a:lnTo>
                  <a:lnTo>
                    <a:pt x="318" y="34"/>
                  </a:lnTo>
                  <a:lnTo>
                    <a:pt x="322" y="34"/>
                  </a:lnTo>
                  <a:lnTo>
                    <a:pt x="324" y="36"/>
                  </a:lnTo>
                  <a:lnTo>
                    <a:pt x="324" y="38"/>
                  </a:lnTo>
                  <a:lnTo>
                    <a:pt x="326" y="42"/>
                  </a:lnTo>
                  <a:lnTo>
                    <a:pt x="326" y="44"/>
                  </a:lnTo>
                  <a:lnTo>
                    <a:pt x="328" y="46"/>
                  </a:lnTo>
                  <a:lnTo>
                    <a:pt x="330" y="48"/>
                  </a:lnTo>
                  <a:lnTo>
                    <a:pt x="330" y="51"/>
                  </a:lnTo>
                  <a:lnTo>
                    <a:pt x="330" y="53"/>
                  </a:lnTo>
                  <a:lnTo>
                    <a:pt x="330" y="57"/>
                  </a:lnTo>
                  <a:lnTo>
                    <a:pt x="330" y="59"/>
                  </a:lnTo>
                  <a:lnTo>
                    <a:pt x="328" y="61"/>
                  </a:lnTo>
                  <a:lnTo>
                    <a:pt x="328" y="63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6"/>
                  </a:lnTo>
                  <a:lnTo>
                    <a:pt x="328" y="78"/>
                  </a:lnTo>
                  <a:lnTo>
                    <a:pt x="328" y="82"/>
                  </a:lnTo>
                  <a:lnTo>
                    <a:pt x="328" y="84"/>
                  </a:lnTo>
                  <a:lnTo>
                    <a:pt x="324" y="90"/>
                  </a:lnTo>
                  <a:lnTo>
                    <a:pt x="328" y="94"/>
                  </a:lnTo>
                  <a:lnTo>
                    <a:pt x="330" y="96"/>
                  </a:lnTo>
                  <a:lnTo>
                    <a:pt x="334" y="96"/>
                  </a:lnTo>
                  <a:lnTo>
                    <a:pt x="336" y="96"/>
                  </a:lnTo>
                  <a:lnTo>
                    <a:pt x="340" y="96"/>
                  </a:lnTo>
                  <a:lnTo>
                    <a:pt x="341" y="96"/>
                  </a:lnTo>
                  <a:lnTo>
                    <a:pt x="343" y="96"/>
                  </a:lnTo>
                  <a:lnTo>
                    <a:pt x="347" y="98"/>
                  </a:lnTo>
                  <a:lnTo>
                    <a:pt x="349" y="98"/>
                  </a:lnTo>
                  <a:lnTo>
                    <a:pt x="351" y="99"/>
                  </a:lnTo>
                  <a:lnTo>
                    <a:pt x="353" y="99"/>
                  </a:lnTo>
                  <a:lnTo>
                    <a:pt x="357" y="101"/>
                  </a:lnTo>
                  <a:lnTo>
                    <a:pt x="359" y="101"/>
                  </a:lnTo>
                  <a:lnTo>
                    <a:pt x="361" y="101"/>
                  </a:lnTo>
                  <a:lnTo>
                    <a:pt x="363" y="103"/>
                  </a:lnTo>
                  <a:lnTo>
                    <a:pt x="365" y="103"/>
                  </a:lnTo>
                  <a:lnTo>
                    <a:pt x="366" y="103"/>
                  </a:lnTo>
                  <a:lnTo>
                    <a:pt x="368" y="105"/>
                  </a:lnTo>
                  <a:lnTo>
                    <a:pt x="368" y="105"/>
                  </a:lnTo>
                  <a:lnTo>
                    <a:pt x="372" y="109"/>
                  </a:lnTo>
                  <a:lnTo>
                    <a:pt x="376" y="109"/>
                  </a:lnTo>
                  <a:lnTo>
                    <a:pt x="378" y="111"/>
                  </a:lnTo>
                  <a:lnTo>
                    <a:pt x="378" y="113"/>
                  </a:lnTo>
                  <a:lnTo>
                    <a:pt x="380" y="115"/>
                  </a:lnTo>
                  <a:lnTo>
                    <a:pt x="380" y="117"/>
                  </a:lnTo>
                  <a:lnTo>
                    <a:pt x="382" y="119"/>
                  </a:lnTo>
                  <a:lnTo>
                    <a:pt x="386" y="119"/>
                  </a:lnTo>
                  <a:lnTo>
                    <a:pt x="388" y="121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91" y="124"/>
                  </a:lnTo>
                  <a:lnTo>
                    <a:pt x="391" y="126"/>
                  </a:lnTo>
                  <a:lnTo>
                    <a:pt x="395" y="128"/>
                  </a:lnTo>
                  <a:lnTo>
                    <a:pt x="397" y="128"/>
                  </a:lnTo>
                  <a:lnTo>
                    <a:pt x="399" y="130"/>
                  </a:lnTo>
                  <a:lnTo>
                    <a:pt x="401" y="132"/>
                  </a:lnTo>
                  <a:lnTo>
                    <a:pt x="403" y="132"/>
                  </a:lnTo>
                  <a:lnTo>
                    <a:pt x="405" y="136"/>
                  </a:lnTo>
                  <a:lnTo>
                    <a:pt x="407" y="140"/>
                  </a:lnTo>
                  <a:lnTo>
                    <a:pt x="407" y="142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11" y="145"/>
                  </a:lnTo>
                  <a:lnTo>
                    <a:pt x="411" y="149"/>
                  </a:lnTo>
                  <a:lnTo>
                    <a:pt x="412" y="151"/>
                  </a:lnTo>
                  <a:lnTo>
                    <a:pt x="412" y="155"/>
                  </a:lnTo>
                  <a:lnTo>
                    <a:pt x="414" y="157"/>
                  </a:lnTo>
                  <a:lnTo>
                    <a:pt x="416" y="159"/>
                  </a:lnTo>
                  <a:lnTo>
                    <a:pt x="418" y="161"/>
                  </a:lnTo>
                  <a:lnTo>
                    <a:pt x="420" y="163"/>
                  </a:lnTo>
                  <a:lnTo>
                    <a:pt x="422" y="163"/>
                  </a:lnTo>
                  <a:lnTo>
                    <a:pt x="424" y="163"/>
                  </a:lnTo>
                  <a:lnTo>
                    <a:pt x="428" y="163"/>
                  </a:lnTo>
                  <a:lnTo>
                    <a:pt x="432" y="165"/>
                  </a:lnTo>
                  <a:lnTo>
                    <a:pt x="432" y="167"/>
                  </a:lnTo>
                  <a:lnTo>
                    <a:pt x="434" y="167"/>
                  </a:lnTo>
                  <a:lnTo>
                    <a:pt x="436" y="167"/>
                  </a:lnTo>
                  <a:lnTo>
                    <a:pt x="437" y="167"/>
                  </a:lnTo>
                  <a:lnTo>
                    <a:pt x="439" y="169"/>
                  </a:lnTo>
                  <a:lnTo>
                    <a:pt x="439" y="167"/>
                  </a:lnTo>
                  <a:lnTo>
                    <a:pt x="439" y="170"/>
                  </a:lnTo>
                  <a:lnTo>
                    <a:pt x="443" y="172"/>
                  </a:lnTo>
                  <a:lnTo>
                    <a:pt x="445" y="174"/>
                  </a:lnTo>
                  <a:lnTo>
                    <a:pt x="445" y="176"/>
                  </a:lnTo>
                  <a:lnTo>
                    <a:pt x="449" y="176"/>
                  </a:lnTo>
                  <a:lnTo>
                    <a:pt x="449" y="180"/>
                  </a:lnTo>
                  <a:lnTo>
                    <a:pt x="449" y="182"/>
                  </a:lnTo>
                  <a:lnTo>
                    <a:pt x="449" y="184"/>
                  </a:lnTo>
                  <a:lnTo>
                    <a:pt x="449" y="188"/>
                  </a:lnTo>
                  <a:lnTo>
                    <a:pt x="449" y="192"/>
                  </a:lnTo>
                  <a:lnTo>
                    <a:pt x="449" y="193"/>
                  </a:lnTo>
                  <a:lnTo>
                    <a:pt x="453" y="197"/>
                  </a:lnTo>
                  <a:lnTo>
                    <a:pt x="455" y="197"/>
                  </a:lnTo>
                  <a:lnTo>
                    <a:pt x="457" y="201"/>
                  </a:lnTo>
                  <a:lnTo>
                    <a:pt x="457" y="203"/>
                  </a:lnTo>
                  <a:lnTo>
                    <a:pt x="459" y="203"/>
                  </a:lnTo>
                  <a:lnTo>
                    <a:pt x="462" y="203"/>
                  </a:lnTo>
                  <a:lnTo>
                    <a:pt x="462" y="207"/>
                  </a:lnTo>
                  <a:lnTo>
                    <a:pt x="466" y="211"/>
                  </a:lnTo>
                  <a:lnTo>
                    <a:pt x="466" y="215"/>
                  </a:lnTo>
                  <a:lnTo>
                    <a:pt x="466" y="218"/>
                  </a:lnTo>
                  <a:lnTo>
                    <a:pt x="468" y="220"/>
                  </a:lnTo>
                  <a:lnTo>
                    <a:pt x="470" y="222"/>
                  </a:lnTo>
                  <a:lnTo>
                    <a:pt x="472" y="222"/>
                  </a:lnTo>
                  <a:lnTo>
                    <a:pt x="472" y="228"/>
                  </a:lnTo>
                  <a:lnTo>
                    <a:pt x="474" y="228"/>
                  </a:lnTo>
                  <a:lnTo>
                    <a:pt x="476" y="228"/>
                  </a:lnTo>
                  <a:lnTo>
                    <a:pt x="476" y="232"/>
                  </a:lnTo>
                  <a:lnTo>
                    <a:pt x="476" y="23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3" name="Freeform 40"/>
            <p:cNvSpPr>
              <a:spLocks/>
            </p:cNvSpPr>
            <p:nvPr/>
          </p:nvSpPr>
          <p:spPr bwMode="auto">
            <a:xfrm>
              <a:off x="1703" y="1914"/>
              <a:ext cx="476" cy="337"/>
            </a:xfrm>
            <a:custGeom>
              <a:avLst/>
              <a:gdLst/>
              <a:ahLst/>
              <a:cxnLst>
                <a:cxn ang="0">
                  <a:pos x="449" y="228"/>
                </a:cxn>
                <a:cxn ang="0">
                  <a:pos x="428" y="228"/>
                </a:cxn>
                <a:cxn ang="0">
                  <a:pos x="409" y="220"/>
                </a:cxn>
                <a:cxn ang="0">
                  <a:pos x="389" y="226"/>
                </a:cxn>
                <a:cxn ang="0">
                  <a:pos x="363" y="234"/>
                </a:cxn>
                <a:cxn ang="0">
                  <a:pos x="347" y="241"/>
                </a:cxn>
                <a:cxn ang="0">
                  <a:pos x="320" y="245"/>
                </a:cxn>
                <a:cxn ang="0">
                  <a:pos x="299" y="238"/>
                </a:cxn>
                <a:cxn ang="0">
                  <a:pos x="280" y="261"/>
                </a:cxn>
                <a:cxn ang="0">
                  <a:pos x="255" y="249"/>
                </a:cxn>
                <a:cxn ang="0">
                  <a:pos x="228" y="245"/>
                </a:cxn>
                <a:cxn ang="0">
                  <a:pos x="211" y="234"/>
                </a:cxn>
                <a:cxn ang="0">
                  <a:pos x="192" y="220"/>
                </a:cxn>
                <a:cxn ang="0">
                  <a:pos x="171" y="226"/>
                </a:cxn>
                <a:cxn ang="0">
                  <a:pos x="146" y="247"/>
                </a:cxn>
                <a:cxn ang="0">
                  <a:pos x="140" y="276"/>
                </a:cxn>
                <a:cxn ang="0">
                  <a:pos x="129" y="286"/>
                </a:cxn>
                <a:cxn ang="0">
                  <a:pos x="105" y="284"/>
                </a:cxn>
                <a:cxn ang="0">
                  <a:pos x="88" y="293"/>
                </a:cxn>
                <a:cxn ang="0">
                  <a:pos x="73" y="305"/>
                </a:cxn>
                <a:cxn ang="0">
                  <a:pos x="67" y="326"/>
                </a:cxn>
                <a:cxn ang="0">
                  <a:pos x="59" y="334"/>
                </a:cxn>
                <a:cxn ang="0">
                  <a:pos x="59" y="309"/>
                </a:cxn>
                <a:cxn ang="0">
                  <a:pos x="40" y="293"/>
                </a:cxn>
                <a:cxn ang="0">
                  <a:pos x="34" y="274"/>
                </a:cxn>
                <a:cxn ang="0">
                  <a:pos x="15" y="257"/>
                </a:cxn>
                <a:cxn ang="0">
                  <a:pos x="8" y="238"/>
                </a:cxn>
                <a:cxn ang="0">
                  <a:pos x="8" y="218"/>
                </a:cxn>
                <a:cxn ang="0">
                  <a:pos x="6" y="195"/>
                </a:cxn>
                <a:cxn ang="0">
                  <a:pos x="8" y="176"/>
                </a:cxn>
                <a:cxn ang="0">
                  <a:pos x="17" y="157"/>
                </a:cxn>
                <a:cxn ang="0">
                  <a:pos x="27" y="142"/>
                </a:cxn>
                <a:cxn ang="0">
                  <a:pos x="38" y="126"/>
                </a:cxn>
                <a:cxn ang="0">
                  <a:pos x="67" y="128"/>
                </a:cxn>
                <a:cxn ang="0">
                  <a:pos x="96" y="126"/>
                </a:cxn>
                <a:cxn ang="0">
                  <a:pos x="123" y="119"/>
                </a:cxn>
                <a:cxn ang="0">
                  <a:pos x="150" y="117"/>
                </a:cxn>
                <a:cxn ang="0">
                  <a:pos x="163" y="94"/>
                </a:cxn>
                <a:cxn ang="0">
                  <a:pos x="184" y="74"/>
                </a:cxn>
                <a:cxn ang="0">
                  <a:pos x="203" y="74"/>
                </a:cxn>
                <a:cxn ang="0">
                  <a:pos x="221" y="67"/>
                </a:cxn>
                <a:cxn ang="0">
                  <a:pos x="230" y="51"/>
                </a:cxn>
                <a:cxn ang="0">
                  <a:pos x="246" y="40"/>
                </a:cxn>
                <a:cxn ang="0">
                  <a:pos x="263" y="27"/>
                </a:cxn>
                <a:cxn ang="0">
                  <a:pos x="276" y="7"/>
                </a:cxn>
                <a:cxn ang="0">
                  <a:pos x="301" y="5"/>
                </a:cxn>
                <a:cxn ang="0">
                  <a:pos x="307" y="21"/>
                </a:cxn>
                <a:cxn ang="0">
                  <a:pos x="324" y="36"/>
                </a:cxn>
                <a:cxn ang="0">
                  <a:pos x="330" y="57"/>
                </a:cxn>
                <a:cxn ang="0">
                  <a:pos x="328" y="82"/>
                </a:cxn>
                <a:cxn ang="0">
                  <a:pos x="341" y="96"/>
                </a:cxn>
                <a:cxn ang="0">
                  <a:pos x="361" y="101"/>
                </a:cxn>
                <a:cxn ang="0">
                  <a:pos x="378" y="111"/>
                </a:cxn>
                <a:cxn ang="0">
                  <a:pos x="389" y="122"/>
                </a:cxn>
                <a:cxn ang="0">
                  <a:pos x="405" y="136"/>
                </a:cxn>
                <a:cxn ang="0">
                  <a:pos x="412" y="155"/>
                </a:cxn>
                <a:cxn ang="0">
                  <a:pos x="432" y="165"/>
                </a:cxn>
                <a:cxn ang="0">
                  <a:pos x="443" y="172"/>
                </a:cxn>
                <a:cxn ang="0">
                  <a:pos x="449" y="192"/>
                </a:cxn>
                <a:cxn ang="0">
                  <a:pos x="462" y="207"/>
                </a:cxn>
                <a:cxn ang="0">
                  <a:pos x="474" y="228"/>
                </a:cxn>
              </a:cxnLst>
              <a:rect l="0" t="0" r="r" b="b"/>
              <a:pathLst>
                <a:path w="476" h="337">
                  <a:moveTo>
                    <a:pt x="476" y="230"/>
                  </a:moveTo>
                  <a:lnTo>
                    <a:pt x="470" y="228"/>
                  </a:lnTo>
                  <a:lnTo>
                    <a:pt x="466" y="228"/>
                  </a:lnTo>
                  <a:lnTo>
                    <a:pt x="462" y="228"/>
                  </a:lnTo>
                  <a:lnTo>
                    <a:pt x="460" y="226"/>
                  </a:lnTo>
                  <a:lnTo>
                    <a:pt x="457" y="228"/>
                  </a:lnTo>
                  <a:lnTo>
                    <a:pt x="453" y="228"/>
                  </a:lnTo>
                  <a:lnTo>
                    <a:pt x="449" y="228"/>
                  </a:lnTo>
                  <a:lnTo>
                    <a:pt x="447" y="228"/>
                  </a:lnTo>
                  <a:lnTo>
                    <a:pt x="445" y="228"/>
                  </a:lnTo>
                  <a:lnTo>
                    <a:pt x="441" y="228"/>
                  </a:lnTo>
                  <a:lnTo>
                    <a:pt x="439" y="228"/>
                  </a:lnTo>
                  <a:lnTo>
                    <a:pt x="437" y="228"/>
                  </a:lnTo>
                  <a:lnTo>
                    <a:pt x="434" y="228"/>
                  </a:lnTo>
                  <a:lnTo>
                    <a:pt x="432" y="228"/>
                  </a:lnTo>
                  <a:lnTo>
                    <a:pt x="428" y="228"/>
                  </a:lnTo>
                  <a:lnTo>
                    <a:pt x="424" y="228"/>
                  </a:lnTo>
                  <a:lnTo>
                    <a:pt x="422" y="224"/>
                  </a:lnTo>
                  <a:lnTo>
                    <a:pt x="418" y="224"/>
                  </a:lnTo>
                  <a:lnTo>
                    <a:pt x="416" y="222"/>
                  </a:lnTo>
                  <a:lnTo>
                    <a:pt x="416" y="220"/>
                  </a:lnTo>
                  <a:lnTo>
                    <a:pt x="414" y="220"/>
                  </a:lnTo>
                  <a:lnTo>
                    <a:pt x="412" y="220"/>
                  </a:lnTo>
                  <a:lnTo>
                    <a:pt x="409" y="220"/>
                  </a:lnTo>
                  <a:lnTo>
                    <a:pt x="407" y="220"/>
                  </a:lnTo>
                  <a:lnTo>
                    <a:pt x="405" y="220"/>
                  </a:lnTo>
                  <a:lnTo>
                    <a:pt x="401" y="220"/>
                  </a:lnTo>
                  <a:lnTo>
                    <a:pt x="397" y="220"/>
                  </a:lnTo>
                  <a:lnTo>
                    <a:pt x="395" y="222"/>
                  </a:lnTo>
                  <a:lnTo>
                    <a:pt x="395" y="224"/>
                  </a:lnTo>
                  <a:lnTo>
                    <a:pt x="391" y="224"/>
                  </a:lnTo>
                  <a:lnTo>
                    <a:pt x="389" y="226"/>
                  </a:lnTo>
                  <a:lnTo>
                    <a:pt x="388" y="228"/>
                  </a:lnTo>
                  <a:lnTo>
                    <a:pt x="386" y="230"/>
                  </a:lnTo>
                  <a:lnTo>
                    <a:pt x="382" y="232"/>
                  </a:lnTo>
                  <a:lnTo>
                    <a:pt x="378" y="232"/>
                  </a:lnTo>
                  <a:lnTo>
                    <a:pt x="374" y="232"/>
                  </a:lnTo>
                  <a:lnTo>
                    <a:pt x="370" y="232"/>
                  </a:lnTo>
                  <a:lnTo>
                    <a:pt x="366" y="232"/>
                  </a:lnTo>
                  <a:lnTo>
                    <a:pt x="363" y="234"/>
                  </a:lnTo>
                  <a:lnTo>
                    <a:pt x="361" y="234"/>
                  </a:lnTo>
                  <a:lnTo>
                    <a:pt x="357" y="234"/>
                  </a:lnTo>
                  <a:lnTo>
                    <a:pt x="355" y="234"/>
                  </a:lnTo>
                  <a:lnTo>
                    <a:pt x="353" y="236"/>
                  </a:lnTo>
                  <a:lnTo>
                    <a:pt x="351" y="238"/>
                  </a:lnTo>
                  <a:lnTo>
                    <a:pt x="349" y="238"/>
                  </a:lnTo>
                  <a:lnTo>
                    <a:pt x="349" y="240"/>
                  </a:lnTo>
                  <a:lnTo>
                    <a:pt x="347" y="241"/>
                  </a:lnTo>
                  <a:lnTo>
                    <a:pt x="343" y="243"/>
                  </a:lnTo>
                  <a:lnTo>
                    <a:pt x="341" y="243"/>
                  </a:lnTo>
                  <a:lnTo>
                    <a:pt x="338" y="245"/>
                  </a:lnTo>
                  <a:lnTo>
                    <a:pt x="334" y="245"/>
                  </a:lnTo>
                  <a:lnTo>
                    <a:pt x="332" y="245"/>
                  </a:lnTo>
                  <a:lnTo>
                    <a:pt x="324" y="245"/>
                  </a:lnTo>
                  <a:lnTo>
                    <a:pt x="322" y="245"/>
                  </a:lnTo>
                  <a:lnTo>
                    <a:pt x="320" y="245"/>
                  </a:lnTo>
                  <a:lnTo>
                    <a:pt x="318" y="243"/>
                  </a:lnTo>
                  <a:lnTo>
                    <a:pt x="317" y="243"/>
                  </a:lnTo>
                  <a:lnTo>
                    <a:pt x="315" y="240"/>
                  </a:lnTo>
                  <a:lnTo>
                    <a:pt x="311" y="240"/>
                  </a:lnTo>
                  <a:lnTo>
                    <a:pt x="309" y="238"/>
                  </a:lnTo>
                  <a:lnTo>
                    <a:pt x="305" y="238"/>
                  </a:lnTo>
                  <a:lnTo>
                    <a:pt x="301" y="238"/>
                  </a:lnTo>
                  <a:lnTo>
                    <a:pt x="299" y="238"/>
                  </a:lnTo>
                  <a:lnTo>
                    <a:pt x="297" y="238"/>
                  </a:lnTo>
                  <a:lnTo>
                    <a:pt x="292" y="243"/>
                  </a:lnTo>
                  <a:lnTo>
                    <a:pt x="292" y="245"/>
                  </a:lnTo>
                  <a:lnTo>
                    <a:pt x="290" y="247"/>
                  </a:lnTo>
                  <a:lnTo>
                    <a:pt x="288" y="251"/>
                  </a:lnTo>
                  <a:lnTo>
                    <a:pt x="286" y="255"/>
                  </a:lnTo>
                  <a:lnTo>
                    <a:pt x="286" y="257"/>
                  </a:lnTo>
                  <a:lnTo>
                    <a:pt x="280" y="261"/>
                  </a:lnTo>
                  <a:lnTo>
                    <a:pt x="272" y="263"/>
                  </a:lnTo>
                  <a:lnTo>
                    <a:pt x="272" y="261"/>
                  </a:lnTo>
                  <a:lnTo>
                    <a:pt x="270" y="261"/>
                  </a:lnTo>
                  <a:lnTo>
                    <a:pt x="269" y="259"/>
                  </a:lnTo>
                  <a:lnTo>
                    <a:pt x="267" y="259"/>
                  </a:lnTo>
                  <a:lnTo>
                    <a:pt x="261" y="253"/>
                  </a:lnTo>
                  <a:lnTo>
                    <a:pt x="257" y="251"/>
                  </a:lnTo>
                  <a:lnTo>
                    <a:pt x="255" y="249"/>
                  </a:lnTo>
                  <a:lnTo>
                    <a:pt x="251" y="249"/>
                  </a:lnTo>
                  <a:lnTo>
                    <a:pt x="249" y="245"/>
                  </a:lnTo>
                  <a:lnTo>
                    <a:pt x="246" y="245"/>
                  </a:lnTo>
                  <a:lnTo>
                    <a:pt x="242" y="245"/>
                  </a:lnTo>
                  <a:lnTo>
                    <a:pt x="236" y="245"/>
                  </a:lnTo>
                  <a:lnTo>
                    <a:pt x="234" y="245"/>
                  </a:lnTo>
                  <a:lnTo>
                    <a:pt x="230" y="245"/>
                  </a:lnTo>
                  <a:lnTo>
                    <a:pt x="228" y="245"/>
                  </a:lnTo>
                  <a:lnTo>
                    <a:pt x="224" y="245"/>
                  </a:lnTo>
                  <a:lnTo>
                    <a:pt x="223" y="245"/>
                  </a:lnTo>
                  <a:lnTo>
                    <a:pt x="219" y="245"/>
                  </a:lnTo>
                  <a:lnTo>
                    <a:pt x="219" y="241"/>
                  </a:lnTo>
                  <a:lnTo>
                    <a:pt x="215" y="241"/>
                  </a:lnTo>
                  <a:lnTo>
                    <a:pt x="215" y="238"/>
                  </a:lnTo>
                  <a:lnTo>
                    <a:pt x="211" y="238"/>
                  </a:lnTo>
                  <a:lnTo>
                    <a:pt x="211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7" y="228"/>
                  </a:lnTo>
                  <a:lnTo>
                    <a:pt x="203" y="226"/>
                  </a:lnTo>
                  <a:lnTo>
                    <a:pt x="200" y="224"/>
                  </a:lnTo>
                  <a:lnTo>
                    <a:pt x="198" y="220"/>
                  </a:lnTo>
                  <a:lnTo>
                    <a:pt x="194" y="220"/>
                  </a:lnTo>
                  <a:lnTo>
                    <a:pt x="192" y="220"/>
                  </a:lnTo>
                  <a:lnTo>
                    <a:pt x="190" y="218"/>
                  </a:lnTo>
                  <a:lnTo>
                    <a:pt x="186" y="218"/>
                  </a:lnTo>
                  <a:lnTo>
                    <a:pt x="184" y="218"/>
                  </a:lnTo>
                  <a:lnTo>
                    <a:pt x="180" y="220"/>
                  </a:lnTo>
                  <a:lnTo>
                    <a:pt x="176" y="220"/>
                  </a:lnTo>
                  <a:lnTo>
                    <a:pt x="175" y="222"/>
                  </a:lnTo>
                  <a:lnTo>
                    <a:pt x="173" y="224"/>
                  </a:lnTo>
                  <a:lnTo>
                    <a:pt x="171" y="226"/>
                  </a:lnTo>
                  <a:lnTo>
                    <a:pt x="167" y="228"/>
                  </a:lnTo>
                  <a:lnTo>
                    <a:pt x="165" y="232"/>
                  </a:lnTo>
                  <a:lnTo>
                    <a:pt x="161" y="234"/>
                  </a:lnTo>
                  <a:lnTo>
                    <a:pt x="157" y="238"/>
                  </a:lnTo>
                  <a:lnTo>
                    <a:pt x="155" y="240"/>
                  </a:lnTo>
                  <a:lnTo>
                    <a:pt x="152" y="243"/>
                  </a:lnTo>
                  <a:lnTo>
                    <a:pt x="148" y="245"/>
                  </a:lnTo>
                  <a:lnTo>
                    <a:pt x="146" y="247"/>
                  </a:lnTo>
                  <a:lnTo>
                    <a:pt x="142" y="251"/>
                  </a:lnTo>
                  <a:lnTo>
                    <a:pt x="142" y="257"/>
                  </a:lnTo>
                  <a:lnTo>
                    <a:pt x="142" y="261"/>
                  </a:lnTo>
                  <a:lnTo>
                    <a:pt x="142" y="264"/>
                  </a:lnTo>
                  <a:lnTo>
                    <a:pt x="140" y="266"/>
                  </a:lnTo>
                  <a:lnTo>
                    <a:pt x="140" y="270"/>
                  </a:lnTo>
                  <a:lnTo>
                    <a:pt x="140" y="272"/>
                  </a:lnTo>
                  <a:lnTo>
                    <a:pt x="140" y="276"/>
                  </a:lnTo>
                  <a:lnTo>
                    <a:pt x="140" y="280"/>
                  </a:lnTo>
                  <a:lnTo>
                    <a:pt x="140" y="282"/>
                  </a:lnTo>
                  <a:lnTo>
                    <a:pt x="140" y="284"/>
                  </a:lnTo>
                  <a:lnTo>
                    <a:pt x="140" y="287"/>
                  </a:lnTo>
                  <a:lnTo>
                    <a:pt x="136" y="287"/>
                  </a:lnTo>
                  <a:lnTo>
                    <a:pt x="134" y="287"/>
                  </a:lnTo>
                  <a:lnTo>
                    <a:pt x="130" y="287"/>
                  </a:lnTo>
                  <a:lnTo>
                    <a:pt x="129" y="286"/>
                  </a:lnTo>
                  <a:lnTo>
                    <a:pt x="127" y="286"/>
                  </a:lnTo>
                  <a:lnTo>
                    <a:pt x="123" y="284"/>
                  </a:lnTo>
                  <a:lnTo>
                    <a:pt x="121" y="284"/>
                  </a:lnTo>
                  <a:lnTo>
                    <a:pt x="117" y="282"/>
                  </a:lnTo>
                  <a:lnTo>
                    <a:pt x="113" y="282"/>
                  </a:lnTo>
                  <a:lnTo>
                    <a:pt x="111" y="284"/>
                  </a:lnTo>
                  <a:lnTo>
                    <a:pt x="107" y="284"/>
                  </a:lnTo>
                  <a:lnTo>
                    <a:pt x="105" y="284"/>
                  </a:lnTo>
                  <a:lnTo>
                    <a:pt x="104" y="284"/>
                  </a:lnTo>
                  <a:lnTo>
                    <a:pt x="102" y="286"/>
                  </a:lnTo>
                  <a:lnTo>
                    <a:pt x="100" y="286"/>
                  </a:lnTo>
                  <a:lnTo>
                    <a:pt x="96" y="287"/>
                  </a:lnTo>
                  <a:lnTo>
                    <a:pt x="94" y="289"/>
                  </a:lnTo>
                  <a:lnTo>
                    <a:pt x="92" y="289"/>
                  </a:lnTo>
                  <a:lnTo>
                    <a:pt x="92" y="291"/>
                  </a:lnTo>
                  <a:lnTo>
                    <a:pt x="88" y="293"/>
                  </a:lnTo>
                  <a:lnTo>
                    <a:pt x="86" y="293"/>
                  </a:lnTo>
                  <a:lnTo>
                    <a:pt x="82" y="293"/>
                  </a:lnTo>
                  <a:lnTo>
                    <a:pt x="81" y="293"/>
                  </a:lnTo>
                  <a:lnTo>
                    <a:pt x="79" y="295"/>
                  </a:lnTo>
                  <a:lnTo>
                    <a:pt x="77" y="295"/>
                  </a:lnTo>
                  <a:lnTo>
                    <a:pt x="75" y="299"/>
                  </a:lnTo>
                  <a:lnTo>
                    <a:pt x="73" y="301"/>
                  </a:lnTo>
                  <a:lnTo>
                    <a:pt x="73" y="305"/>
                  </a:lnTo>
                  <a:lnTo>
                    <a:pt x="71" y="309"/>
                  </a:lnTo>
                  <a:lnTo>
                    <a:pt x="71" y="311"/>
                  </a:lnTo>
                  <a:lnTo>
                    <a:pt x="71" y="314"/>
                  </a:lnTo>
                  <a:lnTo>
                    <a:pt x="69" y="316"/>
                  </a:lnTo>
                  <a:lnTo>
                    <a:pt x="69" y="320"/>
                  </a:lnTo>
                  <a:lnTo>
                    <a:pt x="69" y="322"/>
                  </a:lnTo>
                  <a:lnTo>
                    <a:pt x="67" y="324"/>
                  </a:lnTo>
                  <a:lnTo>
                    <a:pt x="67" y="326"/>
                  </a:lnTo>
                  <a:lnTo>
                    <a:pt x="67" y="328"/>
                  </a:lnTo>
                  <a:lnTo>
                    <a:pt x="65" y="330"/>
                  </a:lnTo>
                  <a:lnTo>
                    <a:pt x="65" y="332"/>
                  </a:lnTo>
                  <a:lnTo>
                    <a:pt x="63" y="332"/>
                  </a:lnTo>
                  <a:lnTo>
                    <a:pt x="61" y="334"/>
                  </a:lnTo>
                  <a:lnTo>
                    <a:pt x="61" y="335"/>
                  </a:lnTo>
                  <a:lnTo>
                    <a:pt x="59" y="337"/>
                  </a:lnTo>
                  <a:lnTo>
                    <a:pt x="59" y="334"/>
                  </a:lnTo>
                  <a:lnTo>
                    <a:pt x="59" y="328"/>
                  </a:lnTo>
                  <a:lnTo>
                    <a:pt x="59" y="324"/>
                  </a:lnTo>
                  <a:lnTo>
                    <a:pt x="59" y="320"/>
                  </a:lnTo>
                  <a:lnTo>
                    <a:pt x="59" y="316"/>
                  </a:lnTo>
                  <a:lnTo>
                    <a:pt x="59" y="314"/>
                  </a:lnTo>
                  <a:lnTo>
                    <a:pt x="59" y="312"/>
                  </a:lnTo>
                  <a:lnTo>
                    <a:pt x="59" y="311"/>
                  </a:lnTo>
                  <a:lnTo>
                    <a:pt x="59" y="309"/>
                  </a:lnTo>
                  <a:lnTo>
                    <a:pt x="58" y="307"/>
                  </a:lnTo>
                  <a:lnTo>
                    <a:pt x="56" y="303"/>
                  </a:lnTo>
                  <a:lnTo>
                    <a:pt x="52" y="299"/>
                  </a:lnTo>
                  <a:lnTo>
                    <a:pt x="50" y="299"/>
                  </a:lnTo>
                  <a:lnTo>
                    <a:pt x="46" y="299"/>
                  </a:lnTo>
                  <a:lnTo>
                    <a:pt x="42" y="299"/>
                  </a:lnTo>
                  <a:lnTo>
                    <a:pt x="40" y="295"/>
                  </a:lnTo>
                  <a:lnTo>
                    <a:pt x="40" y="293"/>
                  </a:lnTo>
                  <a:lnTo>
                    <a:pt x="40" y="289"/>
                  </a:lnTo>
                  <a:lnTo>
                    <a:pt x="38" y="287"/>
                  </a:lnTo>
                  <a:lnTo>
                    <a:pt x="38" y="286"/>
                  </a:lnTo>
                  <a:lnTo>
                    <a:pt x="38" y="284"/>
                  </a:lnTo>
                  <a:lnTo>
                    <a:pt x="36" y="282"/>
                  </a:lnTo>
                  <a:lnTo>
                    <a:pt x="36" y="278"/>
                  </a:lnTo>
                  <a:lnTo>
                    <a:pt x="34" y="276"/>
                  </a:lnTo>
                  <a:lnTo>
                    <a:pt x="34" y="274"/>
                  </a:lnTo>
                  <a:lnTo>
                    <a:pt x="34" y="270"/>
                  </a:lnTo>
                  <a:lnTo>
                    <a:pt x="31" y="270"/>
                  </a:lnTo>
                  <a:lnTo>
                    <a:pt x="27" y="266"/>
                  </a:lnTo>
                  <a:lnTo>
                    <a:pt x="25" y="264"/>
                  </a:lnTo>
                  <a:lnTo>
                    <a:pt x="21" y="264"/>
                  </a:lnTo>
                  <a:lnTo>
                    <a:pt x="21" y="261"/>
                  </a:lnTo>
                  <a:lnTo>
                    <a:pt x="19" y="259"/>
                  </a:lnTo>
                  <a:lnTo>
                    <a:pt x="15" y="257"/>
                  </a:lnTo>
                  <a:lnTo>
                    <a:pt x="15" y="255"/>
                  </a:lnTo>
                  <a:lnTo>
                    <a:pt x="13" y="253"/>
                  </a:lnTo>
                  <a:lnTo>
                    <a:pt x="11" y="249"/>
                  </a:lnTo>
                  <a:lnTo>
                    <a:pt x="10" y="247"/>
                  </a:lnTo>
                  <a:lnTo>
                    <a:pt x="10" y="245"/>
                  </a:lnTo>
                  <a:lnTo>
                    <a:pt x="8" y="245"/>
                  </a:lnTo>
                  <a:lnTo>
                    <a:pt x="8" y="241"/>
                  </a:lnTo>
                  <a:lnTo>
                    <a:pt x="8" y="238"/>
                  </a:lnTo>
                  <a:lnTo>
                    <a:pt x="8" y="236"/>
                  </a:lnTo>
                  <a:lnTo>
                    <a:pt x="8" y="234"/>
                  </a:lnTo>
                  <a:lnTo>
                    <a:pt x="8" y="230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8"/>
                  </a:lnTo>
                  <a:lnTo>
                    <a:pt x="8" y="213"/>
                  </a:lnTo>
                  <a:lnTo>
                    <a:pt x="8" y="211"/>
                  </a:lnTo>
                  <a:lnTo>
                    <a:pt x="8" y="209"/>
                  </a:lnTo>
                  <a:lnTo>
                    <a:pt x="8" y="207"/>
                  </a:lnTo>
                  <a:lnTo>
                    <a:pt x="10" y="203"/>
                  </a:lnTo>
                  <a:lnTo>
                    <a:pt x="10" y="201"/>
                  </a:lnTo>
                  <a:lnTo>
                    <a:pt x="8" y="199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0"/>
                  </a:lnTo>
                  <a:lnTo>
                    <a:pt x="4" y="188"/>
                  </a:lnTo>
                  <a:lnTo>
                    <a:pt x="2" y="184"/>
                  </a:lnTo>
                  <a:lnTo>
                    <a:pt x="0" y="180"/>
                  </a:lnTo>
                  <a:lnTo>
                    <a:pt x="4" y="178"/>
                  </a:lnTo>
                  <a:lnTo>
                    <a:pt x="6" y="176"/>
                  </a:lnTo>
                  <a:lnTo>
                    <a:pt x="8" y="176"/>
                  </a:lnTo>
                  <a:lnTo>
                    <a:pt x="10" y="172"/>
                  </a:lnTo>
                  <a:lnTo>
                    <a:pt x="11" y="170"/>
                  </a:lnTo>
                  <a:lnTo>
                    <a:pt x="13" y="170"/>
                  </a:lnTo>
                  <a:lnTo>
                    <a:pt x="13" y="167"/>
                  </a:lnTo>
                  <a:lnTo>
                    <a:pt x="15" y="165"/>
                  </a:lnTo>
                  <a:lnTo>
                    <a:pt x="15" y="163"/>
                  </a:lnTo>
                  <a:lnTo>
                    <a:pt x="15" y="159"/>
                  </a:lnTo>
                  <a:lnTo>
                    <a:pt x="17" y="157"/>
                  </a:lnTo>
                  <a:lnTo>
                    <a:pt x="17" y="153"/>
                  </a:lnTo>
                  <a:lnTo>
                    <a:pt x="19" y="151"/>
                  </a:lnTo>
                  <a:lnTo>
                    <a:pt x="19" y="149"/>
                  </a:lnTo>
                  <a:lnTo>
                    <a:pt x="21" y="147"/>
                  </a:lnTo>
                  <a:lnTo>
                    <a:pt x="21" y="145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7" y="142"/>
                  </a:lnTo>
                  <a:lnTo>
                    <a:pt x="29" y="140"/>
                  </a:lnTo>
                  <a:lnTo>
                    <a:pt x="31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6" y="128"/>
                  </a:lnTo>
                  <a:lnTo>
                    <a:pt x="38" y="126"/>
                  </a:lnTo>
                  <a:lnTo>
                    <a:pt x="42" y="126"/>
                  </a:lnTo>
                  <a:lnTo>
                    <a:pt x="46" y="126"/>
                  </a:lnTo>
                  <a:lnTo>
                    <a:pt x="52" y="126"/>
                  </a:lnTo>
                  <a:lnTo>
                    <a:pt x="54" y="128"/>
                  </a:lnTo>
                  <a:lnTo>
                    <a:pt x="58" y="128"/>
                  </a:lnTo>
                  <a:lnTo>
                    <a:pt x="59" y="128"/>
                  </a:lnTo>
                  <a:lnTo>
                    <a:pt x="63" y="128"/>
                  </a:lnTo>
                  <a:lnTo>
                    <a:pt x="67" y="128"/>
                  </a:lnTo>
                  <a:lnTo>
                    <a:pt x="69" y="128"/>
                  </a:lnTo>
                  <a:lnTo>
                    <a:pt x="73" y="128"/>
                  </a:lnTo>
                  <a:lnTo>
                    <a:pt x="77" y="128"/>
                  </a:lnTo>
                  <a:lnTo>
                    <a:pt x="82" y="128"/>
                  </a:lnTo>
                  <a:lnTo>
                    <a:pt x="86" y="128"/>
                  </a:lnTo>
                  <a:lnTo>
                    <a:pt x="88" y="128"/>
                  </a:lnTo>
                  <a:lnTo>
                    <a:pt x="92" y="126"/>
                  </a:lnTo>
                  <a:lnTo>
                    <a:pt x="96" y="126"/>
                  </a:lnTo>
                  <a:lnTo>
                    <a:pt x="98" y="126"/>
                  </a:lnTo>
                  <a:lnTo>
                    <a:pt x="102" y="124"/>
                  </a:lnTo>
                  <a:lnTo>
                    <a:pt x="104" y="124"/>
                  </a:lnTo>
                  <a:lnTo>
                    <a:pt x="107" y="122"/>
                  </a:lnTo>
                  <a:lnTo>
                    <a:pt x="109" y="122"/>
                  </a:lnTo>
                  <a:lnTo>
                    <a:pt x="113" y="121"/>
                  </a:lnTo>
                  <a:lnTo>
                    <a:pt x="117" y="119"/>
                  </a:lnTo>
                  <a:lnTo>
                    <a:pt x="123" y="119"/>
                  </a:lnTo>
                  <a:lnTo>
                    <a:pt x="127" y="119"/>
                  </a:lnTo>
                  <a:lnTo>
                    <a:pt x="130" y="119"/>
                  </a:lnTo>
                  <a:lnTo>
                    <a:pt x="134" y="119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48" y="119"/>
                  </a:lnTo>
                  <a:lnTo>
                    <a:pt x="150" y="117"/>
                  </a:lnTo>
                  <a:lnTo>
                    <a:pt x="152" y="113"/>
                  </a:lnTo>
                  <a:lnTo>
                    <a:pt x="153" y="111"/>
                  </a:lnTo>
                  <a:lnTo>
                    <a:pt x="155" y="109"/>
                  </a:lnTo>
                  <a:lnTo>
                    <a:pt x="155" y="105"/>
                  </a:lnTo>
                  <a:lnTo>
                    <a:pt x="157" y="105"/>
                  </a:lnTo>
                  <a:lnTo>
                    <a:pt x="159" y="101"/>
                  </a:lnTo>
                  <a:lnTo>
                    <a:pt x="161" y="98"/>
                  </a:lnTo>
                  <a:lnTo>
                    <a:pt x="163" y="94"/>
                  </a:lnTo>
                  <a:lnTo>
                    <a:pt x="167" y="90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73" y="80"/>
                  </a:lnTo>
                  <a:lnTo>
                    <a:pt x="175" y="78"/>
                  </a:lnTo>
                  <a:lnTo>
                    <a:pt x="176" y="78"/>
                  </a:lnTo>
                  <a:lnTo>
                    <a:pt x="178" y="74"/>
                  </a:lnTo>
                  <a:lnTo>
                    <a:pt x="184" y="74"/>
                  </a:lnTo>
                  <a:lnTo>
                    <a:pt x="186" y="74"/>
                  </a:lnTo>
                  <a:lnTo>
                    <a:pt x="190" y="74"/>
                  </a:lnTo>
                  <a:lnTo>
                    <a:pt x="192" y="74"/>
                  </a:lnTo>
                  <a:lnTo>
                    <a:pt x="194" y="76"/>
                  </a:lnTo>
                  <a:lnTo>
                    <a:pt x="196" y="76"/>
                  </a:lnTo>
                  <a:lnTo>
                    <a:pt x="198" y="74"/>
                  </a:lnTo>
                  <a:lnTo>
                    <a:pt x="201" y="74"/>
                  </a:lnTo>
                  <a:lnTo>
                    <a:pt x="203" y="74"/>
                  </a:lnTo>
                  <a:lnTo>
                    <a:pt x="207" y="74"/>
                  </a:lnTo>
                  <a:lnTo>
                    <a:pt x="209" y="74"/>
                  </a:lnTo>
                  <a:lnTo>
                    <a:pt x="211" y="74"/>
                  </a:lnTo>
                  <a:lnTo>
                    <a:pt x="215" y="73"/>
                  </a:lnTo>
                  <a:lnTo>
                    <a:pt x="217" y="71"/>
                  </a:lnTo>
                  <a:lnTo>
                    <a:pt x="219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3" y="65"/>
                  </a:lnTo>
                  <a:lnTo>
                    <a:pt x="223" y="61"/>
                  </a:lnTo>
                  <a:lnTo>
                    <a:pt x="224" y="61"/>
                  </a:lnTo>
                  <a:lnTo>
                    <a:pt x="226" y="61"/>
                  </a:lnTo>
                  <a:lnTo>
                    <a:pt x="226" y="57"/>
                  </a:lnTo>
                  <a:lnTo>
                    <a:pt x="228" y="55"/>
                  </a:lnTo>
                  <a:lnTo>
                    <a:pt x="228" y="53"/>
                  </a:lnTo>
                  <a:lnTo>
                    <a:pt x="230" y="51"/>
                  </a:lnTo>
                  <a:lnTo>
                    <a:pt x="232" y="51"/>
                  </a:lnTo>
                  <a:lnTo>
                    <a:pt x="234" y="50"/>
                  </a:lnTo>
                  <a:lnTo>
                    <a:pt x="236" y="48"/>
                  </a:lnTo>
                  <a:lnTo>
                    <a:pt x="236" y="46"/>
                  </a:lnTo>
                  <a:lnTo>
                    <a:pt x="240" y="44"/>
                  </a:lnTo>
                  <a:lnTo>
                    <a:pt x="244" y="44"/>
                  </a:lnTo>
                  <a:lnTo>
                    <a:pt x="244" y="40"/>
                  </a:lnTo>
                  <a:lnTo>
                    <a:pt x="246" y="40"/>
                  </a:lnTo>
                  <a:lnTo>
                    <a:pt x="247" y="38"/>
                  </a:lnTo>
                  <a:lnTo>
                    <a:pt x="247" y="36"/>
                  </a:lnTo>
                  <a:lnTo>
                    <a:pt x="251" y="34"/>
                  </a:lnTo>
                  <a:lnTo>
                    <a:pt x="253" y="32"/>
                  </a:lnTo>
                  <a:lnTo>
                    <a:pt x="255" y="30"/>
                  </a:lnTo>
                  <a:lnTo>
                    <a:pt x="259" y="28"/>
                  </a:lnTo>
                  <a:lnTo>
                    <a:pt x="261" y="27"/>
                  </a:lnTo>
                  <a:lnTo>
                    <a:pt x="263" y="27"/>
                  </a:lnTo>
                  <a:lnTo>
                    <a:pt x="265" y="23"/>
                  </a:lnTo>
                  <a:lnTo>
                    <a:pt x="267" y="19"/>
                  </a:lnTo>
                  <a:lnTo>
                    <a:pt x="269" y="17"/>
                  </a:lnTo>
                  <a:lnTo>
                    <a:pt x="270" y="13"/>
                  </a:lnTo>
                  <a:lnTo>
                    <a:pt x="272" y="11"/>
                  </a:lnTo>
                  <a:lnTo>
                    <a:pt x="272" y="9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80" y="5"/>
                  </a:lnTo>
                  <a:lnTo>
                    <a:pt x="284" y="5"/>
                  </a:lnTo>
                  <a:lnTo>
                    <a:pt x="286" y="3"/>
                  </a:lnTo>
                  <a:lnTo>
                    <a:pt x="294" y="3"/>
                  </a:lnTo>
                  <a:lnTo>
                    <a:pt x="297" y="2"/>
                  </a:lnTo>
                  <a:lnTo>
                    <a:pt x="299" y="2"/>
                  </a:lnTo>
                  <a:lnTo>
                    <a:pt x="301" y="0"/>
                  </a:lnTo>
                  <a:lnTo>
                    <a:pt x="301" y="5"/>
                  </a:lnTo>
                  <a:lnTo>
                    <a:pt x="303" y="7"/>
                  </a:lnTo>
                  <a:lnTo>
                    <a:pt x="303" y="9"/>
                  </a:lnTo>
                  <a:lnTo>
                    <a:pt x="303" y="13"/>
                  </a:lnTo>
                  <a:lnTo>
                    <a:pt x="303" y="15"/>
                  </a:lnTo>
                  <a:lnTo>
                    <a:pt x="303" y="17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7" y="21"/>
                  </a:lnTo>
                  <a:lnTo>
                    <a:pt x="309" y="23"/>
                  </a:lnTo>
                  <a:lnTo>
                    <a:pt x="311" y="25"/>
                  </a:lnTo>
                  <a:lnTo>
                    <a:pt x="313" y="27"/>
                  </a:lnTo>
                  <a:lnTo>
                    <a:pt x="315" y="30"/>
                  </a:lnTo>
                  <a:lnTo>
                    <a:pt x="317" y="32"/>
                  </a:lnTo>
                  <a:lnTo>
                    <a:pt x="318" y="34"/>
                  </a:lnTo>
                  <a:lnTo>
                    <a:pt x="322" y="34"/>
                  </a:lnTo>
                  <a:lnTo>
                    <a:pt x="324" y="36"/>
                  </a:lnTo>
                  <a:lnTo>
                    <a:pt x="324" y="38"/>
                  </a:lnTo>
                  <a:lnTo>
                    <a:pt x="326" y="42"/>
                  </a:lnTo>
                  <a:lnTo>
                    <a:pt x="326" y="44"/>
                  </a:lnTo>
                  <a:lnTo>
                    <a:pt x="328" y="46"/>
                  </a:lnTo>
                  <a:lnTo>
                    <a:pt x="330" y="48"/>
                  </a:lnTo>
                  <a:lnTo>
                    <a:pt x="330" y="51"/>
                  </a:lnTo>
                  <a:lnTo>
                    <a:pt x="330" y="53"/>
                  </a:lnTo>
                  <a:lnTo>
                    <a:pt x="330" y="57"/>
                  </a:lnTo>
                  <a:lnTo>
                    <a:pt x="330" y="59"/>
                  </a:lnTo>
                  <a:lnTo>
                    <a:pt x="328" y="61"/>
                  </a:lnTo>
                  <a:lnTo>
                    <a:pt x="328" y="63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6"/>
                  </a:lnTo>
                  <a:lnTo>
                    <a:pt x="328" y="78"/>
                  </a:lnTo>
                  <a:lnTo>
                    <a:pt x="328" y="82"/>
                  </a:lnTo>
                  <a:lnTo>
                    <a:pt x="328" y="84"/>
                  </a:lnTo>
                  <a:lnTo>
                    <a:pt x="324" y="90"/>
                  </a:lnTo>
                  <a:lnTo>
                    <a:pt x="328" y="94"/>
                  </a:lnTo>
                  <a:lnTo>
                    <a:pt x="330" y="96"/>
                  </a:lnTo>
                  <a:lnTo>
                    <a:pt x="334" y="96"/>
                  </a:lnTo>
                  <a:lnTo>
                    <a:pt x="336" y="96"/>
                  </a:lnTo>
                  <a:lnTo>
                    <a:pt x="340" y="96"/>
                  </a:lnTo>
                  <a:lnTo>
                    <a:pt x="341" y="96"/>
                  </a:lnTo>
                  <a:lnTo>
                    <a:pt x="343" y="96"/>
                  </a:lnTo>
                  <a:lnTo>
                    <a:pt x="347" y="98"/>
                  </a:lnTo>
                  <a:lnTo>
                    <a:pt x="349" y="98"/>
                  </a:lnTo>
                  <a:lnTo>
                    <a:pt x="351" y="99"/>
                  </a:lnTo>
                  <a:lnTo>
                    <a:pt x="353" y="99"/>
                  </a:lnTo>
                  <a:lnTo>
                    <a:pt x="357" y="101"/>
                  </a:lnTo>
                  <a:lnTo>
                    <a:pt x="359" y="101"/>
                  </a:lnTo>
                  <a:lnTo>
                    <a:pt x="361" y="101"/>
                  </a:lnTo>
                  <a:lnTo>
                    <a:pt x="363" y="103"/>
                  </a:lnTo>
                  <a:lnTo>
                    <a:pt x="365" y="103"/>
                  </a:lnTo>
                  <a:lnTo>
                    <a:pt x="366" y="103"/>
                  </a:lnTo>
                  <a:lnTo>
                    <a:pt x="368" y="105"/>
                  </a:lnTo>
                  <a:lnTo>
                    <a:pt x="368" y="105"/>
                  </a:lnTo>
                  <a:lnTo>
                    <a:pt x="372" y="109"/>
                  </a:lnTo>
                  <a:lnTo>
                    <a:pt x="376" y="109"/>
                  </a:lnTo>
                  <a:lnTo>
                    <a:pt x="378" y="111"/>
                  </a:lnTo>
                  <a:lnTo>
                    <a:pt x="378" y="113"/>
                  </a:lnTo>
                  <a:lnTo>
                    <a:pt x="380" y="115"/>
                  </a:lnTo>
                  <a:lnTo>
                    <a:pt x="380" y="117"/>
                  </a:lnTo>
                  <a:lnTo>
                    <a:pt x="382" y="119"/>
                  </a:lnTo>
                  <a:lnTo>
                    <a:pt x="386" y="119"/>
                  </a:lnTo>
                  <a:lnTo>
                    <a:pt x="388" y="121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91" y="124"/>
                  </a:lnTo>
                  <a:lnTo>
                    <a:pt x="391" y="126"/>
                  </a:lnTo>
                  <a:lnTo>
                    <a:pt x="395" y="128"/>
                  </a:lnTo>
                  <a:lnTo>
                    <a:pt x="397" y="128"/>
                  </a:lnTo>
                  <a:lnTo>
                    <a:pt x="399" y="130"/>
                  </a:lnTo>
                  <a:lnTo>
                    <a:pt x="401" y="132"/>
                  </a:lnTo>
                  <a:lnTo>
                    <a:pt x="403" y="132"/>
                  </a:lnTo>
                  <a:lnTo>
                    <a:pt x="405" y="136"/>
                  </a:lnTo>
                  <a:lnTo>
                    <a:pt x="407" y="140"/>
                  </a:lnTo>
                  <a:lnTo>
                    <a:pt x="407" y="142"/>
                  </a:lnTo>
                  <a:lnTo>
                    <a:pt x="409" y="144"/>
                  </a:lnTo>
                  <a:lnTo>
                    <a:pt x="409" y="145"/>
                  </a:lnTo>
                  <a:lnTo>
                    <a:pt x="411" y="145"/>
                  </a:lnTo>
                  <a:lnTo>
                    <a:pt x="411" y="149"/>
                  </a:lnTo>
                  <a:lnTo>
                    <a:pt x="412" y="151"/>
                  </a:lnTo>
                  <a:lnTo>
                    <a:pt x="412" y="155"/>
                  </a:lnTo>
                  <a:lnTo>
                    <a:pt x="414" y="157"/>
                  </a:lnTo>
                  <a:lnTo>
                    <a:pt x="416" y="159"/>
                  </a:lnTo>
                  <a:lnTo>
                    <a:pt x="418" y="161"/>
                  </a:lnTo>
                  <a:lnTo>
                    <a:pt x="420" y="163"/>
                  </a:lnTo>
                  <a:lnTo>
                    <a:pt x="422" y="163"/>
                  </a:lnTo>
                  <a:lnTo>
                    <a:pt x="424" y="163"/>
                  </a:lnTo>
                  <a:lnTo>
                    <a:pt x="428" y="163"/>
                  </a:lnTo>
                  <a:lnTo>
                    <a:pt x="432" y="165"/>
                  </a:lnTo>
                  <a:lnTo>
                    <a:pt x="432" y="167"/>
                  </a:lnTo>
                  <a:lnTo>
                    <a:pt x="434" y="167"/>
                  </a:lnTo>
                  <a:lnTo>
                    <a:pt x="436" y="167"/>
                  </a:lnTo>
                  <a:lnTo>
                    <a:pt x="437" y="167"/>
                  </a:lnTo>
                  <a:lnTo>
                    <a:pt x="439" y="169"/>
                  </a:lnTo>
                  <a:lnTo>
                    <a:pt x="439" y="167"/>
                  </a:lnTo>
                  <a:lnTo>
                    <a:pt x="439" y="170"/>
                  </a:lnTo>
                  <a:lnTo>
                    <a:pt x="443" y="172"/>
                  </a:lnTo>
                  <a:lnTo>
                    <a:pt x="445" y="174"/>
                  </a:lnTo>
                  <a:lnTo>
                    <a:pt x="445" y="176"/>
                  </a:lnTo>
                  <a:lnTo>
                    <a:pt x="449" y="176"/>
                  </a:lnTo>
                  <a:lnTo>
                    <a:pt x="449" y="180"/>
                  </a:lnTo>
                  <a:lnTo>
                    <a:pt x="449" y="182"/>
                  </a:lnTo>
                  <a:lnTo>
                    <a:pt x="449" y="184"/>
                  </a:lnTo>
                  <a:lnTo>
                    <a:pt x="449" y="188"/>
                  </a:lnTo>
                  <a:lnTo>
                    <a:pt x="449" y="192"/>
                  </a:lnTo>
                  <a:lnTo>
                    <a:pt x="449" y="193"/>
                  </a:lnTo>
                  <a:lnTo>
                    <a:pt x="453" y="197"/>
                  </a:lnTo>
                  <a:lnTo>
                    <a:pt x="455" y="197"/>
                  </a:lnTo>
                  <a:lnTo>
                    <a:pt x="457" y="201"/>
                  </a:lnTo>
                  <a:lnTo>
                    <a:pt x="457" y="203"/>
                  </a:lnTo>
                  <a:lnTo>
                    <a:pt x="459" y="203"/>
                  </a:lnTo>
                  <a:lnTo>
                    <a:pt x="462" y="203"/>
                  </a:lnTo>
                  <a:lnTo>
                    <a:pt x="462" y="207"/>
                  </a:lnTo>
                  <a:lnTo>
                    <a:pt x="466" y="211"/>
                  </a:lnTo>
                  <a:lnTo>
                    <a:pt x="466" y="215"/>
                  </a:lnTo>
                  <a:lnTo>
                    <a:pt x="466" y="218"/>
                  </a:lnTo>
                  <a:lnTo>
                    <a:pt x="468" y="220"/>
                  </a:lnTo>
                  <a:lnTo>
                    <a:pt x="470" y="222"/>
                  </a:lnTo>
                  <a:lnTo>
                    <a:pt x="472" y="222"/>
                  </a:lnTo>
                  <a:lnTo>
                    <a:pt x="472" y="228"/>
                  </a:lnTo>
                  <a:lnTo>
                    <a:pt x="474" y="228"/>
                  </a:lnTo>
                  <a:lnTo>
                    <a:pt x="476" y="228"/>
                  </a:lnTo>
                  <a:lnTo>
                    <a:pt x="476" y="232"/>
                  </a:lnTo>
                  <a:lnTo>
                    <a:pt x="476" y="230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4" name="Freeform 41"/>
            <p:cNvSpPr>
              <a:spLocks/>
            </p:cNvSpPr>
            <p:nvPr/>
          </p:nvSpPr>
          <p:spPr bwMode="auto">
            <a:xfrm>
              <a:off x="1482" y="1843"/>
              <a:ext cx="282" cy="418"/>
            </a:xfrm>
            <a:custGeom>
              <a:avLst/>
              <a:gdLst/>
              <a:ahLst/>
              <a:cxnLst>
                <a:cxn ang="0">
                  <a:pos x="255" y="176"/>
                </a:cxn>
                <a:cxn ang="0">
                  <a:pos x="238" y="165"/>
                </a:cxn>
                <a:cxn ang="0">
                  <a:pos x="225" y="155"/>
                </a:cxn>
                <a:cxn ang="0">
                  <a:pos x="209" y="138"/>
                </a:cxn>
                <a:cxn ang="0">
                  <a:pos x="217" y="121"/>
                </a:cxn>
                <a:cxn ang="0">
                  <a:pos x="242" y="119"/>
                </a:cxn>
                <a:cxn ang="0">
                  <a:pos x="263" y="119"/>
                </a:cxn>
                <a:cxn ang="0">
                  <a:pos x="259" y="101"/>
                </a:cxn>
                <a:cxn ang="0">
                  <a:pos x="252" y="78"/>
                </a:cxn>
                <a:cxn ang="0">
                  <a:pos x="250" y="55"/>
                </a:cxn>
                <a:cxn ang="0">
                  <a:pos x="244" y="38"/>
                </a:cxn>
                <a:cxn ang="0">
                  <a:pos x="225" y="27"/>
                </a:cxn>
                <a:cxn ang="0">
                  <a:pos x="208" y="7"/>
                </a:cxn>
                <a:cxn ang="0">
                  <a:pos x="188" y="0"/>
                </a:cxn>
                <a:cxn ang="0">
                  <a:pos x="184" y="21"/>
                </a:cxn>
                <a:cxn ang="0">
                  <a:pos x="200" y="34"/>
                </a:cxn>
                <a:cxn ang="0">
                  <a:pos x="211" y="53"/>
                </a:cxn>
                <a:cxn ang="0">
                  <a:pos x="204" y="71"/>
                </a:cxn>
                <a:cxn ang="0">
                  <a:pos x="192" y="88"/>
                </a:cxn>
                <a:cxn ang="0">
                  <a:pos x="184" y="109"/>
                </a:cxn>
                <a:cxn ang="0">
                  <a:pos x="171" y="126"/>
                </a:cxn>
                <a:cxn ang="0">
                  <a:pos x="161" y="151"/>
                </a:cxn>
                <a:cxn ang="0">
                  <a:pos x="148" y="163"/>
                </a:cxn>
                <a:cxn ang="0">
                  <a:pos x="131" y="176"/>
                </a:cxn>
                <a:cxn ang="0">
                  <a:pos x="123" y="197"/>
                </a:cxn>
                <a:cxn ang="0">
                  <a:pos x="117" y="220"/>
                </a:cxn>
                <a:cxn ang="0">
                  <a:pos x="110" y="232"/>
                </a:cxn>
                <a:cxn ang="0">
                  <a:pos x="96" y="245"/>
                </a:cxn>
                <a:cxn ang="0">
                  <a:pos x="83" y="228"/>
                </a:cxn>
                <a:cxn ang="0">
                  <a:pos x="67" y="224"/>
                </a:cxn>
                <a:cxn ang="0">
                  <a:pos x="50" y="224"/>
                </a:cxn>
                <a:cxn ang="0">
                  <a:pos x="39" y="247"/>
                </a:cxn>
                <a:cxn ang="0">
                  <a:pos x="16" y="264"/>
                </a:cxn>
                <a:cxn ang="0">
                  <a:pos x="4" y="284"/>
                </a:cxn>
                <a:cxn ang="0">
                  <a:pos x="4" y="307"/>
                </a:cxn>
                <a:cxn ang="0">
                  <a:pos x="8" y="326"/>
                </a:cxn>
                <a:cxn ang="0">
                  <a:pos x="27" y="330"/>
                </a:cxn>
                <a:cxn ang="0">
                  <a:pos x="41" y="343"/>
                </a:cxn>
                <a:cxn ang="0">
                  <a:pos x="50" y="360"/>
                </a:cxn>
                <a:cxn ang="0">
                  <a:pos x="58" y="387"/>
                </a:cxn>
                <a:cxn ang="0">
                  <a:pos x="48" y="405"/>
                </a:cxn>
                <a:cxn ang="0">
                  <a:pos x="79" y="403"/>
                </a:cxn>
                <a:cxn ang="0">
                  <a:pos x="112" y="401"/>
                </a:cxn>
                <a:cxn ang="0">
                  <a:pos x="144" y="393"/>
                </a:cxn>
                <a:cxn ang="0">
                  <a:pos x="165" y="397"/>
                </a:cxn>
                <a:cxn ang="0">
                  <a:pos x="186" y="399"/>
                </a:cxn>
                <a:cxn ang="0">
                  <a:pos x="219" y="403"/>
                </a:cxn>
                <a:cxn ang="0">
                  <a:pos x="244" y="405"/>
                </a:cxn>
                <a:cxn ang="0">
                  <a:pos x="263" y="414"/>
                </a:cxn>
                <a:cxn ang="0">
                  <a:pos x="282" y="416"/>
                </a:cxn>
                <a:cxn ang="0">
                  <a:pos x="282" y="391"/>
                </a:cxn>
                <a:cxn ang="0">
                  <a:pos x="277" y="376"/>
                </a:cxn>
                <a:cxn ang="0">
                  <a:pos x="259" y="362"/>
                </a:cxn>
                <a:cxn ang="0">
                  <a:pos x="255" y="343"/>
                </a:cxn>
                <a:cxn ang="0">
                  <a:pos x="242" y="328"/>
                </a:cxn>
                <a:cxn ang="0">
                  <a:pos x="229" y="312"/>
                </a:cxn>
                <a:cxn ang="0">
                  <a:pos x="225" y="287"/>
                </a:cxn>
                <a:cxn ang="0">
                  <a:pos x="229" y="272"/>
                </a:cxn>
                <a:cxn ang="0">
                  <a:pos x="225" y="249"/>
                </a:cxn>
                <a:cxn ang="0">
                  <a:pos x="236" y="232"/>
                </a:cxn>
                <a:cxn ang="0">
                  <a:pos x="246" y="213"/>
                </a:cxn>
                <a:cxn ang="0">
                  <a:pos x="263" y="197"/>
                </a:cxn>
              </a:cxnLst>
              <a:rect l="0" t="0" r="r" b="b"/>
              <a:pathLst>
                <a:path w="282" h="418">
                  <a:moveTo>
                    <a:pt x="263" y="197"/>
                  </a:moveTo>
                  <a:lnTo>
                    <a:pt x="261" y="193"/>
                  </a:lnTo>
                  <a:lnTo>
                    <a:pt x="257" y="190"/>
                  </a:lnTo>
                  <a:lnTo>
                    <a:pt x="257" y="186"/>
                  </a:lnTo>
                  <a:lnTo>
                    <a:pt x="257" y="184"/>
                  </a:lnTo>
                  <a:lnTo>
                    <a:pt x="255" y="182"/>
                  </a:lnTo>
                  <a:lnTo>
                    <a:pt x="255" y="180"/>
                  </a:lnTo>
                  <a:lnTo>
                    <a:pt x="255" y="176"/>
                  </a:lnTo>
                  <a:lnTo>
                    <a:pt x="254" y="176"/>
                  </a:lnTo>
                  <a:lnTo>
                    <a:pt x="252" y="172"/>
                  </a:lnTo>
                  <a:lnTo>
                    <a:pt x="250" y="170"/>
                  </a:lnTo>
                  <a:lnTo>
                    <a:pt x="248" y="170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2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6" y="161"/>
                  </a:lnTo>
                  <a:lnTo>
                    <a:pt x="234" y="159"/>
                  </a:lnTo>
                  <a:lnTo>
                    <a:pt x="231" y="159"/>
                  </a:lnTo>
                  <a:lnTo>
                    <a:pt x="231" y="159"/>
                  </a:lnTo>
                  <a:lnTo>
                    <a:pt x="229" y="157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1"/>
                  </a:lnTo>
                  <a:lnTo>
                    <a:pt x="221" y="149"/>
                  </a:lnTo>
                  <a:lnTo>
                    <a:pt x="219" y="147"/>
                  </a:lnTo>
                  <a:lnTo>
                    <a:pt x="217" y="145"/>
                  </a:lnTo>
                  <a:lnTo>
                    <a:pt x="215" y="145"/>
                  </a:lnTo>
                  <a:lnTo>
                    <a:pt x="211" y="144"/>
                  </a:lnTo>
                  <a:lnTo>
                    <a:pt x="211" y="142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2"/>
                  </a:lnTo>
                  <a:lnTo>
                    <a:pt x="209" y="130"/>
                  </a:lnTo>
                  <a:lnTo>
                    <a:pt x="211" y="128"/>
                  </a:lnTo>
                  <a:lnTo>
                    <a:pt x="211" y="126"/>
                  </a:lnTo>
                  <a:lnTo>
                    <a:pt x="211" y="122"/>
                  </a:lnTo>
                  <a:lnTo>
                    <a:pt x="213" y="122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23" y="121"/>
                  </a:lnTo>
                  <a:lnTo>
                    <a:pt x="227" y="119"/>
                  </a:lnTo>
                  <a:lnTo>
                    <a:pt x="229" y="119"/>
                  </a:lnTo>
                  <a:lnTo>
                    <a:pt x="232" y="119"/>
                  </a:lnTo>
                  <a:lnTo>
                    <a:pt x="236" y="119"/>
                  </a:lnTo>
                  <a:lnTo>
                    <a:pt x="238" y="119"/>
                  </a:lnTo>
                  <a:lnTo>
                    <a:pt x="242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50" y="121"/>
                  </a:lnTo>
                  <a:lnTo>
                    <a:pt x="254" y="121"/>
                  </a:lnTo>
                  <a:lnTo>
                    <a:pt x="255" y="121"/>
                  </a:lnTo>
                  <a:lnTo>
                    <a:pt x="259" y="121"/>
                  </a:lnTo>
                  <a:lnTo>
                    <a:pt x="261" y="121"/>
                  </a:lnTo>
                  <a:lnTo>
                    <a:pt x="263" y="119"/>
                  </a:lnTo>
                  <a:lnTo>
                    <a:pt x="265" y="115"/>
                  </a:lnTo>
                  <a:lnTo>
                    <a:pt x="269" y="115"/>
                  </a:lnTo>
                  <a:lnTo>
                    <a:pt x="267" y="111"/>
                  </a:lnTo>
                  <a:lnTo>
                    <a:pt x="267" y="107"/>
                  </a:lnTo>
                  <a:lnTo>
                    <a:pt x="265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59" y="101"/>
                  </a:lnTo>
                  <a:lnTo>
                    <a:pt x="257" y="99"/>
                  </a:lnTo>
                  <a:lnTo>
                    <a:pt x="255" y="98"/>
                  </a:lnTo>
                  <a:lnTo>
                    <a:pt x="255" y="96"/>
                  </a:lnTo>
                  <a:lnTo>
                    <a:pt x="254" y="92"/>
                  </a:lnTo>
                  <a:lnTo>
                    <a:pt x="254" y="88"/>
                  </a:lnTo>
                  <a:lnTo>
                    <a:pt x="254" y="86"/>
                  </a:lnTo>
                  <a:lnTo>
                    <a:pt x="252" y="82"/>
                  </a:lnTo>
                  <a:lnTo>
                    <a:pt x="252" y="78"/>
                  </a:lnTo>
                  <a:lnTo>
                    <a:pt x="252" y="76"/>
                  </a:lnTo>
                  <a:lnTo>
                    <a:pt x="252" y="74"/>
                  </a:lnTo>
                  <a:lnTo>
                    <a:pt x="250" y="71"/>
                  </a:lnTo>
                  <a:lnTo>
                    <a:pt x="250" y="69"/>
                  </a:lnTo>
                  <a:lnTo>
                    <a:pt x="250" y="65"/>
                  </a:lnTo>
                  <a:lnTo>
                    <a:pt x="250" y="61"/>
                  </a:lnTo>
                  <a:lnTo>
                    <a:pt x="250" y="57"/>
                  </a:lnTo>
                  <a:lnTo>
                    <a:pt x="250" y="55"/>
                  </a:lnTo>
                  <a:lnTo>
                    <a:pt x="252" y="53"/>
                  </a:lnTo>
                  <a:lnTo>
                    <a:pt x="250" y="51"/>
                  </a:lnTo>
                  <a:lnTo>
                    <a:pt x="250" y="48"/>
                  </a:lnTo>
                  <a:lnTo>
                    <a:pt x="250" y="46"/>
                  </a:lnTo>
                  <a:lnTo>
                    <a:pt x="248" y="44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4" y="38"/>
                  </a:lnTo>
                  <a:lnTo>
                    <a:pt x="240" y="38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4" y="34"/>
                  </a:lnTo>
                  <a:lnTo>
                    <a:pt x="232" y="32"/>
                  </a:lnTo>
                  <a:lnTo>
                    <a:pt x="229" y="32"/>
                  </a:lnTo>
                  <a:lnTo>
                    <a:pt x="229" y="30"/>
                  </a:lnTo>
                  <a:lnTo>
                    <a:pt x="225" y="27"/>
                  </a:lnTo>
                  <a:lnTo>
                    <a:pt x="221" y="27"/>
                  </a:lnTo>
                  <a:lnTo>
                    <a:pt x="219" y="21"/>
                  </a:lnTo>
                  <a:lnTo>
                    <a:pt x="215" y="17"/>
                  </a:lnTo>
                  <a:lnTo>
                    <a:pt x="215" y="15"/>
                  </a:lnTo>
                  <a:lnTo>
                    <a:pt x="211" y="11"/>
                  </a:lnTo>
                  <a:lnTo>
                    <a:pt x="211" y="9"/>
                  </a:lnTo>
                  <a:lnTo>
                    <a:pt x="211" y="7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6" y="3"/>
                  </a:lnTo>
                  <a:lnTo>
                    <a:pt x="202" y="3"/>
                  </a:lnTo>
                  <a:lnTo>
                    <a:pt x="200" y="2"/>
                  </a:lnTo>
                  <a:lnTo>
                    <a:pt x="198" y="0"/>
                  </a:lnTo>
                  <a:lnTo>
                    <a:pt x="194" y="0"/>
                  </a:lnTo>
                  <a:lnTo>
                    <a:pt x="192" y="0"/>
                  </a:lnTo>
                  <a:lnTo>
                    <a:pt x="188" y="0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4" y="3"/>
                  </a:lnTo>
                  <a:lnTo>
                    <a:pt x="184" y="7"/>
                  </a:lnTo>
                  <a:lnTo>
                    <a:pt x="184" y="9"/>
                  </a:lnTo>
                  <a:lnTo>
                    <a:pt x="184" y="13"/>
                  </a:lnTo>
                  <a:lnTo>
                    <a:pt x="184" y="17"/>
                  </a:lnTo>
                  <a:lnTo>
                    <a:pt x="184" y="21"/>
                  </a:lnTo>
                  <a:lnTo>
                    <a:pt x="184" y="25"/>
                  </a:lnTo>
                  <a:lnTo>
                    <a:pt x="184" y="27"/>
                  </a:lnTo>
                  <a:lnTo>
                    <a:pt x="184" y="28"/>
                  </a:lnTo>
                  <a:lnTo>
                    <a:pt x="186" y="32"/>
                  </a:lnTo>
                  <a:lnTo>
                    <a:pt x="190" y="32"/>
                  </a:lnTo>
                  <a:lnTo>
                    <a:pt x="192" y="32"/>
                  </a:lnTo>
                  <a:lnTo>
                    <a:pt x="196" y="32"/>
                  </a:lnTo>
                  <a:lnTo>
                    <a:pt x="200" y="34"/>
                  </a:lnTo>
                  <a:lnTo>
                    <a:pt x="202" y="36"/>
                  </a:lnTo>
                  <a:lnTo>
                    <a:pt x="206" y="38"/>
                  </a:lnTo>
                  <a:lnTo>
                    <a:pt x="209" y="40"/>
                  </a:lnTo>
                  <a:lnTo>
                    <a:pt x="211" y="44"/>
                  </a:lnTo>
                  <a:lnTo>
                    <a:pt x="211" y="46"/>
                  </a:lnTo>
                  <a:lnTo>
                    <a:pt x="211" y="48"/>
                  </a:lnTo>
                  <a:lnTo>
                    <a:pt x="211" y="51"/>
                  </a:lnTo>
                  <a:lnTo>
                    <a:pt x="211" y="53"/>
                  </a:lnTo>
                  <a:lnTo>
                    <a:pt x="211" y="57"/>
                  </a:lnTo>
                  <a:lnTo>
                    <a:pt x="211" y="59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08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71"/>
                  </a:lnTo>
                  <a:lnTo>
                    <a:pt x="202" y="71"/>
                  </a:lnTo>
                  <a:lnTo>
                    <a:pt x="200" y="71"/>
                  </a:lnTo>
                  <a:lnTo>
                    <a:pt x="198" y="74"/>
                  </a:lnTo>
                  <a:lnTo>
                    <a:pt x="194" y="78"/>
                  </a:lnTo>
                  <a:lnTo>
                    <a:pt x="194" y="80"/>
                  </a:lnTo>
                  <a:lnTo>
                    <a:pt x="194" y="84"/>
                  </a:lnTo>
                  <a:lnTo>
                    <a:pt x="192" y="86"/>
                  </a:lnTo>
                  <a:lnTo>
                    <a:pt x="192" y="88"/>
                  </a:lnTo>
                  <a:lnTo>
                    <a:pt x="192" y="90"/>
                  </a:lnTo>
                  <a:lnTo>
                    <a:pt x="190" y="94"/>
                  </a:lnTo>
                  <a:lnTo>
                    <a:pt x="188" y="96"/>
                  </a:lnTo>
                  <a:lnTo>
                    <a:pt x="186" y="98"/>
                  </a:lnTo>
                  <a:lnTo>
                    <a:pt x="186" y="101"/>
                  </a:lnTo>
                  <a:lnTo>
                    <a:pt x="186" y="103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3"/>
                  </a:lnTo>
                  <a:lnTo>
                    <a:pt x="183" y="115"/>
                  </a:lnTo>
                  <a:lnTo>
                    <a:pt x="183" y="117"/>
                  </a:lnTo>
                  <a:lnTo>
                    <a:pt x="181" y="121"/>
                  </a:lnTo>
                  <a:lnTo>
                    <a:pt x="179" y="122"/>
                  </a:lnTo>
                  <a:lnTo>
                    <a:pt x="175" y="124"/>
                  </a:lnTo>
                  <a:lnTo>
                    <a:pt x="173" y="126"/>
                  </a:lnTo>
                  <a:lnTo>
                    <a:pt x="171" y="126"/>
                  </a:lnTo>
                  <a:lnTo>
                    <a:pt x="165" y="132"/>
                  </a:lnTo>
                  <a:lnTo>
                    <a:pt x="161" y="134"/>
                  </a:lnTo>
                  <a:lnTo>
                    <a:pt x="160" y="134"/>
                  </a:lnTo>
                  <a:lnTo>
                    <a:pt x="160" y="138"/>
                  </a:lnTo>
                  <a:lnTo>
                    <a:pt x="161" y="142"/>
                  </a:lnTo>
                  <a:lnTo>
                    <a:pt x="161" y="144"/>
                  </a:lnTo>
                  <a:lnTo>
                    <a:pt x="161" y="149"/>
                  </a:lnTo>
                  <a:lnTo>
                    <a:pt x="161" y="151"/>
                  </a:lnTo>
                  <a:lnTo>
                    <a:pt x="161" y="153"/>
                  </a:lnTo>
                  <a:lnTo>
                    <a:pt x="160" y="157"/>
                  </a:lnTo>
                  <a:lnTo>
                    <a:pt x="158" y="157"/>
                  </a:lnTo>
                  <a:lnTo>
                    <a:pt x="158" y="159"/>
                  </a:lnTo>
                  <a:lnTo>
                    <a:pt x="154" y="161"/>
                  </a:lnTo>
                  <a:lnTo>
                    <a:pt x="152" y="161"/>
                  </a:lnTo>
                  <a:lnTo>
                    <a:pt x="148" y="167"/>
                  </a:lnTo>
                  <a:lnTo>
                    <a:pt x="148" y="163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7" y="172"/>
                  </a:lnTo>
                  <a:lnTo>
                    <a:pt x="135" y="172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31" y="176"/>
                  </a:lnTo>
                  <a:lnTo>
                    <a:pt x="127" y="178"/>
                  </a:lnTo>
                  <a:lnTo>
                    <a:pt x="125" y="182"/>
                  </a:lnTo>
                  <a:lnTo>
                    <a:pt x="125" y="186"/>
                  </a:lnTo>
                  <a:lnTo>
                    <a:pt x="125" y="188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3" y="197"/>
                  </a:lnTo>
                  <a:lnTo>
                    <a:pt x="123" y="199"/>
                  </a:lnTo>
                  <a:lnTo>
                    <a:pt x="123" y="203"/>
                  </a:lnTo>
                  <a:lnTo>
                    <a:pt x="121" y="209"/>
                  </a:lnTo>
                  <a:lnTo>
                    <a:pt x="121" y="211"/>
                  </a:lnTo>
                  <a:lnTo>
                    <a:pt x="119" y="213"/>
                  </a:lnTo>
                  <a:lnTo>
                    <a:pt x="119" y="216"/>
                  </a:lnTo>
                  <a:lnTo>
                    <a:pt x="119" y="218"/>
                  </a:lnTo>
                  <a:lnTo>
                    <a:pt x="117" y="220"/>
                  </a:lnTo>
                  <a:lnTo>
                    <a:pt x="117" y="222"/>
                  </a:lnTo>
                  <a:lnTo>
                    <a:pt x="115" y="224"/>
                  </a:lnTo>
                  <a:lnTo>
                    <a:pt x="115" y="226"/>
                  </a:lnTo>
                  <a:lnTo>
                    <a:pt x="114" y="226"/>
                  </a:lnTo>
                  <a:lnTo>
                    <a:pt x="114" y="230"/>
                  </a:lnTo>
                  <a:lnTo>
                    <a:pt x="114" y="230"/>
                  </a:lnTo>
                  <a:lnTo>
                    <a:pt x="112" y="230"/>
                  </a:lnTo>
                  <a:lnTo>
                    <a:pt x="110" y="232"/>
                  </a:lnTo>
                  <a:lnTo>
                    <a:pt x="108" y="234"/>
                  </a:lnTo>
                  <a:lnTo>
                    <a:pt x="106" y="236"/>
                  </a:lnTo>
                  <a:lnTo>
                    <a:pt x="106" y="238"/>
                  </a:lnTo>
                  <a:lnTo>
                    <a:pt x="106" y="240"/>
                  </a:lnTo>
                  <a:lnTo>
                    <a:pt x="104" y="241"/>
                  </a:lnTo>
                  <a:lnTo>
                    <a:pt x="102" y="247"/>
                  </a:lnTo>
                  <a:lnTo>
                    <a:pt x="100" y="245"/>
                  </a:lnTo>
                  <a:lnTo>
                    <a:pt x="96" y="245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0" y="240"/>
                  </a:lnTo>
                  <a:lnTo>
                    <a:pt x="89" y="238"/>
                  </a:lnTo>
                  <a:lnTo>
                    <a:pt x="89" y="230"/>
                  </a:lnTo>
                  <a:lnTo>
                    <a:pt x="87" y="230"/>
                  </a:lnTo>
                  <a:lnTo>
                    <a:pt x="87" y="228"/>
                  </a:lnTo>
                  <a:lnTo>
                    <a:pt x="83" y="228"/>
                  </a:lnTo>
                  <a:lnTo>
                    <a:pt x="81" y="226"/>
                  </a:lnTo>
                  <a:lnTo>
                    <a:pt x="79" y="222"/>
                  </a:lnTo>
                  <a:lnTo>
                    <a:pt x="77" y="222"/>
                  </a:lnTo>
                  <a:lnTo>
                    <a:pt x="75" y="222"/>
                  </a:lnTo>
                  <a:lnTo>
                    <a:pt x="73" y="222"/>
                  </a:lnTo>
                  <a:lnTo>
                    <a:pt x="71" y="220"/>
                  </a:lnTo>
                  <a:lnTo>
                    <a:pt x="69" y="222"/>
                  </a:lnTo>
                  <a:lnTo>
                    <a:pt x="67" y="224"/>
                  </a:lnTo>
                  <a:lnTo>
                    <a:pt x="67" y="226"/>
                  </a:lnTo>
                  <a:lnTo>
                    <a:pt x="64" y="226"/>
                  </a:lnTo>
                  <a:lnTo>
                    <a:pt x="60" y="222"/>
                  </a:lnTo>
                  <a:lnTo>
                    <a:pt x="58" y="222"/>
                  </a:lnTo>
                  <a:lnTo>
                    <a:pt x="56" y="220"/>
                  </a:lnTo>
                  <a:lnTo>
                    <a:pt x="52" y="220"/>
                  </a:lnTo>
                  <a:lnTo>
                    <a:pt x="52" y="224"/>
                  </a:lnTo>
                  <a:lnTo>
                    <a:pt x="50" y="224"/>
                  </a:lnTo>
                  <a:lnTo>
                    <a:pt x="48" y="226"/>
                  </a:lnTo>
                  <a:lnTo>
                    <a:pt x="48" y="230"/>
                  </a:lnTo>
                  <a:lnTo>
                    <a:pt x="44" y="232"/>
                  </a:lnTo>
                  <a:lnTo>
                    <a:pt x="43" y="236"/>
                  </a:lnTo>
                  <a:lnTo>
                    <a:pt x="43" y="238"/>
                  </a:lnTo>
                  <a:lnTo>
                    <a:pt x="43" y="240"/>
                  </a:lnTo>
                  <a:lnTo>
                    <a:pt x="39" y="243"/>
                  </a:lnTo>
                  <a:lnTo>
                    <a:pt x="39" y="247"/>
                  </a:lnTo>
                  <a:lnTo>
                    <a:pt x="37" y="247"/>
                  </a:lnTo>
                  <a:lnTo>
                    <a:pt x="33" y="251"/>
                  </a:lnTo>
                  <a:lnTo>
                    <a:pt x="29" y="255"/>
                  </a:lnTo>
                  <a:lnTo>
                    <a:pt x="25" y="259"/>
                  </a:lnTo>
                  <a:lnTo>
                    <a:pt x="23" y="261"/>
                  </a:lnTo>
                  <a:lnTo>
                    <a:pt x="21" y="261"/>
                  </a:lnTo>
                  <a:lnTo>
                    <a:pt x="19" y="263"/>
                  </a:lnTo>
                  <a:lnTo>
                    <a:pt x="16" y="264"/>
                  </a:lnTo>
                  <a:lnTo>
                    <a:pt x="16" y="266"/>
                  </a:lnTo>
                  <a:lnTo>
                    <a:pt x="12" y="266"/>
                  </a:lnTo>
                  <a:lnTo>
                    <a:pt x="10" y="270"/>
                  </a:lnTo>
                  <a:lnTo>
                    <a:pt x="8" y="272"/>
                  </a:lnTo>
                  <a:lnTo>
                    <a:pt x="6" y="274"/>
                  </a:lnTo>
                  <a:lnTo>
                    <a:pt x="6" y="280"/>
                  </a:lnTo>
                  <a:lnTo>
                    <a:pt x="4" y="282"/>
                  </a:lnTo>
                  <a:lnTo>
                    <a:pt x="4" y="284"/>
                  </a:lnTo>
                  <a:lnTo>
                    <a:pt x="6" y="286"/>
                  </a:lnTo>
                  <a:lnTo>
                    <a:pt x="6" y="289"/>
                  </a:lnTo>
                  <a:lnTo>
                    <a:pt x="6" y="291"/>
                  </a:lnTo>
                  <a:lnTo>
                    <a:pt x="6" y="295"/>
                  </a:lnTo>
                  <a:lnTo>
                    <a:pt x="6" y="297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4" y="307"/>
                  </a:lnTo>
                  <a:lnTo>
                    <a:pt x="4" y="309"/>
                  </a:lnTo>
                  <a:lnTo>
                    <a:pt x="4" y="311"/>
                  </a:lnTo>
                  <a:lnTo>
                    <a:pt x="0" y="316"/>
                  </a:lnTo>
                  <a:lnTo>
                    <a:pt x="2" y="316"/>
                  </a:lnTo>
                  <a:lnTo>
                    <a:pt x="6" y="316"/>
                  </a:lnTo>
                  <a:lnTo>
                    <a:pt x="6" y="322"/>
                  </a:lnTo>
                  <a:lnTo>
                    <a:pt x="6" y="322"/>
                  </a:lnTo>
                  <a:lnTo>
                    <a:pt x="8" y="326"/>
                  </a:lnTo>
                  <a:lnTo>
                    <a:pt x="10" y="326"/>
                  </a:lnTo>
                  <a:lnTo>
                    <a:pt x="14" y="326"/>
                  </a:lnTo>
                  <a:lnTo>
                    <a:pt x="16" y="328"/>
                  </a:lnTo>
                  <a:lnTo>
                    <a:pt x="18" y="328"/>
                  </a:lnTo>
                  <a:lnTo>
                    <a:pt x="19" y="328"/>
                  </a:lnTo>
                  <a:lnTo>
                    <a:pt x="21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9" y="332"/>
                  </a:lnTo>
                  <a:lnTo>
                    <a:pt x="29" y="334"/>
                  </a:lnTo>
                  <a:lnTo>
                    <a:pt x="31" y="334"/>
                  </a:lnTo>
                  <a:lnTo>
                    <a:pt x="33" y="335"/>
                  </a:lnTo>
                  <a:lnTo>
                    <a:pt x="35" y="337"/>
                  </a:lnTo>
                  <a:lnTo>
                    <a:pt x="37" y="339"/>
                  </a:lnTo>
                  <a:lnTo>
                    <a:pt x="39" y="341"/>
                  </a:lnTo>
                  <a:lnTo>
                    <a:pt x="41" y="343"/>
                  </a:lnTo>
                  <a:lnTo>
                    <a:pt x="41" y="345"/>
                  </a:lnTo>
                  <a:lnTo>
                    <a:pt x="43" y="345"/>
                  </a:lnTo>
                  <a:lnTo>
                    <a:pt x="44" y="347"/>
                  </a:lnTo>
                  <a:lnTo>
                    <a:pt x="46" y="349"/>
                  </a:lnTo>
                  <a:lnTo>
                    <a:pt x="48" y="351"/>
                  </a:lnTo>
                  <a:lnTo>
                    <a:pt x="48" y="353"/>
                  </a:lnTo>
                  <a:lnTo>
                    <a:pt x="50" y="355"/>
                  </a:lnTo>
                  <a:lnTo>
                    <a:pt x="50" y="360"/>
                  </a:lnTo>
                  <a:lnTo>
                    <a:pt x="50" y="362"/>
                  </a:lnTo>
                  <a:lnTo>
                    <a:pt x="50" y="366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50" y="376"/>
                  </a:lnTo>
                  <a:lnTo>
                    <a:pt x="54" y="382"/>
                  </a:lnTo>
                  <a:lnTo>
                    <a:pt x="60" y="385"/>
                  </a:lnTo>
                  <a:lnTo>
                    <a:pt x="58" y="387"/>
                  </a:lnTo>
                  <a:lnTo>
                    <a:pt x="58" y="391"/>
                  </a:lnTo>
                  <a:lnTo>
                    <a:pt x="56" y="393"/>
                  </a:lnTo>
                  <a:lnTo>
                    <a:pt x="56" y="395"/>
                  </a:lnTo>
                  <a:lnTo>
                    <a:pt x="54" y="397"/>
                  </a:lnTo>
                  <a:lnTo>
                    <a:pt x="52" y="399"/>
                  </a:lnTo>
                  <a:lnTo>
                    <a:pt x="52" y="399"/>
                  </a:lnTo>
                  <a:lnTo>
                    <a:pt x="52" y="403"/>
                  </a:lnTo>
                  <a:lnTo>
                    <a:pt x="48" y="405"/>
                  </a:lnTo>
                  <a:lnTo>
                    <a:pt x="52" y="405"/>
                  </a:lnTo>
                  <a:lnTo>
                    <a:pt x="54" y="405"/>
                  </a:lnTo>
                  <a:lnTo>
                    <a:pt x="58" y="405"/>
                  </a:lnTo>
                  <a:lnTo>
                    <a:pt x="60" y="405"/>
                  </a:lnTo>
                  <a:lnTo>
                    <a:pt x="64" y="403"/>
                  </a:lnTo>
                  <a:lnTo>
                    <a:pt x="67" y="403"/>
                  </a:lnTo>
                  <a:lnTo>
                    <a:pt x="73" y="403"/>
                  </a:lnTo>
                  <a:lnTo>
                    <a:pt x="79" y="403"/>
                  </a:lnTo>
                  <a:lnTo>
                    <a:pt x="85" y="403"/>
                  </a:lnTo>
                  <a:lnTo>
                    <a:pt x="87" y="403"/>
                  </a:lnTo>
                  <a:lnTo>
                    <a:pt x="90" y="403"/>
                  </a:lnTo>
                  <a:lnTo>
                    <a:pt x="94" y="403"/>
                  </a:lnTo>
                  <a:lnTo>
                    <a:pt x="102" y="403"/>
                  </a:lnTo>
                  <a:lnTo>
                    <a:pt x="106" y="403"/>
                  </a:lnTo>
                  <a:lnTo>
                    <a:pt x="110" y="403"/>
                  </a:lnTo>
                  <a:lnTo>
                    <a:pt x="112" y="401"/>
                  </a:lnTo>
                  <a:lnTo>
                    <a:pt x="114" y="401"/>
                  </a:lnTo>
                  <a:lnTo>
                    <a:pt x="119" y="397"/>
                  </a:lnTo>
                  <a:lnTo>
                    <a:pt x="123" y="397"/>
                  </a:lnTo>
                  <a:lnTo>
                    <a:pt x="127" y="397"/>
                  </a:lnTo>
                  <a:lnTo>
                    <a:pt x="131" y="397"/>
                  </a:lnTo>
                  <a:lnTo>
                    <a:pt x="137" y="393"/>
                  </a:lnTo>
                  <a:lnTo>
                    <a:pt x="142" y="393"/>
                  </a:lnTo>
                  <a:lnTo>
                    <a:pt x="144" y="393"/>
                  </a:lnTo>
                  <a:lnTo>
                    <a:pt x="148" y="393"/>
                  </a:lnTo>
                  <a:lnTo>
                    <a:pt x="150" y="393"/>
                  </a:lnTo>
                  <a:lnTo>
                    <a:pt x="152" y="395"/>
                  </a:lnTo>
                  <a:lnTo>
                    <a:pt x="156" y="397"/>
                  </a:lnTo>
                  <a:lnTo>
                    <a:pt x="158" y="397"/>
                  </a:lnTo>
                  <a:lnTo>
                    <a:pt x="160" y="397"/>
                  </a:lnTo>
                  <a:lnTo>
                    <a:pt x="163" y="397"/>
                  </a:lnTo>
                  <a:lnTo>
                    <a:pt x="165" y="397"/>
                  </a:lnTo>
                  <a:lnTo>
                    <a:pt x="167" y="397"/>
                  </a:lnTo>
                  <a:lnTo>
                    <a:pt x="169" y="399"/>
                  </a:lnTo>
                  <a:lnTo>
                    <a:pt x="169" y="401"/>
                  </a:lnTo>
                  <a:lnTo>
                    <a:pt x="173" y="401"/>
                  </a:lnTo>
                  <a:lnTo>
                    <a:pt x="175" y="401"/>
                  </a:lnTo>
                  <a:lnTo>
                    <a:pt x="179" y="401"/>
                  </a:lnTo>
                  <a:lnTo>
                    <a:pt x="183" y="401"/>
                  </a:lnTo>
                  <a:lnTo>
                    <a:pt x="186" y="399"/>
                  </a:lnTo>
                  <a:lnTo>
                    <a:pt x="192" y="401"/>
                  </a:lnTo>
                  <a:lnTo>
                    <a:pt x="196" y="401"/>
                  </a:lnTo>
                  <a:lnTo>
                    <a:pt x="200" y="401"/>
                  </a:lnTo>
                  <a:lnTo>
                    <a:pt x="206" y="403"/>
                  </a:lnTo>
                  <a:lnTo>
                    <a:pt x="209" y="403"/>
                  </a:lnTo>
                  <a:lnTo>
                    <a:pt x="211" y="403"/>
                  </a:lnTo>
                  <a:lnTo>
                    <a:pt x="215" y="403"/>
                  </a:lnTo>
                  <a:lnTo>
                    <a:pt x="219" y="403"/>
                  </a:lnTo>
                  <a:lnTo>
                    <a:pt x="221" y="403"/>
                  </a:lnTo>
                  <a:lnTo>
                    <a:pt x="223" y="403"/>
                  </a:lnTo>
                  <a:lnTo>
                    <a:pt x="227" y="401"/>
                  </a:lnTo>
                  <a:lnTo>
                    <a:pt x="229" y="401"/>
                  </a:lnTo>
                  <a:lnTo>
                    <a:pt x="231" y="403"/>
                  </a:lnTo>
                  <a:lnTo>
                    <a:pt x="238" y="403"/>
                  </a:lnTo>
                  <a:lnTo>
                    <a:pt x="242" y="403"/>
                  </a:lnTo>
                  <a:lnTo>
                    <a:pt x="244" y="405"/>
                  </a:lnTo>
                  <a:lnTo>
                    <a:pt x="246" y="405"/>
                  </a:lnTo>
                  <a:lnTo>
                    <a:pt x="248" y="406"/>
                  </a:lnTo>
                  <a:lnTo>
                    <a:pt x="250" y="408"/>
                  </a:lnTo>
                  <a:lnTo>
                    <a:pt x="255" y="408"/>
                  </a:lnTo>
                  <a:lnTo>
                    <a:pt x="255" y="410"/>
                  </a:lnTo>
                  <a:lnTo>
                    <a:pt x="257" y="412"/>
                  </a:lnTo>
                  <a:lnTo>
                    <a:pt x="261" y="414"/>
                  </a:lnTo>
                  <a:lnTo>
                    <a:pt x="263" y="414"/>
                  </a:lnTo>
                  <a:lnTo>
                    <a:pt x="265" y="414"/>
                  </a:lnTo>
                  <a:lnTo>
                    <a:pt x="269" y="414"/>
                  </a:lnTo>
                  <a:lnTo>
                    <a:pt x="271" y="416"/>
                  </a:lnTo>
                  <a:lnTo>
                    <a:pt x="273" y="416"/>
                  </a:lnTo>
                  <a:lnTo>
                    <a:pt x="277" y="418"/>
                  </a:lnTo>
                  <a:lnTo>
                    <a:pt x="279" y="418"/>
                  </a:lnTo>
                  <a:lnTo>
                    <a:pt x="280" y="418"/>
                  </a:lnTo>
                  <a:lnTo>
                    <a:pt x="282" y="416"/>
                  </a:lnTo>
                  <a:lnTo>
                    <a:pt x="282" y="414"/>
                  </a:lnTo>
                  <a:lnTo>
                    <a:pt x="282" y="410"/>
                  </a:lnTo>
                  <a:lnTo>
                    <a:pt x="282" y="406"/>
                  </a:lnTo>
                  <a:lnTo>
                    <a:pt x="282" y="405"/>
                  </a:lnTo>
                  <a:lnTo>
                    <a:pt x="282" y="401"/>
                  </a:lnTo>
                  <a:lnTo>
                    <a:pt x="282" y="397"/>
                  </a:lnTo>
                  <a:lnTo>
                    <a:pt x="282" y="395"/>
                  </a:lnTo>
                  <a:lnTo>
                    <a:pt x="282" y="391"/>
                  </a:lnTo>
                  <a:lnTo>
                    <a:pt x="282" y="387"/>
                  </a:lnTo>
                  <a:lnTo>
                    <a:pt x="282" y="385"/>
                  </a:lnTo>
                  <a:lnTo>
                    <a:pt x="282" y="383"/>
                  </a:lnTo>
                  <a:lnTo>
                    <a:pt x="280" y="382"/>
                  </a:lnTo>
                  <a:lnTo>
                    <a:pt x="280" y="380"/>
                  </a:lnTo>
                  <a:lnTo>
                    <a:pt x="280" y="378"/>
                  </a:lnTo>
                  <a:lnTo>
                    <a:pt x="279" y="376"/>
                  </a:lnTo>
                  <a:lnTo>
                    <a:pt x="277" y="376"/>
                  </a:lnTo>
                  <a:lnTo>
                    <a:pt x="277" y="374"/>
                  </a:lnTo>
                  <a:lnTo>
                    <a:pt x="275" y="370"/>
                  </a:lnTo>
                  <a:lnTo>
                    <a:pt x="273" y="370"/>
                  </a:lnTo>
                  <a:lnTo>
                    <a:pt x="269" y="370"/>
                  </a:lnTo>
                  <a:lnTo>
                    <a:pt x="267" y="370"/>
                  </a:lnTo>
                  <a:lnTo>
                    <a:pt x="265" y="368"/>
                  </a:lnTo>
                  <a:lnTo>
                    <a:pt x="263" y="364"/>
                  </a:lnTo>
                  <a:lnTo>
                    <a:pt x="259" y="362"/>
                  </a:lnTo>
                  <a:lnTo>
                    <a:pt x="259" y="360"/>
                  </a:lnTo>
                  <a:lnTo>
                    <a:pt x="259" y="358"/>
                  </a:lnTo>
                  <a:lnTo>
                    <a:pt x="257" y="355"/>
                  </a:lnTo>
                  <a:lnTo>
                    <a:pt x="257" y="353"/>
                  </a:lnTo>
                  <a:lnTo>
                    <a:pt x="257" y="351"/>
                  </a:lnTo>
                  <a:lnTo>
                    <a:pt x="255" y="347"/>
                  </a:lnTo>
                  <a:lnTo>
                    <a:pt x="255" y="345"/>
                  </a:lnTo>
                  <a:lnTo>
                    <a:pt x="255" y="343"/>
                  </a:lnTo>
                  <a:lnTo>
                    <a:pt x="255" y="341"/>
                  </a:lnTo>
                  <a:lnTo>
                    <a:pt x="255" y="339"/>
                  </a:lnTo>
                  <a:lnTo>
                    <a:pt x="254" y="337"/>
                  </a:lnTo>
                  <a:lnTo>
                    <a:pt x="254" y="335"/>
                  </a:lnTo>
                  <a:lnTo>
                    <a:pt x="248" y="335"/>
                  </a:lnTo>
                  <a:lnTo>
                    <a:pt x="246" y="332"/>
                  </a:lnTo>
                  <a:lnTo>
                    <a:pt x="244" y="332"/>
                  </a:lnTo>
                  <a:lnTo>
                    <a:pt x="242" y="328"/>
                  </a:lnTo>
                  <a:lnTo>
                    <a:pt x="240" y="326"/>
                  </a:lnTo>
                  <a:lnTo>
                    <a:pt x="238" y="324"/>
                  </a:lnTo>
                  <a:lnTo>
                    <a:pt x="236" y="324"/>
                  </a:lnTo>
                  <a:lnTo>
                    <a:pt x="234" y="322"/>
                  </a:lnTo>
                  <a:lnTo>
                    <a:pt x="234" y="320"/>
                  </a:lnTo>
                  <a:lnTo>
                    <a:pt x="231" y="318"/>
                  </a:lnTo>
                  <a:lnTo>
                    <a:pt x="229" y="316"/>
                  </a:lnTo>
                  <a:lnTo>
                    <a:pt x="229" y="312"/>
                  </a:lnTo>
                  <a:lnTo>
                    <a:pt x="229" y="309"/>
                  </a:lnTo>
                  <a:lnTo>
                    <a:pt x="229" y="307"/>
                  </a:lnTo>
                  <a:lnTo>
                    <a:pt x="229" y="305"/>
                  </a:lnTo>
                  <a:lnTo>
                    <a:pt x="229" y="301"/>
                  </a:lnTo>
                  <a:lnTo>
                    <a:pt x="229" y="299"/>
                  </a:lnTo>
                  <a:lnTo>
                    <a:pt x="225" y="293"/>
                  </a:lnTo>
                  <a:lnTo>
                    <a:pt x="225" y="291"/>
                  </a:lnTo>
                  <a:lnTo>
                    <a:pt x="225" y="287"/>
                  </a:lnTo>
                  <a:lnTo>
                    <a:pt x="225" y="286"/>
                  </a:lnTo>
                  <a:lnTo>
                    <a:pt x="227" y="282"/>
                  </a:lnTo>
                  <a:lnTo>
                    <a:pt x="229" y="280"/>
                  </a:lnTo>
                  <a:lnTo>
                    <a:pt x="229" y="276"/>
                  </a:lnTo>
                  <a:lnTo>
                    <a:pt x="229" y="274"/>
                  </a:lnTo>
                  <a:lnTo>
                    <a:pt x="231" y="272"/>
                  </a:lnTo>
                  <a:lnTo>
                    <a:pt x="232" y="272"/>
                  </a:lnTo>
                  <a:lnTo>
                    <a:pt x="229" y="272"/>
                  </a:lnTo>
                  <a:lnTo>
                    <a:pt x="229" y="270"/>
                  </a:lnTo>
                  <a:lnTo>
                    <a:pt x="227" y="268"/>
                  </a:lnTo>
                  <a:lnTo>
                    <a:pt x="227" y="264"/>
                  </a:lnTo>
                  <a:lnTo>
                    <a:pt x="225" y="263"/>
                  </a:lnTo>
                  <a:lnTo>
                    <a:pt x="225" y="259"/>
                  </a:lnTo>
                  <a:lnTo>
                    <a:pt x="225" y="255"/>
                  </a:lnTo>
                  <a:lnTo>
                    <a:pt x="225" y="253"/>
                  </a:lnTo>
                  <a:lnTo>
                    <a:pt x="225" y="249"/>
                  </a:lnTo>
                  <a:lnTo>
                    <a:pt x="227" y="249"/>
                  </a:lnTo>
                  <a:lnTo>
                    <a:pt x="229" y="247"/>
                  </a:lnTo>
                  <a:lnTo>
                    <a:pt x="232" y="245"/>
                  </a:lnTo>
                  <a:lnTo>
                    <a:pt x="236" y="243"/>
                  </a:lnTo>
                  <a:lnTo>
                    <a:pt x="236" y="240"/>
                  </a:lnTo>
                  <a:lnTo>
                    <a:pt x="236" y="238"/>
                  </a:lnTo>
                  <a:lnTo>
                    <a:pt x="236" y="234"/>
                  </a:lnTo>
                  <a:lnTo>
                    <a:pt x="236" y="232"/>
                  </a:lnTo>
                  <a:lnTo>
                    <a:pt x="236" y="230"/>
                  </a:lnTo>
                  <a:lnTo>
                    <a:pt x="238" y="228"/>
                  </a:lnTo>
                  <a:lnTo>
                    <a:pt x="240" y="226"/>
                  </a:lnTo>
                  <a:lnTo>
                    <a:pt x="244" y="224"/>
                  </a:lnTo>
                  <a:lnTo>
                    <a:pt x="246" y="222"/>
                  </a:lnTo>
                  <a:lnTo>
                    <a:pt x="246" y="220"/>
                  </a:lnTo>
                  <a:lnTo>
                    <a:pt x="246" y="216"/>
                  </a:lnTo>
                  <a:lnTo>
                    <a:pt x="246" y="213"/>
                  </a:lnTo>
                  <a:lnTo>
                    <a:pt x="250" y="213"/>
                  </a:lnTo>
                  <a:lnTo>
                    <a:pt x="252" y="211"/>
                  </a:lnTo>
                  <a:lnTo>
                    <a:pt x="254" y="209"/>
                  </a:lnTo>
                  <a:lnTo>
                    <a:pt x="255" y="207"/>
                  </a:lnTo>
                  <a:lnTo>
                    <a:pt x="257" y="205"/>
                  </a:lnTo>
                  <a:lnTo>
                    <a:pt x="259" y="203"/>
                  </a:lnTo>
                  <a:lnTo>
                    <a:pt x="259" y="199"/>
                  </a:lnTo>
                  <a:lnTo>
                    <a:pt x="263" y="1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5" name="Freeform 42"/>
            <p:cNvSpPr>
              <a:spLocks/>
            </p:cNvSpPr>
            <p:nvPr/>
          </p:nvSpPr>
          <p:spPr bwMode="auto">
            <a:xfrm>
              <a:off x="1482" y="1843"/>
              <a:ext cx="282" cy="418"/>
            </a:xfrm>
            <a:custGeom>
              <a:avLst/>
              <a:gdLst/>
              <a:ahLst/>
              <a:cxnLst>
                <a:cxn ang="0">
                  <a:pos x="255" y="176"/>
                </a:cxn>
                <a:cxn ang="0">
                  <a:pos x="238" y="165"/>
                </a:cxn>
                <a:cxn ang="0">
                  <a:pos x="225" y="155"/>
                </a:cxn>
                <a:cxn ang="0">
                  <a:pos x="209" y="138"/>
                </a:cxn>
                <a:cxn ang="0">
                  <a:pos x="217" y="121"/>
                </a:cxn>
                <a:cxn ang="0">
                  <a:pos x="242" y="119"/>
                </a:cxn>
                <a:cxn ang="0">
                  <a:pos x="263" y="119"/>
                </a:cxn>
                <a:cxn ang="0">
                  <a:pos x="259" y="101"/>
                </a:cxn>
                <a:cxn ang="0">
                  <a:pos x="252" y="78"/>
                </a:cxn>
                <a:cxn ang="0">
                  <a:pos x="250" y="55"/>
                </a:cxn>
                <a:cxn ang="0">
                  <a:pos x="244" y="38"/>
                </a:cxn>
                <a:cxn ang="0">
                  <a:pos x="225" y="27"/>
                </a:cxn>
                <a:cxn ang="0">
                  <a:pos x="208" y="7"/>
                </a:cxn>
                <a:cxn ang="0">
                  <a:pos x="188" y="0"/>
                </a:cxn>
                <a:cxn ang="0">
                  <a:pos x="184" y="21"/>
                </a:cxn>
                <a:cxn ang="0">
                  <a:pos x="200" y="34"/>
                </a:cxn>
                <a:cxn ang="0">
                  <a:pos x="211" y="53"/>
                </a:cxn>
                <a:cxn ang="0">
                  <a:pos x="204" y="71"/>
                </a:cxn>
                <a:cxn ang="0">
                  <a:pos x="192" y="88"/>
                </a:cxn>
                <a:cxn ang="0">
                  <a:pos x="184" y="109"/>
                </a:cxn>
                <a:cxn ang="0">
                  <a:pos x="171" y="126"/>
                </a:cxn>
                <a:cxn ang="0">
                  <a:pos x="161" y="151"/>
                </a:cxn>
                <a:cxn ang="0">
                  <a:pos x="148" y="163"/>
                </a:cxn>
                <a:cxn ang="0">
                  <a:pos x="131" y="176"/>
                </a:cxn>
                <a:cxn ang="0">
                  <a:pos x="123" y="197"/>
                </a:cxn>
                <a:cxn ang="0">
                  <a:pos x="117" y="220"/>
                </a:cxn>
                <a:cxn ang="0">
                  <a:pos x="110" y="232"/>
                </a:cxn>
                <a:cxn ang="0">
                  <a:pos x="96" y="245"/>
                </a:cxn>
                <a:cxn ang="0">
                  <a:pos x="83" y="228"/>
                </a:cxn>
                <a:cxn ang="0">
                  <a:pos x="67" y="224"/>
                </a:cxn>
                <a:cxn ang="0">
                  <a:pos x="50" y="224"/>
                </a:cxn>
                <a:cxn ang="0">
                  <a:pos x="39" y="247"/>
                </a:cxn>
                <a:cxn ang="0">
                  <a:pos x="16" y="264"/>
                </a:cxn>
                <a:cxn ang="0">
                  <a:pos x="4" y="284"/>
                </a:cxn>
                <a:cxn ang="0">
                  <a:pos x="4" y="307"/>
                </a:cxn>
                <a:cxn ang="0">
                  <a:pos x="8" y="326"/>
                </a:cxn>
                <a:cxn ang="0">
                  <a:pos x="27" y="330"/>
                </a:cxn>
                <a:cxn ang="0">
                  <a:pos x="41" y="343"/>
                </a:cxn>
                <a:cxn ang="0">
                  <a:pos x="50" y="360"/>
                </a:cxn>
                <a:cxn ang="0">
                  <a:pos x="58" y="387"/>
                </a:cxn>
                <a:cxn ang="0">
                  <a:pos x="48" y="405"/>
                </a:cxn>
                <a:cxn ang="0">
                  <a:pos x="79" y="403"/>
                </a:cxn>
                <a:cxn ang="0">
                  <a:pos x="112" y="401"/>
                </a:cxn>
                <a:cxn ang="0">
                  <a:pos x="144" y="393"/>
                </a:cxn>
                <a:cxn ang="0">
                  <a:pos x="165" y="397"/>
                </a:cxn>
                <a:cxn ang="0">
                  <a:pos x="186" y="399"/>
                </a:cxn>
                <a:cxn ang="0">
                  <a:pos x="219" y="403"/>
                </a:cxn>
                <a:cxn ang="0">
                  <a:pos x="244" y="405"/>
                </a:cxn>
                <a:cxn ang="0">
                  <a:pos x="263" y="414"/>
                </a:cxn>
                <a:cxn ang="0">
                  <a:pos x="282" y="416"/>
                </a:cxn>
                <a:cxn ang="0">
                  <a:pos x="282" y="391"/>
                </a:cxn>
                <a:cxn ang="0">
                  <a:pos x="277" y="376"/>
                </a:cxn>
                <a:cxn ang="0">
                  <a:pos x="259" y="362"/>
                </a:cxn>
                <a:cxn ang="0">
                  <a:pos x="255" y="343"/>
                </a:cxn>
                <a:cxn ang="0">
                  <a:pos x="242" y="328"/>
                </a:cxn>
                <a:cxn ang="0">
                  <a:pos x="229" y="312"/>
                </a:cxn>
                <a:cxn ang="0">
                  <a:pos x="225" y="287"/>
                </a:cxn>
                <a:cxn ang="0">
                  <a:pos x="229" y="272"/>
                </a:cxn>
                <a:cxn ang="0">
                  <a:pos x="225" y="249"/>
                </a:cxn>
                <a:cxn ang="0">
                  <a:pos x="236" y="232"/>
                </a:cxn>
                <a:cxn ang="0">
                  <a:pos x="246" y="213"/>
                </a:cxn>
                <a:cxn ang="0">
                  <a:pos x="263" y="197"/>
                </a:cxn>
              </a:cxnLst>
              <a:rect l="0" t="0" r="r" b="b"/>
              <a:pathLst>
                <a:path w="282" h="418">
                  <a:moveTo>
                    <a:pt x="263" y="197"/>
                  </a:moveTo>
                  <a:lnTo>
                    <a:pt x="261" y="193"/>
                  </a:lnTo>
                  <a:lnTo>
                    <a:pt x="257" y="190"/>
                  </a:lnTo>
                  <a:lnTo>
                    <a:pt x="257" y="186"/>
                  </a:lnTo>
                  <a:lnTo>
                    <a:pt x="257" y="184"/>
                  </a:lnTo>
                  <a:lnTo>
                    <a:pt x="255" y="182"/>
                  </a:lnTo>
                  <a:lnTo>
                    <a:pt x="255" y="180"/>
                  </a:lnTo>
                  <a:lnTo>
                    <a:pt x="255" y="176"/>
                  </a:lnTo>
                  <a:lnTo>
                    <a:pt x="254" y="176"/>
                  </a:lnTo>
                  <a:lnTo>
                    <a:pt x="252" y="172"/>
                  </a:lnTo>
                  <a:lnTo>
                    <a:pt x="250" y="170"/>
                  </a:lnTo>
                  <a:lnTo>
                    <a:pt x="248" y="170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2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6" y="161"/>
                  </a:lnTo>
                  <a:lnTo>
                    <a:pt x="234" y="159"/>
                  </a:lnTo>
                  <a:lnTo>
                    <a:pt x="231" y="159"/>
                  </a:lnTo>
                  <a:lnTo>
                    <a:pt x="231" y="159"/>
                  </a:lnTo>
                  <a:lnTo>
                    <a:pt x="229" y="157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1"/>
                  </a:lnTo>
                  <a:lnTo>
                    <a:pt x="221" y="149"/>
                  </a:lnTo>
                  <a:lnTo>
                    <a:pt x="219" y="147"/>
                  </a:lnTo>
                  <a:lnTo>
                    <a:pt x="217" y="145"/>
                  </a:lnTo>
                  <a:lnTo>
                    <a:pt x="215" y="145"/>
                  </a:lnTo>
                  <a:lnTo>
                    <a:pt x="211" y="144"/>
                  </a:lnTo>
                  <a:lnTo>
                    <a:pt x="211" y="142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2"/>
                  </a:lnTo>
                  <a:lnTo>
                    <a:pt x="209" y="130"/>
                  </a:lnTo>
                  <a:lnTo>
                    <a:pt x="211" y="128"/>
                  </a:lnTo>
                  <a:lnTo>
                    <a:pt x="211" y="126"/>
                  </a:lnTo>
                  <a:lnTo>
                    <a:pt x="211" y="122"/>
                  </a:lnTo>
                  <a:lnTo>
                    <a:pt x="213" y="122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23" y="121"/>
                  </a:lnTo>
                  <a:lnTo>
                    <a:pt x="227" y="119"/>
                  </a:lnTo>
                  <a:lnTo>
                    <a:pt x="229" y="119"/>
                  </a:lnTo>
                  <a:lnTo>
                    <a:pt x="232" y="119"/>
                  </a:lnTo>
                  <a:lnTo>
                    <a:pt x="236" y="119"/>
                  </a:lnTo>
                  <a:lnTo>
                    <a:pt x="238" y="119"/>
                  </a:lnTo>
                  <a:lnTo>
                    <a:pt x="242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50" y="121"/>
                  </a:lnTo>
                  <a:lnTo>
                    <a:pt x="254" y="121"/>
                  </a:lnTo>
                  <a:lnTo>
                    <a:pt x="255" y="121"/>
                  </a:lnTo>
                  <a:lnTo>
                    <a:pt x="259" y="121"/>
                  </a:lnTo>
                  <a:lnTo>
                    <a:pt x="261" y="121"/>
                  </a:lnTo>
                  <a:lnTo>
                    <a:pt x="263" y="119"/>
                  </a:lnTo>
                  <a:lnTo>
                    <a:pt x="265" y="115"/>
                  </a:lnTo>
                  <a:lnTo>
                    <a:pt x="269" y="115"/>
                  </a:lnTo>
                  <a:lnTo>
                    <a:pt x="267" y="111"/>
                  </a:lnTo>
                  <a:lnTo>
                    <a:pt x="267" y="107"/>
                  </a:lnTo>
                  <a:lnTo>
                    <a:pt x="265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59" y="101"/>
                  </a:lnTo>
                  <a:lnTo>
                    <a:pt x="257" y="99"/>
                  </a:lnTo>
                  <a:lnTo>
                    <a:pt x="255" y="98"/>
                  </a:lnTo>
                  <a:lnTo>
                    <a:pt x="255" y="96"/>
                  </a:lnTo>
                  <a:lnTo>
                    <a:pt x="254" y="92"/>
                  </a:lnTo>
                  <a:lnTo>
                    <a:pt x="254" y="88"/>
                  </a:lnTo>
                  <a:lnTo>
                    <a:pt x="254" y="86"/>
                  </a:lnTo>
                  <a:lnTo>
                    <a:pt x="252" y="82"/>
                  </a:lnTo>
                  <a:lnTo>
                    <a:pt x="252" y="78"/>
                  </a:lnTo>
                  <a:lnTo>
                    <a:pt x="252" y="76"/>
                  </a:lnTo>
                  <a:lnTo>
                    <a:pt x="252" y="74"/>
                  </a:lnTo>
                  <a:lnTo>
                    <a:pt x="250" y="71"/>
                  </a:lnTo>
                  <a:lnTo>
                    <a:pt x="250" y="69"/>
                  </a:lnTo>
                  <a:lnTo>
                    <a:pt x="250" y="65"/>
                  </a:lnTo>
                  <a:lnTo>
                    <a:pt x="250" y="61"/>
                  </a:lnTo>
                  <a:lnTo>
                    <a:pt x="250" y="57"/>
                  </a:lnTo>
                  <a:lnTo>
                    <a:pt x="250" y="55"/>
                  </a:lnTo>
                  <a:lnTo>
                    <a:pt x="252" y="53"/>
                  </a:lnTo>
                  <a:lnTo>
                    <a:pt x="250" y="51"/>
                  </a:lnTo>
                  <a:lnTo>
                    <a:pt x="250" y="48"/>
                  </a:lnTo>
                  <a:lnTo>
                    <a:pt x="250" y="46"/>
                  </a:lnTo>
                  <a:lnTo>
                    <a:pt x="248" y="44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4" y="38"/>
                  </a:lnTo>
                  <a:lnTo>
                    <a:pt x="240" y="38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4" y="34"/>
                  </a:lnTo>
                  <a:lnTo>
                    <a:pt x="232" y="32"/>
                  </a:lnTo>
                  <a:lnTo>
                    <a:pt x="229" y="32"/>
                  </a:lnTo>
                  <a:lnTo>
                    <a:pt x="229" y="30"/>
                  </a:lnTo>
                  <a:lnTo>
                    <a:pt x="225" y="27"/>
                  </a:lnTo>
                  <a:lnTo>
                    <a:pt x="221" y="27"/>
                  </a:lnTo>
                  <a:lnTo>
                    <a:pt x="219" y="21"/>
                  </a:lnTo>
                  <a:lnTo>
                    <a:pt x="215" y="17"/>
                  </a:lnTo>
                  <a:lnTo>
                    <a:pt x="215" y="15"/>
                  </a:lnTo>
                  <a:lnTo>
                    <a:pt x="211" y="11"/>
                  </a:lnTo>
                  <a:lnTo>
                    <a:pt x="211" y="9"/>
                  </a:lnTo>
                  <a:lnTo>
                    <a:pt x="211" y="7"/>
                  </a:lnTo>
                  <a:lnTo>
                    <a:pt x="208" y="7"/>
                  </a:lnTo>
                  <a:lnTo>
                    <a:pt x="206" y="5"/>
                  </a:lnTo>
                  <a:lnTo>
                    <a:pt x="206" y="3"/>
                  </a:lnTo>
                  <a:lnTo>
                    <a:pt x="202" y="3"/>
                  </a:lnTo>
                  <a:lnTo>
                    <a:pt x="200" y="2"/>
                  </a:lnTo>
                  <a:lnTo>
                    <a:pt x="198" y="0"/>
                  </a:lnTo>
                  <a:lnTo>
                    <a:pt x="194" y="0"/>
                  </a:lnTo>
                  <a:lnTo>
                    <a:pt x="192" y="0"/>
                  </a:lnTo>
                  <a:lnTo>
                    <a:pt x="188" y="0"/>
                  </a:lnTo>
                  <a:lnTo>
                    <a:pt x="186" y="0"/>
                  </a:lnTo>
                  <a:lnTo>
                    <a:pt x="184" y="0"/>
                  </a:lnTo>
                  <a:lnTo>
                    <a:pt x="184" y="3"/>
                  </a:lnTo>
                  <a:lnTo>
                    <a:pt x="184" y="7"/>
                  </a:lnTo>
                  <a:lnTo>
                    <a:pt x="184" y="9"/>
                  </a:lnTo>
                  <a:lnTo>
                    <a:pt x="184" y="13"/>
                  </a:lnTo>
                  <a:lnTo>
                    <a:pt x="184" y="17"/>
                  </a:lnTo>
                  <a:lnTo>
                    <a:pt x="184" y="21"/>
                  </a:lnTo>
                  <a:lnTo>
                    <a:pt x="184" y="25"/>
                  </a:lnTo>
                  <a:lnTo>
                    <a:pt x="184" y="27"/>
                  </a:lnTo>
                  <a:lnTo>
                    <a:pt x="184" y="28"/>
                  </a:lnTo>
                  <a:lnTo>
                    <a:pt x="186" y="32"/>
                  </a:lnTo>
                  <a:lnTo>
                    <a:pt x="190" y="32"/>
                  </a:lnTo>
                  <a:lnTo>
                    <a:pt x="192" y="32"/>
                  </a:lnTo>
                  <a:lnTo>
                    <a:pt x="196" y="32"/>
                  </a:lnTo>
                  <a:lnTo>
                    <a:pt x="200" y="34"/>
                  </a:lnTo>
                  <a:lnTo>
                    <a:pt x="202" y="36"/>
                  </a:lnTo>
                  <a:lnTo>
                    <a:pt x="206" y="38"/>
                  </a:lnTo>
                  <a:lnTo>
                    <a:pt x="209" y="40"/>
                  </a:lnTo>
                  <a:lnTo>
                    <a:pt x="211" y="44"/>
                  </a:lnTo>
                  <a:lnTo>
                    <a:pt x="211" y="46"/>
                  </a:lnTo>
                  <a:lnTo>
                    <a:pt x="211" y="48"/>
                  </a:lnTo>
                  <a:lnTo>
                    <a:pt x="211" y="51"/>
                  </a:lnTo>
                  <a:lnTo>
                    <a:pt x="211" y="53"/>
                  </a:lnTo>
                  <a:lnTo>
                    <a:pt x="211" y="57"/>
                  </a:lnTo>
                  <a:lnTo>
                    <a:pt x="211" y="59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08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71"/>
                  </a:lnTo>
                  <a:lnTo>
                    <a:pt x="202" y="71"/>
                  </a:lnTo>
                  <a:lnTo>
                    <a:pt x="200" y="71"/>
                  </a:lnTo>
                  <a:lnTo>
                    <a:pt x="198" y="74"/>
                  </a:lnTo>
                  <a:lnTo>
                    <a:pt x="194" y="78"/>
                  </a:lnTo>
                  <a:lnTo>
                    <a:pt x="194" y="80"/>
                  </a:lnTo>
                  <a:lnTo>
                    <a:pt x="194" y="84"/>
                  </a:lnTo>
                  <a:lnTo>
                    <a:pt x="192" y="86"/>
                  </a:lnTo>
                  <a:lnTo>
                    <a:pt x="192" y="88"/>
                  </a:lnTo>
                  <a:lnTo>
                    <a:pt x="192" y="90"/>
                  </a:lnTo>
                  <a:lnTo>
                    <a:pt x="190" y="94"/>
                  </a:lnTo>
                  <a:lnTo>
                    <a:pt x="188" y="96"/>
                  </a:lnTo>
                  <a:lnTo>
                    <a:pt x="186" y="98"/>
                  </a:lnTo>
                  <a:lnTo>
                    <a:pt x="186" y="101"/>
                  </a:lnTo>
                  <a:lnTo>
                    <a:pt x="186" y="103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3"/>
                  </a:lnTo>
                  <a:lnTo>
                    <a:pt x="183" y="115"/>
                  </a:lnTo>
                  <a:lnTo>
                    <a:pt x="183" y="117"/>
                  </a:lnTo>
                  <a:lnTo>
                    <a:pt x="181" y="121"/>
                  </a:lnTo>
                  <a:lnTo>
                    <a:pt x="179" y="122"/>
                  </a:lnTo>
                  <a:lnTo>
                    <a:pt x="175" y="124"/>
                  </a:lnTo>
                  <a:lnTo>
                    <a:pt x="173" y="126"/>
                  </a:lnTo>
                  <a:lnTo>
                    <a:pt x="171" y="126"/>
                  </a:lnTo>
                  <a:lnTo>
                    <a:pt x="165" y="132"/>
                  </a:lnTo>
                  <a:lnTo>
                    <a:pt x="161" y="134"/>
                  </a:lnTo>
                  <a:lnTo>
                    <a:pt x="160" y="134"/>
                  </a:lnTo>
                  <a:lnTo>
                    <a:pt x="160" y="138"/>
                  </a:lnTo>
                  <a:lnTo>
                    <a:pt x="161" y="142"/>
                  </a:lnTo>
                  <a:lnTo>
                    <a:pt x="161" y="144"/>
                  </a:lnTo>
                  <a:lnTo>
                    <a:pt x="161" y="149"/>
                  </a:lnTo>
                  <a:lnTo>
                    <a:pt x="161" y="151"/>
                  </a:lnTo>
                  <a:lnTo>
                    <a:pt x="161" y="153"/>
                  </a:lnTo>
                  <a:lnTo>
                    <a:pt x="160" y="157"/>
                  </a:lnTo>
                  <a:lnTo>
                    <a:pt x="158" y="157"/>
                  </a:lnTo>
                  <a:lnTo>
                    <a:pt x="158" y="159"/>
                  </a:lnTo>
                  <a:lnTo>
                    <a:pt x="154" y="161"/>
                  </a:lnTo>
                  <a:lnTo>
                    <a:pt x="152" y="161"/>
                  </a:lnTo>
                  <a:lnTo>
                    <a:pt x="148" y="167"/>
                  </a:lnTo>
                  <a:lnTo>
                    <a:pt x="148" y="163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7" y="172"/>
                  </a:lnTo>
                  <a:lnTo>
                    <a:pt x="135" y="172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31" y="176"/>
                  </a:lnTo>
                  <a:lnTo>
                    <a:pt x="127" y="178"/>
                  </a:lnTo>
                  <a:lnTo>
                    <a:pt x="125" y="182"/>
                  </a:lnTo>
                  <a:lnTo>
                    <a:pt x="125" y="186"/>
                  </a:lnTo>
                  <a:lnTo>
                    <a:pt x="125" y="188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3" y="197"/>
                  </a:lnTo>
                  <a:lnTo>
                    <a:pt x="123" y="199"/>
                  </a:lnTo>
                  <a:lnTo>
                    <a:pt x="123" y="203"/>
                  </a:lnTo>
                  <a:lnTo>
                    <a:pt x="121" y="209"/>
                  </a:lnTo>
                  <a:lnTo>
                    <a:pt x="121" y="211"/>
                  </a:lnTo>
                  <a:lnTo>
                    <a:pt x="119" y="213"/>
                  </a:lnTo>
                  <a:lnTo>
                    <a:pt x="119" y="216"/>
                  </a:lnTo>
                  <a:lnTo>
                    <a:pt x="119" y="218"/>
                  </a:lnTo>
                  <a:lnTo>
                    <a:pt x="117" y="220"/>
                  </a:lnTo>
                  <a:lnTo>
                    <a:pt x="117" y="222"/>
                  </a:lnTo>
                  <a:lnTo>
                    <a:pt x="115" y="224"/>
                  </a:lnTo>
                  <a:lnTo>
                    <a:pt x="115" y="226"/>
                  </a:lnTo>
                  <a:lnTo>
                    <a:pt x="114" y="226"/>
                  </a:lnTo>
                  <a:lnTo>
                    <a:pt x="114" y="230"/>
                  </a:lnTo>
                  <a:lnTo>
                    <a:pt x="114" y="230"/>
                  </a:lnTo>
                  <a:lnTo>
                    <a:pt x="112" y="230"/>
                  </a:lnTo>
                  <a:lnTo>
                    <a:pt x="110" y="232"/>
                  </a:lnTo>
                  <a:lnTo>
                    <a:pt x="108" y="234"/>
                  </a:lnTo>
                  <a:lnTo>
                    <a:pt x="106" y="236"/>
                  </a:lnTo>
                  <a:lnTo>
                    <a:pt x="106" y="238"/>
                  </a:lnTo>
                  <a:lnTo>
                    <a:pt x="106" y="240"/>
                  </a:lnTo>
                  <a:lnTo>
                    <a:pt x="104" y="241"/>
                  </a:lnTo>
                  <a:lnTo>
                    <a:pt x="102" y="247"/>
                  </a:lnTo>
                  <a:lnTo>
                    <a:pt x="100" y="245"/>
                  </a:lnTo>
                  <a:lnTo>
                    <a:pt x="96" y="245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0" y="240"/>
                  </a:lnTo>
                  <a:lnTo>
                    <a:pt x="89" y="238"/>
                  </a:lnTo>
                  <a:lnTo>
                    <a:pt x="89" y="230"/>
                  </a:lnTo>
                  <a:lnTo>
                    <a:pt x="87" y="230"/>
                  </a:lnTo>
                  <a:lnTo>
                    <a:pt x="87" y="228"/>
                  </a:lnTo>
                  <a:lnTo>
                    <a:pt x="83" y="228"/>
                  </a:lnTo>
                  <a:lnTo>
                    <a:pt x="81" y="226"/>
                  </a:lnTo>
                  <a:lnTo>
                    <a:pt x="79" y="222"/>
                  </a:lnTo>
                  <a:lnTo>
                    <a:pt x="77" y="222"/>
                  </a:lnTo>
                  <a:lnTo>
                    <a:pt x="75" y="222"/>
                  </a:lnTo>
                  <a:lnTo>
                    <a:pt x="73" y="222"/>
                  </a:lnTo>
                  <a:lnTo>
                    <a:pt x="71" y="220"/>
                  </a:lnTo>
                  <a:lnTo>
                    <a:pt x="69" y="222"/>
                  </a:lnTo>
                  <a:lnTo>
                    <a:pt x="67" y="224"/>
                  </a:lnTo>
                  <a:lnTo>
                    <a:pt x="67" y="226"/>
                  </a:lnTo>
                  <a:lnTo>
                    <a:pt x="64" y="226"/>
                  </a:lnTo>
                  <a:lnTo>
                    <a:pt x="60" y="222"/>
                  </a:lnTo>
                  <a:lnTo>
                    <a:pt x="58" y="222"/>
                  </a:lnTo>
                  <a:lnTo>
                    <a:pt x="56" y="220"/>
                  </a:lnTo>
                  <a:lnTo>
                    <a:pt x="52" y="220"/>
                  </a:lnTo>
                  <a:lnTo>
                    <a:pt x="52" y="224"/>
                  </a:lnTo>
                  <a:lnTo>
                    <a:pt x="50" y="224"/>
                  </a:lnTo>
                  <a:lnTo>
                    <a:pt x="48" y="226"/>
                  </a:lnTo>
                  <a:lnTo>
                    <a:pt x="48" y="230"/>
                  </a:lnTo>
                  <a:lnTo>
                    <a:pt x="44" y="232"/>
                  </a:lnTo>
                  <a:lnTo>
                    <a:pt x="43" y="236"/>
                  </a:lnTo>
                  <a:lnTo>
                    <a:pt x="43" y="238"/>
                  </a:lnTo>
                  <a:lnTo>
                    <a:pt x="43" y="240"/>
                  </a:lnTo>
                  <a:lnTo>
                    <a:pt x="39" y="243"/>
                  </a:lnTo>
                  <a:lnTo>
                    <a:pt x="39" y="247"/>
                  </a:lnTo>
                  <a:lnTo>
                    <a:pt x="37" y="247"/>
                  </a:lnTo>
                  <a:lnTo>
                    <a:pt x="33" y="251"/>
                  </a:lnTo>
                  <a:lnTo>
                    <a:pt x="29" y="255"/>
                  </a:lnTo>
                  <a:lnTo>
                    <a:pt x="25" y="259"/>
                  </a:lnTo>
                  <a:lnTo>
                    <a:pt x="23" y="261"/>
                  </a:lnTo>
                  <a:lnTo>
                    <a:pt x="21" y="261"/>
                  </a:lnTo>
                  <a:lnTo>
                    <a:pt x="19" y="263"/>
                  </a:lnTo>
                  <a:lnTo>
                    <a:pt x="16" y="264"/>
                  </a:lnTo>
                  <a:lnTo>
                    <a:pt x="16" y="266"/>
                  </a:lnTo>
                  <a:lnTo>
                    <a:pt x="12" y="266"/>
                  </a:lnTo>
                  <a:lnTo>
                    <a:pt x="10" y="270"/>
                  </a:lnTo>
                  <a:lnTo>
                    <a:pt x="8" y="272"/>
                  </a:lnTo>
                  <a:lnTo>
                    <a:pt x="6" y="274"/>
                  </a:lnTo>
                  <a:lnTo>
                    <a:pt x="6" y="280"/>
                  </a:lnTo>
                  <a:lnTo>
                    <a:pt x="4" y="282"/>
                  </a:lnTo>
                  <a:lnTo>
                    <a:pt x="4" y="284"/>
                  </a:lnTo>
                  <a:lnTo>
                    <a:pt x="6" y="286"/>
                  </a:lnTo>
                  <a:lnTo>
                    <a:pt x="6" y="289"/>
                  </a:lnTo>
                  <a:lnTo>
                    <a:pt x="6" y="291"/>
                  </a:lnTo>
                  <a:lnTo>
                    <a:pt x="6" y="295"/>
                  </a:lnTo>
                  <a:lnTo>
                    <a:pt x="6" y="297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4" y="307"/>
                  </a:lnTo>
                  <a:lnTo>
                    <a:pt x="4" y="309"/>
                  </a:lnTo>
                  <a:lnTo>
                    <a:pt x="4" y="311"/>
                  </a:lnTo>
                  <a:lnTo>
                    <a:pt x="0" y="316"/>
                  </a:lnTo>
                  <a:lnTo>
                    <a:pt x="2" y="316"/>
                  </a:lnTo>
                  <a:lnTo>
                    <a:pt x="6" y="316"/>
                  </a:lnTo>
                  <a:lnTo>
                    <a:pt x="6" y="322"/>
                  </a:lnTo>
                  <a:lnTo>
                    <a:pt x="6" y="322"/>
                  </a:lnTo>
                  <a:lnTo>
                    <a:pt x="8" y="326"/>
                  </a:lnTo>
                  <a:lnTo>
                    <a:pt x="10" y="326"/>
                  </a:lnTo>
                  <a:lnTo>
                    <a:pt x="14" y="326"/>
                  </a:lnTo>
                  <a:lnTo>
                    <a:pt x="16" y="328"/>
                  </a:lnTo>
                  <a:lnTo>
                    <a:pt x="18" y="328"/>
                  </a:lnTo>
                  <a:lnTo>
                    <a:pt x="19" y="328"/>
                  </a:lnTo>
                  <a:lnTo>
                    <a:pt x="21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9" y="332"/>
                  </a:lnTo>
                  <a:lnTo>
                    <a:pt x="29" y="334"/>
                  </a:lnTo>
                  <a:lnTo>
                    <a:pt x="31" y="334"/>
                  </a:lnTo>
                  <a:lnTo>
                    <a:pt x="33" y="335"/>
                  </a:lnTo>
                  <a:lnTo>
                    <a:pt x="35" y="337"/>
                  </a:lnTo>
                  <a:lnTo>
                    <a:pt x="37" y="339"/>
                  </a:lnTo>
                  <a:lnTo>
                    <a:pt x="39" y="341"/>
                  </a:lnTo>
                  <a:lnTo>
                    <a:pt x="41" y="343"/>
                  </a:lnTo>
                  <a:lnTo>
                    <a:pt x="41" y="345"/>
                  </a:lnTo>
                  <a:lnTo>
                    <a:pt x="43" y="345"/>
                  </a:lnTo>
                  <a:lnTo>
                    <a:pt x="44" y="347"/>
                  </a:lnTo>
                  <a:lnTo>
                    <a:pt x="46" y="349"/>
                  </a:lnTo>
                  <a:lnTo>
                    <a:pt x="48" y="351"/>
                  </a:lnTo>
                  <a:lnTo>
                    <a:pt x="48" y="353"/>
                  </a:lnTo>
                  <a:lnTo>
                    <a:pt x="50" y="355"/>
                  </a:lnTo>
                  <a:lnTo>
                    <a:pt x="50" y="360"/>
                  </a:lnTo>
                  <a:lnTo>
                    <a:pt x="50" y="362"/>
                  </a:lnTo>
                  <a:lnTo>
                    <a:pt x="50" y="366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50" y="376"/>
                  </a:lnTo>
                  <a:lnTo>
                    <a:pt x="54" y="382"/>
                  </a:lnTo>
                  <a:lnTo>
                    <a:pt x="60" y="385"/>
                  </a:lnTo>
                  <a:lnTo>
                    <a:pt x="58" y="387"/>
                  </a:lnTo>
                  <a:lnTo>
                    <a:pt x="58" y="391"/>
                  </a:lnTo>
                  <a:lnTo>
                    <a:pt x="56" y="393"/>
                  </a:lnTo>
                  <a:lnTo>
                    <a:pt x="56" y="395"/>
                  </a:lnTo>
                  <a:lnTo>
                    <a:pt x="54" y="397"/>
                  </a:lnTo>
                  <a:lnTo>
                    <a:pt x="52" y="399"/>
                  </a:lnTo>
                  <a:lnTo>
                    <a:pt x="52" y="399"/>
                  </a:lnTo>
                  <a:lnTo>
                    <a:pt x="52" y="403"/>
                  </a:lnTo>
                  <a:lnTo>
                    <a:pt x="48" y="405"/>
                  </a:lnTo>
                  <a:lnTo>
                    <a:pt x="52" y="405"/>
                  </a:lnTo>
                  <a:lnTo>
                    <a:pt x="54" y="405"/>
                  </a:lnTo>
                  <a:lnTo>
                    <a:pt x="58" y="405"/>
                  </a:lnTo>
                  <a:lnTo>
                    <a:pt x="60" y="405"/>
                  </a:lnTo>
                  <a:lnTo>
                    <a:pt x="64" y="403"/>
                  </a:lnTo>
                  <a:lnTo>
                    <a:pt x="67" y="403"/>
                  </a:lnTo>
                  <a:lnTo>
                    <a:pt x="73" y="403"/>
                  </a:lnTo>
                  <a:lnTo>
                    <a:pt x="79" y="403"/>
                  </a:lnTo>
                  <a:lnTo>
                    <a:pt x="85" y="403"/>
                  </a:lnTo>
                  <a:lnTo>
                    <a:pt x="87" y="403"/>
                  </a:lnTo>
                  <a:lnTo>
                    <a:pt x="90" y="403"/>
                  </a:lnTo>
                  <a:lnTo>
                    <a:pt x="94" y="403"/>
                  </a:lnTo>
                  <a:lnTo>
                    <a:pt x="102" y="403"/>
                  </a:lnTo>
                  <a:lnTo>
                    <a:pt x="106" y="403"/>
                  </a:lnTo>
                  <a:lnTo>
                    <a:pt x="110" y="403"/>
                  </a:lnTo>
                  <a:lnTo>
                    <a:pt x="112" y="401"/>
                  </a:lnTo>
                  <a:lnTo>
                    <a:pt x="114" y="401"/>
                  </a:lnTo>
                  <a:lnTo>
                    <a:pt x="119" y="397"/>
                  </a:lnTo>
                  <a:lnTo>
                    <a:pt x="123" y="397"/>
                  </a:lnTo>
                  <a:lnTo>
                    <a:pt x="127" y="397"/>
                  </a:lnTo>
                  <a:lnTo>
                    <a:pt x="131" y="397"/>
                  </a:lnTo>
                  <a:lnTo>
                    <a:pt x="137" y="393"/>
                  </a:lnTo>
                  <a:lnTo>
                    <a:pt x="142" y="393"/>
                  </a:lnTo>
                  <a:lnTo>
                    <a:pt x="144" y="393"/>
                  </a:lnTo>
                  <a:lnTo>
                    <a:pt x="148" y="393"/>
                  </a:lnTo>
                  <a:lnTo>
                    <a:pt x="150" y="393"/>
                  </a:lnTo>
                  <a:lnTo>
                    <a:pt x="152" y="395"/>
                  </a:lnTo>
                  <a:lnTo>
                    <a:pt x="156" y="397"/>
                  </a:lnTo>
                  <a:lnTo>
                    <a:pt x="158" y="397"/>
                  </a:lnTo>
                  <a:lnTo>
                    <a:pt x="160" y="397"/>
                  </a:lnTo>
                  <a:lnTo>
                    <a:pt x="163" y="397"/>
                  </a:lnTo>
                  <a:lnTo>
                    <a:pt x="165" y="397"/>
                  </a:lnTo>
                  <a:lnTo>
                    <a:pt x="167" y="397"/>
                  </a:lnTo>
                  <a:lnTo>
                    <a:pt x="169" y="399"/>
                  </a:lnTo>
                  <a:lnTo>
                    <a:pt x="169" y="401"/>
                  </a:lnTo>
                  <a:lnTo>
                    <a:pt x="173" y="401"/>
                  </a:lnTo>
                  <a:lnTo>
                    <a:pt x="175" y="401"/>
                  </a:lnTo>
                  <a:lnTo>
                    <a:pt x="179" y="401"/>
                  </a:lnTo>
                  <a:lnTo>
                    <a:pt x="183" y="401"/>
                  </a:lnTo>
                  <a:lnTo>
                    <a:pt x="186" y="399"/>
                  </a:lnTo>
                  <a:lnTo>
                    <a:pt x="192" y="401"/>
                  </a:lnTo>
                  <a:lnTo>
                    <a:pt x="196" y="401"/>
                  </a:lnTo>
                  <a:lnTo>
                    <a:pt x="200" y="401"/>
                  </a:lnTo>
                  <a:lnTo>
                    <a:pt x="206" y="403"/>
                  </a:lnTo>
                  <a:lnTo>
                    <a:pt x="209" y="403"/>
                  </a:lnTo>
                  <a:lnTo>
                    <a:pt x="211" y="403"/>
                  </a:lnTo>
                  <a:lnTo>
                    <a:pt x="215" y="403"/>
                  </a:lnTo>
                  <a:lnTo>
                    <a:pt x="219" y="403"/>
                  </a:lnTo>
                  <a:lnTo>
                    <a:pt x="221" y="403"/>
                  </a:lnTo>
                  <a:lnTo>
                    <a:pt x="223" y="403"/>
                  </a:lnTo>
                  <a:lnTo>
                    <a:pt x="227" y="401"/>
                  </a:lnTo>
                  <a:lnTo>
                    <a:pt x="229" y="401"/>
                  </a:lnTo>
                  <a:lnTo>
                    <a:pt x="231" y="403"/>
                  </a:lnTo>
                  <a:lnTo>
                    <a:pt x="238" y="403"/>
                  </a:lnTo>
                  <a:lnTo>
                    <a:pt x="242" y="403"/>
                  </a:lnTo>
                  <a:lnTo>
                    <a:pt x="244" y="405"/>
                  </a:lnTo>
                  <a:lnTo>
                    <a:pt x="246" y="405"/>
                  </a:lnTo>
                  <a:lnTo>
                    <a:pt x="248" y="406"/>
                  </a:lnTo>
                  <a:lnTo>
                    <a:pt x="250" y="408"/>
                  </a:lnTo>
                  <a:lnTo>
                    <a:pt x="255" y="408"/>
                  </a:lnTo>
                  <a:lnTo>
                    <a:pt x="255" y="410"/>
                  </a:lnTo>
                  <a:lnTo>
                    <a:pt x="257" y="412"/>
                  </a:lnTo>
                  <a:lnTo>
                    <a:pt x="261" y="414"/>
                  </a:lnTo>
                  <a:lnTo>
                    <a:pt x="263" y="414"/>
                  </a:lnTo>
                  <a:lnTo>
                    <a:pt x="265" y="414"/>
                  </a:lnTo>
                  <a:lnTo>
                    <a:pt x="269" y="414"/>
                  </a:lnTo>
                  <a:lnTo>
                    <a:pt x="271" y="416"/>
                  </a:lnTo>
                  <a:lnTo>
                    <a:pt x="273" y="416"/>
                  </a:lnTo>
                  <a:lnTo>
                    <a:pt x="277" y="418"/>
                  </a:lnTo>
                  <a:lnTo>
                    <a:pt x="279" y="418"/>
                  </a:lnTo>
                  <a:lnTo>
                    <a:pt x="280" y="418"/>
                  </a:lnTo>
                  <a:lnTo>
                    <a:pt x="282" y="416"/>
                  </a:lnTo>
                  <a:lnTo>
                    <a:pt x="282" y="414"/>
                  </a:lnTo>
                  <a:lnTo>
                    <a:pt x="282" y="410"/>
                  </a:lnTo>
                  <a:lnTo>
                    <a:pt x="282" y="406"/>
                  </a:lnTo>
                  <a:lnTo>
                    <a:pt x="282" y="405"/>
                  </a:lnTo>
                  <a:lnTo>
                    <a:pt x="282" y="401"/>
                  </a:lnTo>
                  <a:lnTo>
                    <a:pt x="282" y="397"/>
                  </a:lnTo>
                  <a:lnTo>
                    <a:pt x="282" y="395"/>
                  </a:lnTo>
                  <a:lnTo>
                    <a:pt x="282" y="391"/>
                  </a:lnTo>
                  <a:lnTo>
                    <a:pt x="282" y="387"/>
                  </a:lnTo>
                  <a:lnTo>
                    <a:pt x="282" y="385"/>
                  </a:lnTo>
                  <a:lnTo>
                    <a:pt x="282" y="383"/>
                  </a:lnTo>
                  <a:lnTo>
                    <a:pt x="280" y="382"/>
                  </a:lnTo>
                  <a:lnTo>
                    <a:pt x="280" y="380"/>
                  </a:lnTo>
                  <a:lnTo>
                    <a:pt x="280" y="378"/>
                  </a:lnTo>
                  <a:lnTo>
                    <a:pt x="279" y="376"/>
                  </a:lnTo>
                  <a:lnTo>
                    <a:pt x="277" y="376"/>
                  </a:lnTo>
                  <a:lnTo>
                    <a:pt x="277" y="374"/>
                  </a:lnTo>
                  <a:lnTo>
                    <a:pt x="275" y="370"/>
                  </a:lnTo>
                  <a:lnTo>
                    <a:pt x="273" y="370"/>
                  </a:lnTo>
                  <a:lnTo>
                    <a:pt x="269" y="370"/>
                  </a:lnTo>
                  <a:lnTo>
                    <a:pt x="267" y="370"/>
                  </a:lnTo>
                  <a:lnTo>
                    <a:pt x="265" y="368"/>
                  </a:lnTo>
                  <a:lnTo>
                    <a:pt x="263" y="364"/>
                  </a:lnTo>
                  <a:lnTo>
                    <a:pt x="259" y="362"/>
                  </a:lnTo>
                  <a:lnTo>
                    <a:pt x="259" y="360"/>
                  </a:lnTo>
                  <a:lnTo>
                    <a:pt x="259" y="358"/>
                  </a:lnTo>
                  <a:lnTo>
                    <a:pt x="257" y="355"/>
                  </a:lnTo>
                  <a:lnTo>
                    <a:pt x="257" y="353"/>
                  </a:lnTo>
                  <a:lnTo>
                    <a:pt x="257" y="351"/>
                  </a:lnTo>
                  <a:lnTo>
                    <a:pt x="255" y="347"/>
                  </a:lnTo>
                  <a:lnTo>
                    <a:pt x="255" y="345"/>
                  </a:lnTo>
                  <a:lnTo>
                    <a:pt x="255" y="343"/>
                  </a:lnTo>
                  <a:lnTo>
                    <a:pt x="255" y="341"/>
                  </a:lnTo>
                  <a:lnTo>
                    <a:pt x="255" y="339"/>
                  </a:lnTo>
                  <a:lnTo>
                    <a:pt x="254" y="337"/>
                  </a:lnTo>
                  <a:lnTo>
                    <a:pt x="254" y="335"/>
                  </a:lnTo>
                  <a:lnTo>
                    <a:pt x="248" y="335"/>
                  </a:lnTo>
                  <a:lnTo>
                    <a:pt x="246" y="332"/>
                  </a:lnTo>
                  <a:lnTo>
                    <a:pt x="244" y="332"/>
                  </a:lnTo>
                  <a:lnTo>
                    <a:pt x="242" y="328"/>
                  </a:lnTo>
                  <a:lnTo>
                    <a:pt x="240" y="326"/>
                  </a:lnTo>
                  <a:lnTo>
                    <a:pt x="238" y="324"/>
                  </a:lnTo>
                  <a:lnTo>
                    <a:pt x="236" y="324"/>
                  </a:lnTo>
                  <a:lnTo>
                    <a:pt x="234" y="322"/>
                  </a:lnTo>
                  <a:lnTo>
                    <a:pt x="234" y="320"/>
                  </a:lnTo>
                  <a:lnTo>
                    <a:pt x="231" y="318"/>
                  </a:lnTo>
                  <a:lnTo>
                    <a:pt x="229" y="316"/>
                  </a:lnTo>
                  <a:lnTo>
                    <a:pt x="229" y="312"/>
                  </a:lnTo>
                  <a:lnTo>
                    <a:pt x="229" y="309"/>
                  </a:lnTo>
                  <a:lnTo>
                    <a:pt x="229" y="307"/>
                  </a:lnTo>
                  <a:lnTo>
                    <a:pt x="229" y="305"/>
                  </a:lnTo>
                  <a:lnTo>
                    <a:pt x="229" y="301"/>
                  </a:lnTo>
                  <a:lnTo>
                    <a:pt x="229" y="299"/>
                  </a:lnTo>
                  <a:lnTo>
                    <a:pt x="225" y="293"/>
                  </a:lnTo>
                  <a:lnTo>
                    <a:pt x="225" y="291"/>
                  </a:lnTo>
                  <a:lnTo>
                    <a:pt x="225" y="287"/>
                  </a:lnTo>
                  <a:lnTo>
                    <a:pt x="225" y="286"/>
                  </a:lnTo>
                  <a:lnTo>
                    <a:pt x="227" y="282"/>
                  </a:lnTo>
                  <a:lnTo>
                    <a:pt x="229" y="280"/>
                  </a:lnTo>
                  <a:lnTo>
                    <a:pt x="229" y="276"/>
                  </a:lnTo>
                  <a:lnTo>
                    <a:pt x="229" y="274"/>
                  </a:lnTo>
                  <a:lnTo>
                    <a:pt x="231" y="272"/>
                  </a:lnTo>
                  <a:lnTo>
                    <a:pt x="232" y="272"/>
                  </a:lnTo>
                  <a:lnTo>
                    <a:pt x="229" y="272"/>
                  </a:lnTo>
                  <a:lnTo>
                    <a:pt x="229" y="270"/>
                  </a:lnTo>
                  <a:lnTo>
                    <a:pt x="227" y="268"/>
                  </a:lnTo>
                  <a:lnTo>
                    <a:pt x="227" y="264"/>
                  </a:lnTo>
                  <a:lnTo>
                    <a:pt x="225" y="263"/>
                  </a:lnTo>
                  <a:lnTo>
                    <a:pt x="225" y="259"/>
                  </a:lnTo>
                  <a:lnTo>
                    <a:pt x="225" y="255"/>
                  </a:lnTo>
                  <a:lnTo>
                    <a:pt x="225" y="253"/>
                  </a:lnTo>
                  <a:lnTo>
                    <a:pt x="225" y="249"/>
                  </a:lnTo>
                  <a:lnTo>
                    <a:pt x="227" y="249"/>
                  </a:lnTo>
                  <a:lnTo>
                    <a:pt x="229" y="247"/>
                  </a:lnTo>
                  <a:lnTo>
                    <a:pt x="232" y="245"/>
                  </a:lnTo>
                  <a:lnTo>
                    <a:pt x="236" y="243"/>
                  </a:lnTo>
                  <a:lnTo>
                    <a:pt x="236" y="240"/>
                  </a:lnTo>
                  <a:lnTo>
                    <a:pt x="236" y="238"/>
                  </a:lnTo>
                  <a:lnTo>
                    <a:pt x="236" y="234"/>
                  </a:lnTo>
                  <a:lnTo>
                    <a:pt x="236" y="232"/>
                  </a:lnTo>
                  <a:lnTo>
                    <a:pt x="236" y="230"/>
                  </a:lnTo>
                  <a:lnTo>
                    <a:pt x="238" y="228"/>
                  </a:lnTo>
                  <a:lnTo>
                    <a:pt x="240" y="226"/>
                  </a:lnTo>
                  <a:lnTo>
                    <a:pt x="244" y="224"/>
                  </a:lnTo>
                  <a:lnTo>
                    <a:pt x="246" y="222"/>
                  </a:lnTo>
                  <a:lnTo>
                    <a:pt x="246" y="220"/>
                  </a:lnTo>
                  <a:lnTo>
                    <a:pt x="246" y="216"/>
                  </a:lnTo>
                  <a:lnTo>
                    <a:pt x="246" y="213"/>
                  </a:lnTo>
                  <a:lnTo>
                    <a:pt x="250" y="213"/>
                  </a:lnTo>
                  <a:lnTo>
                    <a:pt x="252" y="211"/>
                  </a:lnTo>
                  <a:lnTo>
                    <a:pt x="254" y="209"/>
                  </a:lnTo>
                  <a:lnTo>
                    <a:pt x="255" y="207"/>
                  </a:lnTo>
                  <a:lnTo>
                    <a:pt x="257" y="205"/>
                  </a:lnTo>
                  <a:lnTo>
                    <a:pt x="259" y="203"/>
                  </a:lnTo>
                  <a:lnTo>
                    <a:pt x="259" y="199"/>
                  </a:lnTo>
                  <a:lnTo>
                    <a:pt x="263" y="197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6" name="Freeform 43"/>
            <p:cNvSpPr>
              <a:spLocks/>
            </p:cNvSpPr>
            <p:nvPr/>
          </p:nvSpPr>
          <p:spPr bwMode="auto">
            <a:xfrm>
              <a:off x="1517" y="2246"/>
              <a:ext cx="75" cy="46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9" y="15"/>
                </a:cxn>
                <a:cxn ang="0">
                  <a:pos x="9" y="19"/>
                </a:cxn>
                <a:cxn ang="0">
                  <a:pos x="9" y="21"/>
                </a:cxn>
                <a:cxn ang="0">
                  <a:pos x="9" y="26"/>
                </a:cxn>
                <a:cxn ang="0">
                  <a:pos x="6" y="28"/>
                </a:cxn>
                <a:cxn ang="0">
                  <a:pos x="4" y="30"/>
                </a:cxn>
                <a:cxn ang="0">
                  <a:pos x="2" y="34"/>
                </a:cxn>
                <a:cxn ang="0">
                  <a:pos x="0" y="38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4" y="46"/>
                </a:cxn>
                <a:cxn ang="0">
                  <a:pos x="8" y="46"/>
                </a:cxn>
                <a:cxn ang="0">
                  <a:pos x="9" y="46"/>
                </a:cxn>
                <a:cxn ang="0">
                  <a:pos x="13" y="46"/>
                </a:cxn>
                <a:cxn ang="0">
                  <a:pos x="17" y="46"/>
                </a:cxn>
                <a:cxn ang="0">
                  <a:pos x="19" y="46"/>
                </a:cxn>
                <a:cxn ang="0">
                  <a:pos x="21" y="46"/>
                </a:cxn>
                <a:cxn ang="0">
                  <a:pos x="23" y="44"/>
                </a:cxn>
                <a:cxn ang="0">
                  <a:pos x="25" y="44"/>
                </a:cxn>
                <a:cxn ang="0">
                  <a:pos x="27" y="42"/>
                </a:cxn>
                <a:cxn ang="0">
                  <a:pos x="29" y="42"/>
                </a:cxn>
                <a:cxn ang="0">
                  <a:pos x="32" y="40"/>
                </a:cxn>
                <a:cxn ang="0">
                  <a:pos x="34" y="38"/>
                </a:cxn>
                <a:cxn ang="0">
                  <a:pos x="44" y="38"/>
                </a:cxn>
                <a:cxn ang="0">
                  <a:pos x="48" y="38"/>
                </a:cxn>
                <a:cxn ang="0">
                  <a:pos x="52" y="38"/>
                </a:cxn>
                <a:cxn ang="0">
                  <a:pos x="55" y="38"/>
                </a:cxn>
                <a:cxn ang="0">
                  <a:pos x="57" y="38"/>
                </a:cxn>
                <a:cxn ang="0">
                  <a:pos x="61" y="38"/>
                </a:cxn>
                <a:cxn ang="0">
                  <a:pos x="69" y="38"/>
                </a:cxn>
                <a:cxn ang="0">
                  <a:pos x="71" y="40"/>
                </a:cxn>
                <a:cxn ang="0">
                  <a:pos x="73" y="38"/>
                </a:cxn>
                <a:cxn ang="0">
                  <a:pos x="71" y="36"/>
                </a:cxn>
                <a:cxn ang="0">
                  <a:pos x="71" y="34"/>
                </a:cxn>
                <a:cxn ang="0">
                  <a:pos x="71" y="32"/>
                </a:cxn>
                <a:cxn ang="0">
                  <a:pos x="71" y="30"/>
                </a:cxn>
                <a:cxn ang="0">
                  <a:pos x="71" y="26"/>
                </a:cxn>
                <a:cxn ang="0">
                  <a:pos x="71" y="21"/>
                </a:cxn>
                <a:cxn ang="0">
                  <a:pos x="71" y="15"/>
                </a:cxn>
                <a:cxn ang="0">
                  <a:pos x="71" y="11"/>
                </a:cxn>
                <a:cxn ang="0">
                  <a:pos x="71" y="9"/>
                </a:cxn>
                <a:cxn ang="0">
                  <a:pos x="71" y="7"/>
                </a:cxn>
                <a:cxn ang="0">
                  <a:pos x="71" y="2"/>
                </a:cxn>
                <a:cxn ang="0">
                  <a:pos x="69" y="0"/>
                </a:cxn>
                <a:cxn ang="0">
                  <a:pos x="67" y="0"/>
                </a:cxn>
                <a:cxn ang="0">
                  <a:pos x="65" y="0"/>
                </a:cxn>
                <a:cxn ang="0">
                  <a:pos x="59" y="0"/>
                </a:cxn>
                <a:cxn ang="0">
                  <a:pos x="57" y="2"/>
                </a:cxn>
                <a:cxn ang="0">
                  <a:pos x="55" y="2"/>
                </a:cxn>
                <a:cxn ang="0">
                  <a:pos x="54" y="2"/>
                </a:cxn>
                <a:cxn ang="0">
                  <a:pos x="52" y="2"/>
                </a:cxn>
                <a:cxn ang="0">
                  <a:pos x="50" y="2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2" y="0"/>
                </a:cxn>
                <a:cxn ang="0">
                  <a:pos x="29" y="0"/>
                </a:cxn>
                <a:cxn ang="0">
                  <a:pos x="25" y="2"/>
                </a:cxn>
                <a:cxn ang="0">
                  <a:pos x="21" y="2"/>
                </a:cxn>
                <a:cxn ang="0">
                  <a:pos x="19" y="2"/>
                </a:cxn>
                <a:cxn ang="0">
                  <a:pos x="15" y="2"/>
                </a:cxn>
              </a:cxnLst>
              <a:rect l="0" t="0" r="r" b="b"/>
              <a:pathLst>
                <a:path w="75" h="46">
                  <a:moveTo>
                    <a:pt x="13" y="2"/>
                  </a:moveTo>
                  <a:lnTo>
                    <a:pt x="11" y="7"/>
                  </a:lnTo>
                  <a:lnTo>
                    <a:pt x="9" y="13"/>
                  </a:lnTo>
                  <a:lnTo>
                    <a:pt x="9" y="15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8" y="26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7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4" y="38"/>
                  </a:lnTo>
                  <a:lnTo>
                    <a:pt x="55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5" y="38"/>
                  </a:lnTo>
                  <a:lnTo>
                    <a:pt x="69" y="38"/>
                  </a:lnTo>
                  <a:lnTo>
                    <a:pt x="69" y="40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3" y="38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4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1" y="28"/>
                  </a:lnTo>
                  <a:lnTo>
                    <a:pt x="71" y="26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9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71" y="2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3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7" name="Freeform 44"/>
            <p:cNvSpPr>
              <a:spLocks/>
            </p:cNvSpPr>
            <p:nvPr/>
          </p:nvSpPr>
          <p:spPr bwMode="auto">
            <a:xfrm>
              <a:off x="1517" y="2246"/>
              <a:ext cx="75" cy="46"/>
            </a:xfrm>
            <a:custGeom>
              <a:avLst/>
              <a:gdLst/>
              <a:ahLst/>
              <a:cxnLst>
                <a:cxn ang="0">
                  <a:pos x="11" y="7"/>
                </a:cxn>
                <a:cxn ang="0">
                  <a:pos x="9" y="15"/>
                </a:cxn>
                <a:cxn ang="0">
                  <a:pos x="9" y="19"/>
                </a:cxn>
                <a:cxn ang="0">
                  <a:pos x="9" y="21"/>
                </a:cxn>
                <a:cxn ang="0">
                  <a:pos x="9" y="26"/>
                </a:cxn>
                <a:cxn ang="0">
                  <a:pos x="6" y="28"/>
                </a:cxn>
                <a:cxn ang="0">
                  <a:pos x="4" y="30"/>
                </a:cxn>
                <a:cxn ang="0">
                  <a:pos x="2" y="34"/>
                </a:cxn>
                <a:cxn ang="0">
                  <a:pos x="0" y="38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4" y="46"/>
                </a:cxn>
                <a:cxn ang="0">
                  <a:pos x="8" y="46"/>
                </a:cxn>
                <a:cxn ang="0">
                  <a:pos x="9" y="46"/>
                </a:cxn>
                <a:cxn ang="0">
                  <a:pos x="13" y="46"/>
                </a:cxn>
                <a:cxn ang="0">
                  <a:pos x="17" y="46"/>
                </a:cxn>
                <a:cxn ang="0">
                  <a:pos x="19" y="46"/>
                </a:cxn>
                <a:cxn ang="0">
                  <a:pos x="21" y="46"/>
                </a:cxn>
                <a:cxn ang="0">
                  <a:pos x="23" y="44"/>
                </a:cxn>
                <a:cxn ang="0">
                  <a:pos x="25" y="44"/>
                </a:cxn>
                <a:cxn ang="0">
                  <a:pos x="27" y="42"/>
                </a:cxn>
                <a:cxn ang="0">
                  <a:pos x="29" y="42"/>
                </a:cxn>
                <a:cxn ang="0">
                  <a:pos x="32" y="40"/>
                </a:cxn>
                <a:cxn ang="0">
                  <a:pos x="34" y="38"/>
                </a:cxn>
                <a:cxn ang="0">
                  <a:pos x="44" y="38"/>
                </a:cxn>
                <a:cxn ang="0">
                  <a:pos x="48" y="38"/>
                </a:cxn>
                <a:cxn ang="0">
                  <a:pos x="52" y="38"/>
                </a:cxn>
                <a:cxn ang="0">
                  <a:pos x="55" y="38"/>
                </a:cxn>
                <a:cxn ang="0">
                  <a:pos x="57" y="38"/>
                </a:cxn>
                <a:cxn ang="0">
                  <a:pos x="61" y="38"/>
                </a:cxn>
                <a:cxn ang="0">
                  <a:pos x="69" y="38"/>
                </a:cxn>
                <a:cxn ang="0">
                  <a:pos x="71" y="40"/>
                </a:cxn>
                <a:cxn ang="0">
                  <a:pos x="73" y="38"/>
                </a:cxn>
                <a:cxn ang="0">
                  <a:pos x="71" y="36"/>
                </a:cxn>
                <a:cxn ang="0">
                  <a:pos x="71" y="34"/>
                </a:cxn>
                <a:cxn ang="0">
                  <a:pos x="71" y="32"/>
                </a:cxn>
                <a:cxn ang="0">
                  <a:pos x="71" y="30"/>
                </a:cxn>
                <a:cxn ang="0">
                  <a:pos x="71" y="26"/>
                </a:cxn>
                <a:cxn ang="0">
                  <a:pos x="71" y="21"/>
                </a:cxn>
                <a:cxn ang="0">
                  <a:pos x="71" y="15"/>
                </a:cxn>
                <a:cxn ang="0">
                  <a:pos x="71" y="11"/>
                </a:cxn>
                <a:cxn ang="0">
                  <a:pos x="71" y="9"/>
                </a:cxn>
                <a:cxn ang="0">
                  <a:pos x="71" y="7"/>
                </a:cxn>
                <a:cxn ang="0">
                  <a:pos x="71" y="2"/>
                </a:cxn>
                <a:cxn ang="0">
                  <a:pos x="69" y="0"/>
                </a:cxn>
                <a:cxn ang="0">
                  <a:pos x="67" y="0"/>
                </a:cxn>
                <a:cxn ang="0">
                  <a:pos x="65" y="0"/>
                </a:cxn>
                <a:cxn ang="0">
                  <a:pos x="59" y="0"/>
                </a:cxn>
                <a:cxn ang="0">
                  <a:pos x="57" y="2"/>
                </a:cxn>
                <a:cxn ang="0">
                  <a:pos x="55" y="2"/>
                </a:cxn>
                <a:cxn ang="0">
                  <a:pos x="54" y="2"/>
                </a:cxn>
                <a:cxn ang="0">
                  <a:pos x="52" y="2"/>
                </a:cxn>
                <a:cxn ang="0">
                  <a:pos x="50" y="2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2" y="0"/>
                </a:cxn>
                <a:cxn ang="0">
                  <a:pos x="29" y="0"/>
                </a:cxn>
                <a:cxn ang="0">
                  <a:pos x="25" y="2"/>
                </a:cxn>
                <a:cxn ang="0">
                  <a:pos x="21" y="2"/>
                </a:cxn>
                <a:cxn ang="0">
                  <a:pos x="19" y="2"/>
                </a:cxn>
                <a:cxn ang="0">
                  <a:pos x="15" y="2"/>
                </a:cxn>
              </a:cxnLst>
              <a:rect l="0" t="0" r="r" b="b"/>
              <a:pathLst>
                <a:path w="75" h="46">
                  <a:moveTo>
                    <a:pt x="13" y="2"/>
                  </a:moveTo>
                  <a:lnTo>
                    <a:pt x="11" y="7"/>
                  </a:lnTo>
                  <a:lnTo>
                    <a:pt x="9" y="13"/>
                  </a:lnTo>
                  <a:lnTo>
                    <a:pt x="9" y="15"/>
                  </a:lnTo>
                  <a:lnTo>
                    <a:pt x="9" y="17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9" y="26"/>
                  </a:lnTo>
                  <a:lnTo>
                    <a:pt x="8" y="26"/>
                  </a:lnTo>
                  <a:lnTo>
                    <a:pt x="6" y="28"/>
                  </a:lnTo>
                  <a:lnTo>
                    <a:pt x="4" y="28"/>
                  </a:lnTo>
                  <a:lnTo>
                    <a:pt x="4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2" y="36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7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8" y="38"/>
                  </a:lnTo>
                  <a:lnTo>
                    <a:pt x="44" y="38"/>
                  </a:lnTo>
                  <a:lnTo>
                    <a:pt x="46" y="38"/>
                  </a:lnTo>
                  <a:lnTo>
                    <a:pt x="48" y="38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4" y="38"/>
                  </a:lnTo>
                  <a:lnTo>
                    <a:pt x="55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5" y="38"/>
                  </a:lnTo>
                  <a:lnTo>
                    <a:pt x="69" y="38"/>
                  </a:lnTo>
                  <a:lnTo>
                    <a:pt x="69" y="40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3" y="38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4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1" y="28"/>
                  </a:lnTo>
                  <a:lnTo>
                    <a:pt x="71" y="26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9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71" y="2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3" y="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8" name="Freeform 45"/>
            <p:cNvSpPr>
              <a:spLocks/>
            </p:cNvSpPr>
            <p:nvPr/>
          </p:nvSpPr>
          <p:spPr bwMode="auto">
            <a:xfrm>
              <a:off x="1478" y="2236"/>
              <a:ext cx="231" cy="225"/>
            </a:xfrm>
            <a:custGeom>
              <a:avLst/>
              <a:gdLst/>
              <a:ahLst/>
              <a:cxnLst>
                <a:cxn ang="0">
                  <a:pos x="175" y="25"/>
                </a:cxn>
                <a:cxn ang="0">
                  <a:pos x="173" y="42"/>
                </a:cxn>
                <a:cxn ang="0">
                  <a:pos x="185" y="61"/>
                </a:cxn>
                <a:cxn ang="0">
                  <a:pos x="190" y="46"/>
                </a:cxn>
                <a:cxn ang="0">
                  <a:pos x="210" y="38"/>
                </a:cxn>
                <a:cxn ang="0">
                  <a:pos x="223" y="48"/>
                </a:cxn>
                <a:cxn ang="0">
                  <a:pos x="229" y="59"/>
                </a:cxn>
                <a:cxn ang="0">
                  <a:pos x="227" y="75"/>
                </a:cxn>
                <a:cxn ang="0">
                  <a:pos x="208" y="83"/>
                </a:cxn>
                <a:cxn ang="0">
                  <a:pos x="202" y="94"/>
                </a:cxn>
                <a:cxn ang="0">
                  <a:pos x="206" y="109"/>
                </a:cxn>
                <a:cxn ang="0">
                  <a:pos x="221" y="119"/>
                </a:cxn>
                <a:cxn ang="0">
                  <a:pos x="225" y="138"/>
                </a:cxn>
                <a:cxn ang="0">
                  <a:pos x="223" y="157"/>
                </a:cxn>
                <a:cxn ang="0">
                  <a:pos x="217" y="175"/>
                </a:cxn>
                <a:cxn ang="0">
                  <a:pos x="206" y="182"/>
                </a:cxn>
                <a:cxn ang="0">
                  <a:pos x="196" y="173"/>
                </a:cxn>
                <a:cxn ang="0">
                  <a:pos x="188" y="180"/>
                </a:cxn>
                <a:cxn ang="0">
                  <a:pos x="169" y="175"/>
                </a:cxn>
                <a:cxn ang="0">
                  <a:pos x="162" y="159"/>
                </a:cxn>
                <a:cxn ang="0">
                  <a:pos x="146" y="159"/>
                </a:cxn>
                <a:cxn ang="0">
                  <a:pos x="142" y="177"/>
                </a:cxn>
                <a:cxn ang="0">
                  <a:pos x="125" y="178"/>
                </a:cxn>
                <a:cxn ang="0">
                  <a:pos x="114" y="177"/>
                </a:cxn>
                <a:cxn ang="0">
                  <a:pos x="114" y="194"/>
                </a:cxn>
                <a:cxn ang="0">
                  <a:pos x="108" y="207"/>
                </a:cxn>
                <a:cxn ang="0">
                  <a:pos x="98" y="221"/>
                </a:cxn>
                <a:cxn ang="0">
                  <a:pos x="87" y="221"/>
                </a:cxn>
                <a:cxn ang="0">
                  <a:pos x="77" y="211"/>
                </a:cxn>
                <a:cxn ang="0">
                  <a:pos x="66" y="198"/>
                </a:cxn>
                <a:cxn ang="0">
                  <a:pos x="56" y="182"/>
                </a:cxn>
                <a:cxn ang="0">
                  <a:pos x="41" y="169"/>
                </a:cxn>
                <a:cxn ang="0">
                  <a:pos x="25" y="148"/>
                </a:cxn>
                <a:cxn ang="0">
                  <a:pos x="14" y="136"/>
                </a:cxn>
                <a:cxn ang="0">
                  <a:pos x="2" y="125"/>
                </a:cxn>
                <a:cxn ang="0">
                  <a:pos x="0" y="107"/>
                </a:cxn>
                <a:cxn ang="0">
                  <a:pos x="6" y="100"/>
                </a:cxn>
                <a:cxn ang="0">
                  <a:pos x="18" y="107"/>
                </a:cxn>
                <a:cxn ang="0">
                  <a:pos x="27" y="96"/>
                </a:cxn>
                <a:cxn ang="0">
                  <a:pos x="33" y="83"/>
                </a:cxn>
                <a:cxn ang="0">
                  <a:pos x="37" y="67"/>
                </a:cxn>
                <a:cxn ang="0">
                  <a:pos x="43" y="56"/>
                </a:cxn>
                <a:cxn ang="0">
                  <a:pos x="62" y="54"/>
                </a:cxn>
                <a:cxn ang="0">
                  <a:pos x="75" y="48"/>
                </a:cxn>
                <a:cxn ang="0">
                  <a:pos x="94" y="48"/>
                </a:cxn>
                <a:cxn ang="0">
                  <a:pos x="116" y="50"/>
                </a:cxn>
                <a:cxn ang="0">
                  <a:pos x="108" y="38"/>
                </a:cxn>
                <a:cxn ang="0">
                  <a:pos x="112" y="21"/>
                </a:cxn>
                <a:cxn ang="0">
                  <a:pos x="112" y="10"/>
                </a:cxn>
                <a:cxn ang="0">
                  <a:pos x="119" y="6"/>
                </a:cxn>
                <a:cxn ang="0">
                  <a:pos x="135" y="0"/>
                </a:cxn>
                <a:cxn ang="0">
                  <a:pos x="154" y="0"/>
                </a:cxn>
                <a:cxn ang="0">
                  <a:pos x="171" y="4"/>
                </a:cxn>
              </a:cxnLst>
              <a:rect l="0" t="0" r="r" b="b"/>
              <a:pathLst>
                <a:path w="231" h="225">
                  <a:moveTo>
                    <a:pt x="177" y="6"/>
                  </a:moveTo>
                  <a:lnTo>
                    <a:pt x="177" y="12"/>
                  </a:lnTo>
                  <a:lnTo>
                    <a:pt x="177" y="15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5" y="25"/>
                  </a:lnTo>
                  <a:lnTo>
                    <a:pt x="175" y="27"/>
                  </a:lnTo>
                  <a:lnTo>
                    <a:pt x="175" y="31"/>
                  </a:lnTo>
                  <a:lnTo>
                    <a:pt x="173" y="31"/>
                  </a:lnTo>
                  <a:lnTo>
                    <a:pt x="173" y="35"/>
                  </a:lnTo>
                  <a:lnTo>
                    <a:pt x="173" y="38"/>
                  </a:lnTo>
                  <a:lnTo>
                    <a:pt x="173" y="42"/>
                  </a:lnTo>
                  <a:lnTo>
                    <a:pt x="173" y="46"/>
                  </a:lnTo>
                  <a:lnTo>
                    <a:pt x="175" y="48"/>
                  </a:lnTo>
                  <a:lnTo>
                    <a:pt x="175" y="52"/>
                  </a:lnTo>
                  <a:lnTo>
                    <a:pt x="179" y="58"/>
                  </a:lnTo>
                  <a:lnTo>
                    <a:pt x="181" y="61"/>
                  </a:lnTo>
                  <a:lnTo>
                    <a:pt x="185" y="61"/>
                  </a:lnTo>
                  <a:lnTo>
                    <a:pt x="187" y="59"/>
                  </a:lnTo>
                  <a:lnTo>
                    <a:pt x="187" y="56"/>
                  </a:lnTo>
                  <a:lnTo>
                    <a:pt x="188" y="54"/>
                  </a:lnTo>
                  <a:lnTo>
                    <a:pt x="188" y="50"/>
                  </a:lnTo>
                  <a:lnTo>
                    <a:pt x="188" y="48"/>
                  </a:lnTo>
                  <a:lnTo>
                    <a:pt x="190" y="46"/>
                  </a:lnTo>
                  <a:lnTo>
                    <a:pt x="192" y="44"/>
                  </a:lnTo>
                  <a:lnTo>
                    <a:pt x="196" y="42"/>
                  </a:lnTo>
                  <a:lnTo>
                    <a:pt x="200" y="40"/>
                  </a:lnTo>
                  <a:lnTo>
                    <a:pt x="204" y="40"/>
                  </a:lnTo>
                  <a:lnTo>
                    <a:pt x="206" y="38"/>
                  </a:lnTo>
                  <a:lnTo>
                    <a:pt x="210" y="38"/>
                  </a:lnTo>
                  <a:lnTo>
                    <a:pt x="213" y="40"/>
                  </a:lnTo>
                  <a:lnTo>
                    <a:pt x="215" y="40"/>
                  </a:lnTo>
                  <a:lnTo>
                    <a:pt x="217" y="40"/>
                  </a:lnTo>
                  <a:lnTo>
                    <a:pt x="221" y="42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5" y="50"/>
                  </a:lnTo>
                  <a:lnTo>
                    <a:pt x="227" y="52"/>
                  </a:lnTo>
                  <a:lnTo>
                    <a:pt x="227" y="56"/>
                  </a:lnTo>
                  <a:lnTo>
                    <a:pt x="227" y="58"/>
                  </a:lnTo>
                  <a:lnTo>
                    <a:pt x="229" y="59"/>
                  </a:lnTo>
                  <a:lnTo>
                    <a:pt x="229" y="63"/>
                  </a:lnTo>
                  <a:lnTo>
                    <a:pt x="229" y="65"/>
                  </a:lnTo>
                  <a:lnTo>
                    <a:pt x="229" y="69"/>
                  </a:lnTo>
                  <a:lnTo>
                    <a:pt x="231" y="71"/>
                  </a:lnTo>
                  <a:lnTo>
                    <a:pt x="229" y="73"/>
                  </a:lnTo>
                  <a:lnTo>
                    <a:pt x="227" y="75"/>
                  </a:lnTo>
                  <a:lnTo>
                    <a:pt x="223" y="75"/>
                  </a:lnTo>
                  <a:lnTo>
                    <a:pt x="221" y="75"/>
                  </a:lnTo>
                  <a:lnTo>
                    <a:pt x="219" y="77"/>
                  </a:lnTo>
                  <a:lnTo>
                    <a:pt x="215" y="77"/>
                  </a:lnTo>
                  <a:lnTo>
                    <a:pt x="212" y="79"/>
                  </a:lnTo>
                  <a:lnTo>
                    <a:pt x="208" y="83"/>
                  </a:lnTo>
                  <a:lnTo>
                    <a:pt x="206" y="83"/>
                  </a:lnTo>
                  <a:lnTo>
                    <a:pt x="206" y="84"/>
                  </a:lnTo>
                  <a:lnTo>
                    <a:pt x="204" y="86"/>
                  </a:lnTo>
                  <a:lnTo>
                    <a:pt x="204" y="88"/>
                  </a:lnTo>
                  <a:lnTo>
                    <a:pt x="204" y="92"/>
                  </a:lnTo>
                  <a:lnTo>
                    <a:pt x="202" y="94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2" y="102"/>
                  </a:lnTo>
                  <a:lnTo>
                    <a:pt x="206" y="104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13"/>
                  </a:lnTo>
                  <a:lnTo>
                    <a:pt x="212" y="115"/>
                  </a:lnTo>
                  <a:lnTo>
                    <a:pt x="213" y="115"/>
                  </a:lnTo>
                  <a:lnTo>
                    <a:pt x="215" y="117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21"/>
                  </a:lnTo>
                  <a:lnTo>
                    <a:pt x="223" y="125"/>
                  </a:lnTo>
                  <a:lnTo>
                    <a:pt x="223" y="127"/>
                  </a:lnTo>
                  <a:lnTo>
                    <a:pt x="223" y="130"/>
                  </a:lnTo>
                  <a:lnTo>
                    <a:pt x="225" y="134"/>
                  </a:lnTo>
                  <a:lnTo>
                    <a:pt x="225" y="138"/>
                  </a:lnTo>
                  <a:lnTo>
                    <a:pt x="223" y="140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52"/>
                  </a:lnTo>
                  <a:lnTo>
                    <a:pt x="223" y="154"/>
                  </a:lnTo>
                  <a:lnTo>
                    <a:pt x="223" y="157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5"/>
                  </a:lnTo>
                  <a:lnTo>
                    <a:pt x="221" y="169"/>
                  </a:lnTo>
                  <a:lnTo>
                    <a:pt x="217" y="171"/>
                  </a:lnTo>
                  <a:lnTo>
                    <a:pt x="217" y="175"/>
                  </a:lnTo>
                  <a:lnTo>
                    <a:pt x="215" y="177"/>
                  </a:lnTo>
                  <a:lnTo>
                    <a:pt x="215" y="178"/>
                  </a:lnTo>
                  <a:lnTo>
                    <a:pt x="215" y="180"/>
                  </a:lnTo>
                  <a:lnTo>
                    <a:pt x="212" y="180"/>
                  </a:lnTo>
                  <a:lnTo>
                    <a:pt x="210" y="182"/>
                  </a:lnTo>
                  <a:lnTo>
                    <a:pt x="206" y="182"/>
                  </a:lnTo>
                  <a:lnTo>
                    <a:pt x="204" y="178"/>
                  </a:lnTo>
                  <a:lnTo>
                    <a:pt x="202" y="177"/>
                  </a:lnTo>
                  <a:lnTo>
                    <a:pt x="202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0" y="180"/>
                  </a:lnTo>
                  <a:lnTo>
                    <a:pt x="188" y="180"/>
                  </a:lnTo>
                  <a:lnTo>
                    <a:pt x="185" y="180"/>
                  </a:lnTo>
                  <a:lnTo>
                    <a:pt x="181" y="180"/>
                  </a:lnTo>
                  <a:lnTo>
                    <a:pt x="179" y="178"/>
                  </a:lnTo>
                  <a:lnTo>
                    <a:pt x="175" y="177"/>
                  </a:lnTo>
                  <a:lnTo>
                    <a:pt x="171" y="177"/>
                  </a:lnTo>
                  <a:lnTo>
                    <a:pt x="169" y="175"/>
                  </a:lnTo>
                  <a:lnTo>
                    <a:pt x="167" y="171"/>
                  </a:lnTo>
                  <a:lnTo>
                    <a:pt x="165" y="169"/>
                  </a:lnTo>
                  <a:lnTo>
                    <a:pt x="164" y="165"/>
                  </a:lnTo>
                  <a:lnTo>
                    <a:pt x="164" y="161"/>
                  </a:lnTo>
                  <a:lnTo>
                    <a:pt x="162" y="161"/>
                  </a:lnTo>
                  <a:lnTo>
                    <a:pt x="162" y="159"/>
                  </a:lnTo>
                  <a:lnTo>
                    <a:pt x="160" y="157"/>
                  </a:lnTo>
                  <a:lnTo>
                    <a:pt x="156" y="157"/>
                  </a:lnTo>
                  <a:lnTo>
                    <a:pt x="154" y="157"/>
                  </a:lnTo>
                  <a:lnTo>
                    <a:pt x="152" y="157"/>
                  </a:lnTo>
                  <a:lnTo>
                    <a:pt x="148" y="157"/>
                  </a:lnTo>
                  <a:lnTo>
                    <a:pt x="146" y="159"/>
                  </a:lnTo>
                  <a:lnTo>
                    <a:pt x="146" y="161"/>
                  </a:lnTo>
                  <a:lnTo>
                    <a:pt x="146" y="165"/>
                  </a:lnTo>
                  <a:lnTo>
                    <a:pt x="146" y="169"/>
                  </a:lnTo>
                  <a:lnTo>
                    <a:pt x="146" y="171"/>
                  </a:lnTo>
                  <a:lnTo>
                    <a:pt x="146" y="175"/>
                  </a:lnTo>
                  <a:lnTo>
                    <a:pt x="142" y="177"/>
                  </a:lnTo>
                  <a:lnTo>
                    <a:pt x="141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1" y="180"/>
                  </a:lnTo>
                  <a:lnTo>
                    <a:pt x="127" y="180"/>
                  </a:lnTo>
                  <a:lnTo>
                    <a:pt x="125" y="178"/>
                  </a:lnTo>
                  <a:lnTo>
                    <a:pt x="123" y="178"/>
                  </a:lnTo>
                  <a:lnTo>
                    <a:pt x="121" y="177"/>
                  </a:lnTo>
                  <a:lnTo>
                    <a:pt x="119" y="173"/>
                  </a:lnTo>
                  <a:lnTo>
                    <a:pt x="118" y="173"/>
                  </a:lnTo>
                  <a:lnTo>
                    <a:pt x="116" y="175"/>
                  </a:lnTo>
                  <a:lnTo>
                    <a:pt x="114" y="177"/>
                  </a:lnTo>
                  <a:lnTo>
                    <a:pt x="114" y="180"/>
                  </a:lnTo>
                  <a:lnTo>
                    <a:pt x="114" y="182"/>
                  </a:lnTo>
                  <a:lnTo>
                    <a:pt x="114" y="184"/>
                  </a:lnTo>
                  <a:lnTo>
                    <a:pt x="116" y="188"/>
                  </a:lnTo>
                  <a:lnTo>
                    <a:pt x="114" y="190"/>
                  </a:lnTo>
                  <a:lnTo>
                    <a:pt x="114" y="194"/>
                  </a:lnTo>
                  <a:lnTo>
                    <a:pt x="112" y="194"/>
                  </a:lnTo>
                  <a:lnTo>
                    <a:pt x="110" y="196"/>
                  </a:lnTo>
                  <a:lnTo>
                    <a:pt x="108" y="198"/>
                  </a:lnTo>
                  <a:lnTo>
                    <a:pt x="108" y="201"/>
                  </a:lnTo>
                  <a:lnTo>
                    <a:pt x="108" y="205"/>
                  </a:lnTo>
                  <a:lnTo>
                    <a:pt x="108" y="207"/>
                  </a:lnTo>
                  <a:lnTo>
                    <a:pt x="108" y="211"/>
                  </a:lnTo>
                  <a:lnTo>
                    <a:pt x="108" y="213"/>
                  </a:lnTo>
                  <a:lnTo>
                    <a:pt x="108" y="215"/>
                  </a:lnTo>
                  <a:lnTo>
                    <a:pt x="106" y="221"/>
                  </a:lnTo>
                  <a:lnTo>
                    <a:pt x="102" y="221"/>
                  </a:lnTo>
                  <a:lnTo>
                    <a:pt x="98" y="221"/>
                  </a:lnTo>
                  <a:lnTo>
                    <a:pt x="94" y="221"/>
                  </a:lnTo>
                  <a:lnTo>
                    <a:pt x="93" y="223"/>
                  </a:lnTo>
                  <a:lnTo>
                    <a:pt x="93" y="225"/>
                  </a:lnTo>
                  <a:lnTo>
                    <a:pt x="91" y="225"/>
                  </a:lnTo>
                  <a:lnTo>
                    <a:pt x="91" y="223"/>
                  </a:lnTo>
                  <a:lnTo>
                    <a:pt x="87" y="221"/>
                  </a:lnTo>
                  <a:lnTo>
                    <a:pt x="85" y="219"/>
                  </a:lnTo>
                  <a:lnTo>
                    <a:pt x="85" y="217"/>
                  </a:lnTo>
                  <a:lnTo>
                    <a:pt x="83" y="215"/>
                  </a:lnTo>
                  <a:lnTo>
                    <a:pt x="83" y="213"/>
                  </a:lnTo>
                  <a:lnTo>
                    <a:pt x="79" y="213"/>
                  </a:lnTo>
                  <a:lnTo>
                    <a:pt x="77" y="211"/>
                  </a:lnTo>
                  <a:lnTo>
                    <a:pt x="73" y="209"/>
                  </a:lnTo>
                  <a:lnTo>
                    <a:pt x="73" y="207"/>
                  </a:lnTo>
                  <a:lnTo>
                    <a:pt x="71" y="203"/>
                  </a:lnTo>
                  <a:lnTo>
                    <a:pt x="70" y="201"/>
                  </a:lnTo>
                  <a:lnTo>
                    <a:pt x="68" y="200"/>
                  </a:lnTo>
                  <a:lnTo>
                    <a:pt x="66" y="198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0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2"/>
                  </a:lnTo>
                  <a:lnTo>
                    <a:pt x="52" y="180"/>
                  </a:lnTo>
                  <a:lnTo>
                    <a:pt x="50" y="177"/>
                  </a:lnTo>
                  <a:lnTo>
                    <a:pt x="47" y="175"/>
                  </a:lnTo>
                  <a:lnTo>
                    <a:pt x="45" y="173"/>
                  </a:lnTo>
                  <a:lnTo>
                    <a:pt x="43" y="171"/>
                  </a:lnTo>
                  <a:lnTo>
                    <a:pt x="41" y="169"/>
                  </a:lnTo>
                  <a:lnTo>
                    <a:pt x="39" y="167"/>
                  </a:lnTo>
                  <a:lnTo>
                    <a:pt x="37" y="163"/>
                  </a:lnTo>
                  <a:lnTo>
                    <a:pt x="31" y="161"/>
                  </a:lnTo>
                  <a:lnTo>
                    <a:pt x="29" y="157"/>
                  </a:lnTo>
                  <a:lnTo>
                    <a:pt x="27" y="152"/>
                  </a:lnTo>
                  <a:lnTo>
                    <a:pt x="25" y="148"/>
                  </a:lnTo>
                  <a:lnTo>
                    <a:pt x="25" y="144"/>
                  </a:lnTo>
                  <a:lnTo>
                    <a:pt x="23" y="142"/>
                  </a:lnTo>
                  <a:lnTo>
                    <a:pt x="22" y="140"/>
                  </a:lnTo>
                  <a:lnTo>
                    <a:pt x="20" y="138"/>
                  </a:lnTo>
                  <a:lnTo>
                    <a:pt x="16" y="138"/>
                  </a:lnTo>
                  <a:lnTo>
                    <a:pt x="14" y="136"/>
                  </a:lnTo>
                  <a:lnTo>
                    <a:pt x="12" y="134"/>
                  </a:lnTo>
                  <a:lnTo>
                    <a:pt x="10" y="132"/>
                  </a:lnTo>
                  <a:lnTo>
                    <a:pt x="10" y="130"/>
                  </a:lnTo>
                  <a:lnTo>
                    <a:pt x="8" y="129"/>
                  </a:lnTo>
                  <a:lnTo>
                    <a:pt x="6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2" y="113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2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4" y="96"/>
                  </a:lnTo>
                  <a:lnTo>
                    <a:pt x="6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4"/>
                  </a:lnTo>
                  <a:lnTo>
                    <a:pt x="8" y="106"/>
                  </a:lnTo>
                  <a:lnTo>
                    <a:pt x="12" y="107"/>
                  </a:lnTo>
                  <a:lnTo>
                    <a:pt x="14" y="107"/>
                  </a:lnTo>
                  <a:lnTo>
                    <a:pt x="18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2" y="100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7" y="96"/>
                  </a:lnTo>
                  <a:lnTo>
                    <a:pt x="27" y="92"/>
                  </a:lnTo>
                  <a:lnTo>
                    <a:pt x="29" y="92"/>
                  </a:lnTo>
                  <a:lnTo>
                    <a:pt x="29" y="88"/>
                  </a:lnTo>
                  <a:lnTo>
                    <a:pt x="31" y="86"/>
                  </a:lnTo>
                  <a:lnTo>
                    <a:pt x="33" y="86"/>
                  </a:lnTo>
                  <a:lnTo>
                    <a:pt x="33" y="83"/>
                  </a:lnTo>
                  <a:lnTo>
                    <a:pt x="33" y="81"/>
                  </a:lnTo>
                  <a:lnTo>
                    <a:pt x="33" y="77"/>
                  </a:lnTo>
                  <a:lnTo>
                    <a:pt x="33" y="73"/>
                  </a:lnTo>
                  <a:lnTo>
                    <a:pt x="33" y="69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59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3" y="56"/>
                  </a:lnTo>
                  <a:lnTo>
                    <a:pt x="47" y="56"/>
                  </a:lnTo>
                  <a:lnTo>
                    <a:pt x="48" y="56"/>
                  </a:lnTo>
                  <a:lnTo>
                    <a:pt x="50" y="54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62" y="54"/>
                  </a:lnTo>
                  <a:lnTo>
                    <a:pt x="64" y="54"/>
                  </a:lnTo>
                  <a:lnTo>
                    <a:pt x="68" y="54"/>
                  </a:lnTo>
                  <a:lnTo>
                    <a:pt x="70" y="54"/>
                  </a:lnTo>
                  <a:lnTo>
                    <a:pt x="73" y="52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5" y="48"/>
                  </a:lnTo>
                  <a:lnTo>
                    <a:pt x="89" y="48"/>
                  </a:lnTo>
                  <a:lnTo>
                    <a:pt x="91" y="48"/>
                  </a:lnTo>
                  <a:lnTo>
                    <a:pt x="94" y="48"/>
                  </a:lnTo>
                  <a:lnTo>
                    <a:pt x="98" y="48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8" y="50"/>
                  </a:lnTo>
                  <a:lnTo>
                    <a:pt x="112" y="50"/>
                  </a:lnTo>
                  <a:lnTo>
                    <a:pt x="116" y="50"/>
                  </a:lnTo>
                  <a:lnTo>
                    <a:pt x="114" y="48"/>
                  </a:lnTo>
                  <a:lnTo>
                    <a:pt x="112" y="48"/>
                  </a:lnTo>
                  <a:lnTo>
                    <a:pt x="110" y="46"/>
                  </a:lnTo>
                  <a:lnTo>
                    <a:pt x="110" y="42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8" y="35"/>
                  </a:lnTo>
                  <a:lnTo>
                    <a:pt x="108" y="31"/>
                  </a:lnTo>
                  <a:lnTo>
                    <a:pt x="110" y="29"/>
                  </a:lnTo>
                  <a:lnTo>
                    <a:pt x="110" y="25"/>
                  </a:lnTo>
                  <a:lnTo>
                    <a:pt x="110" y="23"/>
                  </a:lnTo>
                  <a:lnTo>
                    <a:pt x="112" y="21"/>
                  </a:lnTo>
                  <a:lnTo>
                    <a:pt x="112" y="19"/>
                  </a:lnTo>
                  <a:lnTo>
                    <a:pt x="112" y="17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8" y="6"/>
                  </a:lnTo>
                  <a:lnTo>
                    <a:pt x="119" y="6"/>
                  </a:lnTo>
                  <a:lnTo>
                    <a:pt x="123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3" y="4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39" y="0"/>
                  </a:lnTo>
                  <a:lnTo>
                    <a:pt x="142" y="0"/>
                  </a:lnTo>
                  <a:lnTo>
                    <a:pt x="144" y="0"/>
                  </a:lnTo>
                  <a:lnTo>
                    <a:pt x="148" y="0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8" y="0"/>
                  </a:lnTo>
                  <a:lnTo>
                    <a:pt x="160" y="0"/>
                  </a:lnTo>
                  <a:lnTo>
                    <a:pt x="164" y="2"/>
                  </a:lnTo>
                  <a:lnTo>
                    <a:pt x="165" y="4"/>
                  </a:lnTo>
                  <a:lnTo>
                    <a:pt x="167" y="4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7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59" name="Freeform 46"/>
            <p:cNvSpPr>
              <a:spLocks/>
            </p:cNvSpPr>
            <p:nvPr/>
          </p:nvSpPr>
          <p:spPr bwMode="auto">
            <a:xfrm>
              <a:off x="1478" y="2236"/>
              <a:ext cx="231" cy="225"/>
            </a:xfrm>
            <a:custGeom>
              <a:avLst/>
              <a:gdLst/>
              <a:ahLst/>
              <a:cxnLst>
                <a:cxn ang="0">
                  <a:pos x="175" y="25"/>
                </a:cxn>
                <a:cxn ang="0">
                  <a:pos x="173" y="42"/>
                </a:cxn>
                <a:cxn ang="0">
                  <a:pos x="185" y="61"/>
                </a:cxn>
                <a:cxn ang="0">
                  <a:pos x="190" y="46"/>
                </a:cxn>
                <a:cxn ang="0">
                  <a:pos x="210" y="38"/>
                </a:cxn>
                <a:cxn ang="0">
                  <a:pos x="223" y="48"/>
                </a:cxn>
                <a:cxn ang="0">
                  <a:pos x="229" y="59"/>
                </a:cxn>
                <a:cxn ang="0">
                  <a:pos x="227" y="75"/>
                </a:cxn>
                <a:cxn ang="0">
                  <a:pos x="208" y="83"/>
                </a:cxn>
                <a:cxn ang="0">
                  <a:pos x="202" y="94"/>
                </a:cxn>
                <a:cxn ang="0">
                  <a:pos x="206" y="109"/>
                </a:cxn>
                <a:cxn ang="0">
                  <a:pos x="221" y="119"/>
                </a:cxn>
                <a:cxn ang="0">
                  <a:pos x="225" y="138"/>
                </a:cxn>
                <a:cxn ang="0">
                  <a:pos x="223" y="157"/>
                </a:cxn>
                <a:cxn ang="0">
                  <a:pos x="217" y="175"/>
                </a:cxn>
                <a:cxn ang="0">
                  <a:pos x="206" y="182"/>
                </a:cxn>
                <a:cxn ang="0">
                  <a:pos x="196" y="173"/>
                </a:cxn>
                <a:cxn ang="0">
                  <a:pos x="188" y="180"/>
                </a:cxn>
                <a:cxn ang="0">
                  <a:pos x="169" y="175"/>
                </a:cxn>
                <a:cxn ang="0">
                  <a:pos x="162" y="159"/>
                </a:cxn>
                <a:cxn ang="0">
                  <a:pos x="146" y="159"/>
                </a:cxn>
                <a:cxn ang="0">
                  <a:pos x="142" y="177"/>
                </a:cxn>
                <a:cxn ang="0">
                  <a:pos x="125" y="178"/>
                </a:cxn>
                <a:cxn ang="0">
                  <a:pos x="114" y="177"/>
                </a:cxn>
                <a:cxn ang="0">
                  <a:pos x="114" y="194"/>
                </a:cxn>
                <a:cxn ang="0">
                  <a:pos x="108" y="207"/>
                </a:cxn>
                <a:cxn ang="0">
                  <a:pos x="98" y="221"/>
                </a:cxn>
                <a:cxn ang="0">
                  <a:pos x="87" y="221"/>
                </a:cxn>
                <a:cxn ang="0">
                  <a:pos x="77" y="211"/>
                </a:cxn>
                <a:cxn ang="0">
                  <a:pos x="66" y="198"/>
                </a:cxn>
                <a:cxn ang="0">
                  <a:pos x="56" y="182"/>
                </a:cxn>
                <a:cxn ang="0">
                  <a:pos x="41" y="169"/>
                </a:cxn>
                <a:cxn ang="0">
                  <a:pos x="25" y="148"/>
                </a:cxn>
                <a:cxn ang="0">
                  <a:pos x="14" y="136"/>
                </a:cxn>
                <a:cxn ang="0">
                  <a:pos x="2" y="125"/>
                </a:cxn>
                <a:cxn ang="0">
                  <a:pos x="0" y="107"/>
                </a:cxn>
                <a:cxn ang="0">
                  <a:pos x="6" y="100"/>
                </a:cxn>
                <a:cxn ang="0">
                  <a:pos x="18" y="107"/>
                </a:cxn>
                <a:cxn ang="0">
                  <a:pos x="27" y="96"/>
                </a:cxn>
                <a:cxn ang="0">
                  <a:pos x="33" y="83"/>
                </a:cxn>
                <a:cxn ang="0">
                  <a:pos x="37" y="67"/>
                </a:cxn>
                <a:cxn ang="0">
                  <a:pos x="43" y="56"/>
                </a:cxn>
                <a:cxn ang="0">
                  <a:pos x="62" y="54"/>
                </a:cxn>
                <a:cxn ang="0">
                  <a:pos x="75" y="48"/>
                </a:cxn>
                <a:cxn ang="0">
                  <a:pos x="94" y="48"/>
                </a:cxn>
                <a:cxn ang="0">
                  <a:pos x="116" y="50"/>
                </a:cxn>
                <a:cxn ang="0">
                  <a:pos x="108" y="38"/>
                </a:cxn>
                <a:cxn ang="0">
                  <a:pos x="112" y="21"/>
                </a:cxn>
                <a:cxn ang="0">
                  <a:pos x="112" y="10"/>
                </a:cxn>
                <a:cxn ang="0">
                  <a:pos x="119" y="6"/>
                </a:cxn>
                <a:cxn ang="0">
                  <a:pos x="135" y="0"/>
                </a:cxn>
                <a:cxn ang="0">
                  <a:pos x="154" y="0"/>
                </a:cxn>
                <a:cxn ang="0">
                  <a:pos x="171" y="4"/>
                </a:cxn>
              </a:cxnLst>
              <a:rect l="0" t="0" r="r" b="b"/>
              <a:pathLst>
                <a:path w="231" h="225">
                  <a:moveTo>
                    <a:pt x="177" y="6"/>
                  </a:moveTo>
                  <a:lnTo>
                    <a:pt x="177" y="12"/>
                  </a:lnTo>
                  <a:lnTo>
                    <a:pt x="177" y="15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5" y="25"/>
                  </a:lnTo>
                  <a:lnTo>
                    <a:pt x="175" y="27"/>
                  </a:lnTo>
                  <a:lnTo>
                    <a:pt x="175" y="31"/>
                  </a:lnTo>
                  <a:lnTo>
                    <a:pt x="173" y="31"/>
                  </a:lnTo>
                  <a:lnTo>
                    <a:pt x="173" y="35"/>
                  </a:lnTo>
                  <a:lnTo>
                    <a:pt x="173" y="38"/>
                  </a:lnTo>
                  <a:lnTo>
                    <a:pt x="173" y="42"/>
                  </a:lnTo>
                  <a:lnTo>
                    <a:pt x="173" y="46"/>
                  </a:lnTo>
                  <a:lnTo>
                    <a:pt x="175" y="48"/>
                  </a:lnTo>
                  <a:lnTo>
                    <a:pt x="175" y="52"/>
                  </a:lnTo>
                  <a:lnTo>
                    <a:pt x="179" y="58"/>
                  </a:lnTo>
                  <a:lnTo>
                    <a:pt x="181" y="61"/>
                  </a:lnTo>
                  <a:lnTo>
                    <a:pt x="185" y="61"/>
                  </a:lnTo>
                  <a:lnTo>
                    <a:pt x="187" y="59"/>
                  </a:lnTo>
                  <a:lnTo>
                    <a:pt x="187" y="56"/>
                  </a:lnTo>
                  <a:lnTo>
                    <a:pt x="188" y="54"/>
                  </a:lnTo>
                  <a:lnTo>
                    <a:pt x="188" y="50"/>
                  </a:lnTo>
                  <a:lnTo>
                    <a:pt x="188" y="48"/>
                  </a:lnTo>
                  <a:lnTo>
                    <a:pt x="190" y="46"/>
                  </a:lnTo>
                  <a:lnTo>
                    <a:pt x="192" y="44"/>
                  </a:lnTo>
                  <a:lnTo>
                    <a:pt x="196" y="42"/>
                  </a:lnTo>
                  <a:lnTo>
                    <a:pt x="200" y="40"/>
                  </a:lnTo>
                  <a:lnTo>
                    <a:pt x="204" y="40"/>
                  </a:lnTo>
                  <a:lnTo>
                    <a:pt x="206" y="38"/>
                  </a:lnTo>
                  <a:lnTo>
                    <a:pt x="210" y="38"/>
                  </a:lnTo>
                  <a:lnTo>
                    <a:pt x="213" y="40"/>
                  </a:lnTo>
                  <a:lnTo>
                    <a:pt x="215" y="40"/>
                  </a:lnTo>
                  <a:lnTo>
                    <a:pt x="217" y="40"/>
                  </a:lnTo>
                  <a:lnTo>
                    <a:pt x="221" y="42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5" y="50"/>
                  </a:lnTo>
                  <a:lnTo>
                    <a:pt x="227" y="52"/>
                  </a:lnTo>
                  <a:lnTo>
                    <a:pt x="227" y="56"/>
                  </a:lnTo>
                  <a:lnTo>
                    <a:pt x="227" y="58"/>
                  </a:lnTo>
                  <a:lnTo>
                    <a:pt x="229" y="59"/>
                  </a:lnTo>
                  <a:lnTo>
                    <a:pt x="229" y="63"/>
                  </a:lnTo>
                  <a:lnTo>
                    <a:pt x="229" y="65"/>
                  </a:lnTo>
                  <a:lnTo>
                    <a:pt x="229" y="69"/>
                  </a:lnTo>
                  <a:lnTo>
                    <a:pt x="231" y="71"/>
                  </a:lnTo>
                  <a:lnTo>
                    <a:pt x="229" y="73"/>
                  </a:lnTo>
                  <a:lnTo>
                    <a:pt x="227" y="75"/>
                  </a:lnTo>
                  <a:lnTo>
                    <a:pt x="223" y="75"/>
                  </a:lnTo>
                  <a:lnTo>
                    <a:pt x="221" y="75"/>
                  </a:lnTo>
                  <a:lnTo>
                    <a:pt x="219" y="77"/>
                  </a:lnTo>
                  <a:lnTo>
                    <a:pt x="215" y="77"/>
                  </a:lnTo>
                  <a:lnTo>
                    <a:pt x="212" y="79"/>
                  </a:lnTo>
                  <a:lnTo>
                    <a:pt x="208" y="83"/>
                  </a:lnTo>
                  <a:lnTo>
                    <a:pt x="206" y="83"/>
                  </a:lnTo>
                  <a:lnTo>
                    <a:pt x="206" y="84"/>
                  </a:lnTo>
                  <a:lnTo>
                    <a:pt x="204" y="86"/>
                  </a:lnTo>
                  <a:lnTo>
                    <a:pt x="204" y="88"/>
                  </a:lnTo>
                  <a:lnTo>
                    <a:pt x="204" y="92"/>
                  </a:lnTo>
                  <a:lnTo>
                    <a:pt x="202" y="94"/>
                  </a:lnTo>
                  <a:lnTo>
                    <a:pt x="202" y="98"/>
                  </a:lnTo>
                  <a:lnTo>
                    <a:pt x="202" y="100"/>
                  </a:lnTo>
                  <a:lnTo>
                    <a:pt x="202" y="102"/>
                  </a:lnTo>
                  <a:lnTo>
                    <a:pt x="206" y="104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13"/>
                  </a:lnTo>
                  <a:lnTo>
                    <a:pt x="212" y="115"/>
                  </a:lnTo>
                  <a:lnTo>
                    <a:pt x="213" y="115"/>
                  </a:lnTo>
                  <a:lnTo>
                    <a:pt x="215" y="117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21"/>
                  </a:lnTo>
                  <a:lnTo>
                    <a:pt x="223" y="125"/>
                  </a:lnTo>
                  <a:lnTo>
                    <a:pt x="223" y="127"/>
                  </a:lnTo>
                  <a:lnTo>
                    <a:pt x="223" y="130"/>
                  </a:lnTo>
                  <a:lnTo>
                    <a:pt x="225" y="134"/>
                  </a:lnTo>
                  <a:lnTo>
                    <a:pt x="225" y="138"/>
                  </a:lnTo>
                  <a:lnTo>
                    <a:pt x="223" y="140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52"/>
                  </a:lnTo>
                  <a:lnTo>
                    <a:pt x="223" y="154"/>
                  </a:lnTo>
                  <a:lnTo>
                    <a:pt x="223" y="157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5"/>
                  </a:lnTo>
                  <a:lnTo>
                    <a:pt x="221" y="169"/>
                  </a:lnTo>
                  <a:lnTo>
                    <a:pt x="217" y="171"/>
                  </a:lnTo>
                  <a:lnTo>
                    <a:pt x="217" y="175"/>
                  </a:lnTo>
                  <a:lnTo>
                    <a:pt x="215" y="177"/>
                  </a:lnTo>
                  <a:lnTo>
                    <a:pt x="215" y="178"/>
                  </a:lnTo>
                  <a:lnTo>
                    <a:pt x="215" y="180"/>
                  </a:lnTo>
                  <a:lnTo>
                    <a:pt x="212" y="180"/>
                  </a:lnTo>
                  <a:lnTo>
                    <a:pt x="210" y="182"/>
                  </a:lnTo>
                  <a:lnTo>
                    <a:pt x="206" y="182"/>
                  </a:lnTo>
                  <a:lnTo>
                    <a:pt x="204" y="178"/>
                  </a:lnTo>
                  <a:lnTo>
                    <a:pt x="202" y="177"/>
                  </a:lnTo>
                  <a:lnTo>
                    <a:pt x="202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0" y="180"/>
                  </a:lnTo>
                  <a:lnTo>
                    <a:pt x="188" y="180"/>
                  </a:lnTo>
                  <a:lnTo>
                    <a:pt x="185" y="180"/>
                  </a:lnTo>
                  <a:lnTo>
                    <a:pt x="181" y="180"/>
                  </a:lnTo>
                  <a:lnTo>
                    <a:pt x="179" y="178"/>
                  </a:lnTo>
                  <a:lnTo>
                    <a:pt x="175" y="177"/>
                  </a:lnTo>
                  <a:lnTo>
                    <a:pt x="171" y="177"/>
                  </a:lnTo>
                  <a:lnTo>
                    <a:pt x="169" y="175"/>
                  </a:lnTo>
                  <a:lnTo>
                    <a:pt x="167" y="171"/>
                  </a:lnTo>
                  <a:lnTo>
                    <a:pt x="165" y="169"/>
                  </a:lnTo>
                  <a:lnTo>
                    <a:pt x="164" y="165"/>
                  </a:lnTo>
                  <a:lnTo>
                    <a:pt x="164" y="161"/>
                  </a:lnTo>
                  <a:lnTo>
                    <a:pt x="162" y="161"/>
                  </a:lnTo>
                  <a:lnTo>
                    <a:pt x="162" y="159"/>
                  </a:lnTo>
                  <a:lnTo>
                    <a:pt x="160" y="157"/>
                  </a:lnTo>
                  <a:lnTo>
                    <a:pt x="156" y="157"/>
                  </a:lnTo>
                  <a:lnTo>
                    <a:pt x="154" y="157"/>
                  </a:lnTo>
                  <a:lnTo>
                    <a:pt x="152" y="157"/>
                  </a:lnTo>
                  <a:lnTo>
                    <a:pt x="148" y="157"/>
                  </a:lnTo>
                  <a:lnTo>
                    <a:pt x="146" y="159"/>
                  </a:lnTo>
                  <a:lnTo>
                    <a:pt x="146" y="161"/>
                  </a:lnTo>
                  <a:lnTo>
                    <a:pt x="146" y="165"/>
                  </a:lnTo>
                  <a:lnTo>
                    <a:pt x="146" y="169"/>
                  </a:lnTo>
                  <a:lnTo>
                    <a:pt x="146" y="171"/>
                  </a:lnTo>
                  <a:lnTo>
                    <a:pt x="146" y="175"/>
                  </a:lnTo>
                  <a:lnTo>
                    <a:pt x="142" y="177"/>
                  </a:lnTo>
                  <a:lnTo>
                    <a:pt x="141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1" y="180"/>
                  </a:lnTo>
                  <a:lnTo>
                    <a:pt x="127" y="180"/>
                  </a:lnTo>
                  <a:lnTo>
                    <a:pt x="125" y="178"/>
                  </a:lnTo>
                  <a:lnTo>
                    <a:pt x="123" y="178"/>
                  </a:lnTo>
                  <a:lnTo>
                    <a:pt x="121" y="177"/>
                  </a:lnTo>
                  <a:lnTo>
                    <a:pt x="119" y="173"/>
                  </a:lnTo>
                  <a:lnTo>
                    <a:pt x="118" y="173"/>
                  </a:lnTo>
                  <a:lnTo>
                    <a:pt x="116" y="175"/>
                  </a:lnTo>
                  <a:lnTo>
                    <a:pt x="114" y="177"/>
                  </a:lnTo>
                  <a:lnTo>
                    <a:pt x="114" y="180"/>
                  </a:lnTo>
                  <a:lnTo>
                    <a:pt x="114" y="182"/>
                  </a:lnTo>
                  <a:lnTo>
                    <a:pt x="114" y="184"/>
                  </a:lnTo>
                  <a:lnTo>
                    <a:pt x="116" y="188"/>
                  </a:lnTo>
                  <a:lnTo>
                    <a:pt x="114" y="190"/>
                  </a:lnTo>
                  <a:lnTo>
                    <a:pt x="114" y="194"/>
                  </a:lnTo>
                  <a:lnTo>
                    <a:pt x="112" y="194"/>
                  </a:lnTo>
                  <a:lnTo>
                    <a:pt x="110" y="196"/>
                  </a:lnTo>
                  <a:lnTo>
                    <a:pt x="108" y="198"/>
                  </a:lnTo>
                  <a:lnTo>
                    <a:pt x="108" y="201"/>
                  </a:lnTo>
                  <a:lnTo>
                    <a:pt x="108" y="205"/>
                  </a:lnTo>
                  <a:lnTo>
                    <a:pt x="108" y="207"/>
                  </a:lnTo>
                  <a:lnTo>
                    <a:pt x="108" y="211"/>
                  </a:lnTo>
                  <a:lnTo>
                    <a:pt x="108" y="213"/>
                  </a:lnTo>
                  <a:lnTo>
                    <a:pt x="108" y="215"/>
                  </a:lnTo>
                  <a:lnTo>
                    <a:pt x="106" y="221"/>
                  </a:lnTo>
                  <a:lnTo>
                    <a:pt x="102" y="221"/>
                  </a:lnTo>
                  <a:lnTo>
                    <a:pt x="98" y="221"/>
                  </a:lnTo>
                  <a:lnTo>
                    <a:pt x="94" y="221"/>
                  </a:lnTo>
                  <a:lnTo>
                    <a:pt x="93" y="223"/>
                  </a:lnTo>
                  <a:lnTo>
                    <a:pt x="93" y="225"/>
                  </a:lnTo>
                  <a:lnTo>
                    <a:pt x="91" y="225"/>
                  </a:lnTo>
                  <a:lnTo>
                    <a:pt x="91" y="223"/>
                  </a:lnTo>
                  <a:lnTo>
                    <a:pt x="87" y="221"/>
                  </a:lnTo>
                  <a:lnTo>
                    <a:pt x="85" y="219"/>
                  </a:lnTo>
                  <a:lnTo>
                    <a:pt x="85" y="217"/>
                  </a:lnTo>
                  <a:lnTo>
                    <a:pt x="83" y="215"/>
                  </a:lnTo>
                  <a:lnTo>
                    <a:pt x="83" y="213"/>
                  </a:lnTo>
                  <a:lnTo>
                    <a:pt x="79" y="213"/>
                  </a:lnTo>
                  <a:lnTo>
                    <a:pt x="77" y="211"/>
                  </a:lnTo>
                  <a:lnTo>
                    <a:pt x="73" y="209"/>
                  </a:lnTo>
                  <a:lnTo>
                    <a:pt x="73" y="207"/>
                  </a:lnTo>
                  <a:lnTo>
                    <a:pt x="71" y="203"/>
                  </a:lnTo>
                  <a:lnTo>
                    <a:pt x="70" y="201"/>
                  </a:lnTo>
                  <a:lnTo>
                    <a:pt x="68" y="200"/>
                  </a:lnTo>
                  <a:lnTo>
                    <a:pt x="66" y="198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0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2"/>
                  </a:lnTo>
                  <a:lnTo>
                    <a:pt x="52" y="180"/>
                  </a:lnTo>
                  <a:lnTo>
                    <a:pt x="50" y="177"/>
                  </a:lnTo>
                  <a:lnTo>
                    <a:pt x="47" y="175"/>
                  </a:lnTo>
                  <a:lnTo>
                    <a:pt x="45" y="173"/>
                  </a:lnTo>
                  <a:lnTo>
                    <a:pt x="43" y="171"/>
                  </a:lnTo>
                  <a:lnTo>
                    <a:pt x="41" y="169"/>
                  </a:lnTo>
                  <a:lnTo>
                    <a:pt x="39" y="167"/>
                  </a:lnTo>
                  <a:lnTo>
                    <a:pt x="37" y="163"/>
                  </a:lnTo>
                  <a:lnTo>
                    <a:pt x="31" y="161"/>
                  </a:lnTo>
                  <a:lnTo>
                    <a:pt x="29" y="157"/>
                  </a:lnTo>
                  <a:lnTo>
                    <a:pt x="27" y="152"/>
                  </a:lnTo>
                  <a:lnTo>
                    <a:pt x="25" y="148"/>
                  </a:lnTo>
                  <a:lnTo>
                    <a:pt x="25" y="144"/>
                  </a:lnTo>
                  <a:lnTo>
                    <a:pt x="23" y="142"/>
                  </a:lnTo>
                  <a:lnTo>
                    <a:pt x="22" y="140"/>
                  </a:lnTo>
                  <a:lnTo>
                    <a:pt x="20" y="138"/>
                  </a:lnTo>
                  <a:lnTo>
                    <a:pt x="16" y="138"/>
                  </a:lnTo>
                  <a:lnTo>
                    <a:pt x="14" y="136"/>
                  </a:lnTo>
                  <a:lnTo>
                    <a:pt x="12" y="134"/>
                  </a:lnTo>
                  <a:lnTo>
                    <a:pt x="10" y="132"/>
                  </a:lnTo>
                  <a:lnTo>
                    <a:pt x="10" y="130"/>
                  </a:lnTo>
                  <a:lnTo>
                    <a:pt x="8" y="129"/>
                  </a:lnTo>
                  <a:lnTo>
                    <a:pt x="6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2" y="113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0" y="102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4" y="96"/>
                  </a:lnTo>
                  <a:lnTo>
                    <a:pt x="6" y="98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8" y="104"/>
                  </a:lnTo>
                  <a:lnTo>
                    <a:pt x="8" y="106"/>
                  </a:lnTo>
                  <a:lnTo>
                    <a:pt x="12" y="107"/>
                  </a:lnTo>
                  <a:lnTo>
                    <a:pt x="14" y="107"/>
                  </a:lnTo>
                  <a:lnTo>
                    <a:pt x="18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2" y="100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7" y="96"/>
                  </a:lnTo>
                  <a:lnTo>
                    <a:pt x="27" y="92"/>
                  </a:lnTo>
                  <a:lnTo>
                    <a:pt x="29" y="92"/>
                  </a:lnTo>
                  <a:lnTo>
                    <a:pt x="29" y="88"/>
                  </a:lnTo>
                  <a:lnTo>
                    <a:pt x="31" y="86"/>
                  </a:lnTo>
                  <a:lnTo>
                    <a:pt x="33" y="86"/>
                  </a:lnTo>
                  <a:lnTo>
                    <a:pt x="33" y="83"/>
                  </a:lnTo>
                  <a:lnTo>
                    <a:pt x="33" y="81"/>
                  </a:lnTo>
                  <a:lnTo>
                    <a:pt x="33" y="77"/>
                  </a:lnTo>
                  <a:lnTo>
                    <a:pt x="33" y="73"/>
                  </a:lnTo>
                  <a:lnTo>
                    <a:pt x="33" y="69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59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3" y="56"/>
                  </a:lnTo>
                  <a:lnTo>
                    <a:pt x="47" y="56"/>
                  </a:lnTo>
                  <a:lnTo>
                    <a:pt x="48" y="56"/>
                  </a:lnTo>
                  <a:lnTo>
                    <a:pt x="50" y="54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62" y="54"/>
                  </a:lnTo>
                  <a:lnTo>
                    <a:pt x="64" y="54"/>
                  </a:lnTo>
                  <a:lnTo>
                    <a:pt x="68" y="54"/>
                  </a:lnTo>
                  <a:lnTo>
                    <a:pt x="70" y="54"/>
                  </a:lnTo>
                  <a:lnTo>
                    <a:pt x="73" y="52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5" y="48"/>
                  </a:lnTo>
                  <a:lnTo>
                    <a:pt x="89" y="48"/>
                  </a:lnTo>
                  <a:lnTo>
                    <a:pt x="91" y="48"/>
                  </a:lnTo>
                  <a:lnTo>
                    <a:pt x="94" y="48"/>
                  </a:lnTo>
                  <a:lnTo>
                    <a:pt x="98" y="48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8" y="50"/>
                  </a:lnTo>
                  <a:lnTo>
                    <a:pt x="112" y="50"/>
                  </a:lnTo>
                  <a:lnTo>
                    <a:pt x="116" y="50"/>
                  </a:lnTo>
                  <a:lnTo>
                    <a:pt x="114" y="48"/>
                  </a:lnTo>
                  <a:lnTo>
                    <a:pt x="112" y="48"/>
                  </a:lnTo>
                  <a:lnTo>
                    <a:pt x="110" y="46"/>
                  </a:lnTo>
                  <a:lnTo>
                    <a:pt x="110" y="42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8" y="35"/>
                  </a:lnTo>
                  <a:lnTo>
                    <a:pt x="108" y="31"/>
                  </a:lnTo>
                  <a:lnTo>
                    <a:pt x="110" y="29"/>
                  </a:lnTo>
                  <a:lnTo>
                    <a:pt x="110" y="25"/>
                  </a:lnTo>
                  <a:lnTo>
                    <a:pt x="110" y="23"/>
                  </a:lnTo>
                  <a:lnTo>
                    <a:pt x="112" y="21"/>
                  </a:lnTo>
                  <a:lnTo>
                    <a:pt x="112" y="19"/>
                  </a:lnTo>
                  <a:lnTo>
                    <a:pt x="112" y="17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4" y="12"/>
                  </a:lnTo>
                  <a:lnTo>
                    <a:pt x="112" y="10"/>
                  </a:lnTo>
                  <a:lnTo>
                    <a:pt x="112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4" y="8"/>
                  </a:lnTo>
                  <a:lnTo>
                    <a:pt x="118" y="6"/>
                  </a:lnTo>
                  <a:lnTo>
                    <a:pt x="119" y="6"/>
                  </a:lnTo>
                  <a:lnTo>
                    <a:pt x="123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3" y="4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39" y="0"/>
                  </a:lnTo>
                  <a:lnTo>
                    <a:pt x="142" y="0"/>
                  </a:lnTo>
                  <a:lnTo>
                    <a:pt x="144" y="0"/>
                  </a:lnTo>
                  <a:lnTo>
                    <a:pt x="148" y="0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8" y="0"/>
                  </a:lnTo>
                  <a:lnTo>
                    <a:pt x="160" y="0"/>
                  </a:lnTo>
                  <a:lnTo>
                    <a:pt x="164" y="2"/>
                  </a:lnTo>
                  <a:lnTo>
                    <a:pt x="165" y="4"/>
                  </a:lnTo>
                  <a:lnTo>
                    <a:pt x="167" y="4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7" y="6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0" name="Freeform 47"/>
            <p:cNvSpPr>
              <a:spLocks/>
            </p:cNvSpPr>
            <p:nvPr/>
          </p:nvSpPr>
          <p:spPr bwMode="auto">
            <a:xfrm>
              <a:off x="1569" y="2196"/>
              <a:ext cx="276" cy="326"/>
            </a:xfrm>
            <a:custGeom>
              <a:avLst/>
              <a:gdLst/>
              <a:ahLst/>
              <a:cxnLst>
                <a:cxn ang="0">
                  <a:pos x="13" y="291"/>
                </a:cxn>
                <a:cxn ang="0">
                  <a:pos x="27" y="314"/>
                </a:cxn>
                <a:cxn ang="0">
                  <a:pos x="44" y="324"/>
                </a:cxn>
                <a:cxn ang="0">
                  <a:pos x="53" y="312"/>
                </a:cxn>
                <a:cxn ang="0">
                  <a:pos x="65" y="297"/>
                </a:cxn>
                <a:cxn ang="0">
                  <a:pos x="84" y="289"/>
                </a:cxn>
                <a:cxn ang="0">
                  <a:pos x="105" y="295"/>
                </a:cxn>
                <a:cxn ang="0">
                  <a:pos x="130" y="295"/>
                </a:cxn>
                <a:cxn ang="0">
                  <a:pos x="132" y="311"/>
                </a:cxn>
                <a:cxn ang="0">
                  <a:pos x="155" y="307"/>
                </a:cxn>
                <a:cxn ang="0">
                  <a:pos x="168" y="286"/>
                </a:cxn>
                <a:cxn ang="0">
                  <a:pos x="188" y="261"/>
                </a:cxn>
                <a:cxn ang="0">
                  <a:pos x="201" y="245"/>
                </a:cxn>
                <a:cxn ang="0">
                  <a:pos x="199" y="220"/>
                </a:cxn>
                <a:cxn ang="0">
                  <a:pos x="199" y="195"/>
                </a:cxn>
                <a:cxn ang="0">
                  <a:pos x="215" y="178"/>
                </a:cxn>
                <a:cxn ang="0">
                  <a:pos x="232" y="159"/>
                </a:cxn>
                <a:cxn ang="0">
                  <a:pos x="249" y="140"/>
                </a:cxn>
                <a:cxn ang="0">
                  <a:pos x="263" y="119"/>
                </a:cxn>
                <a:cxn ang="0">
                  <a:pos x="268" y="90"/>
                </a:cxn>
                <a:cxn ang="0">
                  <a:pos x="263" y="73"/>
                </a:cxn>
                <a:cxn ang="0">
                  <a:pos x="264" y="40"/>
                </a:cxn>
                <a:cxn ang="0">
                  <a:pos x="274" y="25"/>
                </a:cxn>
                <a:cxn ang="0">
                  <a:pos x="272" y="4"/>
                </a:cxn>
                <a:cxn ang="0">
                  <a:pos x="255" y="2"/>
                </a:cxn>
                <a:cxn ang="0">
                  <a:pos x="234" y="0"/>
                </a:cxn>
                <a:cxn ang="0">
                  <a:pos x="220" y="11"/>
                </a:cxn>
                <a:cxn ang="0">
                  <a:pos x="205" y="25"/>
                </a:cxn>
                <a:cxn ang="0">
                  <a:pos x="203" y="38"/>
                </a:cxn>
                <a:cxn ang="0">
                  <a:pos x="195" y="55"/>
                </a:cxn>
                <a:cxn ang="0">
                  <a:pos x="178" y="65"/>
                </a:cxn>
                <a:cxn ang="0">
                  <a:pos x="165" y="57"/>
                </a:cxn>
                <a:cxn ang="0">
                  <a:pos x="142" y="50"/>
                </a:cxn>
                <a:cxn ang="0">
                  <a:pos x="119" y="50"/>
                </a:cxn>
                <a:cxn ang="0">
                  <a:pos x="94" y="48"/>
                </a:cxn>
                <a:cxn ang="0">
                  <a:pos x="80" y="57"/>
                </a:cxn>
                <a:cxn ang="0">
                  <a:pos x="86" y="96"/>
                </a:cxn>
                <a:cxn ang="0">
                  <a:pos x="97" y="96"/>
                </a:cxn>
                <a:cxn ang="0">
                  <a:pos x="103" y="84"/>
                </a:cxn>
                <a:cxn ang="0">
                  <a:pos x="132" y="86"/>
                </a:cxn>
                <a:cxn ang="0">
                  <a:pos x="138" y="105"/>
                </a:cxn>
                <a:cxn ang="0">
                  <a:pos x="128" y="115"/>
                </a:cxn>
                <a:cxn ang="0">
                  <a:pos x="113" y="124"/>
                </a:cxn>
                <a:cxn ang="0">
                  <a:pos x="113" y="146"/>
                </a:cxn>
                <a:cxn ang="0">
                  <a:pos x="121" y="159"/>
                </a:cxn>
                <a:cxn ang="0">
                  <a:pos x="128" y="169"/>
                </a:cxn>
                <a:cxn ang="0">
                  <a:pos x="130" y="211"/>
                </a:cxn>
                <a:cxn ang="0">
                  <a:pos x="117" y="220"/>
                </a:cxn>
                <a:cxn ang="0">
                  <a:pos x="107" y="211"/>
                </a:cxn>
                <a:cxn ang="0">
                  <a:pos x="96" y="222"/>
                </a:cxn>
                <a:cxn ang="0">
                  <a:pos x="80" y="215"/>
                </a:cxn>
                <a:cxn ang="0">
                  <a:pos x="71" y="201"/>
                </a:cxn>
                <a:cxn ang="0">
                  <a:pos x="57" y="199"/>
                </a:cxn>
                <a:cxn ang="0">
                  <a:pos x="50" y="220"/>
                </a:cxn>
                <a:cxn ang="0">
                  <a:pos x="30" y="217"/>
                </a:cxn>
                <a:cxn ang="0">
                  <a:pos x="21" y="238"/>
                </a:cxn>
                <a:cxn ang="0">
                  <a:pos x="13" y="253"/>
                </a:cxn>
                <a:cxn ang="0">
                  <a:pos x="2" y="265"/>
                </a:cxn>
                <a:cxn ang="0">
                  <a:pos x="0" y="268"/>
                </a:cxn>
              </a:cxnLst>
              <a:rect l="0" t="0" r="r" b="b"/>
              <a:pathLst>
                <a:path w="276" h="326">
                  <a:moveTo>
                    <a:pt x="0" y="268"/>
                  </a:moveTo>
                  <a:lnTo>
                    <a:pt x="3" y="272"/>
                  </a:lnTo>
                  <a:lnTo>
                    <a:pt x="3" y="276"/>
                  </a:lnTo>
                  <a:lnTo>
                    <a:pt x="5" y="282"/>
                  </a:lnTo>
                  <a:lnTo>
                    <a:pt x="9" y="286"/>
                  </a:lnTo>
                  <a:lnTo>
                    <a:pt x="13" y="291"/>
                  </a:lnTo>
                  <a:lnTo>
                    <a:pt x="17" y="299"/>
                  </a:lnTo>
                  <a:lnTo>
                    <a:pt x="17" y="305"/>
                  </a:lnTo>
                  <a:lnTo>
                    <a:pt x="19" y="307"/>
                  </a:lnTo>
                  <a:lnTo>
                    <a:pt x="23" y="309"/>
                  </a:lnTo>
                  <a:lnTo>
                    <a:pt x="27" y="311"/>
                  </a:lnTo>
                  <a:lnTo>
                    <a:pt x="27" y="314"/>
                  </a:lnTo>
                  <a:lnTo>
                    <a:pt x="28" y="316"/>
                  </a:lnTo>
                  <a:lnTo>
                    <a:pt x="28" y="318"/>
                  </a:lnTo>
                  <a:lnTo>
                    <a:pt x="34" y="322"/>
                  </a:lnTo>
                  <a:lnTo>
                    <a:pt x="36" y="326"/>
                  </a:lnTo>
                  <a:lnTo>
                    <a:pt x="44" y="326"/>
                  </a:lnTo>
                  <a:lnTo>
                    <a:pt x="44" y="324"/>
                  </a:lnTo>
                  <a:lnTo>
                    <a:pt x="46" y="324"/>
                  </a:lnTo>
                  <a:lnTo>
                    <a:pt x="48" y="322"/>
                  </a:lnTo>
                  <a:lnTo>
                    <a:pt x="50" y="318"/>
                  </a:lnTo>
                  <a:lnTo>
                    <a:pt x="50" y="316"/>
                  </a:lnTo>
                  <a:lnTo>
                    <a:pt x="51" y="314"/>
                  </a:lnTo>
                  <a:lnTo>
                    <a:pt x="53" y="312"/>
                  </a:lnTo>
                  <a:lnTo>
                    <a:pt x="55" y="311"/>
                  </a:lnTo>
                  <a:lnTo>
                    <a:pt x="55" y="309"/>
                  </a:lnTo>
                  <a:lnTo>
                    <a:pt x="61" y="305"/>
                  </a:lnTo>
                  <a:lnTo>
                    <a:pt x="61" y="303"/>
                  </a:lnTo>
                  <a:lnTo>
                    <a:pt x="63" y="299"/>
                  </a:lnTo>
                  <a:lnTo>
                    <a:pt x="65" y="297"/>
                  </a:lnTo>
                  <a:lnTo>
                    <a:pt x="69" y="295"/>
                  </a:lnTo>
                  <a:lnTo>
                    <a:pt x="71" y="293"/>
                  </a:lnTo>
                  <a:lnTo>
                    <a:pt x="71" y="291"/>
                  </a:lnTo>
                  <a:lnTo>
                    <a:pt x="73" y="289"/>
                  </a:lnTo>
                  <a:lnTo>
                    <a:pt x="73" y="289"/>
                  </a:lnTo>
                  <a:lnTo>
                    <a:pt x="84" y="289"/>
                  </a:lnTo>
                  <a:lnTo>
                    <a:pt x="88" y="289"/>
                  </a:lnTo>
                  <a:lnTo>
                    <a:pt x="88" y="291"/>
                  </a:lnTo>
                  <a:lnTo>
                    <a:pt x="90" y="293"/>
                  </a:lnTo>
                  <a:lnTo>
                    <a:pt x="94" y="293"/>
                  </a:lnTo>
                  <a:lnTo>
                    <a:pt x="97" y="295"/>
                  </a:lnTo>
                  <a:lnTo>
                    <a:pt x="105" y="295"/>
                  </a:lnTo>
                  <a:lnTo>
                    <a:pt x="115" y="295"/>
                  </a:lnTo>
                  <a:lnTo>
                    <a:pt x="115" y="293"/>
                  </a:lnTo>
                  <a:lnTo>
                    <a:pt x="121" y="293"/>
                  </a:lnTo>
                  <a:lnTo>
                    <a:pt x="124" y="293"/>
                  </a:lnTo>
                  <a:lnTo>
                    <a:pt x="128" y="295"/>
                  </a:lnTo>
                  <a:lnTo>
                    <a:pt x="130" y="295"/>
                  </a:lnTo>
                  <a:lnTo>
                    <a:pt x="132" y="297"/>
                  </a:lnTo>
                  <a:lnTo>
                    <a:pt x="132" y="299"/>
                  </a:lnTo>
                  <a:lnTo>
                    <a:pt x="132" y="301"/>
                  </a:lnTo>
                  <a:lnTo>
                    <a:pt x="132" y="305"/>
                  </a:lnTo>
                  <a:lnTo>
                    <a:pt x="132" y="309"/>
                  </a:lnTo>
                  <a:lnTo>
                    <a:pt x="132" y="311"/>
                  </a:lnTo>
                  <a:lnTo>
                    <a:pt x="132" y="312"/>
                  </a:lnTo>
                  <a:lnTo>
                    <a:pt x="144" y="312"/>
                  </a:lnTo>
                  <a:lnTo>
                    <a:pt x="145" y="312"/>
                  </a:lnTo>
                  <a:lnTo>
                    <a:pt x="149" y="311"/>
                  </a:lnTo>
                  <a:lnTo>
                    <a:pt x="151" y="309"/>
                  </a:lnTo>
                  <a:lnTo>
                    <a:pt x="155" y="307"/>
                  </a:lnTo>
                  <a:lnTo>
                    <a:pt x="157" y="303"/>
                  </a:lnTo>
                  <a:lnTo>
                    <a:pt x="159" y="301"/>
                  </a:lnTo>
                  <a:lnTo>
                    <a:pt x="161" y="299"/>
                  </a:lnTo>
                  <a:lnTo>
                    <a:pt x="163" y="293"/>
                  </a:lnTo>
                  <a:lnTo>
                    <a:pt x="167" y="291"/>
                  </a:lnTo>
                  <a:lnTo>
                    <a:pt x="168" y="286"/>
                  </a:lnTo>
                  <a:lnTo>
                    <a:pt x="174" y="282"/>
                  </a:lnTo>
                  <a:lnTo>
                    <a:pt x="176" y="276"/>
                  </a:lnTo>
                  <a:lnTo>
                    <a:pt x="176" y="274"/>
                  </a:lnTo>
                  <a:lnTo>
                    <a:pt x="180" y="272"/>
                  </a:lnTo>
                  <a:lnTo>
                    <a:pt x="184" y="266"/>
                  </a:lnTo>
                  <a:lnTo>
                    <a:pt x="188" y="261"/>
                  </a:lnTo>
                  <a:lnTo>
                    <a:pt x="192" y="259"/>
                  </a:lnTo>
                  <a:lnTo>
                    <a:pt x="193" y="257"/>
                  </a:lnTo>
                  <a:lnTo>
                    <a:pt x="195" y="255"/>
                  </a:lnTo>
                  <a:lnTo>
                    <a:pt x="197" y="253"/>
                  </a:lnTo>
                  <a:lnTo>
                    <a:pt x="199" y="251"/>
                  </a:lnTo>
                  <a:lnTo>
                    <a:pt x="201" y="245"/>
                  </a:lnTo>
                  <a:lnTo>
                    <a:pt x="201" y="243"/>
                  </a:lnTo>
                  <a:lnTo>
                    <a:pt x="203" y="240"/>
                  </a:lnTo>
                  <a:lnTo>
                    <a:pt x="203" y="228"/>
                  </a:lnTo>
                  <a:lnTo>
                    <a:pt x="201" y="224"/>
                  </a:lnTo>
                  <a:lnTo>
                    <a:pt x="201" y="222"/>
                  </a:lnTo>
                  <a:lnTo>
                    <a:pt x="199" y="220"/>
                  </a:lnTo>
                  <a:lnTo>
                    <a:pt x="199" y="218"/>
                  </a:lnTo>
                  <a:lnTo>
                    <a:pt x="197" y="215"/>
                  </a:lnTo>
                  <a:lnTo>
                    <a:pt x="197" y="209"/>
                  </a:lnTo>
                  <a:lnTo>
                    <a:pt x="197" y="203"/>
                  </a:lnTo>
                  <a:lnTo>
                    <a:pt x="199" y="199"/>
                  </a:lnTo>
                  <a:lnTo>
                    <a:pt x="199" y="195"/>
                  </a:lnTo>
                  <a:lnTo>
                    <a:pt x="201" y="194"/>
                  </a:lnTo>
                  <a:lnTo>
                    <a:pt x="203" y="190"/>
                  </a:lnTo>
                  <a:lnTo>
                    <a:pt x="209" y="186"/>
                  </a:lnTo>
                  <a:lnTo>
                    <a:pt x="209" y="184"/>
                  </a:lnTo>
                  <a:lnTo>
                    <a:pt x="213" y="182"/>
                  </a:lnTo>
                  <a:lnTo>
                    <a:pt x="215" y="178"/>
                  </a:lnTo>
                  <a:lnTo>
                    <a:pt x="218" y="176"/>
                  </a:lnTo>
                  <a:lnTo>
                    <a:pt x="220" y="174"/>
                  </a:lnTo>
                  <a:lnTo>
                    <a:pt x="224" y="170"/>
                  </a:lnTo>
                  <a:lnTo>
                    <a:pt x="228" y="165"/>
                  </a:lnTo>
                  <a:lnTo>
                    <a:pt x="230" y="161"/>
                  </a:lnTo>
                  <a:lnTo>
                    <a:pt x="232" y="159"/>
                  </a:lnTo>
                  <a:lnTo>
                    <a:pt x="234" y="157"/>
                  </a:lnTo>
                  <a:lnTo>
                    <a:pt x="238" y="153"/>
                  </a:lnTo>
                  <a:lnTo>
                    <a:pt x="241" y="149"/>
                  </a:lnTo>
                  <a:lnTo>
                    <a:pt x="243" y="146"/>
                  </a:lnTo>
                  <a:lnTo>
                    <a:pt x="245" y="144"/>
                  </a:lnTo>
                  <a:lnTo>
                    <a:pt x="249" y="140"/>
                  </a:lnTo>
                  <a:lnTo>
                    <a:pt x="251" y="138"/>
                  </a:lnTo>
                  <a:lnTo>
                    <a:pt x="253" y="134"/>
                  </a:lnTo>
                  <a:lnTo>
                    <a:pt x="257" y="132"/>
                  </a:lnTo>
                  <a:lnTo>
                    <a:pt x="257" y="128"/>
                  </a:lnTo>
                  <a:lnTo>
                    <a:pt x="259" y="123"/>
                  </a:lnTo>
                  <a:lnTo>
                    <a:pt x="263" y="119"/>
                  </a:lnTo>
                  <a:lnTo>
                    <a:pt x="263" y="113"/>
                  </a:lnTo>
                  <a:lnTo>
                    <a:pt x="263" y="107"/>
                  </a:lnTo>
                  <a:lnTo>
                    <a:pt x="264" y="105"/>
                  </a:lnTo>
                  <a:lnTo>
                    <a:pt x="266" y="101"/>
                  </a:lnTo>
                  <a:lnTo>
                    <a:pt x="268" y="99"/>
                  </a:lnTo>
                  <a:lnTo>
                    <a:pt x="268" y="90"/>
                  </a:lnTo>
                  <a:lnTo>
                    <a:pt x="266" y="88"/>
                  </a:lnTo>
                  <a:lnTo>
                    <a:pt x="264" y="86"/>
                  </a:lnTo>
                  <a:lnTo>
                    <a:pt x="264" y="82"/>
                  </a:lnTo>
                  <a:lnTo>
                    <a:pt x="264" y="78"/>
                  </a:lnTo>
                  <a:lnTo>
                    <a:pt x="264" y="76"/>
                  </a:lnTo>
                  <a:lnTo>
                    <a:pt x="263" y="73"/>
                  </a:lnTo>
                  <a:lnTo>
                    <a:pt x="263" y="63"/>
                  </a:lnTo>
                  <a:lnTo>
                    <a:pt x="263" y="53"/>
                  </a:lnTo>
                  <a:lnTo>
                    <a:pt x="264" y="50"/>
                  </a:lnTo>
                  <a:lnTo>
                    <a:pt x="264" y="46"/>
                  </a:lnTo>
                  <a:lnTo>
                    <a:pt x="264" y="44"/>
                  </a:lnTo>
                  <a:lnTo>
                    <a:pt x="264" y="40"/>
                  </a:lnTo>
                  <a:lnTo>
                    <a:pt x="264" y="38"/>
                  </a:lnTo>
                  <a:lnTo>
                    <a:pt x="268" y="34"/>
                  </a:lnTo>
                  <a:lnTo>
                    <a:pt x="270" y="32"/>
                  </a:lnTo>
                  <a:lnTo>
                    <a:pt x="272" y="29"/>
                  </a:lnTo>
                  <a:lnTo>
                    <a:pt x="272" y="27"/>
                  </a:lnTo>
                  <a:lnTo>
                    <a:pt x="274" y="25"/>
                  </a:lnTo>
                  <a:lnTo>
                    <a:pt x="274" y="23"/>
                  </a:lnTo>
                  <a:lnTo>
                    <a:pt x="274" y="17"/>
                  </a:lnTo>
                  <a:lnTo>
                    <a:pt x="276" y="11"/>
                  </a:lnTo>
                  <a:lnTo>
                    <a:pt x="276" y="0"/>
                  </a:lnTo>
                  <a:lnTo>
                    <a:pt x="274" y="0"/>
                  </a:lnTo>
                  <a:lnTo>
                    <a:pt x="272" y="4"/>
                  </a:lnTo>
                  <a:lnTo>
                    <a:pt x="268" y="5"/>
                  </a:lnTo>
                  <a:lnTo>
                    <a:pt x="264" y="5"/>
                  </a:lnTo>
                  <a:lnTo>
                    <a:pt x="259" y="5"/>
                  </a:lnTo>
                  <a:lnTo>
                    <a:pt x="259" y="4"/>
                  </a:lnTo>
                  <a:lnTo>
                    <a:pt x="257" y="4"/>
                  </a:lnTo>
                  <a:lnTo>
                    <a:pt x="255" y="2"/>
                  </a:lnTo>
                  <a:lnTo>
                    <a:pt x="253" y="2"/>
                  </a:lnTo>
                  <a:lnTo>
                    <a:pt x="251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4" y="0"/>
                  </a:lnTo>
                  <a:lnTo>
                    <a:pt x="230" y="4"/>
                  </a:lnTo>
                  <a:lnTo>
                    <a:pt x="228" y="4"/>
                  </a:lnTo>
                  <a:lnTo>
                    <a:pt x="224" y="7"/>
                  </a:lnTo>
                  <a:lnTo>
                    <a:pt x="222" y="9"/>
                  </a:lnTo>
                  <a:lnTo>
                    <a:pt x="220" y="9"/>
                  </a:lnTo>
                  <a:lnTo>
                    <a:pt x="220" y="11"/>
                  </a:lnTo>
                  <a:lnTo>
                    <a:pt x="213" y="11"/>
                  </a:lnTo>
                  <a:lnTo>
                    <a:pt x="211" y="15"/>
                  </a:lnTo>
                  <a:lnTo>
                    <a:pt x="209" y="17"/>
                  </a:lnTo>
                  <a:lnTo>
                    <a:pt x="207" y="19"/>
                  </a:lnTo>
                  <a:lnTo>
                    <a:pt x="207" y="23"/>
                  </a:lnTo>
                  <a:lnTo>
                    <a:pt x="205" y="25"/>
                  </a:lnTo>
                  <a:lnTo>
                    <a:pt x="205" y="27"/>
                  </a:lnTo>
                  <a:lnTo>
                    <a:pt x="205" y="29"/>
                  </a:lnTo>
                  <a:lnTo>
                    <a:pt x="205" y="30"/>
                  </a:lnTo>
                  <a:lnTo>
                    <a:pt x="203" y="34"/>
                  </a:lnTo>
                  <a:lnTo>
                    <a:pt x="203" y="36"/>
                  </a:lnTo>
                  <a:lnTo>
                    <a:pt x="203" y="38"/>
                  </a:lnTo>
                  <a:lnTo>
                    <a:pt x="199" y="44"/>
                  </a:lnTo>
                  <a:lnTo>
                    <a:pt x="199" y="46"/>
                  </a:lnTo>
                  <a:lnTo>
                    <a:pt x="197" y="48"/>
                  </a:lnTo>
                  <a:lnTo>
                    <a:pt x="195" y="50"/>
                  </a:lnTo>
                  <a:lnTo>
                    <a:pt x="195" y="53"/>
                  </a:lnTo>
                  <a:lnTo>
                    <a:pt x="195" y="55"/>
                  </a:lnTo>
                  <a:lnTo>
                    <a:pt x="193" y="57"/>
                  </a:lnTo>
                  <a:lnTo>
                    <a:pt x="192" y="61"/>
                  </a:lnTo>
                  <a:lnTo>
                    <a:pt x="190" y="67"/>
                  </a:lnTo>
                  <a:lnTo>
                    <a:pt x="186" y="67"/>
                  </a:lnTo>
                  <a:lnTo>
                    <a:pt x="180" y="67"/>
                  </a:lnTo>
                  <a:lnTo>
                    <a:pt x="178" y="65"/>
                  </a:lnTo>
                  <a:lnTo>
                    <a:pt x="176" y="63"/>
                  </a:lnTo>
                  <a:lnTo>
                    <a:pt x="174" y="61"/>
                  </a:lnTo>
                  <a:lnTo>
                    <a:pt x="170" y="61"/>
                  </a:lnTo>
                  <a:lnTo>
                    <a:pt x="168" y="61"/>
                  </a:lnTo>
                  <a:lnTo>
                    <a:pt x="168" y="57"/>
                  </a:lnTo>
                  <a:lnTo>
                    <a:pt x="165" y="57"/>
                  </a:lnTo>
                  <a:lnTo>
                    <a:pt x="161" y="55"/>
                  </a:lnTo>
                  <a:lnTo>
                    <a:pt x="159" y="53"/>
                  </a:lnTo>
                  <a:lnTo>
                    <a:pt x="155" y="52"/>
                  </a:lnTo>
                  <a:lnTo>
                    <a:pt x="149" y="52"/>
                  </a:lnTo>
                  <a:lnTo>
                    <a:pt x="145" y="50"/>
                  </a:lnTo>
                  <a:lnTo>
                    <a:pt x="142" y="50"/>
                  </a:lnTo>
                  <a:lnTo>
                    <a:pt x="138" y="50"/>
                  </a:lnTo>
                  <a:lnTo>
                    <a:pt x="134" y="48"/>
                  </a:lnTo>
                  <a:lnTo>
                    <a:pt x="130" y="48"/>
                  </a:lnTo>
                  <a:lnTo>
                    <a:pt x="124" y="48"/>
                  </a:lnTo>
                  <a:lnTo>
                    <a:pt x="122" y="50"/>
                  </a:lnTo>
                  <a:lnTo>
                    <a:pt x="119" y="50"/>
                  </a:lnTo>
                  <a:lnTo>
                    <a:pt x="115" y="50"/>
                  </a:lnTo>
                  <a:lnTo>
                    <a:pt x="111" y="50"/>
                  </a:lnTo>
                  <a:lnTo>
                    <a:pt x="107" y="52"/>
                  </a:lnTo>
                  <a:lnTo>
                    <a:pt x="105" y="50"/>
                  </a:lnTo>
                  <a:lnTo>
                    <a:pt x="99" y="50"/>
                  </a:lnTo>
                  <a:lnTo>
                    <a:pt x="94" y="48"/>
                  </a:lnTo>
                  <a:lnTo>
                    <a:pt x="88" y="48"/>
                  </a:lnTo>
                  <a:lnTo>
                    <a:pt x="86" y="48"/>
                  </a:lnTo>
                  <a:lnTo>
                    <a:pt x="82" y="46"/>
                  </a:lnTo>
                  <a:lnTo>
                    <a:pt x="82" y="50"/>
                  </a:lnTo>
                  <a:lnTo>
                    <a:pt x="80" y="53"/>
                  </a:lnTo>
                  <a:lnTo>
                    <a:pt x="80" y="57"/>
                  </a:lnTo>
                  <a:lnTo>
                    <a:pt x="80" y="78"/>
                  </a:lnTo>
                  <a:lnTo>
                    <a:pt x="80" y="80"/>
                  </a:lnTo>
                  <a:lnTo>
                    <a:pt x="80" y="88"/>
                  </a:lnTo>
                  <a:lnTo>
                    <a:pt x="80" y="94"/>
                  </a:lnTo>
                  <a:lnTo>
                    <a:pt x="84" y="94"/>
                  </a:lnTo>
                  <a:lnTo>
                    <a:pt x="86" y="96"/>
                  </a:lnTo>
                  <a:lnTo>
                    <a:pt x="88" y="99"/>
                  </a:lnTo>
                  <a:lnTo>
                    <a:pt x="90" y="101"/>
                  </a:lnTo>
                  <a:lnTo>
                    <a:pt x="96" y="101"/>
                  </a:lnTo>
                  <a:lnTo>
                    <a:pt x="96" y="98"/>
                  </a:lnTo>
                  <a:lnTo>
                    <a:pt x="97" y="96"/>
                  </a:lnTo>
                  <a:lnTo>
                    <a:pt x="97" y="96"/>
                  </a:lnTo>
                  <a:lnTo>
                    <a:pt x="97" y="92"/>
                  </a:lnTo>
                  <a:lnTo>
                    <a:pt x="99" y="90"/>
                  </a:lnTo>
                  <a:lnTo>
                    <a:pt x="99" y="88"/>
                  </a:lnTo>
                  <a:lnTo>
                    <a:pt x="101" y="88"/>
                  </a:lnTo>
                  <a:lnTo>
                    <a:pt x="103" y="88"/>
                  </a:lnTo>
                  <a:lnTo>
                    <a:pt x="103" y="84"/>
                  </a:lnTo>
                  <a:lnTo>
                    <a:pt x="105" y="82"/>
                  </a:lnTo>
                  <a:lnTo>
                    <a:pt x="105" y="80"/>
                  </a:lnTo>
                  <a:lnTo>
                    <a:pt x="113" y="80"/>
                  </a:lnTo>
                  <a:lnTo>
                    <a:pt x="121" y="80"/>
                  </a:lnTo>
                  <a:lnTo>
                    <a:pt x="128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4" y="88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8" y="98"/>
                  </a:lnTo>
                  <a:lnTo>
                    <a:pt x="138" y="105"/>
                  </a:lnTo>
                  <a:lnTo>
                    <a:pt x="138" y="111"/>
                  </a:lnTo>
                  <a:lnTo>
                    <a:pt x="134" y="111"/>
                  </a:lnTo>
                  <a:lnTo>
                    <a:pt x="132" y="113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28" y="115"/>
                  </a:lnTo>
                  <a:lnTo>
                    <a:pt x="124" y="119"/>
                  </a:lnTo>
                  <a:lnTo>
                    <a:pt x="121" y="121"/>
                  </a:lnTo>
                  <a:lnTo>
                    <a:pt x="117" y="121"/>
                  </a:lnTo>
                  <a:lnTo>
                    <a:pt x="115" y="123"/>
                  </a:lnTo>
                  <a:lnTo>
                    <a:pt x="115" y="123"/>
                  </a:lnTo>
                  <a:lnTo>
                    <a:pt x="113" y="124"/>
                  </a:lnTo>
                  <a:lnTo>
                    <a:pt x="113" y="128"/>
                  </a:lnTo>
                  <a:lnTo>
                    <a:pt x="111" y="130"/>
                  </a:lnTo>
                  <a:lnTo>
                    <a:pt x="111" y="134"/>
                  </a:lnTo>
                  <a:lnTo>
                    <a:pt x="111" y="140"/>
                  </a:lnTo>
                  <a:lnTo>
                    <a:pt x="113" y="142"/>
                  </a:lnTo>
                  <a:lnTo>
                    <a:pt x="113" y="146"/>
                  </a:lnTo>
                  <a:lnTo>
                    <a:pt x="113" y="147"/>
                  </a:lnTo>
                  <a:lnTo>
                    <a:pt x="115" y="151"/>
                  </a:lnTo>
                  <a:lnTo>
                    <a:pt x="115" y="153"/>
                  </a:lnTo>
                  <a:lnTo>
                    <a:pt x="115" y="157"/>
                  </a:lnTo>
                  <a:lnTo>
                    <a:pt x="117" y="159"/>
                  </a:lnTo>
                  <a:lnTo>
                    <a:pt x="121" y="159"/>
                  </a:lnTo>
                  <a:lnTo>
                    <a:pt x="121" y="161"/>
                  </a:lnTo>
                  <a:lnTo>
                    <a:pt x="122" y="163"/>
                  </a:lnTo>
                  <a:lnTo>
                    <a:pt x="124" y="165"/>
                  </a:lnTo>
                  <a:lnTo>
                    <a:pt x="124" y="167"/>
                  </a:lnTo>
                  <a:lnTo>
                    <a:pt x="126" y="169"/>
                  </a:lnTo>
                  <a:lnTo>
                    <a:pt x="128" y="169"/>
                  </a:lnTo>
                  <a:lnTo>
                    <a:pt x="130" y="172"/>
                  </a:lnTo>
                  <a:lnTo>
                    <a:pt x="130" y="176"/>
                  </a:lnTo>
                  <a:lnTo>
                    <a:pt x="132" y="178"/>
                  </a:lnTo>
                  <a:lnTo>
                    <a:pt x="132" y="188"/>
                  </a:lnTo>
                  <a:lnTo>
                    <a:pt x="130" y="195"/>
                  </a:lnTo>
                  <a:lnTo>
                    <a:pt x="130" y="211"/>
                  </a:lnTo>
                  <a:lnTo>
                    <a:pt x="128" y="215"/>
                  </a:lnTo>
                  <a:lnTo>
                    <a:pt x="128" y="217"/>
                  </a:lnTo>
                  <a:lnTo>
                    <a:pt x="126" y="218"/>
                  </a:lnTo>
                  <a:lnTo>
                    <a:pt x="124" y="220"/>
                  </a:lnTo>
                  <a:lnTo>
                    <a:pt x="121" y="220"/>
                  </a:lnTo>
                  <a:lnTo>
                    <a:pt x="117" y="220"/>
                  </a:lnTo>
                  <a:lnTo>
                    <a:pt x="115" y="220"/>
                  </a:lnTo>
                  <a:lnTo>
                    <a:pt x="113" y="218"/>
                  </a:lnTo>
                  <a:lnTo>
                    <a:pt x="113" y="217"/>
                  </a:lnTo>
                  <a:lnTo>
                    <a:pt x="111" y="215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5" y="213"/>
                  </a:lnTo>
                  <a:lnTo>
                    <a:pt x="103" y="213"/>
                  </a:lnTo>
                  <a:lnTo>
                    <a:pt x="101" y="217"/>
                  </a:lnTo>
                  <a:lnTo>
                    <a:pt x="99" y="220"/>
                  </a:lnTo>
                  <a:lnTo>
                    <a:pt x="97" y="220"/>
                  </a:lnTo>
                  <a:lnTo>
                    <a:pt x="96" y="222"/>
                  </a:lnTo>
                  <a:lnTo>
                    <a:pt x="92" y="222"/>
                  </a:lnTo>
                  <a:lnTo>
                    <a:pt x="90" y="222"/>
                  </a:lnTo>
                  <a:lnTo>
                    <a:pt x="88" y="220"/>
                  </a:lnTo>
                  <a:lnTo>
                    <a:pt x="84" y="220"/>
                  </a:lnTo>
                  <a:lnTo>
                    <a:pt x="82" y="218"/>
                  </a:lnTo>
                  <a:lnTo>
                    <a:pt x="80" y="215"/>
                  </a:lnTo>
                  <a:lnTo>
                    <a:pt x="78" y="215"/>
                  </a:lnTo>
                  <a:lnTo>
                    <a:pt x="76" y="213"/>
                  </a:lnTo>
                  <a:lnTo>
                    <a:pt x="74" y="211"/>
                  </a:lnTo>
                  <a:lnTo>
                    <a:pt x="73" y="211"/>
                  </a:lnTo>
                  <a:lnTo>
                    <a:pt x="73" y="203"/>
                  </a:lnTo>
                  <a:lnTo>
                    <a:pt x="71" y="201"/>
                  </a:lnTo>
                  <a:lnTo>
                    <a:pt x="71" y="197"/>
                  </a:lnTo>
                  <a:lnTo>
                    <a:pt x="67" y="195"/>
                  </a:lnTo>
                  <a:lnTo>
                    <a:pt x="67" y="194"/>
                  </a:lnTo>
                  <a:lnTo>
                    <a:pt x="63" y="194"/>
                  </a:lnTo>
                  <a:lnTo>
                    <a:pt x="61" y="197"/>
                  </a:lnTo>
                  <a:lnTo>
                    <a:pt x="57" y="199"/>
                  </a:lnTo>
                  <a:lnTo>
                    <a:pt x="55" y="201"/>
                  </a:lnTo>
                  <a:lnTo>
                    <a:pt x="53" y="207"/>
                  </a:lnTo>
                  <a:lnTo>
                    <a:pt x="53" y="211"/>
                  </a:lnTo>
                  <a:lnTo>
                    <a:pt x="53" y="213"/>
                  </a:lnTo>
                  <a:lnTo>
                    <a:pt x="53" y="217"/>
                  </a:lnTo>
                  <a:lnTo>
                    <a:pt x="50" y="220"/>
                  </a:lnTo>
                  <a:lnTo>
                    <a:pt x="46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36" y="220"/>
                  </a:lnTo>
                  <a:lnTo>
                    <a:pt x="32" y="220"/>
                  </a:lnTo>
                  <a:lnTo>
                    <a:pt x="30" y="217"/>
                  </a:lnTo>
                  <a:lnTo>
                    <a:pt x="28" y="213"/>
                  </a:lnTo>
                  <a:lnTo>
                    <a:pt x="27" y="213"/>
                  </a:lnTo>
                  <a:lnTo>
                    <a:pt x="23" y="217"/>
                  </a:lnTo>
                  <a:lnTo>
                    <a:pt x="21" y="220"/>
                  </a:lnTo>
                  <a:lnTo>
                    <a:pt x="21" y="230"/>
                  </a:lnTo>
                  <a:lnTo>
                    <a:pt x="21" y="238"/>
                  </a:lnTo>
                  <a:lnTo>
                    <a:pt x="19" y="240"/>
                  </a:lnTo>
                  <a:lnTo>
                    <a:pt x="19" y="243"/>
                  </a:lnTo>
                  <a:lnTo>
                    <a:pt x="17" y="245"/>
                  </a:lnTo>
                  <a:lnTo>
                    <a:pt x="17" y="247"/>
                  </a:lnTo>
                  <a:lnTo>
                    <a:pt x="17" y="251"/>
                  </a:lnTo>
                  <a:lnTo>
                    <a:pt x="13" y="253"/>
                  </a:lnTo>
                  <a:lnTo>
                    <a:pt x="13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9" y="263"/>
                  </a:lnTo>
                  <a:lnTo>
                    <a:pt x="5" y="265"/>
                  </a:lnTo>
                  <a:lnTo>
                    <a:pt x="2" y="265"/>
                  </a:lnTo>
                  <a:lnTo>
                    <a:pt x="2" y="266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6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1" name="Freeform 48"/>
            <p:cNvSpPr>
              <a:spLocks/>
            </p:cNvSpPr>
            <p:nvPr/>
          </p:nvSpPr>
          <p:spPr bwMode="auto">
            <a:xfrm>
              <a:off x="1569" y="2196"/>
              <a:ext cx="276" cy="326"/>
            </a:xfrm>
            <a:custGeom>
              <a:avLst/>
              <a:gdLst/>
              <a:ahLst/>
              <a:cxnLst>
                <a:cxn ang="0">
                  <a:pos x="13" y="291"/>
                </a:cxn>
                <a:cxn ang="0">
                  <a:pos x="27" y="314"/>
                </a:cxn>
                <a:cxn ang="0">
                  <a:pos x="44" y="324"/>
                </a:cxn>
                <a:cxn ang="0">
                  <a:pos x="53" y="312"/>
                </a:cxn>
                <a:cxn ang="0">
                  <a:pos x="65" y="297"/>
                </a:cxn>
                <a:cxn ang="0">
                  <a:pos x="84" y="289"/>
                </a:cxn>
                <a:cxn ang="0">
                  <a:pos x="105" y="295"/>
                </a:cxn>
                <a:cxn ang="0">
                  <a:pos x="130" y="295"/>
                </a:cxn>
                <a:cxn ang="0">
                  <a:pos x="132" y="311"/>
                </a:cxn>
                <a:cxn ang="0">
                  <a:pos x="155" y="307"/>
                </a:cxn>
                <a:cxn ang="0">
                  <a:pos x="168" y="286"/>
                </a:cxn>
                <a:cxn ang="0">
                  <a:pos x="188" y="261"/>
                </a:cxn>
                <a:cxn ang="0">
                  <a:pos x="201" y="245"/>
                </a:cxn>
                <a:cxn ang="0">
                  <a:pos x="199" y="220"/>
                </a:cxn>
                <a:cxn ang="0">
                  <a:pos x="199" y="195"/>
                </a:cxn>
                <a:cxn ang="0">
                  <a:pos x="215" y="178"/>
                </a:cxn>
                <a:cxn ang="0">
                  <a:pos x="232" y="159"/>
                </a:cxn>
                <a:cxn ang="0">
                  <a:pos x="249" y="140"/>
                </a:cxn>
                <a:cxn ang="0">
                  <a:pos x="263" y="119"/>
                </a:cxn>
                <a:cxn ang="0">
                  <a:pos x="268" y="90"/>
                </a:cxn>
                <a:cxn ang="0">
                  <a:pos x="263" y="73"/>
                </a:cxn>
                <a:cxn ang="0">
                  <a:pos x="264" y="40"/>
                </a:cxn>
                <a:cxn ang="0">
                  <a:pos x="274" y="25"/>
                </a:cxn>
                <a:cxn ang="0">
                  <a:pos x="272" y="4"/>
                </a:cxn>
                <a:cxn ang="0">
                  <a:pos x="255" y="2"/>
                </a:cxn>
                <a:cxn ang="0">
                  <a:pos x="234" y="0"/>
                </a:cxn>
                <a:cxn ang="0">
                  <a:pos x="220" y="11"/>
                </a:cxn>
                <a:cxn ang="0">
                  <a:pos x="205" y="25"/>
                </a:cxn>
                <a:cxn ang="0">
                  <a:pos x="203" y="38"/>
                </a:cxn>
                <a:cxn ang="0">
                  <a:pos x="195" y="55"/>
                </a:cxn>
                <a:cxn ang="0">
                  <a:pos x="178" y="65"/>
                </a:cxn>
                <a:cxn ang="0">
                  <a:pos x="165" y="57"/>
                </a:cxn>
                <a:cxn ang="0">
                  <a:pos x="142" y="50"/>
                </a:cxn>
                <a:cxn ang="0">
                  <a:pos x="119" y="50"/>
                </a:cxn>
                <a:cxn ang="0">
                  <a:pos x="94" y="48"/>
                </a:cxn>
                <a:cxn ang="0">
                  <a:pos x="80" y="57"/>
                </a:cxn>
                <a:cxn ang="0">
                  <a:pos x="86" y="96"/>
                </a:cxn>
                <a:cxn ang="0">
                  <a:pos x="97" y="96"/>
                </a:cxn>
                <a:cxn ang="0">
                  <a:pos x="103" y="84"/>
                </a:cxn>
                <a:cxn ang="0">
                  <a:pos x="132" y="86"/>
                </a:cxn>
                <a:cxn ang="0">
                  <a:pos x="138" y="105"/>
                </a:cxn>
                <a:cxn ang="0">
                  <a:pos x="128" y="115"/>
                </a:cxn>
                <a:cxn ang="0">
                  <a:pos x="113" y="124"/>
                </a:cxn>
                <a:cxn ang="0">
                  <a:pos x="113" y="146"/>
                </a:cxn>
                <a:cxn ang="0">
                  <a:pos x="121" y="159"/>
                </a:cxn>
                <a:cxn ang="0">
                  <a:pos x="128" y="169"/>
                </a:cxn>
                <a:cxn ang="0">
                  <a:pos x="130" y="211"/>
                </a:cxn>
                <a:cxn ang="0">
                  <a:pos x="117" y="220"/>
                </a:cxn>
                <a:cxn ang="0">
                  <a:pos x="107" y="211"/>
                </a:cxn>
                <a:cxn ang="0">
                  <a:pos x="96" y="222"/>
                </a:cxn>
                <a:cxn ang="0">
                  <a:pos x="80" y="215"/>
                </a:cxn>
                <a:cxn ang="0">
                  <a:pos x="71" y="201"/>
                </a:cxn>
                <a:cxn ang="0">
                  <a:pos x="57" y="199"/>
                </a:cxn>
                <a:cxn ang="0">
                  <a:pos x="50" y="220"/>
                </a:cxn>
                <a:cxn ang="0">
                  <a:pos x="30" y="217"/>
                </a:cxn>
                <a:cxn ang="0">
                  <a:pos x="21" y="238"/>
                </a:cxn>
                <a:cxn ang="0">
                  <a:pos x="13" y="253"/>
                </a:cxn>
                <a:cxn ang="0">
                  <a:pos x="2" y="265"/>
                </a:cxn>
                <a:cxn ang="0">
                  <a:pos x="0" y="268"/>
                </a:cxn>
              </a:cxnLst>
              <a:rect l="0" t="0" r="r" b="b"/>
              <a:pathLst>
                <a:path w="276" h="326">
                  <a:moveTo>
                    <a:pt x="0" y="268"/>
                  </a:moveTo>
                  <a:lnTo>
                    <a:pt x="3" y="272"/>
                  </a:lnTo>
                  <a:lnTo>
                    <a:pt x="3" y="276"/>
                  </a:lnTo>
                  <a:lnTo>
                    <a:pt x="5" y="282"/>
                  </a:lnTo>
                  <a:lnTo>
                    <a:pt x="9" y="286"/>
                  </a:lnTo>
                  <a:lnTo>
                    <a:pt x="13" y="291"/>
                  </a:lnTo>
                  <a:lnTo>
                    <a:pt x="17" y="299"/>
                  </a:lnTo>
                  <a:lnTo>
                    <a:pt x="17" y="305"/>
                  </a:lnTo>
                  <a:lnTo>
                    <a:pt x="19" y="307"/>
                  </a:lnTo>
                  <a:lnTo>
                    <a:pt x="23" y="309"/>
                  </a:lnTo>
                  <a:lnTo>
                    <a:pt x="27" y="311"/>
                  </a:lnTo>
                  <a:lnTo>
                    <a:pt x="27" y="314"/>
                  </a:lnTo>
                  <a:lnTo>
                    <a:pt x="28" y="316"/>
                  </a:lnTo>
                  <a:lnTo>
                    <a:pt x="28" y="318"/>
                  </a:lnTo>
                  <a:lnTo>
                    <a:pt x="34" y="322"/>
                  </a:lnTo>
                  <a:lnTo>
                    <a:pt x="36" y="326"/>
                  </a:lnTo>
                  <a:lnTo>
                    <a:pt x="44" y="326"/>
                  </a:lnTo>
                  <a:lnTo>
                    <a:pt x="44" y="324"/>
                  </a:lnTo>
                  <a:lnTo>
                    <a:pt x="46" y="324"/>
                  </a:lnTo>
                  <a:lnTo>
                    <a:pt x="48" y="322"/>
                  </a:lnTo>
                  <a:lnTo>
                    <a:pt x="50" y="318"/>
                  </a:lnTo>
                  <a:lnTo>
                    <a:pt x="50" y="316"/>
                  </a:lnTo>
                  <a:lnTo>
                    <a:pt x="51" y="314"/>
                  </a:lnTo>
                  <a:lnTo>
                    <a:pt x="53" y="312"/>
                  </a:lnTo>
                  <a:lnTo>
                    <a:pt x="55" y="311"/>
                  </a:lnTo>
                  <a:lnTo>
                    <a:pt x="55" y="309"/>
                  </a:lnTo>
                  <a:lnTo>
                    <a:pt x="61" y="305"/>
                  </a:lnTo>
                  <a:lnTo>
                    <a:pt x="61" y="303"/>
                  </a:lnTo>
                  <a:lnTo>
                    <a:pt x="63" y="299"/>
                  </a:lnTo>
                  <a:lnTo>
                    <a:pt x="65" y="297"/>
                  </a:lnTo>
                  <a:lnTo>
                    <a:pt x="69" y="295"/>
                  </a:lnTo>
                  <a:lnTo>
                    <a:pt x="71" y="293"/>
                  </a:lnTo>
                  <a:lnTo>
                    <a:pt x="71" y="291"/>
                  </a:lnTo>
                  <a:lnTo>
                    <a:pt x="73" y="289"/>
                  </a:lnTo>
                  <a:lnTo>
                    <a:pt x="73" y="289"/>
                  </a:lnTo>
                  <a:lnTo>
                    <a:pt x="84" y="289"/>
                  </a:lnTo>
                  <a:lnTo>
                    <a:pt x="88" y="289"/>
                  </a:lnTo>
                  <a:lnTo>
                    <a:pt x="88" y="291"/>
                  </a:lnTo>
                  <a:lnTo>
                    <a:pt x="90" y="293"/>
                  </a:lnTo>
                  <a:lnTo>
                    <a:pt x="94" y="293"/>
                  </a:lnTo>
                  <a:lnTo>
                    <a:pt x="97" y="295"/>
                  </a:lnTo>
                  <a:lnTo>
                    <a:pt x="105" y="295"/>
                  </a:lnTo>
                  <a:lnTo>
                    <a:pt x="115" y="295"/>
                  </a:lnTo>
                  <a:lnTo>
                    <a:pt x="115" y="293"/>
                  </a:lnTo>
                  <a:lnTo>
                    <a:pt x="121" y="293"/>
                  </a:lnTo>
                  <a:lnTo>
                    <a:pt x="124" y="293"/>
                  </a:lnTo>
                  <a:lnTo>
                    <a:pt x="128" y="295"/>
                  </a:lnTo>
                  <a:lnTo>
                    <a:pt x="130" y="295"/>
                  </a:lnTo>
                  <a:lnTo>
                    <a:pt x="132" y="297"/>
                  </a:lnTo>
                  <a:lnTo>
                    <a:pt x="132" y="299"/>
                  </a:lnTo>
                  <a:lnTo>
                    <a:pt x="132" y="301"/>
                  </a:lnTo>
                  <a:lnTo>
                    <a:pt x="132" y="305"/>
                  </a:lnTo>
                  <a:lnTo>
                    <a:pt x="132" y="309"/>
                  </a:lnTo>
                  <a:lnTo>
                    <a:pt x="132" y="311"/>
                  </a:lnTo>
                  <a:lnTo>
                    <a:pt x="132" y="312"/>
                  </a:lnTo>
                  <a:lnTo>
                    <a:pt x="144" y="312"/>
                  </a:lnTo>
                  <a:lnTo>
                    <a:pt x="145" y="312"/>
                  </a:lnTo>
                  <a:lnTo>
                    <a:pt x="149" y="311"/>
                  </a:lnTo>
                  <a:lnTo>
                    <a:pt x="151" y="309"/>
                  </a:lnTo>
                  <a:lnTo>
                    <a:pt x="155" y="307"/>
                  </a:lnTo>
                  <a:lnTo>
                    <a:pt x="157" y="303"/>
                  </a:lnTo>
                  <a:lnTo>
                    <a:pt x="159" y="301"/>
                  </a:lnTo>
                  <a:lnTo>
                    <a:pt x="161" y="299"/>
                  </a:lnTo>
                  <a:lnTo>
                    <a:pt x="163" y="293"/>
                  </a:lnTo>
                  <a:lnTo>
                    <a:pt x="167" y="291"/>
                  </a:lnTo>
                  <a:lnTo>
                    <a:pt x="168" y="286"/>
                  </a:lnTo>
                  <a:lnTo>
                    <a:pt x="174" y="282"/>
                  </a:lnTo>
                  <a:lnTo>
                    <a:pt x="176" y="276"/>
                  </a:lnTo>
                  <a:lnTo>
                    <a:pt x="176" y="274"/>
                  </a:lnTo>
                  <a:lnTo>
                    <a:pt x="180" y="272"/>
                  </a:lnTo>
                  <a:lnTo>
                    <a:pt x="184" y="266"/>
                  </a:lnTo>
                  <a:lnTo>
                    <a:pt x="188" y="261"/>
                  </a:lnTo>
                  <a:lnTo>
                    <a:pt x="192" y="259"/>
                  </a:lnTo>
                  <a:lnTo>
                    <a:pt x="193" y="257"/>
                  </a:lnTo>
                  <a:lnTo>
                    <a:pt x="195" y="255"/>
                  </a:lnTo>
                  <a:lnTo>
                    <a:pt x="197" y="253"/>
                  </a:lnTo>
                  <a:lnTo>
                    <a:pt x="199" y="251"/>
                  </a:lnTo>
                  <a:lnTo>
                    <a:pt x="201" y="245"/>
                  </a:lnTo>
                  <a:lnTo>
                    <a:pt x="201" y="243"/>
                  </a:lnTo>
                  <a:lnTo>
                    <a:pt x="203" y="240"/>
                  </a:lnTo>
                  <a:lnTo>
                    <a:pt x="203" y="228"/>
                  </a:lnTo>
                  <a:lnTo>
                    <a:pt x="201" y="224"/>
                  </a:lnTo>
                  <a:lnTo>
                    <a:pt x="201" y="222"/>
                  </a:lnTo>
                  <a:lnTo>
                    <a:pt x="199" y="220"/>
                  </a:lnTo>
                  <a:lnTo>
                    <a:pt x="199" y="218"/>
                  </a:lnTo>
                  <a:lnTo>
                    <a:pt x="197" y="215"/>
                  </a:lnTo>
                  <a:lnTo>
                    <a:pt x="197" y="209"/>
                  </a:lnTo>
                  <a:lnTo>
                    <a:pt x="197" y="203"/>
                  </a:lnTo>
                  <a:lnTo>
                    <a:pt x="199" y="199"/>
                  </a:lnTo>
                  <a:lnTo>
                    <a:pt x="199" y="195"/>
                  </a:lnTo>
                  <a:lnTo>
                    <a:pt x="201" y="194"/>
                  </a:lnTo>
                  <a:lnTo>
                    <a:pt x="203" y="190"/>
                  </a:lnTo>
                  <a:lnTo>
                    <a:pt x="209" y="186"/>
                  </a:lnTo>
                  <a:lnTo>
                    <a:pt x="209" y="184"/>
                  </a:lnTo>
                  <a:lnTo>
                    <a:pt x="213" y="182"/>
                  </a:lnTo>
                  <a:lnTo>
                    <a:pt x="215" y="178"/>
                  </a:lnTo>
                  <a:lnTo>
                    <a:pt x="218" y="176"/>
                  </a:lnTo>
                  <a:lnTo>
                    <a:pt x="220" y="174"/>
                  </a:lnTo>
                  <a:lnTo>
                    <a:pt x="224" y="170"/>
                  </a:lnTo>
                  <a:lnTo>
                    <a:pt x="228" y="165"/>
                  </a:lnTo>
                  <a:lnTo>
                    <a:pt x="230" y="161"/>
                  </a:lnTo>
                  <a:lnTo>
                    <a:pt x="232" y="159"/>
                  </a:lnTo>
                  <a:lnTo>
                    <a:pt x="234" y="157"/>
                  </a:lnTo>
                  <a:lnTo>
                    <a:pt x="238" y="153"/>
                  </a:lnTo>
                  <a:lnTo>
                    <a:pt x="241" y="149"/>
                  </a:lnTo>
                  <a:lnTo>
                    <a:pt x="243" y="146"/>
                  </a:lnTo>
                  <a:lnTo>
                    <a:pt x="245" y="144"/>
                  </a:lnTo>
                  <a:lnTo>
                    <a:pt x="249" y="140"/>
                  </a:lnTo>
                  <a:lnTo>
                    <a:pt x="251" y="138"/>
                  </a:lnTo>
                  <a:lnTo>
                    <a:pt x="253" y="134"/>
                  </a:lnTo>
                  <a:lnTo>
                    <a:pt x="257" y="132"/>
                  </a:lnTo>
                  <a:lnTo>
                    <a:pt x="257" y="128"/>
                  </a:lnTo>
                  <a:lnTo>
                    <a:pt x="259" y="123"/>
                  </a:lnTo>
                  <a:lnTo>
                    <a:pt x="263" y="119"/>
                  </a:lnTo>
                  <a:lnTo>
                    <a:pt x="263" y="113"/>
                  </a:lnTo>
                  <a:lnTo>
                    <a:pt x="263" y="107"/>
                  </a:lnTo>
                  <a:lnTo>
                    <a:pt x="264" y="105"/>
                  </a:lnTo>
                  <a:lnTo>
                    <a:pt x="266" y="101"/>
                  </a:lnTo>
                  <a:lnTo>
                    <a:pt x="268" y="99"/>
                  </a:lnTo>
                  <a:lnTo>
                    <a:pt x="268" y="90"/>
                  </a:lnTo>
                  <a:lnTo>
                    <a:pt x="266" y="88"/>
                  </a:lnTo>
                  <a:lnTo>
                    <a:pt x="264" y="86"/>
                  </a:lnTo>
                  <a:lnTo>
                    <a:pt x="264" y="82"/>
                  </a:lnTo>
                  <a:lnTo>
                    <a:pt x="264" y="78"/>
                  </a:lnTo>
                  <a:lnTo>
                    <a:pt x="264" y="76"/>
                  </a:lnTo>
                  <a:lnTo>
                    <a:pt x="263" y="73"/>
                  </a:lnTo>
                  <a:lnTo>
                    <a:pt x="263" y="63"/>
                  </a:lnTo>
                  <a:lnTo>
                    <a:pt x="263" y="53"/>
                  </a:lnTo>
                  <a:lnTo>
                    <a:pt x="264" y="50"/>
                  </a:lnTo>
                  <a:lnTo>
                    <a:pt x="264" y="46"/>
                  </a:lnTo>
                  <a:lnTo>
                    <a:pt x="264" y="44"/>
                  </a:lnTo>
                  <a:lnTo>
                    <a:pt x="264" y="40"/>
                  </a:lnTo>
                  <a:lnTo>
                    <a:pt x="264" y="38"/>
                  </a:lnTo>
                  <a:lnTo>
                    <a:pt x="268" y="34"/>
                  </a:lnTo>
                  <a:lnTo>
                    <a:pt x="270" y="32"/>
                  </a:lnTo>
                  <a:lnTo>
                    <a:pt x="272" y="29"/>
                  </a:lnTo>
                  <a:lnTo>
                    <a:pt x="272" y="27"/>
                  </a:lnTo>
                  <a:lnTo>
                    <a:pt x="274" y="25"/>
                  </a:lnTo>
                  <a:lnTo>
                    <a:pt x="274" y="23"/>
                  </a:lnTo>
                  <a:lnTo>
                    <a:pt x="274" y="17"/>
                  </a:lnTo>
                  <a:lnTo>
                    <a:pt x="276" y="11"/>
                  </a:lnTo>
                  <a:lnTo>
                    <a:pt x="276" y="0"/>
                  </a:lnTo>
                  <a:lnTo>
                    <a:pt x="274" y="0"/>
                  </a:lnTo>
                  <a:lnTo>
                    <a:pt x="272" y="4"/>
                  </a:lnTo>
                  <a:lnTo>
                    <a:pt x="268" y="5"/>
                  </a:lnTo>
                  <a:lnTo>
                    <a:pt x="264" y="5"/>
                  </a:lnTo>
                  <a:lnTo>
                    <a:pt x="259" y="5"/>
                  </a:lnTo>
                  <a:lnTo>
                    <a:pt x="259" y="4"/>
                  </a:lnTo>
                  <a:lnTo>
                    <a:pt x="257" y="4"/>
                  </a:lnTo>
                  <a:lnTo>
                    <a:pt x="255" y="2"/>
                  </a:lnTo>
                  <a:lnTo>
                    <a:pt x="253" y="2"/>
                  </a:lnTo>
                  <a:lnTo>
                    <a:pt x="251" y="0"/>
                  </a:lnTo>
                  <a:lnTo>
                    <a:pt x="247" y="0"/>
                  </a:lnTo>
                  <a:lnTo>
                    <a:pt x="239" y="0"/>
                  </a:lnTo>
                  <a:lnTo>
                    <a:pt x="238" y="0"/>
                  </a:lnTo>
                  <a:lnTo>
                    <a:pt x="234" y="0"/>
                  </a:lnTo>
                  <a:lnTo>
                    <a:pt x="230" y="4"/>
                  </a:lnTo>
                  <a:lnTo>
                    <a:pt x="228" y="4"/>
                  </a:lnTo>
                  <a:lnTo>
                    <a:pt x="224" y="7"/>
                  </a:lnTo>
                  <a:lnTo>
                    <a:pt x="222" y="9"/>
                  </a:lnTo>
                  <a:lnTo>
                    <a:pt x="220" y="9"/>
                  </a:lnTo>
                  <a:lnTo>
                    <a:pt x="220" y="11"/>
                  </a:lnTo>
                  <a:lnTo>
                    <a:pt x="213" y="11"/>
                  </a:lnTo>
                  <a:lnTo>
                    <a:pt x="211" y="15"/>
                  </a:lnTo>
                  <a:lnTo>
                    <a:pt x="209" y="17"/>
                  </a:lnTo>
                  <a:lnTo>
                    <a:pt x="207" y="19"/>
                  </a:lnTo>
                  <a:lnTo>
                    <a:pt x="207" y="23"/>
                  </a:lnTo>
                  <a:lnTo>
                    <a:pt x="205" y="25"/>
                  </a:lnTo>
                  <a:lnTo>
                    <a:pt x="205" y="27"/>
                  </a:lnTo>
                  <a:lnTo>
                    <a:pt x="205" y="29"/>
                  </a:lnTo>
                  <a:lnTo>
                    <a:pt x="205" y="30"/>
                  </a:lnTo>
                  <a:lnTo>
                    <a:pt x="203" y="34"/>
                  </a:lnTo>
                  <a:lnTo>
                    <a:pt x="203" y="36"/>
                  </a:lnTo>
                  <a:lnTo>
                    <a:pt x="203" y="38"/>
                  </a:lnTo>
                  <a:lnTo>
                    <a:pt x="199" y="44"/>
                  </a:lnTo>
                  <a:lnTo>
                    <a:pt x="199" y="46"/>
                  </a:lnTo>
                  <a:lnTo>
                    <a:pt x="197" y="48"/>
                  </a:lnTo>
                  <a:lnTo>
                    <a:pt x="195" y="50"/>
                  </a:lnTo>
                  <a:lnTo>
                    <a:pt x="195" y="53"/>
                  </a:lnTo>
                  <a:lnTo>
                    <a:pt x="195" y="55"/>
                  </a:lnTo>
                  <a:lnTo>
                    <a:pt x="193" y="57"/>
                  </a:lnTo>
                  <a:lnTo>
                    <a:pt x="192" y="61"/>
                  </a:lnTo>
                  <a:lnTo>
                    <a:pt x="190" y="67"/>
                  </a:lnTo>
                  <a:lnTo>
                    <a:pt x="186" y="67"/>
                  </a:lnTo>
                  <a:lnTo>
                    <a:pt x="180" y="67"/>
                  </a:lnTo>
                  <a:lnTo>
                    <a:pt x="178" y="65"/>
                  </a:lnTo>
                  <a:lnTo>
                    <a:pt x="176" y="63"/>
                  </a:lnTo>
                  <a:lnTo>
                    <a:pt x="174" y="61"/>
                  </a:lnTo>
                  <a:lnTo>
                    <a:pt x="170" y="61"/>
                  </a:lnTo>
                  <a:lnTo>
                    <a:pt x="168" y="61"/>
                  </a:lnTo>
                  <a:lnTo>
                    <a:pt x="168" y="57"/>
                  </a:lnTo>
                  <a:lnTo>
                    <a:pt x="165" y="57"/>
                  </a:lnTo>
                  <a:lnTo>
                    <a:pt x="161" y="55"/>
                  </a:lnTo>
                  <a:lnTo>
                    <a:pt x="159" y="53"/>
                  </a:lnTo>
                  <a:lnTo>
                    <a:pt x="155" y="52"/>
                  </a:lnTo>
                  <a:lnTo>
                    <a:pt x="149" y="52"/>
                  </a:lnTo>
                  <a:lnTo>
                    <a:pt x="145" y="50"/>
                  </a:lnTo>
                  <a:lnTo>
                    <a:pt x="142" y="50"/>
                  </a:lnTo>
                  <a:lnTo>
                    <a:pt x="138" y="50"/>
                  </a:lnTo>
                  <a:lnTo>
                    <a:pt x="134" y="48"/>
                  </a:lnTo>
                  <a:lnTo>
                    <a:pt x="130" y="48"/>
                  </a:lnTo>
                  <a:lnTo>
                    <a:pt x="124" y="48"/>
                  </a:lnTo>
                  <a:lnTo>
                    <a:pt x="122" y="50"/>
                  </a:lnTo>
                  <a:lnTo>
                    <a:pt x="119" y="50"/>
                  </a:lnTo>
                  <a:lnTo>
                    <a:pt x="115" y="50"/>
                  </a:lnTo>
                  <a:lnTo>
                    <a:pt x="111" y="50"/>
                  </a:lnTo>
                  <a:lnTo>
                    <a:pt x="107" y="52"/>
                  </a:lnTo>
                  <a:lnTo>
                    <a:pt x="105" y="50"/>
                  </a:lnTo>
                  <a:lnTo>
                    <a:pt x="99" y="50"/>
                  </a:lnTo>
                  <a:lnTo>
                    <a:pt x="94" y="48"/>
                  </a:lnTo>
                  <a:lnTo>
                    <a:pt x="88" y="48"/>
                  </a:lnTo>
                  <a:lnTo>
                    <a:pt x="86" y="48"/>
                  </a:lnTo>
                  <a:lnTo>
                    <a:pt x="82" y="46"/>
                  </a:lnTo>
                  <a:lnTo>
                    <a:pt x="82" y="50"/>
                  </a:lnTo>
                  <a:lnTo>
                    <a:pt x="80" y="53"/>
                  </a:lnTo>
                  <a:lnTo>
                    <a:pt x="80" y="57"/>
                  </a:lnTo>
                  <a:lnTo>
                    <a:pt x="80" y="78"/>
                  </a:lnTo>
                  <a:lnTo>
                    <a:pt x="80" y="80"/>
                  </a:lnTo>
                  <a:lnTo>
                    <a:pt x="80" y="88"/>
                  </a:lnTo>
                  <a:lnTo>
                    <a:pt x="80" y="94"/>
                  </a:lnTo>
                  <a:lnTo>
                    <a:pt x="84" y="94"/>
                  </a:lnTo>
                  <a:lnTo>
                    <a:pt x="86" y="96"/>
                  </a:lnTo>
                  <a:lnTo>
                    <a:pt x="88" y="99"/>
                  </a:lnTo>
                  <a:lnTo>
                    <a:pt x="90" y="101"/>
                  </a:lnTo>
                  <a:lnTo>
                    <a:pt x="96" y="101"/>
                  </a:lnTo>
                  <a:lnTo>
                    <a:pt x="96" y="98"/>
                  </a:lnTo>
                  <a:lnTo>
                    <a:pt x="97" y="96"/>
                  </a:lnTo>
                  <a:lnTo>
                    <a:pt x="97" y="96"/>
                  </a:lnTo>
                  <a:lnTo>
                    <a:pt x="97" y="92"/>
                  </a:lnTo>
                  <a:lnTo>
                    <a:pt x="99" y="90"/>
                  </a:lnTo>
                  <a:lnTo>
                    <a:pt x="99" y="88"/>
                  </a:lnTo>
                  <a:lnTo>
                    <a:pt x="101" y="88"/>
                  </a:lnTo>
                  <a:lnTo>
                    <a:pt x="103" y="88"/>
                  </a:lnTo>
                  <a:lnTo>
                    <a:pt x="103" y="84"/>
                  </a:lnTo>
                  <a:lnTo>
                    <a:pt x="105" y="82"/>
                  </a:lnTo>
                  <a:lnTo>
                    <a:pt x="105" y="80"/>
                  </a:lnTo>
                  <a:lnTo>
                    <a:pt x="113" y="80"/>
                  </a:lnTo>
                  <a:lnTo>
                    <a:pt x="121" y="80"/>
                  </a:lnTo>
                  <a:lnTo>
                    <a:pt x="128" y="82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4" y="88"/>
                  </a:lnTo>
                  <a:lnTo>
                    <a:pt x="136" y="90"/>
                  </a:lnTo>
                  <a:lnTo>
                    <a:pt x="136" y="96"/>
                  </a:lnTo>
                  <a:lnTo>
                    <a:pt x="138" y="98"/>
                  </a:lnTo>
                  <a:lnTo>
                    <a:pt x="138" y="105"/>
                  </a:lnTo>
                  <a:lnTo>
                    <a:pt x="138" y="111"/>
                  </a:lnTo>
                  <a:lnTo>
                    <a:pt x="134" y="111"/>
                  </a:lnTo>
                  <a:lnTo>
                    <a:pt x="132" y="113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28" y="115"/>
                  </a:lnTo>
                  <a:lnTo>
                    <a:pt x="124" y="119"/>
                  </a:lnTo>
                  <a:lnTo>
                    <a:pt x="121" y="121"/>
                  </a:lnTo>
                  <a:lnTo>
                    <a:pt x="117" y="121"/>
                  </a:lnTo>
                  <a:lnTo>
                    <a:pt x="115" y="123"/>
                  </a:lnTo>
                  <a:lnTo>
                    <a:pt x="115" y="123"/>
                  </a:lnTo>
                  <a:lnTo>
                    <a:pt x="113" y="124"/>
                  </a:lnTo>
                  <a:lnTo>
                    <a:pt x="113" y="128"/>
                  </a:lnTo>
                  <a:lnTo>
                    <a:pt x="111" y="130"/>
                  </a:lnTo>
                  <a:lnTo>
                    <a:pt x="111" y="134"/>
                  </a:lnTo>
                  <a:lnTo>
                    <a:pt x="111" y="140"/>
                  </a:lnTo>
                  <a:lnTo>
                    <a:pt x="113" y="142"/>
                  </a:lnTo>
                  <a:lnTo>
                    <a:pt x="113" y="146"/>
                  </a:lnTo>
                  <a:lnTo>
                    <a:pt x="113" y="147"/>
                  </a:lnTo>
                  <a:lnTo>
                    <a:pt x="115" y="151"/>
                  </a:lnTo>
                  <a:lnTo>
                    <a:pt x="115" y="153"/>
                  </a:lnTo>
                  <a:lnTo>
                    <a:pt x="115" y="157"/>
                  </a:lnTo>
                  <a:lnTo>
                    <a:pt x="117" y="159"/>
                  </a:lnTo>
                  <a:lnTo>
                    <a:pt x="121" y="159"/>
                  </a:lnTo>
                  <a:lnTo>
                    <a:pt x="121" y="161"/>
                  </a:lnTo>
                  <a:lnTo>
                    <a:pt x="122" y="163"/>
                  </a:lnTo>
                  <a:lnTo>
                    <a:pt x="124" y="165"/>
                  </a:lnTo>
                  <a:lnTo>
                    <a:pt x="124" y="167"/>
                  </a:lnTo>
                  <a:lnTo>
                    <a:pt x="126" y="169"/>
                  </a:lnTo>
                  <a:lnTo>
                    <a:pt x="128" y="169"/>
                  </a:lnTo>
                  <a:lnTo>
                    <a:pt x="130" y="172"/>
                  </a:lnTo>
                  <a:lnTo>
                    <a:pt x="130" y="176"/>
                  </a:lnTo>
                  <a:lnTo>
                    <a:pt x="132" y="178"/>
                  </a:lnTo>
                  <a:lnTo>
                    <a:pt x="132" y="188"/>
                  </a:lnTo>
                  <a:lnTo>
                    <a:pt x="130" y="195"/>
                  </a:lnTo>
                  <a:lnTo>
                    <a:pt x="130" y="211"/>
                  </a:lnTo>
                  <a:lnTo>
                    <a:pt x="128" y="215"/>
                  </a:lnTo>
                  <a:lnTo>
                    <a:pt x="128" y="217"/>
                  </a:lnTo>
                  <a:lnTo>
                    <a:pt x="126" y="218"/>
                  </a:lnTo>
                  <a:lnTo>
                    <a:pt x="124" y="220"/>
                  </a:lnTo>
                  <a:lnTo>
                    <a:pt x="121" y="220"/>
                  </a:lnTo>
                  <a:lnTo>
                    <a:pt x="117" y="220"/>
                  </a:lnTo>
                  <a:lnTo>
                    <a:pt x="115" y="220"/>
                  </a:lnTo>
                  <a:lnTo>
                    <a:pt x="113" y="218"/>
                  </a:lnTo>
                  <a:lnTo>
                    <a:pt x="113" y="217"/>
                  </a:lnTo>
                  <a:lnTo>
                    <a:pt x="111" y="215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5" y="213"/>
                  </a:lnTo>
                  <a:lnTo>
                    <a:pt x="103" y="213"/>
                  </a:lnTo>
                  <a:lnTo>
                    <a:pt x="101" y="217"/>
                  </a:lnTo>
                  <a:lnTo>
                    <a:pt x="99" y="220"/>
                  </a:lnTo>
                  <a:lnTo>
                    <a:pt x="97" y="220"/>
                  </a:lnTo>
                  <a:lnTo>
                    <a:pt x="96" y="222"/>
                  </a:lnTo>
                  <a:lnTo>
                    <a:pt x="92" y="222"/>
                  </a:lnTo>
                  <a:lnTo>
                    <a:pt x="90" y="222"/>
                  </a:lnTo>
                  <a:lnTo>
                    <a:pt x="88" y="220"/>
                  </a:lnTo>
                  <a:lnTo>
                    <a:pt x="84" y="220"/>
                  </a:lnTo>
                  <a:lnTo>
                    <a:pt x="82" y="218"/>
                  </a:lnTo>
                  <a:lnTo>
                    <a:pt x="80" y="215"/>
                  </a:lnTo>
                  <a:lnTo>
                    <a:pt x="78" y="215"/>
                  </a:lnTo>
                  <a:lnTo>
                    <a:pt x="76" y="213"/>
                  </a:lnTo>
                  <a:lnTo>
                    <a:pt x="74" y="211"/>
                  </a:lnTo>
                  <a:lnTo>
                    <a:pt x="73" y="211"/>
                  </a:lnTo>
                  <a:lnTo>
                    <a:pt x="73" y="203"/>
                  </a:lnTo>
                  <a:lnTo>
                    <a:pt x="71" y="201"/>
                  </a:lnTo>
                  <a:lnTo>
                    <a:pt x="71" y="197"/>
                  </a:lnTo>
                  <a:lnTo>
                    <a:pt x="67" y="195"/>
                  </a:lnTo>
                  <a:lnTo>
                    <a:pt x="67" y="194"/>
                  </a:lnTo>
                  <a:lnTo>
                    <a:pt x="63" y="194"/>
                  </a:lnTo>
                  <a:lnTo>
                    <a:pt x="61" y="197"/>
                  </a:lnTo>
                  <a:lnTo>
                    <a:pt x="57" y="199"/>
                  </a:lnTo>
                  <a:lnTo>
                    <a:pt x="55" y="201"/>
                  </a:lnTo>
                  <a:lnTo>
                    <a:pt x="53" y="207"/>
                  </a:lnTo>
                  <a:lnTo>
                    <a:pt x="53" y="211"/>
                  </a:lnTo>
                  <a:lnTo>
                    <a:pt x="53" y="213"/>
                  </a:lnTo>
                  <a:lnTo>
                    <a:pt x="53" y="217"/>
                  </a:lnTo>
                  <a:lnTo>
                    <a:pt x="50" y="220"/>
                  </a:lnTo>
                  <a:lnTo>
                    <a:pt x="46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36" y="220"/>
                  </a:lnTo>
                  <a:lnTo>
                    <a:pt x="32" y="220"/>
                  </a:lnTo>
                  <a:lnTo>
                    <a:pt x="30" y="217"/>
                  </a:lnTo>
                  <a:lnTo>
                    <a:pt x="28" y="213"/>
                  </a:lnTo>
                  <a:lnTo>
                    <a:pt x="27" y="213"/>
                  </a:lnTo>
                  <a:lnTo>
                    <a:pt x="23" y="217"/>
                  </a:lnTo>
                  <a:lnTo>
                    <a:pt x="21" y="220"/>
                  </a:lnTo>
                  <a:lnTo>
                    <a:pt x="21" y="230"/>
                  </a:lnTo>
                  <a:lnTo>
                    <a:pt x="21" y="238"/>
                  </a:lnTo>
                  <a:lnTo>
                    <a:pt x="19" y="240"/>
                  </a:lnTo>
                  <a:lnTo>
                    <a:pt x="19" y="243"/>
                  </a:lnTo>
                  <a:lnTo>
                    <a:pt x="17" y="245"/>
                  </a:lnTo>
                  <a:lnTo>
                    <a:pt x="17" y="247"/>
                  </a:lnTo>
                  <a:lnTo>
                    <a:pt x="17" y="251"/>
                  </a:lnTo>
                  <a:lnTo>
                    <a:pt x="13" y="253"/>
                  </a:lnTo>
                  <a:lnTo>
                    <a:pt x="13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9" y="263"/>
                  </a:lnTo>
                  <a:lnTo>
                    <a:pt x="5" y="265"/>
                  </a:lnTo>
                  <a:lnTo>
                    <a:pt x="2" y="265"/>
                  </a:lnTo>
                  <a:lnTo>
                    <a:pt x="2" y="266"/>
                  </a:lnTo>
                  <a:lnTo>
                    <a:pt x="0" y="26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68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2" name="Freeform 49"/>
            <p:cNvSpPr>
              <a:spLocks/>
            </p:cNvSpPr>
            <p:nvPr/>
          </p:nvSpPr>
          <p:spPr bwMode="auto">
            <a:xfrm>
              <a:off x="1609" y="2485"/>
              <a:ext cx="54" cy="70"/>
            </a:xfrm>
            <a:custGeom>
              <a:avLst/>
              <a:gdLst/>
              <a:ahLst/>
              <a:cxnLst>
                <a:cxn ang="0">
                  <a:pos x="17" y="66"/>
                </a:cxn>
                <a:cxn ang="0">
                  <a:pos x="15" y="64"/>
                </a:cxn>
                <a:cxn ang="0">
                  <a:pos x="15" y="62"/>
                </a:cxn>
                <a:cxn ang="0">
                  <a:pos x="13" y="58"/>
                </a:cxn>
                <a:cxn ang="0">
                  <a:pos x="13" y="56"/>
                </a:cxn>
                <a:cxn ang="0">
                  <a:pos x="13" y="54"/>
                </a:cxn>
                <a:cxn ang="0">
                  <a:pos x="15" y="50"/>
                </a:cxn>
                <a:cxn ang="0">
                  <a:pos x="19" y="47"/>
                </a:cxn>
                <a:cxn ang="0">
                  <a:pos x="21" y="45"/>
                </a:cxn>
                <a:cxn ang="0">
                  <a:pos x="23" y="43"/>
                </a:cxn>
                <a:cxn ang="0">
                  <a:pos x="25" y="41"/>
                </a:cxn>
                <a:cxn ang="0">
                  <a:pos x="29" y="37"/>
                </a:cxn>
                <a:cxn ang="0">
                  <a:pos x="29" y="35"/>
                </a:cxn>
                <a:cxn ang="0">
                  <a:pos x="31" y="33"/>
                </a:cxn>
                <a:cxn ang="0">
                  <a:pos x="33" y="29"/>
                </a:cxn>
                <a:cxn ang="0">
                  <a:pos x="33" y="25"/>
                </a:cxn>
                <a:cxn ang="0">
                  <a:pos x="34" y="22"/>
                </a:cxn>
                <a:cxn ang="0">
                  <a:pos x="38" y="20"/>
                </a:cxn>
                <a:cxn ang="0">
                  <a:pos x="42" y="16"/>
                </a:cxn>
                <a:cxn ang="0">
                  <a:pos x="48" y="12"/>
                </a:cxn>
                <a:cxn ang="0">
                  <a:pos x="50" y="8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6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9" y="4"/>
                </a:cxn>
                <a:cxn ang="0">
                  <a:pos x="27" y="8"/>
                </a:cxn>
                <a:cxn ang="0">
                  <a:pos x="25" y="10"/>
                </a:cxn>
                <a:cxn ang="0">
                  <a:pos x="21" y="12"/>
                </a:cxn>
                <a:cxn ang="0">
                  <a:pos x="19" y="14"/>
                </a:cxn>
                <a:cxn ang="0">
                  <a:pos x="19" y="18"/>
                </a:cxn>
                <a:cxn ang="0">
                  <a:pos x="15" y="20"/>
                </a:cxn>
                <a:cxn ang="0">
                  <a:pos x="13" y="23"/>
                </a:cxn>
                <a:cxn ang="0">
                  <a:pos x="10" y="27"/>
                </a:cxn>
                <a:cxn ang="0">
                  <a:pos x="8" y="31"/>
                </a:cxn>
                <a:cxn ang="0">
                  <a:pos x="6" y="33"/>
                </a:cxn>
                <a:cxn ang="0">
                  <a:pos x="4" y="37"/>
                </a:cxn>
                <a:cxn ang="0">
                  <a:pos x="0" y="39"/>
                </a:cxn>
                <a:cxn ang="0">
                  <a:pos x="4" y="43"/>
                </a:cxn>
                <a:cxn ang="0">
                  <a:pos x="6" y="47"/>
                </a:cxn>
                <a:cxn ang="0">
                  <a:pos x="8" y="48"/>
                </a:cxn>
                <a:cxn ang="0">
                  <a:pos x="10" y="54"/>
                </a:cxn>
                <a:cxn ang="0">
                  <a:pos x="11" y="54"/>
                </a:cxn>
                <a:cxn ang="0">
                  <a:pos x="13" y="54"/>
                </a:cxn>
                <a:cxn ang="0">
                  <a:pos x="13" y="58"/>
                </a:cxn>
                <a:cxn ang="0">
                  <a:pos x="15" y="62"/>
                </a:cxn>
                <a:cxn ang="0">
                  <a:pos x="15" y="64"/>
                </a:cxn>
                <a:cxn ang="0">
                  <a:pos x="17" y="68"/>
                </a:cxn>
                <a:cxn ang="0">
                  <a:pos x="17" y="70"/>
                </a:cxn>
              </a:cxnLst>
              <a:rect l="0" t="0" r="r" b="b"/>
              <a:pathLst>
                <a:path w="54" h="70">
                  <a:moveTo>
                    <a:pt x="19" y="70"/>
                  </a:moveTo>
                  <a:lnTo>
                    <a:pt x="17" y="68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5" y="64"/>
                  </a:lnTo>
                  <a:lnTo>
                    <a:pt x="15" y="64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5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3" y="23"/>
                  </a:lnTo>
                  <a:lnTo>
                    <a:pt x="34" y="23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2" y="6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17" y="18"/>
                  </a:lnTo>
                  <a:lnTo>
                    <a:pt x="17" y="20"/>
                  </a:lnTo>
                  <a:lnTo>
                    <a:pt x="15" y="20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4"/>
                  </a:lnTo>
                  <a:lnTo>
                    <a:pt x="17" y="64"/>
                  </a:lnTo>
                  <a:lnTo>
                    <a:pt x="17" y="66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9" y="7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3" name="Freeform 50"/>
            <p:cNvSpPr>
              <a:spLocks/>
            </p:cNvSpPr>
            <p:nvPr/>
          </p:nvSpPr>
          <p:spPr bwMode="auto">
            <a:xfrm>
              <a:off x="1609" y="2485"/>
              <a:ext cx="54" cy="70"/>
            </a:xfrm>
            <a:custGeom>
              <a:avLst/>
              <a:gdLst/>
              <a:ahLst/>
              <a:cxnLst>
                <a:cxn ang="0">
                  <a:pos x="17" y="66"/>
                </a:cxn>
                <a:cxn ang="0">
                  <a:pos x="15" y="64"/>
                </a:cxn>
                <a:cxn ang="0">
                  <a:pos x="15" y="62"/>
                </a:cxn>
                <a:cxn ang="0">
                  <a:pos x="13" y="58"/>
                </a:cxn>
                <a:cxn ang="0">
                  <a:pos x="13" y="56"/>
                </a:cxn>
                <a:cxn ang="0">
                  <a:pos x="13" y="54"/>
                </a:cxn>
                <a:cxn ang="0">
                  <a:pos x="15" y="50"/>
                </a:cxn>
                <a:cxn ang="0">
                  <a:pos x="19" y="47"/>
                </a:cxn>
                <a:cxn ang="0">
                  <a:pos x="21" y="45"/>
                </a:cxn>
                <a:cxn ang="0">
                  <a:pos x="23" y="43"/>
                </a:cxn>
                <a:cxn ang="0">
                  <a:pos x="25" y="41"/>
                </a:cxn>
                <a:cxn ang="0">
                  <a:pos x="29" y="37"/>
                </a:cxn>
                <a:cxn ang="0">
                  <a:pos x="29" y="35"/>
                </a:cxn>
                <a:cxn ang="0">
                  <a:pos x="31" y="33"/>
                </a:cxn>
                <a:cxn ang="0">
                  <a:pos x="33" y="29"/>
                </a:cxn>
                <a:cxn ang="0">
                  <a:pos x="33" y="25"/>
                </a:cxn>
                <a:cxn ang="0">
                  <a:pos x="34" y="22"/>
                </a:cxn>
                <a:cxn ang="0">
                  <a:pos x="38" y="20"/>
                </a:cxn>
                <a:cxn ang="0">
                  <a:pos x="42" y="16"/>
                </a:cxn>
                <a:cxn ang="0">
                  <a:pos x="48" y="12"/>
                </a:cxn>
                <a:cxn ang="0">
                  <a:pos x="50" y="8"/>
                </a:cxn>
                <a:cxn ang="0">
                  <a:pos x="52" y="4"/>
                </a:cxn>
                <a:cxn ang="0">
                  <a:pos x="50" y="2"/>
                </a:cxn>
                <a:cxn ang="0">
                  <a:pos x="46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9" y="4"/>
                </a:cxn>
                <a:cxn ang="0">
                  <a:pos x="27" y="8"/>
                </a:cxn>
                <a:cxn ang="0">
                  <a:pos x="25" y="10"/>
                </a:cxn>
                <a:cxn ang="0">
                  <a:pos x="21" y="12"/>
                </a:cxn>
                <a:cxn ang="0">
                  <a:pos x="19" y="14"/>
                </a:cxn>
                <a:cxn ang="0">
                  <a:pos x="19" y="18"/>
                </a:cxn>
                <a:cxn ang="0">
                  <a:pos x="15" y="20"/>
                </a:cxn>
                <a:cxn ang="0">
                  <a:pos x="13" y="23"/>
                </a:cxn>
                <a:cxn ang="0">
                  <a:pos x="10" y="27"/>
                </a:cxn>
                <a:cxn ang="0">
                  <a:pos x="8" y="31"/>
                </a:cxn>
                <a:cxn ang="0">
                  <a:pos x="6" y="33"/>
                </a:cxn>
                <a:cxn ang="0">
                  <a:pos x="4" y="37"/>
                </a:cxn>
                <a:cxn ang="0">
                  <a:pos x="0" y="39"/>
                </a:cxn>
                <a:cxn ang="0">
                  <a:pos x="4" y="43"/>
                </a:cxn>
                <a:cxn ang="0">
                  <a:pos x="6" y="47"/>
                </a:cxn>
                <a:cxn ang="0">
                  <a:pos x="8" y="48"/>
                </a:cxn>
                <a:cxn ang="0">
                  <a:pos x="10" y="54"/>
                </a:cxn>
                <a:cxn ang="0">
                  <a:pos x="11" y="54"/>
                </a:cxn>
                <a:cxn ang="0">
                  <a:pos x="13" y="54"/>
                </a:cxn>
                <a:cxn ang="0">
                  <a:pos x="13" y="58"/>
                </a:cxn>
                <a:cxn ang="0">
                  <a:pos x="15" y="62"/>
                </a:cxn>
                <a:cxn ang="0">
                  <a:pos x="15" y="64"/>
                </a:cxn>
                <a:cxn ang="0">
                  <a:pos x="17" y="68"/>
                </a:cxn>
                <a:cxn ang="0">
                  <a:pos x="17" y="70"/>
                </a:cxn>
              </a:cxnLst>
              <a:rect l="0" t="0" r="r" b="b"/>
              <a:pathLst>
                <a:path w="54" h="70">
                  <a:moveTo>
                    <a:pt x="19" y="70"/>
                  </a:moveTo>
                  <a:lnTo>
                    <a:pt x="17" y="68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5" y="64"/>
                  </a:lnTo>
                  <a:lnTo>
                    <a:pt x="15" y="64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5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3" y="23"/>
                  </a:lnTo>
                  <a:lnTo>
                    <a:pt x="34" y="23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2" y="16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0" y="8"/>
                  </a:lnTo>
                  <a:lnTo>
                    <a:pt x="52" y="6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0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17" y="18"/>
                  </a:lnTo>
                  <a:lnTo>
                    <a:pt x="17" y="20"/>
                  </a:lnTo>
                  <a:lnTo>
                    <a:pt x="15" y="20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9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0" y="39"/>
                  </a:lnTo>
                  <a:lnTo>
                    <a:pt x="2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5" y="60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4"/>
                  </a:lnTo>
                  <a:lnTo>
                    <a:pt x="17" y="64"/>
                  </a:lnTo>
                  <a:lnTo>
                    <a:pt x="17" y="66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9" y="7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4" name="Freeform 51"/>
            <p:cNvSpPr>
              <a:spLocks/>
            </p:cNvSpPr>
            <p:nvPr/>
          </p:nvSpPr>
          <p:spPr bwMode="auto">
            <a:xfrm>
              <a:off x="1620" y="2130"/>
              <a:ext cx="684" cy="691"/>
            </a:xfrm>
            <a:custGeom>
              <a:avLst/>
              <a:gdLst/>
              <a:ahLst/>
              <a:cxnLst>
                <a:cxn ang="0">
                  <a:pos x="29" y="373"/>
                </a:cxn>
                <a:cxn ang="0">
                  <a:pos x="81" y="361"/>
                </a:cxn>
                <a:cxn ang="0">
                  <a:pos x="100" y="373"/>
                </a:cxn>
                <a:cxn ang="0">
                  <a:pos x="125" y="340"/>
                </a:cxn>
                <a:cxn ang="0">
                  <a:pos x="152" y="307"/>
                </a:cxn>
                <a:cxn ang="0">
                  <a:pos x="148" y="265"/>
                </a:cxn>
                <a:cxn ang="0">
                  <a:pos x="175" y="233"/>
                </a:cxn>
                <a:cxn ang="0">
                  <a:pos x="202" y="198"/>
                </a:cxn>
                <a:cxn ang="0">
                  <a:pos x="217" y="154"/>
                </a:cxn>
                <a:cxn ang="0">
                  <a:pos x="213" y="104"/>
                </a:cxn>
                <a:cxn ang="0">
                  <a:pos x="225" y="62"/>
                </a:cxn>
                <a:cxn ang="0">
                  <a:pos x="242" y="20"/>
                </a:cxn>
                <a:cxn ang="0">
                  <a:pos x="281" y="2"/>
                </a:cxn>
                <a:cxn ang="0">
                  <a:pos x="309" y="31"/>
                </a:cxn>
                <a:cxn ang="0">
                  <a:pos x="353" y="45"/>
                </a:cxn>
                <a:cxn ang="0">
                  <a:pos x="380" y="24"/>
                </a:cxn>
                <a:cxn ang="0">
                  <a:pos x="424" y="27"/>
                </a:cxn>
                <a:cxn ang="0">
                  <a:pos x="461" y="10"/>
                </a:cxn>
                <a:cxn ang="0">
                  <a:pos x="501" y="6"/>
                </a:cxn>
                <a:cxn ang="0">
                  <a:pos x="551" y="12"/>
                </a:cxn>
                <a:cxn ang="0">
                  <a:pos x="586" y="37"/>
                </a:cxn>
                <a:cxn ang="0">
                  <a:pos x="624" y="25"/>
                </a:cxn>
                <a:cxn ang="0">
                  <a:pos x="653" y="43"/>
                </a:cxn>
                <a:cxn ang="0">
                  <a:pos x="680" y="70"/>
                </a:cxn>
                <a:cxn ang="0">
                  <a:pos x="680" y="116"/>
                </a:cxn>
                <a:cxn ang="0">
                  <a:pos x="676" y="154"/>
                </a:cxn>
                <a:cxn ang="0">
                  <a:pos x="643" y="173"/>
                </a:cxn>
                <a:cxn ang="0">
                  <a:pos x="630" y="217"/>
                </a:cxn>
                <a:cxn ang="0">
                  <a:pos x="626" y="265"/>
                </a:cxn>
                <a:cxn ang="0">
                  <a:pos x="611" y="306"/>
                </a:cxn>
                <a:cxn ang="0">
                  <a:pos x="622" y="352"/>
                </a:cxn>
                <a:cxn ang="0">
                  <a:pos x="637" y="396"/>
                </a:cxn>
                <a:cxn ang="0">
                  <a:pos x="643" y="440"/>
                </a:cxn>
                <a:cxn ang="0">
                  <a:pos x="664" y="478"/>
                </a:cxn>
                <a:cxn ang="0">
                  <a:pos x="666" y="503"/>
                </a:cxn>
                <a:cxn ang="0">
                  <a:pos x="616" y="513"/>
                </a:cxn>
                <a:cxn ang="0">
                  <a:pos x="597" y="547"/>
                </a:cxn>
                <a:cxn ang="0">
                  <a:pos x="595" y="586"/>
                </a:cxn>
                <a:cxn ang="0">
                  <a:pos x="582" y="622"/>
                </a:cxn>
                <a:cxn ang="0">
                  <a:pos x="622" y="641"/>
                </a:cxn>
                <a:cxn ang="0">
                  <a:pos x="666" y="632"/>
                </a:cxn>
                <a:cxn ang="0">
                  <a:pos x="678" y="674"/>
                </a:cxn>
                <a:cxn ang="0">
                  <a:pos x="641" y="691"/>
                </a:cxn>
                <a:cxn ang="0">
                  <a:pos x="597" y="674"/>
                </a:cxn>
                <a:cxn ang="0">
                  <a:pos x="570" y="636"/>
                </a:cxn>
                <a:cxn ang="0">
                  <a:pos x="522" y="630"/>
                </a:cxn>
                <a:cxn ang="0">
                  <a:pos x="482" y="626"/>
                </a:cxn>
                <a:cxn ang="0">
                  <a:pos x="453" y="599"/>
                </a:cxn>
                <a:cxn ang="0">
                  <a:pos x="411" y="591"/>
                </a:cxn>
                <a:cxn ang="0">
                  <a:pos x="365" y="590"/>
                </a:cxn>
                <a:cxn ang="0">
                  <a:pos x="353" y="549"/>
                </a:cxn>
                <a:cxn ang="0">
                  <a:pos x="342" y="509"/>
                </a:cxn>
                <a:cxn ang="0">
                  <a:pos x="329" y="465"/>
                </a:cxn>
                <a:cxn ang="0">
                  <a:pos x="286" y="455"/>
                </a:cxn>
                <a:cxn ang="0">
                  <a:pos x="258" y="480"/>
                </a:cxn>
                <a:cxn ang="0">
                  <a:pos x="217" y="496"/>
                </a:cxn>
                <a:cxn ang="0">
                  <a:pos x="187" y="471"/>
                </a:cxn>
                <a:cxn ang="0">
                  <a:pos x="162" y="444"/>
                </a:cxn>
                <a:cxn ang="0">
                  <a:pos x="141" y="409"/>
                </a:cxn>
                <a:cxn ang="0">
                  <a:pos x="87" y="405"/>
                </a:cxn>
                <a:cxn ang="0">
                  <a:pos x="35" y="413"/>
                </a:cxn>
              </a:cxnLst>
              <a:rect l="0" t="0" r="r" b="b"/>
              <a:pathLst>
                <a:path w="684" h="691">
                  <a:moveTo>
                    <a:pt x="0" y="407"/>
                  </a:moveTo>
                  <a:lnTo>
                    <a:pt x="4" y="403"/>
                  </a:lnTo>
                  <a:lnTo>
                    <a:pt x="8" y="400"/>
                  </a:lnTo>
                  <a:lnTo>
                    <a:pt x="10" y="398"/>
                  </a:lnTo>
                  <a:lnTo>
                    <a:pt x="12" y="398"/>
                  </a:lnTo>
                  <a:lnTo>
                    <a:pt x="14" y="398"/>
                  </a:lnTo>
                  <a:lnTo>
                    <a:pt x="16" y="396"/>
                  </a:lnTo>
                  <a:lnTo>
                    <a:pt x="18" y="394"/>
                  </a:lnTo>
                  <a:lnTo>
                    <a:pt x="20" y="392"/>
                  </a:lnTo>
                  <a:lnTo>
                    <a:pt x="20" y="386"/>
                  </a:lnTo>
                  <a:lnTo>
                    <a:pt x="22" y="386"/>
                  </a:lnTo>
                  <a:lnTo>
                    <a:pt x="22" y="382"/>
                  </a:lnTo>
                  <a:lnTo>
                    <a:pt x="22" y="380"/>
                  </a:lnTo>
                  <a:lnTo>
                    <a:pt x="22" y="378"/>
                  </a:lnTo>
                  <a:lnTo>
                    <a:pt x="25" y="377"/>
                  </a:lnTo>
                  <a:lnTo>
                    <a:pt x="25" y="375"/>
                  </a:lnTo>
                  <a:lnTo>
                    <a:pt x="29" y="373"/>
                  </a:lnTo>
                  <a:lnTo>
                    <a:pt x="31" y="371"/>
                  </a:lnTo>
                  <a:lnTo>
                    <a:pt x="33" y="367"/>
                  </a:lnTo>
                  <a:lnTo>
                    <a:pt x="37" y="365"/>
                  </a:lnTo>
                  <a:lnTo>
                    <a:pt x="37" y="363"/>
                  </a:lnTo>
                  <a:lnTo>
                    <a:pt x="41" y="361"/>
                  </a:lnTo>
                  <a:lnTo>
                    <a:pt x="43" y="361"/>
                  </a:lnTo>
                  <a:lnTo>
                    <a:pt x="46" y="361"/>
                  </a:lnTo>
                  <a:lnTo>
                    <a:pt x="50" y="361"/>
                  </a:lnTo>
                  <a:lnTo>
                    <a:pt x="54" y="361"/>
                  </a:lnTo>
                  <a:lnTo>
                    <a:pt x="58" y="361"/>
                  </a:lnTo>
                  <a:lnTo>
                    <a:pt x="62" y="361"/>
                  </a:lnTo>
                  <a:lnTo>
                    <a:pt x="64" y="359"/>
                  </a:lnTo>
                  <a:lnTo>
                    <a:pt x="68" y="359"/>
                  </a:lnTo>
                  <a:lnTo>
                    <a:pt x="71" y="357"/>
                  </a:lnTo>
                  <a:lnTo>
                    <a:pt x="73" y="359"/>
                  </a:lnTo>
                  <a:lnTo>
                    <a:pt x="77" y="361"/>
                  </a:lnTo>
                  <a:lnTo>
                    <a:pt x="81" y="361"/>
                  </a:lnTo>
                  <a:lnTo>
                    <a:pt x="81" y="363"/>
                  </a:lnTo>
                  <a:lnTo>
                    <a:pt x="81" y="365"/>
                  </a:lnTo>
                  <a:lnTo>
                    <a:pt x="81" y="369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5" y="378"/>
                  </a:lnTo>
                  <a:lnTo>
                    <a:pt x="89" y="378"/>
                  </a:lnTo>
                  <a:lnTo>
                    <a:pt x="91" y="377"/>
                  </a:lnTo>
                  <a:lnTo>
                    <a:pt x="93" y="377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100" y="375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4" y="373"/>
                  </a:lnTo>
                  <a:lnTo>
                    <a:pt x="106" y="371"/>
                  </a:lnTo>
                  <a:lnTo>
                    <a:pt x="106" y="367"/>
                  </a:lnTo>
                  <a:lnTo>
                    <a:pt x="108" y="365"/>
                  </a:lnTo>
                  <a:lnTo>
                    <a:pt x="110" y="363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7"/>
                  </a:lnTo>
                  <a:lnTo>
                    <a:pt x="116" y="357"/>
                  </a:lnTo>
                  <a:lnTo>
                    <a:pt x="117" y="355"/>
                  </a:lnTo>
                  <a:lnTo>
                    <a:pt x="117" y="354"/>
                  </a:lnTo>
                  <a:lnTo>
                    <a:pt x="121" y="354"/>
                  </a:lnTo>
                  <a:lnTo>
                    <a:pt x="121" y="350"/>
                  </a:lnTo>
                  <a:lnTo>
                    <a:pt x="123" y="348"/>
                  </a:lnTo>
                  <a:lnTo>
                    <a:pt x="123" y="344"/>
                  </a:lnTo>
                  <a:lnTo>
                    <a:pt x="125" y="342"/>
                  </a:lnTo>
                  <a:lnTo>
                    <a:pt x="125" y="340"/>
                  </a:lnTo>
                  <a:lnTo>
                    <a:pt x="127" y="338"/>
                  </a:lnTo>
                  <a:lnTo>
                    <a:pt x="129" y="336"/>
                  </a:lnTo>
                  <a:lnTo>
                    <a:pt x="131" y="334"/>
                  </a:lnTo>
                  <a:lnTo>
                    <a:pt x="133" y="332"/>
                  </a:lnTo>
                  <a:lnTo>
                    <a:pt x="135" y="331"/>
                  </a:lnTo>
                  <a:lnTo>
                    <a:pt x="135" y="327"/>
                  </a:lnTo>
                  <a:lnTo>
                    <a:pt x="137" y="327"/>
                  </a:lnTo>
                  <a:lnTo>
                    <a:pt x="139" y="325"/>
                  </a:lnTo>
                  <a:lnTo>
                    <a:pt x="141" y="323"/>
                  </a:lnTo>
                  <a:lnTo>
                    <a:pt x="141" y="321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7"/>
                  </a:lnTo>
                  <a:lnTo>
                    <a:pt x="148" y="315"/>
                  </a:lnTo>
                  <a:lnTo>
                    <a:pt x="148" y="311"/>
                  </a:lnTo>
                  <a:lnTo>
                    <a:pt x="150" y="309"/>
                  </a:lnTo>
                  <a:lnTo>
                    <a:pt x="152" y="307"/>
                  </a:lnTo>
                  <a:lnTo>
                    <a:pt x="152" y="306"/>
                  </a:lnTo>
                  <a:lnTo>
                    <a:pt x="150" y="304"/>
                  </a:lnTo>
                  <a:lnTo>
                    <a:pt x="150" y="300"/>
                  </a:lnTo>
                  <a:lnTo>
                    <a:pt x="150" y="296"/>
                  </a:lnTo>
                  <a:lnTo>
                    <a:pt x="150" y="294"/>
                  </a:lnTo>
                  <a:lnTo>
                    <a:pt x="150" y="290"/>
                  </a:lnTo>
                  <a:lnTo>
                    <a:pt x="150" y="288"/>
                  </a:lnTo>
                  <a:lnTo>
                    <a:pt x="148" y="286"/>
                  </a:lnTo>
                  <a:lnTo>
                    <a:pt x="148" y="284"/>
                  </a:lnTo>
                  <a:lnTo>
                    <a:pt x="148" y="283"/>
                  </a:lnTo>
                  <a:lnTo>
                    <a:pt x="146" y="281"/>
                  </a:lnTo>
                  <a:lnTo>
                    <a:pt x="146" y="277"/>
                  </a:lnTo>
                  <a:lnTo>
                    <a:pt x="146" y="275"/>
                  </a:lnTo>
                  <a:lnTo>
                    <a:pt x="146" y="271"/>
                  </a:lnTo>
                  <a:lnTo>
                    <a:pt x="146" y="269"/>
                  </a:lnTo>
                  <a:lnTo>
                    <a:pt x="148" y="267"/>
                  </a:lnTo>
                  <a:lnTo>
                    <a:pt x="148" y="265"/>
                  </a:lnTo>
                  <a:lnTo>
                    <a:pt x="148" y="261"/>
                  </a:lnTo>
                  <a:lnTo>
                    <a:pt x="150" y="260"/>
                  </a:lnTo>
                  <a:lnTo>
                    <a:pt x="150" y="256"/>
                  </a:lnTo>
                  <a:lnTo>
                    <a:pt x="154" y="256"/>
                  </a:lnTo>
                  <a:lnTo>
                    <a:pt x="156" y="252"/>
                  </a:lnTo>
                  <a:lnTo>
                    <a:pt x="158" y="250"/>
                  </a:lnTo>
                  <a:lnTo>
                    <a:pt x="162" y="250"/>
                  </a:lnTo>
                  <a:lnTo>
                    <a:pt x="162" y="248"/>
                  </a:lnTo>
                  <a:lnTo>
                    <a:pt x="164" y="246"/>
                  </a:lnTo>
                  <a:lnTo>
                    <a:pt x="164" y="244"/>
                  </a:lnTo>
                  <a:lnTo>
                    <a:pt x="165" y="242"/>
                  </a:lnTo>
                  <a:lnTo>
                    <a:pt x="167" y="240"/>
                  </a:lnTo>
                  <a:lnTo>
                    <a:pt x="169" y="238"/>
                  </a:lnTo>
                  <a:lnTo>
                    <a:pt x="171" y="236"/>
                  </a:lnTo>
                  <a:lnTo>
                    <a:pt x="171" y="236"/>
                  </a:lnTo>
                  <a:lnTo>
                    <a:pt x="173" y="235"/>
                  </a:lnTo>
                  <a:lnTo>
                    <a:pt x="175" y="233"/>
                  </a:lnTo>
                  <a:lnTo>
                    <a:pt x="179" y="231"/>
                  </a:lnTo>
                  <a:lnTo>
                    <a:pt x="179" y="227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5" y="223"/>
                  </a:lnTo>
                  <a:lnTo>
                    <a:pt x="187" y="219"/>
                  </a:lnTo>
                  <a:lnTo>
                    <a:pt x="190" y="215"/>
                  </a:lnTo>
                  <a:lnTo>
                    <a:pt x="190" y="213"/>
                  </a:lnTo>
                  <a:lnTo>
                    <a:pt x="192" y="212"/>
                  </a:lnTo>
                  <a:lnTo>
                    <a:pt x="194" y="212"/>
                  </a:lnTo>
                  <a:lnTo>
                    <a:pt x="196" y="210"/>
                  </a:lnTo>
                  <a:lnTo>
                    <a:pt x="198" y="208"/>
                  </a:lnTo>
                  <a:lnTo>
                    <a:pt x="198" y="206"/>
                  </a:lnTo>
                  <a:lnTo>
                    <a:pt x="200" y="204"/>
                  </a:lnTo>
                  <a:lnTo>
                    <a:pt x="202" y="202"/>
                  </a:lnTo>
                  <a:lnTo>
                    <a:pt x="202" y="198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2"/>
                  </a:lnTo>
                  <a:lnTo>
                    <a:pt x="208" y="190"/>
                  </a:lnTo>
                  <a:lnTo>
                    <a:pt x="210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1"/>
                  </a:lnTo>
                  <a:lnTo>
                    <a:pt x="212" y="177"/>
                  </a:lnTo>
                  <a:lnTo>
                    <a:pt x="212" y="175"/>
                  </a:lnTo>
                  <a:lnTo>
                    <a:pt x="212" y="171"/>
                  </a:lnTo>
                  <a:lnTo>
                    <a:pt x="212" y="167"/>
                  </a:lnTo>
                  <a:lnTo>
                    <a:pt x="215" y="165"/>
                  </a:lnTo>
                  <a:lnTo>
                    <a:pt x="217" y="164"/>
                  </a:lnTo>
                  <a:lnTo>
                    <a:pt x="217" y="160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5" y="152"/>
                  </a:lnTo>
                  <a:lnTo>
                    <a:pt x="213" y="150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1"/>
                  </a:lnTo>
                  <a:lnTo>
                    <a:pt x="213" y="137"/>
                  </a:lnTo>
                  <a:lnTo>
                    <a:pt x="212" y="135"/>
                  </a:lnTo>
                  <a:lnTo>
                    <a:pt x="212" y="131"/>
                  </a:lnTo>
                  <a:lnTo>
                    <a:pt x="212" y="127"/>
                  </a:lnTo>
                  <a:lnTo>
                    <a:pt x="212" y="125"/>
                  </a:lnTo>
                  <a:lnTo>
                    <a:pt x="212" y="121"/>
                  </a:lnTo>
                  <a:lnTo>
                    <a:pt x="212" y="118"/>
                  </a:lnTo>
                  <a:lnTo>
                    <a:pt x="212" y="116"/>
                  </a:lnTo>
                  <a:lnTo>
                    <a:pt x="212" y="112"/>
                  </a:lnTo>
                  <a:lnTo>
                    <a:pt x="212" y="110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3" y="102"/>
                  </a:lnTo>
                  <a:lnTo>
                    <a:pt x="215" y="100"/>
                  </a:lnTo>
                  <a:lnTo>
                    <a:pt x="215" y="96"/>
                  </a:lnTo>
                  <a:lnTo>
                    <a:pt x="217" y="96"/>
                  </a:lnTo>
                  <a:lnTo>
                    <a:pt x="219" y="95"/>
                  </a:lnTo>
                  <a:lnTo>
                    <a:pt x="219" y="91"/>
                  </a:lnTo>
                  <a:lnTo>
                    <a:pt x="221" y="91"/>
                  </a:lnTo>
                  <a:lnTo>
                    <a:pt x="221" y="89"/>
                  </a:lnTo>
                  <a:lnTo>
                    <a:pt x="223" y="87"/>
                  </a:lnTo>
                  <a:lnTo>
                    <a:pt x="225" y="85"/>
                  </a:lnTo>
                  <a:lnTo>
                    <a:pt x="225" y="81"/>
                  </a:lnTo>
                  <a:lnTo>
                    <a:pt x="225" y="77"/>
                  </a:lnTo>
                  <a:lnTo>
                    <a:pt x="225" y="75"/>
                  </a:lnTo>
                  <a:lnTo>
                    <a:pt x="225" y="71"/>
                  </a:lnTo>
                  <a:lnTo>
                    <a:pt x="225" y="68"/>
                  </a:lnTo>
                  <a:lnTo>
                    <a:pt x="225" y="66"/>
                  </a:lnTo>
                  <a:lnTo>
                    <a:pt x="225" y="62"/>
                  </a:lnTo>
                  <a:lnTo>
                    <a:pt x="225" y="58"/>
                  </a:lnTo>
                  <a:lnTo>
                    <a:pt x="225" y="56"/>
                  </a:lnTo>
                  <a:lnTo>
                    <a:pt x="225" y="52"/>
                  </a:lnTo>
                  <a:lnTo>
                    <a:pt x="227" y="50"/>
                  </a:lnTo>
                  <a:lnTo>
                    <a:pt x="227" y="47"/>
                  </a:lnTo>
                  <a:lnTo>
                    <a:pt x="227" y="45"/>
                  </a:lnTo>
                  <a:lnTo>
                    <a:pt x="227" y="41"/>
                  </a:lnTo>
                  <a:lnTo>
                    <a:pt x="229" y="39"/>
                  </a:lnTo>
                  <a:lnTo>
                    <a:pt x="229" y="35"/>
                  </a:lnTo>
                  <a:lnTo>
                    <a:pt x="229" y="33"/>
                  </a:lnTo>
                  <a:lnTo>
                    <a:pt x="231" y="31"/>
                  </a:lnTo>
                  <a:lnTo>
                    <a:pt x="231" y="27"/>
                  </a:lnTo>
                  <a:lnTo>
                    <a:pt x="235" y="25"/>
                  </a:lnTo>
                  <a:lnTo>
                    <a:pt x="235" y="25"/>
                  </a:lnTo>
                  <a:lnTo>
                    <a:pt x="236" y="24"/>
                  </a:lnTo>
                  <a:lnTo>
                    <a:pt x="240" y="22"/>
                  </a:lnTo>
                  <a:lnTo>
                    <a:pt x="242" y="20"/>
                  </a:lnTo>
                  <a:lnTo>
                    <a:pt x="246" y="18"/>
                  </a:lnTo>
                  <a:lnTo>
                    <a:pt x="248" y="16"/>
                  </a:lnTo>
                  <a:lnTo>
                    <a:pt x="250" y="16"/>
                  </a:lnTo>
                  <a:lnTo>
                    <a:pt x="250" y="12"/>
                  </a:lnTo>
                  <a:lnTo>
                    <a:pt x="252" y="12"/>
                  </a:lnTo>
                  <a:lnTo>
                    <a:pt x="254" y="10"/>
                  </a:lnTo>
                  <a:lnTo>
                    <a:pt x="256" y="6"/>
                  </a:lnTo>
                  <a:lnTo>
                    <a:pt x="259" y="6"/>
                  </a:lnTo>
                  <a:lnTo>
                    <a:pt x="261" y="2"/>
                  </a:lnTo>
                  <a:lnTo>
                    <a:pt x="261" y="2"/>
                  </a:lnTo>
                  <a:lnTo>
                    <a:pt x="265" y="2"/>
                  </a:lnTo>
                  <a:lnTo>
                    <a:pt x="267" y="0"/>
                  </a:lnTo>
                  <a:lnTo>
                    <a:pt x="271" y="0"/>
                  </a:lnTo>
                  <a:lnTo>
                    <a:pt x="273" y="0"/>
                  </a:lnTo>
                  <a:lnTo>
                    <a:pt x="277" y="0"/>
                  </a:lnTo>
                  <a:lnTo>
                    <a:pt x="277" y="2"/>
                  </a:lnTo>
                  <a:lnTo>
                    <a:pt x="281" y="2"/>
                  </a:lnTo>
                  <a:lnTo>
                    <a:pt x="281" y="4"/>
                  </a:lnTo>
                  <a:lnTo>
                    <a:pt x="281" y="6"/>
                  </a:lnTo>
                  <a:lnTo>
                    <a:pt x="284" y="6"/>
                  </a:lnTo>
                  <a:lnTo>
                    <a:pt x="288" y="6"/>
                  </a:lnTo>
                  <a:lnTo>
                    <a:pt x="290" y="10"/>
                  </a:lnTo>
                  <a:lnTo>
                    <a:pt x="292" y="12"/>
                  </a:lnTo>
                  <a:lnTo>
                    <a:pt x="294" y="14"/>
                  </a:lnTo>
                  <a:lnTo>
                    <a:pt x="296" y="16"/>
                  </a:lnTo>
                  <a:lnTo>
                    <a:pt x="296" y="18"/>
                  </a:lnTo>
                  <a:lnTo>
                    <a:pt x="298" y="20"/>
                  </a:lnTo>
                  <a:lnTo>
                    <a:pt x="300" y="24"/>
                  </a:lnTo>
                  <a:lnTo>
                    <a:pt x="302" y="24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4" y="29"/>
                  </a:lnTo>
                  <a:lnTo>
                    <a:pt x="306" y="31"/>
                  </a:lnTo>
                  <a:lnTo>
                    <a:pt x="309" y="31"/>
                  </a:lnTo>
                  <a:lnTo>
                    <a:pt x="311" y="31"/>
                  </a:lnTo>
                  <a:lnTo>
                    <a:pt x="315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5" y="31"/>
                  </a:lnTo>
                  <a:lnTo>
                    <a:pt x="329" y="31"/>
                  </a:lnTo>
                  <a:lnTo>
                    <a:pt x="330" y="31"/>
                  </a:lnTo>
                  <a:lnTo>
                    <a:pt x="334" y="31"/>
                  </a:lnTo>
                  <a:lnTo>
                    <a:pt x="338" y="31"/>
                  </a:lnTo>
                  <a:lnTo>
                    <a:pt x="338" y="33"/>
                  </a:lnTo>
                  <a:lnTo>
                    <a:pt x="340" y="35"/>
                  </a:lnTo>
                  <a:lnTo>
                    <a:pt x="342" y="37"/>
                  </a:lnTo>
                  <a:lnTo>
                    <a:pt x="344" y="37"/>
                  </a:lnTo>
                  <a:lnTo>
                    <a:pt x="348" y="39"/>
                  </a:lnTo>
                  <a:lnTo>
                    <a:pt x="348" y="43"/>
                  </a:lnTo>
                  <a:lnTo>
                    <a:pt x="352" y="45"/>
                  </a:lnTo>
                  <a:lnTo>
                    <a:pt x="353" y="45"/>
                  </a:lnTo>
                  <a:lnTo>
                    <a:pt x="357" y="45"/>
                  </a:lnTo>
                  <a:lnTo>
                    <a:pt x="361" y="47"/>
                  </a:lnTo>
                  <a:lnTo>
                    <a:pt x="361" y="45"/>
                  </a:lnTo>
                  <a:lnTo>
                    <a:pt x="363" y="45"/>
                  </a:lnTo>
                  <a:lnTo>
                    <a:pt x="365" y="43"/>
                  </a:lnTo>
                  <a:lnTo>
                    <a:pt x="367" y="43"/>
                  </a:lnTo>
                  <a:lnTo>
                    <a:pt x="367" y="39"/>
                  </a:lnTo>
                  <a:lnTo>
                    <a:pt x="369" y="39"/>
                  </a:lnTo>
                  <a:lnTo>
                    <a:pt x="369" y="35"/>
                  </a:lnTo>
                  <a:lnTo>
                    <a:pt x="371" y="35"/>
                  </a:lnTo>
                  <a:lnTo>
                    <a:pt x="371" y="33"/>
                  </a:lnTo>
                  <a:lnTo>
                    <a:pt x="371" y="31"/>
                  </a:lnTo>
                  <a:lnTo>
                    <a:pt x="373" y="29"/>
                  </a:lnTo>
                  <a:lnTo>
                    <a:pt x="375" y="27"/>
                  </a:lnTo>
                  <a:lnTo>
                    <a:pt x="377" y="25"/>
                  </a:lnTo>
                  <a:lnTo>
                    <a:pt x="378" y="25"/>
                  </a:lnTo>
                  <a:lnTo>
                    <a:pt x="380" y="24"/>
                  </a:lnTo>
                  <a:lnTo>
                    <a:pt x="382" y="24"/>
                  </a:lnTo>
                  <a:lnTo>
                    <a:pt x="384" y="22"/>
                  </a:lnTo>
                  <a:lnTo>
                    <a:pt x="388" y="22"/>
                  </a:lnTo>
                  <a:lnTo>
                    <a:pt x="390" y="22"/>
                  </a:lnTo>
                  <a:lnTo>
                    <a:pt x="392" y="22"/>
                  </a:lnTo>
                  <a:lnTo>
                    <a:pt x="394" y="24"/>
                  </a:lnTo>
                  <a:lnTo>
                    <a:pt x="396" y="25"/>
                  </a:lnTo>
                  <a:lnTo>
                    <a:pt x="400" y="25"/>
                  </a:lnTo>
                  <a:lnTo>
                    <a:pt x="401" y="25"/>
                  </a:lnTo>
                  <a:lnTo>
                    <a:pt x="403" y="25"/>
                  </a:lnTo>
                  <a:lnTo>
                    <a:pt x="405" y="27"/>
                  </a:lnTo>
                  <a:lnTo>
                    <a:pt x="409" y="27"/>
                  </a:lnTo>
                  <a:lnTo>
                    <a:pt x="411" y="27"/>
                  </a:lnTo>
                  <a:lnTo>
                    <a:pt x="415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4" y="27"/>
                  </a:lnTo>
                  <a:lnTo>
                    <a:pt x="426" y="27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2" y="25"/>
                  </a:lnTo>
                  <a:lnTo>
                    <a:pt x="434" y="24"/>
                  </a:lnTo>
                  <a:lnTo>
                    <a:pt x="436" y="22"/>
                  </a:lnTo>
                  <a:lnTo>
                    <a:pt x="436" y="20"/>
                  </a:lnTo>
                  <a:lnTo>
                    <a:pt x="438" y="18"/>
                  </a:lnTo>
                  <a:lnTo>
                    <a:pt x="442" y="18"/>
                  </a:lnTo>
                  <a:lnTo>
                    <a:pt x="444" y="18"/>
                  </a:lnTo>
                  <a:lnTo>
                    <a:pt x="448" y="18"/>
                  </a:lnTo>
                  <a:lnTo>
                    <a:pt x="449" y="16"/>
                  </a:lnTo>
                  <a:lnTo>
                    <a:pt x="451" y="16"/>
                  </a:lnTo>
                  <a:lnTo>
                    <a:pt x="453" y="14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1" y="10"/>
                  </a:lnTo>
                  <a:lnTo>
                    <a:pt x="463" y="10"/>
                  </a:lnTo>
                  <a:lnTo>
                    <a:pt x="467" y="10"/>
                  </a:lnTo>
                  <a:lnTo>
                    <a:pt x="467" y="8"/>
                  </a:lnTo>
                  <a:lnTo>
                    <a:pt x="471" y="8"/>
                  </a:lnTo>
                  <a:lnTo>
                    <a:pt x="471" y="6"/>
                  </a:lnTo>
                  <a:lnTo>
                    <a:pt x="472" y="6"/>
                  </a:lnTo>
                  <a:lnTo>
                    <a:pt x="474" y="6"/>
                  </a:lnTo>
                  <a:lnTo>
                    <a:pt x="478" y="6"/>
                  </a:lnTo>
                  <a:lnTo>
                    <a:pt x="480" y="4"/>
                  </a:lnTo>
                  <a:lnTo>
                    <a:pt x="482" y="4"/>
                  </a:lnTo>
                  <a:lnTo>
                    <a:pt x="486" y="4"/>
                  </a:lnTo>
                  <a:lnTo>
                    <a:pt x="490" y="4"/>
                  </a:lnTo>
                  <a:lnTo>
                    <a:pt x="492" y="4"/>
                  </a:lnTo>
                  <a:lnTo>
                    <a:pt x="494" y="4"/>
                  </a:lnTo>
                  <a:lnTo>
                    <a:pt x="495" y="6"/>
                  </a:lnTo>
                  <a:lnTo>
                    <a:pt x="499" y="6"/>
                  </a:lnTo>
                  <a:lnTo>
                    <a:pt x="501" y="6"/>
                  </a:lnTo>
                  <a:lnTo>
                    <a:pt x="505" y="8"/>
                  </a:lnTo>
                  <a:lnTo>
                    <a:pt x="507" y="10"/>
                  </a:lnTo>
                  <a:lnTo>
                    <a:pt x="511" y="10"/>
                  </a:lnTo>
                  <a:lnTo>
                    <a:pt x="513" y="10"/>
                  </a:lnTo>
                  <a:lnTo>
                    <a:pt x="517" y="10"/>
                  </a:lnTo>
                  <a:lnTo>
                    <a:pt x="520" y="10"/>
                  </a:lnTo>
                  <a:lnTo>
                    <a:pt x="522" y="10"/>
                  </a:lnTo>
                  <a:lnTo>
                    <a:pt x="526" y="10"/>
                  </a:lnTo>
                  <a:lnTo>
                    <a:pt x="530" y="10"/>
                  </a:lnTo>
                  <a:lnTo>
                    <a:pt x="532" y="10"/>
                  </a:lnTo>
                  <a:lnTo>
                    <a:pt x="536" y="10"/>
                  </a:lnTo>
                  <a:lnTo>
                    <a:pt x="540" y="10"/>
                  </a:lnTo>
                  <a:lnTo>
                    <a:pt x="542" y="10"/>
                  </a:lnTo>
                  <a:lnTo>
                    <a:pt x="545" y="10"/>
                  </a:lnTo>
                  <a:lnTo>
                    <a:pt x="547" y="10"/>
                  </a:lnTo>
                  <a:lnTo>
                    <a:pt x="549" y="10"/>
                  </a:lnTo>
                  <a:lnTo>
                    <a:pt x="551" y="12"/>
                  </a:lnTo>
                  <a:lnTo>
                    <a:pt x="555" y="14"/>
                  </a:lnTo>
                  <a:lnTo>
                    <a:pt x="559" y="14"/>
                  </a:lnTo>
                  <a:lnTo>
                    <a:pt x="561" y="16"/>
                  </a:lnTo>
                  <a:lnTo>
                    <a:pt x="565" y="16"/>
                  </a:lnTo>
                  <a:lnTo>
                    <a:pt x="566" y="18"/>
                  </a:lnTo>
                  <a:lnTo>
                    <a:pt x="566" y="20"/>
                  </a:lnTo>
                  <a:lnTo>
                    <a:pt x="570" y="20"/>
                  </a:lnTo>
                  <a:lnTo>
                    <a:pt x="572" y="22"/>
                  </a:lnTo>
                  <a:lnTo>
                    <a:pt x="572" y="24"/>
                  </a:lnTo>
                  <a:lnTo>
                    <a:pt x="572" y="25"/>
                  </a:lnTo>
                  <a:lnTo>
                    <a:pt x="576" y="25"/>
                  </a:lnTo>
                  <a:lnTo>
                    <a:pt x="578" y="27"/>
                  </a:lnTo>
                  <a:lnTo>
                    <a:pt x="578" y="31"/>
                  </a:lnTo>
                  <a:lnTo>
                    <a:pt x="580" y="33"/>
                  </a:lnTo>
                  <a:lnTo>
                    <a:pt x="582" y="35"/>
                  </a:lnTo>
                  <a:lnTo>
                    <a:pt x="582" y="37"/>
                  </a:lnTo>
                  <a:lnTo>
                    <a:pt x="586" y="37"/>
                  </a:lnTo>
                  <a:lnTo>
                    <a:pt x="590" y="37"/>
                  </a:lnTo>
                  <a:lnTo>
                    <a:pt x="591" y="37"/>
                  </a:lnTo>
                  <a:lnTo>
                    <a:pt x="595" y="37"/>
                  </a:lnTo>
                  <a:lnTo>
                    <a:pt x="599" y="37"/>
                  </a:lnTo>
                  <a:lnTo>
                    <a:pt x="599" y="37"/>
                  </a:lnTo>
                  <a:lnTo>
                    <a:pt x="601" y="35"/>
                  </a:lnTo>
                  <a:lnTo>
                    <a:pt x="603" y="35"/>
                  </a:lnTo>
                  <a:lnTo>
                    <a:pt x="605" y="33"/>
                  </a:lnTo>
                  <a:lnTo>
                    <a:pt x="605" y="31"/>
                  </a:lnTo>
                  <a:lnTo>
                    <a:pt x="611" y="31"/>
                  </a:lnTo>
                  <a:lnTo>
                    <a:pt x="611" y="29"/>
                  </a:lnTo>
                  <a:lnTo>
                    <a:pt x="613" y="29"/>
                  </a:lnTo>
                  <a:lnTo>
                    <a:pt x="614" y="27"/>
                  </a:lnTo>
                  <a:lnTo>
                    <a:pt x="616" y="27"/>
                  </a:lnTo>
                  <a:lnTo>
                    <a:pt x="620" y="25"/>
                  </a:lnTo>
                  <a:lnTo>
                    <a:pt x="622" y="25"/>
                  </a:lnTo>
                  <a:lnTo>
                    <a:pt x="624" y="25"/>
                  </a:lnTo>
                  <a:lnTo>
                    <a:pt x="630" y="25"/>
                  </a:lnTo>
                  <a:lnTo>
                    <a:pt x="632" y="24"/>
                  </a:lnTo>
                  <a:lnTo>
                    <a:pt x="634" y="24"/>
                  </a:lnTo>
                  <a:lnTo>
                    <a:pt x="636" y="22"/>
                  </a:lnTo>
                  <a:lnTo>
                    <a:pt x="637" y="22"/>
                  </a:lnTo>
                  <a:lnTo>
                    <a:pt x="637" y="20"/>
                  </a:lnTo>
                  <a:lnTo>
                    <a:pt x="641" y="20"/>
                  </a:lnTo>
                  <a:lnTo>
                    <a:pt x="641" y="24"/>
                  </a:lnTo>
                  <a:lnTo>
                    <a:pt x="641" y="25"/>
                  </a:lnTo>
                  <a:lnTo>
                    <a:pt x="643" y="29"/>
                  </a:lnTo>
                  <a:lnTo>
                    <a:pt x="645" y="31"/>
                  </a:lnTo>
                  <a:lnTo>
                    <a:pt x="647" y="33"/>
                  </a:lnTo>
                  <a:lnTo>
                    <a:pt x="647" y="35"/>
                  </a:lnTo>
                  <a:lnTo>
                    <a:pt x="649" y="37"/>
                  </a:lnTo>
                  <a:lnTo>
                    <a:pt x="651" y="41"/>
                  </a:lnTo>
                  <a:lnTo>
                    <a:pt x="651" y="43"/>
                  </a:lnTo>
                  <a:lnTo>
                    <a:pt x="653" y="43"/>
                  </a:lnTo>
                  <a:lnTo>
                    <a:pt x="655" y="45"/>
                  </a:lnTo>
                  <a:lnTo>
                    <a:pt x="657" y="47"/>
                  </a:lnTo>
                  <a:lnTo>
                    <a:pt x="657" y="48"/>
                  </a:lnTo>
                  <a:lnTo>
                    <a:pt x="659" y="50"/>
                  </a:lnTo>
                  <a:lnTo>
                    <a:pt x="662" y="50"/>
                  </a:lnTo>
                  <a:lnTo>
                    <a:pt x="662" y="52"/>
                  </a:lnTo>
                  <a:lnTo>
                    <a:pt x="662" y="56"/>
                  </a:lnTo>
                  <a:lnTo>
                    <a:pt x="666" y="56"/>
                  </a:lnTo>
                  <a:lnTo>
                    <a:pt x="668" y="56"/>
                  </a:lnTo>
                  <a:lnTo>
                    <a:pt x="670" y="56"/>
                  </a:lnTo>
                  <a:lnTo>
                    <a:pt x="670" y="58"/>
                  </a:lnTo>
                  <a:lnTo>
                    <a:pt x="672" y="60"/>
                  </a:lnTo>
                  <a:lnTo>
                    <a:pt x="674" y="60"/>
                  </a:lnTo>
                  <a:lnTo>
                    <a:pt x="676" y="62"/>
                  </a:lnTo>
                  <a:lnTo>
                    <a:pt x="678" y="64"/>
                  </a:lnTo>
                  <a:lnTo>
                    <a:pt x="680" y="66"/>
                  </a:lnTo>
                  <a:lnTo>
                    <a:pt x="680" y="70"/>
                  </a:lnTo>
                  <a:lnTo>
                    <a:pt x="680" y="73"/>
                  </a:lnTo>
                  <a:lnTo>
                    <a:pt x="680" y="75"/>
                  </a:lnTo>
                  <a:lnTo>
                    <a:pt x="680" y="79"/>
                  </a:lnTo>
                  <a:lnTo>
                    <a:pt x="680" y="81"/>
                  </a:lnTo>
                  <a:lnTo>
                    <a:pt x="680" y="85"/>
                  </a:lnTo>
                  <a:lnTo>
                    <a:pt x="678" y="87"/>
                  </a:lnTo>
                  <a:lnTo>
                    <a:pt x="676" y="89"/>
                  </a:lnTo>
                  <a:lnTo>
                    <a:pt x="672" y="89"/>
                  </a:lnTo>
                  <a:lnTo>
                    <a:pt x="672" y="93"/>
                  </a:lnTo>
                  <a:lnTo>
                    <a:pt x="672" y="96"/>
                  </a:lnTo>
                  <a:lnTo>
                    <a:pt x="672" y="98"/>
                  </a:lnTo>
                  <a:lnTo>
                    <a:pt x="672" y="102"/>
                  </a:lnTo>
                  <a:lnTo>
                    <a:pt x="672" y="106"/>
                  </a:lnTo>
                  <a:lnTo>
                    <a:pt x="672" y="108"/>
                  </a:lnTo>
                  <a:lnTo>
                    <a:pt x="676" y="110"/>
                  </a:lnTo>
                  <a:lnTo>
                    <a:pt x="678" y="114"/>
                  </a:lnTo>
                  <a:lnTo>
                    <a:pt x="680" y="116"/>
                  </a:lnTo>
                  <a:lnTo>
                    <a:pt x="682" y="118"/>
                  </a:lnTo>
                  <a:lnTo>
                    <a:pt x="684" y="119"/>
                  </a:lnTo>
                  <a:lnTo>
                    <a:pt x="684" y="123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2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9"/>
                  </a:lnTo>
                  <a:lnTo>
                    <a:pt x="682" y="141"/>
                  </a:lnTo>
                  <a:lnTo>
                    <a:pt x="682" y="142"/>
                  </a:lnTo>
                  <a:lnTo>
                    <a:pt x="682" y="146"/>
                  </a:lnTo>
                  <a:lnTo>
                    <a:pt x="682" y="148"/>
                  </a:lnTo>
                  <a:lnTo>
                    <a:pt x="682" y="150"/>
                  </a:lnTo>
                  <a:lnTo>
                    <a:pt x="682" y="152"/>
                  </a:lnTo>
                  <a:lnTo>
                    <a:pt x="678" y="152"/>
                  </a:lnTo>
                  <a:lnTo>
                    <a:pt x="676" y="154"/>
                  </a:lnTo>
                  <a:lnTo>
                    <a:pt x="674" y="156"/>
                  </a:lnTo>
                  <a:lnTo>
                    <a:pt x="674" y="158"/>
                  </a:lnTo>
                  <a:lnTo>
                    <a:pt x="672" y="160"/>
                  </a:lnTo>
                  <a:lnTo>
                    <a:pt x="668" y="160"/>
                  </a:lnTo>
                  <a:lnTo>
                    <a:pt x="666" y="162"/>
                  </a:lnTo>
                  <a:lnTo>
                    <a:pt x="662" y="162"/>
                  </a:lnTo>
                  <a:lnTo>
                    <a:pt x="662" y="164"/>
                  </a:lnTo>
                  <a:lnTo>
                    <a:pt x="659" y="164"/>
                  </a:lnTo>
                  <a:lnTo>
                    <a:pt x="657" y="164"/>
                  </a:lnTo>
                  <a:lnTo>
                    <a:pt x="655" y="164"/>
                  </a:lnTo>
                  <a:lnTo>
                    <a:pt x="653" y="165"/>
                  </a:lnTo>
                  <a:lnTo>
                    <a:pt x="653" y="165"/>
                  </a:lnTo>
                  <a:lnTo>
                    <a:pt x="651" y="165"/>
                  </a:lnTo>
                  <a:lnTo>
                    <a:pt x="649" y="167"/>
                  </a:lnTo>
                  <a:lnTo>
                    <a:pt x="647" y="167"/>
                  </a:lnTo>
                  <a:lnTo>
                    <a:pt x="645" y="171"/>
                  </a:lnTo>
                  <a:lnTo>
                    <a:pt x="643" y="173"/>
                  </a:lnTo>
                  <a:lnTo>
                    <a:pt x="641" y="177"/>
                  </a:lnTo>
                  <a:lnTo>
                    <a:pt x="641" y="181"/>
                  </a:lnTo>
                  <a:lnTo>
                    <a:pt x="641" y="185"/>
                  </a:lnTo>
                  <a:lnTo>
                    <a:pt x="641" y="185"/>
                  </a:lnTo>
                  <a:lnTo>
                    <a:pt x="641" y="189"/>
                  </a:lnTo>
                  <a:lnTo>
                    <a:pt x="641" y="192"/>
                  </a:lnTo>
                  <a:lnTo>
                    <a:pt x="639" y="192"/>
                  </a:lnTo>
                  <a:lnTo>
                    <a:pt x="639" y="196"/>
                  </a:lnTo>
                  <a:lnTo>
                    <a:pt x="637" y="198"/>
                  </a:lnTo>
                  <a:lnTo>
                    <a:pt x="636" y="200"/>
                  </a:lnTo>
                  <a:lnTo>
                    <a:pt x="634" y="204"/>
                  </a:lnTo>
                  <a:lnTo>
                    <a:pt x="634" y="206"/>
                  </a:lnTo>
                  <a:lnTo>
                    <a:pt x="634" y="208"/>
                  </a:lnTo>
                  <a:lnTo>
                    <a:pt x="632" y="210"/>
                  </a:lnTo>
                  <a:lnTo>
                    <a:pt x="632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0" y="219"/>
                  </a:lnTo>
                  <a:lnTo>
                    <a:pt x="628" y="223"/>
                  </a:lnTo>
                  <a:lnTo>
                    <a:pt x="628" y="225"/>
                  </a:lnTo>
                  <a:lnTo>
                    <a:pt x="628" y="229"/>
                  </a:lnTo>
                  <a:lnTo>
                    <a:pt x="628" y="231"/>
                  </a:lnTo>
                  <a:lnTo>
                    <a:pt x="630" y="235"/>
                  </a:lnTo>
                  <a:lnTo>
                    <a:pt x="630" y="236"/>
                  </a:lnTo>
                  <a:lnTo>
                    <a:pt x="630" y="240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30" y="250"/>
                  </a:lnTo>
                  <a:lnTo>
                    <a:pt x="630" y="252"/>
                  </a:lnTo>
                  <a:lnTo>
                    <a:pt x="628" y="254"/>
                  </a:lnTo>
                  <a:lnTo>
                    <a:pt x="628" y="256"/>
                  </a:lnTo>
                  <a:lnTo>
                    <a:pt x="626" y="258"/>
                  </a:lnTo>
                  <a:lnTo>
                    <a:pt x="626" y="261"/>
                  </a:lnTo>
                  <a:lnTo>
                    <a:pt x="626" y="265"/>
                  </a:lnTo>
                  <a:lnTo>
                    <a:pt x="626" y="267"/>
                  </a:lnTo>
                  <a:lnTo>
                    <a:pt x="626" y="269"/>
                  </a:lnTo>
                  <a:lnTo>
                    <a:pt x="624" y="271"/>
                  </a:lnTo>
                  <a:lnTo>
                    <a:pt x="624" y="273"/>
                  </a:lnTo>
                  <a:lnTo>
                    <a:pt x="622" y="275"/>
                  </a:lnTo>
                  <a:lnTo>
                    <a:pt x="622" y="277"/>
                  </a:lnTo>
                  <a:lnTo>
                    <a:pt x="618" y="279"/>
                  </a:lnTo>
                  <a:lnTo>
                    <a:pt x="618" y="281"/>
                  </a:lnTo>
                  <a:lnTo>
                    <a:pt x="616" y="281"/>
                  </a:lnTo>
                  <a:lnTo>
                    <a:pt x="614" y="283"/>
                  </a:lnTo>
                  <a:lnTo>
                    <a:pt x="614" y="284"/>
                  </a:lnTo>
                  <a:lnTo>
                    <a:pt x="613" y="286"/>
                  </a:lnTo>
                  <a:lnTo>
                    <a:pt x="611" y="290"/>
                  </a:lnTo>
                  <a:lnTo>
                    <a:pt x="611" y="296"/>
                  </a:lnTo>
                  <a:lnTo>
                    <a:pt x="611" y="298"/>
                  </a:lnTo>
                  <a:lnTo>
                    <a:pt x="611" y="302"/>
                  </a:lnTo>
                  <a:lnTo>
                    <a:pt x="611" y="306"/>
                  </a:lnTo>
                  <a:lnTo>
                    <a:pt x="611" y="307"/>
                  </a:lnTo>
                  <a:lnTo>
                    <a:pt x="611" y="311"/>
                  </a:lnTo>
                  <a:lnTo>
                    <a:pt x="611" y="315"/>
                  </a:lnTo>
                  <a:lnTo>
                    <a:pt x="611" y="317"/>
                  </a:lnTo>
                  <a:lnTo>
                    <a:pt x="611" y="321"/>
                  </a:lnTo>
                  <a:lnTo>
                    <a:pt x="611" y="323"/>
                  </a:lnTo>
                  <a:lnTo>
                    <a:pt x="614" y="323"/>
                  </a:lnTo>
                  <a:lnTo>
                    <a:pt x="616" y="325"/>
                  </a:lnTo>
                  <a:lnTo>
                    <a:pt x="618" y="325"/>
                  </a:lnTo>
                  <a:lnTo>
                    <a:pt x="620" y="329"/>
                  </a:lnTo>
                  <a:lnTo>
                    <a:pt x="622" y="332"/>
                  </a:lnTo>
                  <a:lnTo>
                    <a:pt x="622" y="336"/>
                  </a:lnTo>
                  <a:lnTo>
                    <a:pt x="622" y="338"/>
                  </a:lnTo>
                  <a:lnTo>
                    <a:pt x="622" y="342"/>
                  </a:lnTo>
                  <a:lnTo>
                    <a:pt x="622" y="346"/>
                  </a:lnTo>
                  <a:lnTo>
                    <a:pt x="622" y="348"/>
                  </a:lnTo>
                  <a:lnTo>
                    <a:pt x="622" y="352"/>
                  </a:lnTo>
                  <a:lnTo>
                    <a:pt x="622" y="355"/>
                  </a:lnTo>
                  <a:lnTo>
                    <a:pt x="622" y="357"/>
                  </a:lnTo>
                  <a:lnTo>
                    <a:pt x="622" y="359"/>
                  </a:lnTo>
                  <a:lnTo>
                    <a:pt x="624" y="361"/>
                  </a:lnTo>
                  <a:lnTo>
                    <a:pt x="624" y="363"/>
                  </a:lnTo>
                  <a:lnTo>
                    <a:pt x="628" y="367"/>
                  </a:lnTo>
                  <a:lnTo>
                    <a:pt x="628" y="371"/>
                  </a:lnTo>
                  <a:lnTo>
                    <a:pt x="630" y="373"/>
                  </a:lnTo>
                  <a:lnTo>
                    <a:pt x="630" y="377"/>
                  </a:lnTo>
                  <a:lnTo>
                    <a:pt x="630" y="380"/>
                  </a:lnTo>
                  <a:lnTo>
                    <a:pt x="630" y="382"/>
                  </a:lnTo>
                  <a:lnTo>
                    <a:pt x="630" y="384"/>
                  </a:lnTo>
                  <a:lnTo>
                    <a:pt x="632" y="386"/>
                  </a:lnTo>
                  <a:lnTo>
                    <a:pt x="632" y="388"/>
                  </a:lnTo>
                  <a:lnTo>
                    <a:pt x="634" y="392"/>
                  </a:lnTo>
                  <a:lnTo>
                    <a:pt x="636" y="394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7" y="402"/>
                  </a:lnTo>
                  <a:lnTo>
                    <a:pt x="637" y="405"/>
                  </a:lnTo>
                  <a:lnTo>
                    <a:pt x="637" y="407"/>
                  </a:lnTo>
                  <a:lnTo>
                    <a:pt x="637" y="411"/>
                  </a:lnTo>
                  <a:lnTo>
                    <a:pt x="637" y="415"/>
                  </a:lnTo>
                  <a:lnTo>
                    <a:pt x="637" y="417"/>
                  </a:lnTo>
                  <a:lnTo>
                    <a:pt x="637" y="421"/>
                  </a:lnTo>
                  <a:lnTo>
                    <a:pt x="637" y="423"/>
                  </a:lnTo>
                  <a:lnTo>
                    <a:pt x="639" y="425"/>
                  </a:lnTo>
                  <a:lnTo>
                    <a:pt x="639" y="428"/>
                  </a:lnTo>
                  <a:lnTo>
                    <a:pt x="639" y="430"/>
                  </a:lnTo>
                  <a:lnTo>
                    <a:pt x="639" y="432"/>
                  </a:lnTo>
                  <a:lnTo>
                    <a:pt x="641" y="436"/>
                  </a:lnTo>
                  <a:lnTo>
                    <a:pt x="641" y="436"/>
                  </a:lnTo>
                  <a:lnTo>
                    <a:pt x="641" y="438"/>
                  </a:lnTo>
                  <a:lnTo>
                    <a:pt x="643" y="440"/>
                  </a:lnTo>
                  <a:lnTo>
                    <a:pt x="643" y="444"/>
                  </a:lnTo>
                  <a:lnTo>
                    <a:pt x="645" y="446"/>
                  </a:lnTo>
                  <a:lnTo>
                    <a:pt x="645" y="449"/>
                  </a:lnTo>
                  <a:lnTo>
                    <a:pt x="647" y="451"/>
                  </a:lnTo>
                  <a:lnTo>
                    <a:pt x="647" y="455"/>
                  </a:lnTo>
                  <a:lnTo>
                    <a:pt x="649" y="455"/>
                  </a:lnTo>
                  <a:lnTo>
                    <a:pt x="649" y="457"/>
                  </a:lnTo>
                  <a:lnTo>
                    <a:pt x="651" y="459"/>
                  </a:lnTo>
                  <a:lnTo>
                    <a:pt x="651" y="461"/>
                  </a:lnTo>
                  <a:lnTo>
                    <a:pt x="651" y="463"/>
                  </a:lnTo>
                  <a:lnTo>
                    <a:pt x="655" y="465"/>
                  </a:lnTo>
                  <a:lnTo>
                    <a:pt x="657" y="469"/>
                  </a:lnTo>
                  <a:lnTo>
                    <a:pt x="659" y="473"/>
                  </a:lnTo>
                  <a:lnTo>
                    <a:pt x="660" y="474"/>
                  </a:lnTo>
                  <a:lnTo>
                    <a:pt x="662" y="476"/>
                  </a:lnTo>
                  <a:lnTo>
                    <a:pt x="662" y="478"/>
                  </a:lnTo>
                  <a:lnTo>
                    <a:pt x="664" y="478"/>
                  </a:lnTo>
                  <a:lnTo>
                    <a:pt x="664" y="482"/>
                  </a:lnTo>
                  <a:lnTo>
                    <a:pt x="666" y="482"/>
                  </a:lnTo>
                  <a:lnTo>
                    <a:pt x="666" y="486"/>
                  </a:lnTo>
                  <a:lnTo>
                    <a:pt x="670" y="486"/>
                  </a:lnTo>
                  <a:lnTo>
                    <a:pt x="670" y="486"/>
                  </a:lnTo>
                  <a:lnTo>
                    <a:pt x="672" y="486"/>
                  </a:lnTo>
                  <a:lnTo>
                    <a:pt x="674" y="488"/>
                  </a:lnTo>
                  <a:lnTo>
                    <a:pt x="676" y="490"/>
                  </a:lnTo>
                  <a:lnTo>
                    <a:pt x="680" y="494"/>
                  </a:lnTo>
                  <a:lnTo>
                    <a:pt x="680" y="497"/>
                  </a:lnTo>
                  <a:lnTo>
                    <a:pt x="680" y="499"/>
                  </a:lnTo>
                  <a:lnTo>
                    <a:pt x="682" y="501"/>
                  </a:lnTo>
                  <a:lnTo>
                    <a:pt x="678" y="503"/>
                  </a:lnTo>
                  <a:lnTo>
                    <a:pt x="674" y="503"/>
                  </a:lnTo>
                  <a:lnTo>
                    <a:pt x="672" y="503"/>
                  </a:lnTo>
                  <a:lnTo>
                    <a:pt x="668" y="503"/>
                  </a:lnTo>
                  <a:lnTo>
                    <a:pt x="666" y="503"/>
                  </a:lnTo>
                  <a:lnTo>
                    <a:pt x="662" y="505"/>
                  </a:lnTo>
                  <a:lnTo>
                    <a:pt x="660" y="505"/>
                  </a:lnTo>
                  <a:lnTo>
                    <a:pt x="657" y="505"/>
                  </a:lnTo>
                  <a:lnTo>
                    <a:pt x="653" y="505"/>
                  </a:lnTo>
                  <a:lnTo>
                    <a:pt x="651" y="505"/>
                  </a:lnTo>
                  <a:lnTo>
                    <a:pt x="647" y="507"/>
                  </a:lnTo>
                  <a:lnTo>
                    <a:pt x="643" y="507"/>
                  </a:lnTo>
                  <a:lnTo>
                    <a:pt x="641" y="507"/>
                  </a:lnTo>
                  <a:lnTo>
                    <a:pt x="639" y="509"/>
                  </a:lnTo>
                  <a:lnTo>
                    <a:pt x="637" y="511"/>
                  </a:lnTo>
                  <a:lnTo>
                    <a:pt x="636" y="513"/>
                  </a:lnTo>
                  <a:lnTo>
                    <a:pt x="632" y="513"/>
                  </a:lnTo>
                  <a:lnTo>
                    <a:pt x="630" y="513"/>
                  </a:lnTo>
                  <a:lnTo>
                    <a:pt x="626" y="513"/>
                  </a:lnTo>
                  <a:lnTo>
                    <a:pt x="622" y="513"/>
                  </a:lnTo>
                  <a:lnTo>
                    <a:pt x="620" y="513"/>
                  </a:lnTo>
                  <a:lnTo>
                    <a:pt x="616" y="513"/>
                  </a:lnTo>
                  <a:lnTo>
                    <a:pt x="614" y="515"/>
                  </a:lnTo>
                  <a:lnTo>
                    <a:pt x="611" y="515"/>
                  </a:lnTo>
                  <a:lnTo>
                    <a:pt x="609" y="515"/>
                  </a:lnTo>
                  <a:lnTo>
                    <a:pt x="605" y="515"/>
                  </a:lnTo>
                  <a:lnTo>
                    <a:pt x="603" y="517"/>
                  </a:lnTo>
                  <a:lnTo>
                    <a:pt x="601" y="517"/>
                  </a:lnTo>
                  <a:lnTo>
                    <a:pt x="597" y="519"/>
                  </a:lnTo>
                  <a:lnTo>
                    <a:pt x="595" y="519"/>
                  </a:lnTo>
                  <a:lnTo>
                    <a:pt x="595" y="522"/>
                  </a:lnTo>
                  <a:lnTo>
                    <a:pt x="595" y="526"/>
                  </a:lnTo>
                  <a:lnTo>
                    <a:pt x="595" y="528"/>
                  </a:lnTo>
                  <a:lnTo>
                    <a:pt x="597" y="532"/>
                  </a:lnTo>
                  <a:lnTo>
                    <a:pt x="597" y="536"/>
                  </a:lnTo>
                  <a:lnTo>
                    <a:pt x="597" y="538"/>
                  </a:lnTo>
                  <a:lnTo>
                    <a:pt x="597" y="542"/>
                  </a:lnTo>
                  <a:lnTo>
                    <a:pt x="597" y="545"/>
                  </a:lnTo>
                  <a:lnTo>
                    <a:pt x="597" y="547"/>
                  </a:lnTo>
                  <a:lnTo>
                    <a:pt x="597" y="551"/>
                  </a:lnTo>
                  <a:lnTo>
                    <a:pt x="597" y="555"/>
                  </a:lnTo>
                  <a:lnTo>
                    <a:pt x="597" y="557"/>
                  </a:lnTo>
                  <a:lnTo>
                    <a:pt x="597" y="561"/>
                  </a:lnTo>
                  <a:lnTo>
                    <a:pt x="597" y="563"/>
                  </a:lnTo>
                  <a:lnTo>
                    <a:pt x="595" y="565"/>
                  </a:lnTo>
                  <a:lnTo>
                    <a:pt x="597" y="567"/>
                  </a:lnTo>
                  <a:lnTo>
                    <a:pt x="599" y="567"/>
                  </a:lnTo>
                  <a:lnTo>
                    <a:pt x="599" y="568"/>
                  </a:lnTo>
                  <a:lnTo>
                    <a:pt x="601" y="570"/>
                  </a:lnTo>
                  <a:lnTo>
                    <a:pt x="599" y="572"/>
                  </a:lnTo>
                  <a:lnTo>
                    <a:pt x="599" y="576"/>
                  </a:lnTo>
                  <a:lnTo>
                    <a:pt x="599" y="578"/>
                  </a:lnTo>
                  <a:lnTo>
                    <a:pt x="599" y="580"/>
                  </a:lnTo>
                  <a:lnTo>
                    <a:pt x="597" y="582"/>
                  </a:lnTo>
                  <a:lnTo>
                    <a:pt x="597" y="584"/>
                  </a:lnTo>
                  <a:lnTo>
                    <a:pt x="595" y="586"/>
                  </a:lnTo>
                  <a:lnTo>
                    <a:pt x="593" y="586"/>
                  </a:lnTo>
                  <a:lnTo>
                    <a:pt x="593" y="591"/>
                  </a:lnTo>
                  <a:lnTo>
                    <a:pt x="593" y="593"/>
                  </a:lnTo>
                  <a:lnTo>
                    <a:pt x="591" y="595"/>
                  </a:lnTo>
                  <a:lnTo>
                    <a:pt x="591" y="597"/>
                  </a:lnTo>
                  <a:lnTo>
                    <a:pt x="590" y="599"/>
                  </a:lnTo>
                  <a:lnTo>
                    <a:pt x="590" y="603"/>
                  </a:lnTo>
                  <a:lnTo>
                    <a:pt x="588" y="603"/>
                  </a:lnTo>
                  <a:lnTo>
                    <a:pt x="588" y="605"/>
                  </a:lnTo>
                  <a:lnTo>
                    <a:pt x="586" y="607"/>
                  </a:lnTo>
                  <a:lnTo>
                    <a:pt x="586" y="611"/>
                  </a:lnTo>
                  <a:lnTo>
                    <a:pt x="584" y="613"/>
                  </a:lnTo>
                  <a:lnTo>
                    <a:pt x="584" y="615"/>
                  </a:lnTo>
                  <a:lnTo>
                    <a:pt x="584" y="618"/>
                  </a:lnTo>
                  <a:lnTo>
                    <a:pt x="582" y="620"/>
                  </a:lnTo>
                  <a:lnTo>
                    <a:pt x="582" y="620"/>
                  </a:lnTo>
                  <a:lnTo>
                    <a:pt x="582" y="622"/>
                  </a:lnTo>
                  <a:lnTo>
                    <a:pt x="586" y="624"/>
                  </a:lnTo>
                  <a:lnTo>
                    <a:pt x="588" y="624"/>
                  </a:lnTo>
                  <a:lnTo>
                    <a:pt x="591" y="624"/>
                  </a:lnTo>
                  <a:lnTo>
                    <a:pt x="593" y="626"/>
                  </a:lnTo>
                  <a:lnTo>
                    <a:pt x="595" y="628"/>
                  </a:lnTo>
                  <a:lnTo>
                    <a:pt x="597" y="628"/>
                  </a:lnTo>
                  <a:lnTo>
                    <a:pt x="599" y="632"/>
                  </a:lnTo>
                  <a:lnTo>
                    <a:pt x="601" y="634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7" y="638"/>
                  </a:lnTo>
                  <a:lnTo>
                    <a:pt x="607" y="639"/>
                  </a:lnTo>
                  <a:lnTo>
                    <a:pt x="611" y="639"/>
                  </a:lnTo>
                  <a:lnTo>
                    <a:pt x="613" y="641"/>
                  </a:lnTo>
                  <a:lnTo>
                    <a:pt x="616" y="641"/>
                  </a:lnTo>
                  <a:lnTo>
                    <a:pt x="620" y="641"/>
                  </a:lnTo>
                  <a:lnTo>
                    <a:pt x="622" y="641"/>
                  </a:lnTo>
                  <a:lnTo>
                    <a:pt x="626" y="641"/>
                  </a:lnTo>
                  <a:lnTo>
                    <a:pt x="626" y="639"/>
                  </a:lnTo>
                  <a:lnTo>
                    <a:pt x="628" y="638"/>
                  </a:lnTo>
                  <a:lnTo>
                    <a:pt x="632" y="638"/>
                  </a:lnTo>
                  <a:lnTo>
                    <a:pt x="634" y="638"/>
                  </a:lnTo>
                  <a:lnTo>
                    <a:pt x="636" y="636"/>
                  </a:lnTo>
                  <a:lnTo>
                    <a:pt x="637" y="636"/>
                  </a:lnTo>
                  <a:lnTo>
                    <a:pt x="639" y="636"/>
                  </a:lnTo>
                  <a:lnTo>
                    <a:pt x="641" y="634"/>
                  </a:lnTo>
                  <a:lnTo>
                    <a:pt x="645" y="634"/>
                  </a:lnTo>
                  <a:lnTo>
                    <a:pt x="649" y="634"/>
                  </a:lnTo>
                  <a:lnTo>
                    <a:pt x="651" y="632"/>
                  </a:lnTo>
                  <a:lnTo>
                    <a:pt x="653" y="632"/>
                  </a:lnTo>
                  <a:lnTo>
                    <a:pt x="657" y="632"/>
                  </a:lnTo>
                  <a:lnTo>
                    <a:pt x="660" y="632"/>
                  </a:lnTo>
                  <a:lnTo>
                    <a:pt x="662" y="632"/>
                  </a:lnTo>
                  <a:lnTo>
                    <a:pt x="666" y="632"/>
                  </a:lnTo>
                  <a:lnTo>
                    <a:pt x="670" y="632"/>
                  </a:lnTo>
                  <a:lnTo>
                    <a:pt x="672" y="632"/>
                  </a:lnTo>
                  <a:lnTo>
                    <a:pt x="674" y="632"/>
                  </a:lnTo>
                  <a:lnTo>
                    <a:pt x="674" y="636"/>
                  </a:lnTo>
                  <a:lnTo>
                    <a:pt x="672" y="639"/>
                  </a:lnTo>
                  <a:lnTo>
                    <a:pt x="672" y="643"/>
                  </a:lnTo>
                  <a:lnTo>
                    <a:pt x="672" y="647"/>
                  </a:lnTo>
                  <a:lnTo>
                    <a:pt x="672" y="651"/>
                  </a:lnTo>
                  <a:lnTo>
                    <a:pt x="672" y="653"/>
                  </a:lnTo>
                  <a:lnTo>
                    <a:pt x="672" y="655"/>
                  </a:lnTo>
                  <a:lnTo>
                    <a:pt x="674" y="657"/>
                  </a:lnTo>
                  <a:lnTo>
                    <a:pt x="674" y="659"/>
                  </a:lnTo>
                  <a:lnTo>
                    <a:pt x="676" y="661"/>
                  </a:lnTo>
                  <a:lnTo>
                    <a:pt x="676" y="664"/>
                  </a:lnTo>
                  <a:lnTo>
                    <a:pt x="678" y="666"/>
                  </a:lnTo>
                  <a:lnTo>
                    <a:pt x="678" y="670"/>
                  </a:lnTo>
                  <a:lnTo>
                    <a:pt x="678" y="674"/>
                  </a:lnTo>
                  <a:lnTo>
                    <a:pt x="678" y="678"/>
                  </a:lnTo>
                  <a:lnTo>
                    <a:pt x="680" y="682"/>
                  </a:lnTo>
                  <a:lnTo>
                    <a:pt x="678" y="682"/>
                  </a:lnTo>
                  <a:lnTo>
                    <a:pt x="676" y="684"/>
                  </a:lnTo>
                  <a:lnTo>
                    <a:pt x="676" y="686"/>
                  </a:lnTo>
                  <a:lnTo>
                    <a:pt x="672" y="686"/>
                  </a:lnTo>
                  <a:lnTo>
                    <a:pt x="670" y="687"/>
                  </a:lnTo>
                  <a:lnTo>
                    <a:pt x="666" y="687"/>
                  </a:lnTo>
                  <a:lnTo>
                    <a:pt x="662" y="687"/>
                  </a:lnTo>
                  <a:lnTo>
                    <a:pt x="662" y="689"/>
                  </a:lnTo>
                  <a:lnTo>
                    <a:pt x="659" y="689"/>
                  </a:lnTo>
                  <a:lnTo>
                    <a:pt x="655" y="689"/>
                  </a:lnTo>
                  <a:lnTo>
                    <a:pt x="653" y="689"/>
                  </a:lnTo>
                  <a:lnTo>
                    <a:pt x="651" y="689"/>
                  </a:lnTo>
                  <a:lnTo>
                    <a:pt x="647" y="691"/>
                  </a:lnTo>
                  <a:lnTo>
                    <a:pt x="643" y="691"/>
                  </a:lnTo>
                  <a:lnTo>
                    <a:pt x="641" y="691"/>
                  </a:lnTo>
                  <a:lnTo>
                    <a:pt x="637" y="691"/>
                  </a:lnTo>
                  <a:lnTo>
                    <a:pt x="634" y="691"/>
                  </a:lnTo>
                  <a:lnTo>
                    <a:pt x="632" y="691"/>
                  </a:lnTo>
                  <a:lnTo>
                    <a:pt x="628" y="691"/>
                  </a:lnTo>
                  <a:lnTo>
                    <a:pt x="626" y="687"/>
                  </a:lnTo>
                  <a:lnTo>
                    <a:pt x="624" y="687"/>
                  </a:lnTo>
                  <a:lnTo>
                    <a:pt x="622" y="686"/>
                  </a:lnTo>
                  <a:lnTo>
                    <a:pt x="620" y="686"/>
                  </a:lnTo>
                  <a:lnTo>
                    <a:pt x="616" y="682"/>
                  </a:lnTo>
                  <a:lnTo>
                    <a:pt x="614" y="682"/>
                  </a:lnTo>
                  <a:lnTo>
                    <a:pt x="613" y="680"/>
                  </a:lnTo>
                  <a:lnTo>
                    <a:pt x="611" y="678"/>
                  </a:lnTo>
                  <a:lnTo>
                    <a:pt x="609" y="678"/>
                  </a:lnTo>
                  <a:lnTo>
                    <a:pt x="607" y="676"/>
                  </a:lnTo>
                  <a:lnTo>
                    <a:pt x="603" y="676"/>
                  </a:lnTo>
                  <a:lnTo>
                    <a:pt x="601" y="676"/>
                  </a:lnTo>
                  <a:lnTo>
                    <a:pt x="597" y="674"/>
                  </a:lnTo>
                  <a:lnTo>
                    <a:pt x="597" y="672"/>
                  </a:lnTo>
                  <a:lnTo>
                    <a:pt x="595" y="670"/>
                  </a:lnTo>
                  <a:lnTo>
                    <a:pt x="591" y="670"/>
                  </a:lnTo>
                  <a:lnTo>
                    <a:pt x="590" y="666"/>
                  </a:lnTo>
                  <a:lnTo>
                    <a:pt x="588" y="662"/>
                  </a:lnTo>
                  <a:lnTo>
                    <a:pt x="586" y="657"/>
                  </a:lnTo>
                  <a:lnTo>
                    <a:pt x="582" y="655"/>
                  </a:lnTo>
                  <a:lnTo>
                    <a:pt x="582" y="651"/>
                  </a:lnTo>
                  <a:lnTo>
                    <a:pt x="582" y="649"/>
                  </a:lnTo>
                  <a:lnTo>
                    <a:pt x="582" y="647"/>
                  </a:lnTo>
                  <a:lnTo>
                    <a:pt x="582" y="645"/>
                  </a:lnTo>
                  <a:lnTo>
                    <a:pt x="580" y="643"/>
                  </a:lnTo>
                  <a:lnTo>
                    <a:pt x="576" y="643"/>
                  </a:lnTo>
                  <a:lnTo>
                    <a:pt x="574" y="643"/>
                  </a:lnTo>
                  <a:lnTo>
                    <a:pt x="572" y="641"/>
                  </a:lnTo>
                  <a:lnTo>
                    <a:pt x="572" y="638"/>
                  </a:lnTo>
                  <a:lnTo>
                    <a:pt x="570" y="636"/>
                  </a:lnTo>
                  <a:lnTo>
                    <a:pt x="566" y="636"/>
                  </a:lnTo>
                  <a:lnTo>
                    <a:pt x="565" y="636"/>
                  </a:lnTo>
                  <a:lnTo>
                    <a:pt x="561" y="636"/>
                  </a:lnTo>
                  <a:lnTo>
                    <a:pt x="561" y="632"/>
                  </a:lnTo>
                  <a:lnTo>
                    <a:pt x="557" y="632"/>
                  </a:lnTo>
                  <a:lnTo>
                    <a:pt x="553" y="632"/>
                  </a:lnTo>
                  <a:lnTo>
                    <a:pt x="551" y="632"/>
                  </a:lnTo>
                  <a:lnTo>
                    <a:pt x="547" y="632"/>
                  </a:lnTo>
                  <a:lnTo>
                    <a:pt x="543" y="632"/>
                  </a:lnTo>
                  <a:lnTo>
                    <a:pt x="542" y="632"/>
                  </a:lnTo>
                  <a:lnTo>
                    <a:pt x="538" y="632"/>
                  </a:lnTo>
                  <a:lnTo>
                    <a:pt x="534" y="632"/>
                  </a:lnTo>
                  <a:lnTo>
                    <a:pt x="532" y="632"/>
                  </a:lnTo>
                  <a:lnTo>
                    <a:pt x="528" y="632"/>
                  </a:lnTo>
                  <a:lnTo>
                    <a:pt x="526" y="632"/>
                  </a:lnTo>
                  <a:lnTo>
                    <a:pt x="524" y="630"/>
                  </a:lnTo>
                  <a:lnTo>
                    <a:pt x="522" y="630"/>
                  </a:lnTo>
                  <a:lnTo>
                    <a:pt x="519" y="630"/>
                  </a:lnTo>
                  <a:lnTo>
                    <a:pt x="515" y="630"/>
                  </a:lnTo>
                  <a:lnTo>
                    <a:pt x="511" y="630"/>
                  </a:lnTo>
                  <a:lnTo>
                    <a:pt x="509" y="630"/>
                  </a:lnTo>
                  <a:lnTo>
                    <a:pt x="507" y="632"/>
                  </a:lnTo>
                  <a:lnTo>
                    <a:pt x="505" y="632"/>
                  </a:lnTo>
                  <a:lnTo>
                    <a:pt x="501" y="632"/>
                  </a:lnTo>
                  <a:lnTo>
                    <a:pt x="501" y="634"/>
                  </a:lnTo>
                  <a:lnTo>
                    <a:pt x="499" y="634"/>
                  </a:lnTo>
                  <a:lnTo>
                    <a:pt x="497" y="636"/>
                  </a:lnTo>
                  <a:lnTo>
                    <a:pt x="494" y="636"/>
                  </a:lnTo>
                  <a:lnTo>
                    <a:pt x="492" y="636"/>
                  </a:lnTo>
                  <a:lnTo>
                    <a:pt x="488" y="636"/>
                  </a:lnTo>
                  <a:lnTo>
                    <a:pt x="486" y="632"/>
                  </a:lnTo>
                  <a:lnTo>
                    <a:pt x="486" y="630"/>
                  </a:lnTo>
                  <a:lnTo>
                    <a:pt x="484" y="628"/>
                  </a:lnTo>
                  <a:lnTo>
                    <a:pt x="482" y="626"/>
                  </a:lnTo>
                  <a:lnTo>
                    <a:pt x="482" y="626"/>
                  </a:lnTo>
                  <a:lnTo>
                    <a:pt x="478" y="624"/>
                  </a:lnTo>
                  <a:lnTo>
                    <a:pt x="476" y="624"/>
                  </a:lnTo>
                  <a:lnTo>
                    <a:pt x="474" y="622"/>
                  </a:lnTo>
                  <a:lnTo>
                    <a:pt x="472" y="620"/>
                  </a:lnTo>
                  <a:lnTo>
                    <a:pt x="471" y="618"/>
                  </a:lnTo>
                  <a:lnTo>
                    <a:pt x="469" y="616"/>
                  </a:lnTo>
                  <a:lnTo>
                    <a:pt x="469" y="615"/>
                  </a:lnTo>
                  <a:lnTo>
                    <a:pt x="467" y="613"/>
                  </a:lnTo>
                  <a:lnTo>
                    <a:pt x="467" y="609"/>
                  </a:lnTo>
                  <a:lnTo>
                    <a:pt x="467" y="607"/>
                  </a:lnTo>
                  <a:lnTo>
                    <a:pt x="465" y="603"/>
                  </a:lnTo>
                  <a:lnTo>
                    <a:pt x="463" y="601"/>
                  </a:lnTo>
                  <a:lnTo>
                    <a:pt x="463" y="599"/>
                  </a:lnTo>
                  <a:lnTo>
                    <a:pt x="461" y="599"/>
                  </a:lnTo>
                  <a:lnTo>
                    <a:pt x="457" y="599"/>
                  </a:lnTo>
                  <a:lnTo>
                    <a:pt x="453" y="599"/>
                  </a:lnTo>
                  <a:lnTo>
                    <a:pt x="451" y="599"/>
                  </a:lnTo>
                  <a:lnTo>
                    <a:pt x="448" y="599"/>
                  </a:lnTo>
                  <a:lnTo>
                    <a:pt x="444" y="599"/>
                  </a:lnTo>
                  <a:lnTo>
                    <a:pt x="442" y="599"/>
                  </a:lnTo>
                  <a:lnTo>
                    <a:pt x="438" y="599"/>
                  </a:lnTo>
                  <a:lnTo>
                    <a:pt x="434" y="599"/>
                  </a:lnTo>
                  <a:lnTo>
                    <a:pt x="432" y="599"/>
                  </a:lnTo>
                  <a:lnTo>
                    <a:pt x="430" y="599"/>
                  </a:lnTo>
                  <a:lnTo>
                    <a:pt x="426" y="601"/>
                  </a:lnTo>
                  <a:lnTo>
                    <a:pt x="424" y="601"/>
                  </a:lnTo>
                  <a:lnTo>
                    <a:pt x="421" y="601"/>
                  </a:lnTo>
                  <a:lnTo>
                    <a:pt x="421" y="599"/>
                  </a:lnTo>
                  <a:lnTo>
                    <a:pt x="419" y="597"/>
                  </a:lnTo>
                  <a:lnTo>
                    <a:pt x="417" y="595"/>
                  </a:lnTo>
                  <a:lnTo>
                    <a:pt x="417" y="593"/>
                  </a:lnTo>
                  <a:lnTo>
                    <a:pt x="415" y="591"/>
                  </a:lnTo>
                  <a:lnTo>
                    <a:pt x="411" y="591"/>
                  </a:lnTo>
                  <a:lnTo>
                    <a:pt x="411" y="590"/>
                  </a:lnTo>
                  <a:lnTo>
                    <a:pt x="407" y="590"/>
                  </a:lnTo>
                  <a:lnTo>
                    <a:pt x="403" y="590"/>
                  </a:lnTo>
                  <a:lnTo>
                    <a:pt x="401" y="590"/>
                  </a:lnTo>
                  <a:lnTo>
                    <a:pt x="400" y="591"/>
                  </a:lnTo>
                  <a:lnTo>
                    <a:pt x="396" y="591"/>
                  </a:lnTo>
                  <a:lnTo>
                    <a:pt x="392" y="591"/>
                  </a:lnTo>
                  <a:lnTo>
                    <a:pt x="390" y="591"/>
                  </a:lnTo>
                  <a:lnTo>
                    <a:pt x="386" y="591"/>
                  </a:lnTo>
                  <a:lnTo>
                    <a:pt x="382" y="591"/>
                  </a:lnTo>
                  <a:lnTo>
                    <a:pt x="380" y="591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1" y="593"/>
                  </a:lnTo>
                  <a:lnTo>
                    <a:pt x="367" y="593"/>
                  </a:lnTo>
                  <a:lnTo>
                    <a:pt x="365" y="595"/>
                  </a:lnTo>
                  <a:lnTo>
                    <a:pt x="365" y="590"/>
                  </a:lnTo>
                  <a:lnTo>
                    <a:pt x="367" y="586"/>
                  </a:lnTo>
                  <a:lnTo>
                    <a:pt x="367" y="582"/>
                  </a:lnTo>
                  <a:lnTo>
                    <a:pt x="367" y="580"/>
                  </a:lnTo>
                  <a:lnTo>
                    <a:pt x="367" y="576"/>
                  </a:lnTo>
                  <a:lnTo>
                    <a:pt x="363" y="576"/>
                  </a:lnTo>
                  <a:lnTo>
                    <a:pt x="361" y="574"/>
                  </a:lnTo>
                  <a:lnTo>
                    <a:pt x="361" y="570"/>
                  </a:lnTo>
                  <a:lnTo>
                    <a:pt x="361" y="568"/>
                  </a:lnTo>
                  <a:lnTo>
                    <a:pt x="361" y="567"/>
                  </a:lnTo>
                  <a:lnTo>
                    <a:pt x="361" y="565"/>
                  </a:lnTo>
                  <a:lnTo>
                    <a:pt x="357" y="563"/>
                  </a:lnTo>
                  <a:lnTo>
                    <a:pt x="357" y="561"/>
                  </a:lnTo>
                  <a:lnTo>
                    <a:pt x="355" y="561"/>
                  </a:lnTo>
                  <a:lnTo>
                    <a:pt x="353" y="559"/>
                  </a:lnTo>
                  <a:lnTo>
                    <a:pt x="353" y="555"/>
                  </a:lnTo>
                  <a:lnTo>
                    <a:pt x="353" y="553"/>
                  </a:lnTo>
                  <a:lnTo>
                    <a:pt x="353" y="549"/>
                  </a:lnTo>
                  <a:lnTo>
                    <a:pt x="353" y="545"/>
                  </a:lnTo>
                  <a:lnTo>
                    <a:pt x="353" y="544"/>
                  </a:lnTo>
                  <a:lnTo>
                    <a:pt x="352" y="542"/>
                  </a:lnTo>
                  <a:lnTo>
                    <a:pt x="350" y="540"/>
                  </a:lnTo>
                  <a:lnTo>
                    <a:pt x="348" y="540"/>
                  </a:lnTo>
                  <a:lnTo>
                    <a:pt x="346" y="538"/>
                  </a:lnTo>
                  <a:lnTo>
                    <a:pt x="344" y="536"/>
                  </a:lnTo>
                  <a:lnTo>
                    <a:pt x="342" y="534"/>
                  </a:lnTo>
                  <a:lnTo>
                    <a:pt x="342" y="530"/>
                  </a:lnTo>
                  <a:lnTo>
                    <a:pt x="342" y="528"/>
                  </a:lnTo>
                  <a:lnTo>
                    <a:pt x="342" y="526"/>
                  </a:lnTo>
                  <a:lnTo>
                    <a:pt x="342" y="524"/>
                  </a:lnTo>
                  <a:lnTo>
                    <a:pt x="342" y="520"/>
                  </a:lnTo>
                  <a:lnTo>
                    <a:pt x="342" y="517"/>
                  </a:lnTo>
                  <a:lnTo>
                    <a:pt x="342" y="515"/>
                  </a:lnTo>
                  <a:lnTo>
                    <a:pt x="342" y="511"/>
                  </a:lnTo>
                  <a:lnTo>
                    <a:pt x="342" y="509"/>
                  </a:lnTo>
                  <a:lnTo>
                    <a:pt x="342" y="505"/>
                  </a:lnTo>
                  <a:lnTo>
                    <a:pt x="342" y="501"/>
                  </a:lnTo>
                  <a:lnTo>
                    <a:pt x="342" y="499"/>
                  </a:lnTo>
                  <a:lnTo>
                    <a:pt x="342" y="496"/>
                  </a:lnTo>
                  <a:lnTo>
                    <a:pt x="344" y="494"/>
                  </a:lnTo>
                  <a:lnTo>
                    <a:pt x="344" y="490"/>
                  </a:lnTo>
                  <a:lnTo>
                    <a:pt x="346" y="486"/>
                  </a:lnTo>
                  <a:lnTo>
                    <a:pt x="346" y="484"/>
                  </a:lnTo>
                  <a:lnTo>
                    <a:pt x="346" y="480"/>
                  </a:lnTo>
                  <a:lnTo>
                    <a:pt x="346" y="476"/>
                  </a:lnTo>
                  <a:lnTo>
                    <a:pt x="344" y="476"/>
                  </a:lnTo>
                  <a:lnTo>
                    <a:pt x="342" y="474"/>
                  </a:lnTo>
                  <a:lnTo>
                    <a:pt x="342" y="473"/>
                  </a:lnTo>
                  <a:lnTo>
                    <a:pt x="340" y="469"/>
                  </a:lnTo>
                  <a:lnTo>
                    <a:pt x="338" y="467"/>
                  </a:lnTo>
                  <a:lnTo>
                    <a:pt x="334" y="465"/>
                  </a:lnTo>
                  <a:lnTo>
                    <a:pt x="329" y="465"/>
                  </a:lnTo>
                  <a:lnTo>
                    <a:pt x="327" y="465"/>
                  </a:lnTo>
                  <a:lnTo>
                    <a:pt x="323" y="465"/>
                  </a:lnTo>
                  <a:lnTo>
                    <a:pt x="321" y="465"/>
                  </a:lnTo>
                  <a:lnTo>
                    <a:pt x="317" y="465"/>
                  </a:lnTo>
                  <a:lnTo>
                    <a:pt x="313" y="465"/>
                  </a:lnTo>
                  <a:lnTo>
                    <a:pt x="311" y="465"/>
                  </a:lnTo>
                  <a:lnTo>
                    <a:pt x="309" y="465"/>
                  </a:lnTo>
                  <a:lnTo>
                    <a:pt x="309" y="461"/>
                  </a:lnTo>
                  <a:lnTo>
                    <a:pt x="307" y="459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2" y="455"/>
                  </a:lnTo>
                  <a:lnTo>
                    <a:pt x="300" y="455"/>
                  </a:lnTo>
                  <a:lnTo>
                    <a:pt x="296" y="455"/>
                  </a:lnTo>
                  <a:lnTo>
                    <a:pt x="292" y="455"/>
                  </a:lnTo>
                  <a:lnTo>
                    <a:pt x="290" y="455"/>
                  </a:lnTo>
                  <a:lnTo>
                    <a:pt x="286" y="455"/>
                  </a:lnTo>
                  <a:lnTo>
                    <a:pt x="283" y="455"/>
                  </a:lnTo>
                  <a:lnTo>
                    <a:pt x="281" y="455"/>
                  </a:lnTo>
                  <a:lnTo>
                    <a:pt x="279" y="455"/>
                  </a:lnTo>
                  <a:lnTo>
                    <a:pt x="277" y="455"/>
                  </a:lnTo>
                  <a:lnTo>
                    <a:pt x="275" y="459"/>
                  </a:lnTo>
                  <a:lnTo>
                    <a:pt x="275" y="463"/>
                  </a:lnTo>
                  <a:lnTo>
                    <a:pt x="275" y="465"/>
                  </a:lnTo>
                  <a:lnTo>
                    <a:pt x="275" y="469"/>
                  </a:lnTo>
                  <a:lnTo>
                    <a:pt x="273" y="471"/>
                  </a:lnTo>
                  <a:lnTo>
                    <a:pt x="273" y="473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6"/>
                  </a:lnTo>
                  <a:lnTo>
                    <a:pt x="265" y="476"/>
                  </a:lnTo>
                  <a:lnTo>
                    <a:pt x="261" y="476"/>
                  </a:lnTo>
                  <a:lnTo>
                    <a:pt x="259" y="478"/>
                  </a:lnTo>
                  <a:lnTo>
                    <a:pt x="258" y="480"/>
                  </a:lnTo>
                  <a:lnTo>
                    <a:pt x="256" y="482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0" y="484"/>
                  </a:lnTo>
                  <a:lnTo>
                    <a:pt x="248" y="484"/>
                  </a:lnTo>
                  <a:lnTo>
                    <a:pt x="246" y="486"/>
                  </a:lnTo>
                  <a:lnTo>
                    <a:pt x="242" y="486"/>
                  </a:lnTo>
                  <a:lnTo>
                    <a:pt x="238" y="486"/>
                  </a:lnTo>
                  <a:lnTo>
                    <a:pt x="235" y="486"/>
                  </a:lnTo>
                  <a:lnTo>
                    <a:pt x="233" y="488"/>
                  </a:lnTo>
                  <a:lnTo>
                    <a:pt x="231" y="490"/>
                  </a:lnTo>
                  <a:lnTo>
                    <a:pt x="231" y="494"/>
                  </a:lnTo>
                  <a:lnTo>
                    <a:pt x="227" y="496"/>
                  </a:lnTo>
                  <a:lnTo>
                    <a:pt x="225" y="496"/>
                  </a:lnTo>
                  <a:lnTo>
                    <a:pt x="221" y="496"/>
                  </a:lnTo>
                  <a:lnTo>
                    <a:pt x="221" y="496"/>
                  </a:lnTo>
                  <a:lnTo>
                    <a:pt x="217" y="496"/>
                  </a:lnTo>
                  <a:lnTo>
                    <a:pt x="215" y="496"/>
                  </a:lnTo>
                  <a:lnTo>
                    <a:pt x="212" y="496"/>
                  </a:lnTo>
                  <a:lnTo>
                    <a:pt x="212" y="496"/>
                  </a:lnTo>
                  <a:lnTo>
                    <a:pt x="208" y="496"/>
                  </a:lnTo>
                  <a:lnTo>
                    <a:pt x="206" y="496"/>
                  </a:lnTo>
                  <a:lnTo>
                    <a:pt x="204" y="494"/>
                  </a:lnTo>
                  <a:lnTo>
                    <a:pt x="202" y="494"/>
                  </a:lnTo>
                  <a:lnTo>
                    <a:pt x="200" y="492"/>
                  </a:lnTo>
                  <a:lnTo>
                    <a:pt x="198" y="492"/>
                  </a:lnTo>
                  <a:lnTo>
                    <a:pt x="196" y="490"/>
                  </a:lnTo>
                  <a:lnTo>
                    <a:pt x="192" y="488"/>
                  </a:lnTo>
                  <a:lnTo>
                    <a:pt x="190" y="486"/>
                  </a:lnTo>
                  <a:lnTo>
                    <a:pt x="190" y="482"/>
                  </a:lnTo>
                  <a:lnTo>
                    <a:pt x="190" y="480"/>
                  </a:lnTo>
                  <a:lnTo>
                    <a:pt x="190" y="476"/>
                  </a:lnTo>
                  <a:lnTo>
                    <a:pt x="188" y="474"/>
                  </a:lnTo>
                  <a:lnTo>
                    <a:pt x="187" y="471"/>
                  </a:lnTo>
                  <a:lnTo>
                    <a:pt x="185" y="471"/>
                  </a:lnTo>
                  <a:lnTo>
                    <a:pt x="181" y="471"/>
                  </a:lnTo>
                  <a:lnTo>
                    <a:pt x="181" y="469"/>
                  </a:lnTo>
                  <a:lnTo>
                    <a:pt x="179" y="465"/>
                  </a:lnTo>
                  <a:lnTo>
                    <a:pt x="177" y="465"/>
                  </a:lnTo>
                  <a:lnTo>
                    <a:pt x="175" y="465"/>
                  </a:lnTo>
                  <a:lnTo>
                    <a:pt x="173" y="461"/>
                  </a:lnTo>
                  <a:lnTo>
                    <a:pt x="173" y="459"/>
                  </a:lnTo>
                  <a:lnTo>
                    <a:pt x="173" y="455"/>
                  </a:lnTo>
                  <a:lnTo>
                    <a:pt x="171" y="455"/>
                  </a:lnTo>
                  <a:lnTo>
                    <a:pt x="171" y="451"/>
                  </a:lnTo>
                  <a:lnTo>
                    <a:pt x="171" y="449"/>
                  </a:lnTo>
                  <a:lnTo>
                    <a:pt x="169" y="449"/>
                  </a:lnTo>
                  <a:lnTo>
                    <a:pt x="167" y="448"/>
                  </a:lnTo>
                  <a:lnTo>
                    <a:pt x="165" y="446"/>
                  </a:lnTo>
                  <a:lnTo>
                    <a:pt x="164" y="446"/>
                  </a:lnTo>
                  <a:lnTo>
                    <a:pt x="162" y="444"/>
                  </a:lnTo>
                  <a:lnTo>
                    <a:pt x="162" y="442"/>
                  </a:lnTo>
                  <a:lnTo>
                    <a:pt x="160" y="440"/>
                  </a:lnTo>
                  <a:lnTo>
                    <a:pt x="158" y="438"/>
                  </a:lnTo>
                  <a:lnTo>
                    <a:pt x="156" y="436"/>
                  </a:lnTo>
                  <a:lnTo>
                    <a:pt x="154" y="436"/>
                  </a:lnTo>
                  <a:lnTo>
                    <a:pt x="154" y="432"/>
                  </a:lnTo>
                  <a:lnTo>
                    <a:pt x="152" y="430"/>
                  </a:lnTo>
                  <a:lnTo>
                    <a:pt x="150" y="430"/>
                  </a:lnTo>
                  <a:lnTo>
                    <a:pt x="150" y="428"/>
                  </a:lnTo>
                  <a:lnTo>
                    <a:pt x="150" y="425"/>
                  </a:lnTo>
                  <a:lnTo>
                    <a:pt x="148" y="425"/>
                  </a:lnTo>
                  <a:lnTo>
                    <a:pt x="146" y="425"/>
                  </a:lnTo>
                  <a:lnTo>
                    <a:pt x="146" y="417"/>
                  </a:lnTo>
                  <a:lnTo>
                    <a:pt x="144" y="415"/>
                  </a:lnTo>
                  <a:lnTo>
                    <a:pt x="144" y="413"/>
                  </a:lnTo>
                  <a:lnTo>
                    <a:pt x="142" y="411"/>
                  </a:lnTo>
                  <a:lnTo>
                    <a:pt x="141" y="409"/>
                  </a:lnTo>
                  <a:lnTo>
                    <a:pt x="137" y="407"/>
                  </a:lnTo>
                  <a:lnTo>
                    <a:pt x="133" y="407"/>
                  </a:lnTo>
                  <a:lnTo>
                    <a:pt x="131" y="407"/>
                  </a:lnTo>
                  <a:lnTo>
                    <a:pt x="127" y="407"/>
                  </a:lnTo>
                  <a:lnTo>
                    <a:pt x="121" y="407"/>
                  </a:lnTo>
                  <a:lnTo>
                    <a:pt x="119" y="407"/>
                  </a:lnTo>
                  <a:lnTo>
                    <a:pt x="116" y="407"/>
                  </a:lnTo>
                  <a:lnTo>
                    <a:pt x="112" y="405"/>
                  </a:lnTo>
                  <a:lnTo>
                    <a:pt x="110" y="405"/>
                  </a:lnTo>
                  <a:lnTo>
                    <a:pt x="106" y="405"/>
                  </a:lnTo>
                  <a:lnTo>
                    <a:pt x="102" y="405"/>
                  </a:lnTo>
                  <a:lnTo>
                    <a:pt x="98" y="405"/>
                  </a:lnTo>
                  <a:lnTo>
                    <a:pt x="94" y="405"/>
                  </a:lnTo>
                  <a:lnTo>
                    <a:pt x="93" y="405"/>
                  </a:lnTo>
                  <a:lnTo>
                    <a:pt x="91" y="405"/>
                  </a:lnTo>
                  <a:lnTo>
                    <a:pt x="89" y="405"/>
                  </a:lnTo>
                  <a:lnTo>
                    <a:pt x="87" y="405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77" y="400"/>
                  </a:lnTo>
                  <a:lnTo>
                    <a:pt x="71" y="400"/>
                  </a:lnTo>
                  <a:lnTo>
                    <a:pt x="70" y="400"/>
                  </a:lnTo>
                  <a:lnTo>
                    <a:pt x="66" y="400"/>
                  </a:lnTo>
                  <a:lnTo>
                    <a:pt x="62" y="400"/>
                  </a:lnTo>
                  <a:lnTo>
                    <a:pt x="58" y="402"/>
                  </a:lnTo>
                  <a:lnTo>
                    <a:pt x="52" y="402"/>
                  </a:lnTo>
                  <a:lnTo>
                    <a:pt x="48" y="403"/>
                  </a:lnTo>
                  <a:lnTo>
                    <a:pt x="46" y="405"/>
                  </a:lnTo>
                  <a:lnTo>
                    <a:pt x="43" y="405"/>
                  </a:lnTo>
                  <a:lnTo>
                    <a:pt x="41" y="409"/>
                  </a:lnTo>
                  <a:lnTo>
                    <a:pt x="39" y="409"/>
                  </a:lnTo>
                  <a:lnTo>
                    <a:pt x="37" y="411"/>
                  </a:lnTo>
                  <a:lnTo>
                    <a:pt x="35" y="411"/>
                  </a:lnTo>
                  <a:lnTo>
                    <a:pt x="35" y="413"/>
                  </a:lnTo>
                  <a:lnTo>
                    <a:pt x="31" y="413"/>
                  </a:lnTo>
                  <a:lnTo>
                    <a:pt x="29" y="415"/>
                  </a:lnTo>
                  <a:lnTo>
                    <a:pt x="25" y="415"/>
                  </a:lnTo>
                  <a:lnTo>
                    <a:pt x="23" y="419"/>
                  </a:lnTo>
                  <a:lnTo>
                    <a:pt x="22" y="419"/>
                  </a:lnTo>
                  <a:lnTo>
                    <a:pt x="20" y="419"/>
                  </a:lnTo>
                  <a:lnTo>
                    <a:pt x="16" y="421"/>
                  </a:lnTo>
                  <a:lnTo>
                    <a:pt x="14" y="423"/>
                  </a:lnTo>
                  <a:lnTo>
                    <a:pt x="10" y="423"/>
                  </a:lnTo>
                  <a:lnTo>
                    <a:pt x="8" y="425"/>
                  </a:lnTo>
                  <a:lnTo>
                    <a:pt x="6" y="423"/>
                  </a:lnTo>
                  <a:lnTo>
                    <a:pt x="6" y="421"/>
                  </a:lnTo>
                  <a:lnTo>
                    <a:pt x="6" y="417"/>
                  </a:lnTo>
                  <a:lnTo>
                    <a:pt x="4" y="415"/>
                  </a:lnTo>
                  <a:lnTo>
                    <a:pt x="4" y="413"/>
                  </a:lnTo>
                  <a:lnTo>
                    <a:pt x="0" y="4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5" name="Freeform 52"/>
            <p:cNvSpPr>
              <a:spLocks/>
            </p:cNvSpPr>
            <p:nvPr/>
          </p:nvSpPr>
          <p:spPr bwMode="auto">
            <a:xfrm>
              <a:off x="1620" y="2130"/>
              <a:ext cx="684" cy="691"/>
            </a:xfrm>
            <a:custGeom>
              <a:avLst/>
              <a:gdLst/>
              <a:ahLst/>
              <a:cxnLst>
                <a:cxn ang="0">
                  <a:pos x="29" y="373"/>
                </a:cxn>
                <a:cxn ang="0">
                  <a:pos x="81" y="361"/>
                </a:cxn>
                <a:cxn ang="0">
                  <a:pos x="100" y="373"/>
                </a:cxn>
                <a:cxn ang="0">
                  <a:pos x="125" y="340"/>
                </a:cxn>
                <a:cxn ang="0">
                  <a:pos x="152" y="307"/>
                </a:cxn>
                <a:cxn ang="0">
                  <a:pos x="148" y="265"/>
                </a:cxn>
                <a:cxn ang="0">
                  <a:pos x="175" y="233"/>
                </a:cxn>
                <a:cxn ang="0">
                  <a:pos x="202" y="198"/>
                </a:cxn>
                <a:cxn ang="0">
                  <a:pos x="217" y="154"/>
                </a:cxn>
                <a:cxn ang="0">
                  <a:pos x="213" y="104"/>
                </a:cxn>
                <a:cxn ang="0">
                  <a:pos x="225" y="62"/>
                </a:cxn>
                <a:cxn ang="0">
                  <a:pos x="242" y="20"/>
                </a:cxn>
                <a:cxn ang="0">
                  <a:pos x="281" y="2"/>
                </a:cxn>
                <a:cxn ang="0">
                  <a:pos x="309" y="31"/>
                </a:cxn>
                <a:cxn ang="0">
                  <a:pos x="353" y="45"/>
                </a:cxn>
                <a:cxn ang="0">
                  <a:pos x="380" y="24"/>
                </a:cxn>
                <a:cxn ang="0">
                  <a:pos x="424" y="27"/>
                </a:cxn>
                <a:cxn ang="0">
                  <a:pos x="461" y="10"/>
                </a:cxn>
                <a:cxn ang="0">
                  <a:pos x="501" y="6"/>
                </a:cxn>
                <a:cxn ang="0">
                  <a:pos x="551" y="12"/>
                </a:cxn>
                <a:cxn ang="0">
                  <a:pos x="586" y="37"/>
                </a:cxn>
                <a:cxn ang="0">
                  <a:pos x="624" y="25"/>
                </a:cxn>
                <a:cxn ang="0">
                  <a:pos x="653" y="43"/>
                </a:cxn>
                <a:cxn ang="0">
                  <a:pos x="680" y="70"/>
                </a:cxn>
                <a:cxn ang="0">
                  <a:pos x="680" y="116"/>
                </a:cxn>
                <a:cxn ang="0">
                  <a:pos x="676" y="154"/>
                </a:cxn>
                <a:cxn ang="0">
                  <a:pos x="643" y="173"/>
                </a:cxn>
                <a:cxn ang="0">
                  <a:pos x="630" y="217"/>
                </a:cxn>
                <a:cxn ang="0">
                  <a:pos x="626" y="265"/>
                </a:cxn>
                <a:cxn ang="0">
                  <a:pos x="611" y="306"/>
                </a:cxn>
                <a:cxn ang="0">
                  <a:pos x="622" y="352"/>
                </a:cxn>
                <a:cxn ang="0">
                  <a:pos x="637" y="396"/>
                </a:cxn>
                <a:cxn ang="0">
                  <a:pos x="643" y="440"/>
                </a:cxn>
                <a:cxn ang="0">
                  <a:pos x="664" y="478"/>
                </a:cxn>
                <a:cxn ang="0">
                  <a:pos x="666" y="503"/>
                </a:cxn>
                <a:cxn ang="0">
                  <a:pos x="616" y="513"/>
                </a:cxn>
                <a:cxn ang="0">
                  <a:pos x="597" y="547"/>
                </a:cxn>
                <a:cxn ang="0">
                  <a:pos x="595" y="586"/>
                </a:cxn>
                <a:cxn ang="0">
                  <a:pos x="582" y="622"/>
                </a:cxn>
                <a:cxn ang="0">
                  <a:pos x="622" y="641"/>
                </a:cxn>
                <a:cxn ang="0">
                  <a:pos x="666" y="632"/>
                </a:cxn>
                <a:cxn ang="0">
                  <a:pos x="678" y="674"/>
                </a:cxn>
                <a:cxn ang="0">
                  <a:pos x="641" y="691"/>
                </a:cxn>
                <a:cxn ang="0">
                  <a:pos x="597" y="674"/>
                </a:cxn>
                <a:cxn ang="0">
                  <a:pos x="570" y="636"/>
                </a:cxn>
                <a:cxn ang="0">
                  <a:pos x="522" y="630"/>
                </a:cxn>
                <a:cxn ang="0">
                  <a:pos x="482" y="626"/>
                </a:cxn>
                <a:cxn ang="0">
                  <a:pos x="453" y="599"/>
                </a:cxn>
                <a:cxn ang="0">
                  <a:pos x="411" y="591"/>
                </a:cxn>
                <a:cxn ang="0">
                  <a:pos x="365" y="590"/>
                </a:cxn>
                <a:cxn ang="0">
                  <a:pos x="353" y="549"/>
                </a:cxn>
                <a:cxn ang="0">
                  <a:pos x="342" y="509"/>
                </a:cxn>
                <a:cxn ang="0">
                  <a:pos x="329" y="465"/>
                </a:cxn>
                <a:cxn ang="0">
                  <a:pos x="286" y="455"/>
                </a:cxn>
                <a:cxn ang="0">
                  <a:pos x="258" y="480"/>
                </a:cxn>
                <a:cxn ang="0">
                  <a:pos x="217" y="496"/>
                </a:cxn>
                <a:cxn ang="0">
                  <a:pos x="187" y="471"/>
                </a:cxn>
                <a:cxn ang="0">
                  <a:pos x="162" y="444"/>
                </a:cxn>
                <a:cxn ang="0">
                  <a:pos x="141" y="409"/>
                </a:cxn>
                <a:cxn ang="0">
                  <a:pos x="87" y="405"/>
                </a:cxn>
                <a:cxn ang="0">
                  <a:pos x="35" y="413"/>
                </a:cxn>
              </a:cxnLst>
              <a:rect l="0" t="0" r="r" b="b"/>
              <a:pathLst>
                <a:path w="684" h="691">
                  <a:moveTo>
                    <a:pt x="0" y="407"/>
                  </a:moveTo>
                  <a:lnTo>
                    <a:pt x="4" y="403"/>
                  </a:lnTo>
                  <a:lnTo>
                    <a:pt x="8" y="400"/>
                  </a:lnTo>
                  <a:lnTo>
                    <a:pt x="10" y="398"/>
                  </a:lnTo>
                  <a:lnTo>
                    <a:pt x="12" y="398"/>
                  </a:lnTo>
                  <a:lnTo>
                    <a:pt x="14" y="398"/>
                  </a:lnTo>
                  <a:lnTo>
                    <a:pt x="16" y="396"/>
                  </a:lnTo>
                  <a:lnTo>
                    <a:pt x="18" y="394"/>
                  </a:lnTo>
                  <a:lnTo>
                    <a:pt x="20" y="392"/>
                  </a:lnTo>
                  <a:lnTo>
                    <a:pt x="20" y="386"/>
                  </a:lnTo>
                  <a:lnTo>
                    <a:pt x="22" y="386"/>
                  </a:lnTo>
                  <a:lnTo>
                    <a:pt x="22" y="382"/>
                  </a:lnTo>
                  <a:lnTo>
                    <a:pt x="22" y="380"/>
                  </a:lnTo>
                  <a:lnTo>
                    <a:pt x="22" y="378"/>
                  </a:lnTo>
                  <a:lnTo>
                    <a:pt x="25" y="377"/>
                  </a:lnTo>
                  <a:lnTo>
                    <a:pt x="25" y="375"/>
                  </a:lnTo>
                  <a:lnTo>
                    <a:pt x="29" y="373"/>
                  </a:lnTo>
                  <a:lnTo>
                    <a:pt x="31" y="371"/>
                  </a:lnTo>
                  <a:lnTo>
                    <a:pt x="33" y="367"/>
                  </a:lnTo>
                  <a:lnTo>
                    <a:pt x="37" y="365"/>
                  </a:lnTo>
                  <a:lnTo>
                    <a:pt x="37" y="363"/>
                  </a:lnTo>
                  <a:lnTo>
                    <a:pt x="41" y="361"/>
                  </a:lnTo>
                  <a:lnTo>
                    <a:pt x="43" y="361"/>
                  </a:lnTo>
                  <a:lnTo>
                    <a:pt x="46" y="361"/>
                  </a:lnTo>
                  <a:lnTo>
                    <a:pt x="50" y="361"/>
                  </a:lnTo>
                  <a:lnTo>
                    <a:pt x="54" y="361"/>
                  </a:lnTo>
                  <a:lnTo>
                    <a:pt x="58" y="361"/>
                  </a:lnTo>
                  <a:lnTo>
                    <a:pt x="62" y="361"/>
                  </a:lnTo>
                  <a:lnTo>
                    <a:pt x="64" y="359"/>
                  </a:lnTo>
                  <a:lnTo>
                    <a:pt x="68" y="359"/>
                  </a:lnTo>
                  <a:lnTo>
                    <a:pt x="71" y="357"/>
                  </a:lnTo>
                  <a:lnTo>
                    <a:pt x="73" y="359"/>
                  </a:lnTo>
                  <a:lnTo>
                    <a:pt x="77" y="361"/>
                  </a:lnTo>
                  <a:lnTo>
                    <a:pt x="81" y="361"/>
                  </a:lnTo>
                  <a:lnTo>
                    <a:pt x="81" y="363"/>
                  </a:lnTo>
                  <a:lnTo>
                    <a:pt x="81" y="365"/>
                  </a:lnTo>
                  <a:lnTo>
                    <a:pt x="81" y="369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5" y="378"/>
                  </a:lnTo>
                  <a:lnTo>
                    <a:pt x="89" y="378"/>
                  </a:lnTo>
                  <a:lnTo>
                    <a:pt x="91" y="377"/>
                  </a:lnTo>
                  <a:lnTo>
                    <a:pt x="93" y="377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100" y="375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4" y="373"/>
                  </a:lnTo>
                  <a:lnTo>
                    <a:pt x="106" y="371"/>
                  </a:lnTo>
                  <a:lnTo>
                    <a:pt x="106" y="367"/>
                  </a:lnTo>
                  <a:lnTo>
                    <a:pt x="108" y="365"/>
                  </a:lnTo>
                  <a:lnTo>
                    <a:pt x="110" y="363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7"/>
                  </a:lnTo>
                  <a:lnTo>
                    <a:pt x="116" y="357"/>
                  </a:lnTo>
                  <a:lnTo>
                    <a:pt x="117" y="355"/>
                  </a:lnTo>
                  <a:lnTo>
                    <a:pt x="117" y="354"/>
                  </a:lnTo>
                  <a:lnTo>
                    <a:pt x="121" y="354"/>
                  </a:lnTo>
                  <a:lnTo>
                    <a:pt x="121" y="350"/>
                  </a:lnTo>
                  <a:lnTo>
                    <a:pt x="123" y="348"/>
                  </a:lnTo>
                  <a:lnTo>
                    <a:pt x="123" y="344"/>
                  </a:lnTo>
                  <a:lnTo>
                    <a:pt x="125" y="342"/>
                  </a:lnTo>
                  <a:lnTo>
                    <a:pt x="125" y="340"/>
                  </a:lnTo>
                  <a:lnTo>
                    <a:pt x="127" y="338"/>
                  </a:lnTo>
                  <a:lnTo>
                    <a:pt x="129" y="336"/>
                  </a:lnTo>
                  <a:lnTo>
                    <a:pt x="131" y="334"/>
                  </a:lnTo>
                  <a:lnTo>
                    <a:pt x="133" y="332"/>
                  </a:lnTo>
                  <a:lnTo>
                    <a:pt x="135" y="331"/>
                  </a:lnTo>
                  <a:lnTo>
                    <a:pt x="135" y="327"/>
                  </a:lnTo>
                  <a:lnTo>
                    <a:pt x="137" y="327"/>
                  </a:lnTo>
                  <a:lnTo>
                    <a:pt x="139" y="325"/>
                  </a:lnTo>
                  <a:lnTo>
                    <a:pt x="141" y="323"/>
                  </a:lnTo>
                  <a:lnTo>
                    <a:pt x="141" y="321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7"/>
                  </a:lnTo>
                  <a:lnTo>
                    <a:pt x="148" y="315"/>
                  </a:lnTo>
                  <a:lnTo>
                    <a:pt x="148" y="311"/>
                  </a:lnTo>
                  <a:lnTo>
                    <a:pt x="150" y="309"/>
                  </a:lnTo>
                  <a:lnTo>
                    <a:pt x="152" y="307"/>
                  </a:lnTo>
                  <a:lnTo>
                    <a:pt x="152" y="306"/>
                  </a:lnTo>
                  <a:lnTo>
                    <a:pt x="150" y="304"/>
                  </a:lnTo>
                  <a:lnTo>
                    <a:pt x="150" y="300"/>
                  </a:lnTo>
                  <a:lnTo>
                    <a:pt x="150" y="296"/>
                  </a:lnTo>
                  <a:lnTo>
                    <a:pt x="150" y="294"/>
                  </a:lnTo>
                  <a:lnTo>
                    <a:pt x="150" y="290"/>
                  </a:lnTo>
                  <a:lnTo>
                    <a:pt x="150" y="288"/>
                  </a:lnTo>
                  <a:lnTo>
                    <a:pt x="148" y="286"/>
                  </a:lnTo>
                  <a:lnTo>
                    <a:pt x="148" y="284"/>
                  </a:lnTo>
                  <a:lnTo>
                    <a:pt x="148" y="283"/>
                  </a:lnTo>
                  <a:lnTo>
                    <a:pt x="146" y="281"/>
                  </a:lnTo>
                  <a:lnTo>
                    <a:pt x="146" y="277"/>
                  </a:lnTo>
                  <a:lnTo>
                    <a:pt x="146" y="275"/>
                  </a:lnTo>
                  <a:lnTo>
                    <a:pt x="146" y="271"/>
                  </a:lnTo>
                  <a:lnTo>
                    <a:pt x="146" y="269"/>
                  </a:lnTo>
                  <a:lnTo>
                    <a:pt x="148" y="267"/>
                  </a:lnTo>
                  <a:lnTo>
                    <a:pt x="148" y="265"/>
                  </a:lnTo>
                  <a:lnTo>
                    <a:pt x="148" y="261"/>
                  </a:lnTo>
                  <a:lnTo>
                    <a:pt x="150" y="260"/>
                  </a:lnTo>
                  <a:lnTo>
                    <a:pt x="150" y="256"/>
                  </a:lnTo>
                  <a:lnTo>
                    <a:pt x="154" y="256"/>
                  </a:lnTo>
                  <a:lnTo>
                    <a:pt x="156" y="252"/>
                  </a:lnTo>
                  <a:lnTo>
                    <a:pt x="158" y="250"/>
                  </a:lnTo>
                  <a:lnTo>
                    <a:pt x="162" y="250"/>
                  </a:lnTo>
                  <a:lnTo>
                    <a:pt x="162" y="248"/>
                  </a:lnTo>
                  <a:lnTo>
                    <a:pt x="164" y="246"/>
                  </a:lnTo>
                  <a:lnTo>
                    <a:pt x="164" y="244"/>
                  </a:lnTo>
                  <a:lnTo>
                    <a:pt x="165" y="242"/>
                  </a:lnTo>
                  <a:lnTo>
                    <a:pt x="167" y="240"/>
                  </a:lnTo>
                  <a:lnTo>
                    <a:pt x="169" y="238"/>
                  </a:lnTo>
                  <a:lnTo>
                    <a:pt x="171" y="236"/>
                  </a:lnTo>
                  <a:lnTo>
                    <a:pt x="171" y="236"/>
                  </a:lnTo>
                  <a:lnTo>
                    <a:pt x="173" y="235"/>
                  </a:lnTo>
                  <a:lnTo>
                    <a:pt x="175" y="233"/>
                  </a:lnTo>
                  <a:lnTo>
                    <a:pt x="179" y="231"/>
                  </a:lnTo>
                  <a:lnTo>
                    <a:pt x="179" y="227"/>
                  </a:lnTo>
                  <a:lnTo>
                    <a:pt x="181" y="225"/>
                  </a:lnTo>
                  <a:lnTo>
                    <a:pt x="181" y="225"/>
                  </a:lnTo>
                  <a:lnTo>
                    <a:pt x="183" y="223"/>
                  </a:lnTo>
                  <a:lnTo>
                    <a:pt x="185" y="223"/>
                  </a:lnTo>
                  <a:lnTo>
                    <a:pt x="187" y="219"/>
                  </a:lnTo>
                  <a:lnTo>
                    <a:pt x="190" y="215"/>
                  </a:lnTo>
                  <a:lnTo>
                    <a:pt x="190" y="213"/>
                  </a:lnTo>
                  <a:lnTo>
                    <a:pt x="192" y="212"/>
                  </a:lnTo>
                  <a:lnTo>
                    <a:pt x="194" y="212"/>
                  </a:lnTo>
                  <a:lnTo>
                    <a:pt x="196" y="210"/>
                  </a:lnTo>
                  <a:lnTo>
                    <a:pt x="198" y="208"/>
                  </a:lnTo>
                  <a:lnTo>
                    <a:pt x="198" y="206"/>
                  </a:lnTo>
                  <a:lnTo>
                    <a:pt x="200" y="204"/>
                  </a:lnTo>
                  <a:lnTo>
                    <a:pt x="202" y="202"/>
                  </a:lnTo>
                  <a:lnTo>
                    <a:pt x="202" y="198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2"/>
                  </a:lnTo>
                  <a:lnTo>
                    <a:pt x="208" y="190"/>
                  </a:lnTo>
                  <a:lnTo>
                    <a:pt x="210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1"/>
                  </a:lnTo>
                  <a:lnTo>
                    <a:pt x="212" y="177"/>
                  </a:lnTo>
                  <a:lnTo>
                    <a:pt x="212" y="175"/>
                  </a:lnTo>
                  <a:lnTo>
                    <a:pt x="212" y="171"/>
                  </a:lnTo>
                  <a:lnTo>
                    <a:pt x="212" y="167"/>
                  </a:lnTo>
                  <a:lnTo>
                    <a:pt x="215" y="165"/>
                  </a:lnTo>
                  <a:lnTo>
                    <a:pt x="217" y="164"/>
                  </a:lnTo>
                  <a:lnTo>
                    <a:pt x="217" y="160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5" y="152"/>
                  </a:lnTo>
                  <a:lnTo>
                    <a:pt x="213" y="150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1"/>
                  </a:lnTo>
                  <a:lnTo>
                    <a:pt x="213" y="137"/>
                  </a:lnTo>
                  <a:lnTo>
                    <a:pt x="212" y="135"/>
                  </a:lnTo>
                  <a:lnTo>
                    <a:pt x="212" y="131"/>
                  </a:lnTo>
                  <a:lnTo>
                    <a:pt x="212" y="127"/>
                  </a:lnTo>
                  <a:lnTo>
                    <a:pt x="212" y="125"/>
                  </a:lnTo>
                  <a:lnTo>
                    <a:pt x="212" y="121"/>
                  </a:lnTo>
                  <a:lnTo>
                    <a:pt x="212" y="118"/>
                  </a:lnTo>
                  <a:lnTo>
                    <a:pt x="212" y="116"/>
                  </a:lnTo>
                  <a:lnTo>
                    <a:pt x="212" y="112"/>
                  </a:lnTo>
                  <a:lnTo>
                    <a:pt x="212" y="110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3" y="102"/>
                  </a:lnTo>
                  <a:lnTo>
                    <a:pt x="215" y="100"/>
                  </a:lnTo>
                  <a:lnTo>
                    <a:pt x="215" y="96"/>
                  </a:lnTo>
                  <a:lnTo>
                    <a:pt x="217" y="96"/>
                  </a:lnTo>
                  <a:lnTo>
                    <a:pt x="219" y="95"/>
                  </a:lnTo>
                  <a:lnTo>
                    <a:pt x="219" y="91"/>
                  </a:lnTo>
                  <a:lnTo>
                    <a:pt x="221" y="91"/>
                  </a:lnTo>
                  <a:lnTo>
                    <a:pt x="221" y="89"/>
                  </a:lnTo>
                  <a:lnTo>
                    <a:pt x="223" y="87"/>
                  </a:lnTo>
                  <a:lnTo>
                    <a:pt x="225" y="85"/>
                  </a:lnTo>
                  <a:lnTo>
                    <a:pt x="225" y="81"/>
                  </a:lnTo>
                  <a:lnTo>
                    <a:pt x="225" y="77"/>
                  </a:lnTo>
                  <a:lnTo>
                    <a:pt x="225" y="75"/>
                  </a:lnTo>
                  <a:lnTo>
                    <a:pt x="225" y="71"/>
                  </a:lnTo>
                  <a:lnTo>
                    <a:pt x="225" y="68"/>
                  </a:lnTo>
                  <a:lnTo>
                    <a:pt x="225" y="66"/>
                  </a:lnTo>
                  <a:lnTo>
                    <a:pt x="225" y="62"/>
                  </a:lnTo>
                  <a:lnTo>
                    <a:pt x="225" y="58"/>
                  </a:lnTo>
                  <a:lnTo>
                    <a:pt x="225" y="56"/>
                  </a:lnTo>
                  <a:lnTo>
                    <a:pt x="225" y="52"/>
                  </a:lnTo>
                  <a:lnTo>
                    <a:pt x="227" y="50"/>
                  </a:lnTo>
                  <a:lnTo>
                    <a:pt x="227" y="47"/>
                  </a:lnTo>
                  <a:lnTo>
                    <a:pt x="227" y="45"/>
                  </a:lnTo>
                  <a:lnTo>
                    <a:pt x="227" y="41"/>
                  </a:lnTo>
                  <a:lnTo>
                    <a:pt x="229" y="39"/>
                  </a:lnTo>
                  <a:lnTo>
                    <a:pt x="229" y="35"/>
                  </a:lnTo>
                  <a:lnTo>
                    <a:pt x="229" y="33"/>
                  </a:lnTo>
                  <a:lnTo>
                    <a:pt x="231" y="31"/>
                  </a:lnTo>
                  <a:lnTo>
                    <a:pt x="231" y="27"/>
                  </a:lnTo>
                  <a:lnTo>
                    <a:pt x="235" y="25"/>
                  </a:lnTo>
                  <a:lnTo>
                    <a:pt x="235" y="25"/>
                  </a:lnTo>
                  <a:lnTo>
                    <a:pt x="236" y="24"/>
                  </a:lnTo>
                  <a:lnTo>
                    <a:pt x="240" y="22"/>
                  </a:lnTo>
                  <a:lnTo>
                    <a:pt x="242" y="20"/>
                  </a:lnTo>
                  <a:lnTo>
                    <a:pt x="246" y="18"/>
                  </a:lnTo>
                  <a:lnTo>
                    <a:pt x="248" y="16"/>
                  </a:lnTo>
                  <a:lnTo>
                    <a:pt x="250" y="16"/>
                  </a:lnTo>
                  <a:lnTo>
                    <a:pt x="250" y="12"/>
                  </a:lnTo>
                  <a:lnTo>
                    <a:pt x="252" y="12"/>
                  </a:lnTo>
                  <a:lnTo>
                    <a:pt x="254" y="10"/>
                  </a:lnTo>
                  <a:lnTo>
                    <a:pt x="256" y="6"/>
                  </a:lnTo>
                  <a:lnTo>
                    <a:pt x="259" y="6"/>
                  </a:lnTo>
                  <a:lnTo>
                    <a:pt x="261" y="2"/>
                  </a:lnTo>
                  <a:lnTo>
                    <a:pt x="261" y="2"/>
                  </a:lnTo>
                  <a:lnTo>
                    <a:pt x="265" y="2"/>
                  </a:lnTo>
                  <a:lnTo>
                    <a:pt x="267" y="0"/>
                  </a:lnTo>
                  <a:lnTo>
                    <a:pt x="271" y="0"/>
                  </a:lnTo>
                  <a:lnTo>
                    <a:pt x="273" y="0"/>
                  </a:lnTo>
                  <a:lnTo>
                    <a:pt x="277" y="0"/>
                  </a:lnTo>
                  <a:lnTo>
                    <a:pt x="277" y="2"/>
                  </a:lnTo>
                  <a:lnTo>
                    <a:pt x="281" y="2"/>
                  </a:lnTo>
                  <a:lnTo>
                    <a:pt x="281" y="4"/>
                  </a:lnTo>
                  <a:lnTo>
                    <a:pt x="281" y="6"/>
                  </a:lnTo>
                  <a:lnTo>
                    <a:pt x="284" y="6"/>
                  </a:lnTo>
                  <a:lnTo>
                    <a:pt x="288" y="6"/>
                  </a:lnTo>
                  <a:lnTo>
                    <a:pt x="290" y="10"/>
                  </a:lnTo>
                  <a:lnTo>
                    <a:pt x="292" y="12"/>
                  </a:lnTo>
                  <a:lnTo>
                    <a:pt x="294" y="14"/>
                  </a:lnTo>
                  <a:lnTo>
                    <a:pt x="296" y="16"/>
                  </a:lnTo>
                  <a:lnTo>
                    <a:pt x="296" y="18"/>
                  </a:lnTo>
                  <a:lnTo>
                    <a:pt x="298" y="20"/>
                  </a:lnTo>
                  <a:lnTo>
                    <a:pt x="300" y="24"/>
                  </a:lnTo>
                  <a:lnTo>
                    <a:pt x="302" y="24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4" y="29"/>
                  </a:lnTo>
                  <a:lnTo>
                    <a:pt x="306" y="31"/>
                  </a:lnTo>
                  <a:lnTo>
                    <a:pt x="309" y="31"/>
                  </a:lnTo>
                  <a:lnTo>
                    <a:pt x="311" y="31"/>
                  </a:lnTo>
                  <a:lnTo>
                    <a:pt x="315" y="31"/>
                  </a:lnTo>
                  <a:lnTo>
                    <a:pt x="319" y="31"/>
                  </a:lnTo>
                  <a:lnTo>
                    <a:pt x="321" y="31"/>
                  </a:lnTo>
                  <a:lnTo>
                    <a:pt x="325" y="31"/>
                  </a:lnTo>
                  <a:lnTo>
                    <a:pt x="329" y="31"/>
                  </a:lnTo>
                  <a:lnTo>
                    <a:pt x="330" y="31"/>
                  </a:lnTo>
                  <a:lnTo>
                    <a:pt x="334" y="31"/>
                  </a:lnTo>
                  <a:lnTo>
                    <a:pt x="338" y="31"/>
                  </a:lnTo>
                  <a:lnTo>
                    <a:pt x="338" y="33"/>
                  </a:lnTo>
                  <a:lnTo>
                    <a:pt x="340" y="35"/>
                  </a:lnTo>
                  <a:lnTo>
                    <a:pt x="342" y="37"/>
                  </a:lnTo>
                  <a:lnTo>
                    <a:pt x="344" y="37"/>
                  </a:lnTo>
                  <a:lnTo>
                    <a:pt x="348" y="39"/>
                  </a:lnTo>
                  <a:lnTo>
                    <a:pt x="348" y="43"/>
                  </a:lnTo>
                  <a:lnTo>
                    <a:pt x="352" y="45"/>
                  </a:lnTo>
                  <a:lnTo>
                    <a:pt x="353" y="45"/>
                  </a:lnTo>
                  <a:lnTo>
                    <a:pt x="357" y="45"/>
                  </a:lnTo>
                  <a:lnTo>
                    <a:pt x="361" y="47"/>
                  </a:lnTo>
                  <a:lnTo>
                    <a:pt x="361" y="45"/>
                  </a:lnTo>
                  <a:lnTo>
                    <a:pt x="363" y="45"/>
                  </a:lnTo>
                  <a:lnTo>
                    <a:pt x="365" y="43"/>
                  </a:lnTo>
                  <a:lnTo>
                    <a:pt x="367" y="43"/>
                  </a:lnTo>
                  <a:lnTo>
                    <a:pt x="367" y="39"/>
                  </a:lnTo>
                  <a:lnTo>
                    <a:pt x="369" y="39"/>
                  </a:lnTo>
                  <a:lnTo>
                    <a:pt x="369" y="35"/>
                  </a:lnTo>
                  <a:lnTo>
                    <a:pt x="371" y="35"/>
                  </a:lnTo>
                  <a:lnTo>
                    <a:pt x="371" y="33"/>
                  </a:lnTo>
                  <a:lnTo>
                    <a:pt x="371" y="31"/>
                  </a:lnTo>
                  <a:lnTo>
                    <a:pt x="373" y="29"/>
                  </a:lnTo>
                  <a:lnTo>
                    <a:pt x="375" y="27"/>
                  </a:lnTo>
                  <a:lnTo>
                    <a:pt x="377" y="25"/>
                  </a:lnTo>
                  <a:lnTo>
                    <a:pt x="378" y="25"/>
                  </a:lnTo>
                  <a:lnTo>
                    <a:pt x="380" y="24"/>
                  </a:lnTo>
                  <a:lnTo>
                    <a:pt x="382" y="24"/>
                  </a:lnTo>
                  <a:lnTo>
                    <a:pt x="384" y="22"/>
                  </a:lnTo>
                  <a:lnTo>
                    <a:pt x="388" y="22"/>
                  </a:lnTo>
                  <a:lnTo>
                    <a:pt x="390" y="22"/>
                  </a:lnTo>
                  <a:lnTo>
                    <a:pt x="392" y="22"/>
                  </a:lnTo>
                  <a:lnTo>
                    <a:pt x="394" y="24"/>
                  </a:lnTo>
                  <a:lnTo>
                    <a:pt x="396" y="25"/>
                  </a:lnTo>
                  <a:lnTo>
                    <a:pt x="400" y="25"/>
                  </a:lnTo>
                  <a:lnTo>
                    <a:pt x="401" y="25"/>
                  </a:lnTo>
                  <a:lnTo>
                    <a:pt x="403" y="25"/>
                  </a:lnTo>
                  <a:lnTo>
                    <a:pt x="405" y="27"/>
                  </a:lnTo>
                  <a:lnTo>
                    <a:pt x="409" y="27"/>
                  </a:lnTo>
                  <a:lnTo>
                    <a:pt x="411" y="27"/>
                  </a:lnTo>
                  <a:lnTo>
                    <a:pt x="415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4" y="27"/>
                  </a:lnTo>
                  <a:lnTo>
                    <a:pt x="426" y="27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2" y="25"/>
                  </a:lnTo>
                  <a:lnTo>
                    <a:pt x="434" y="24"/>
                  </a:lnTo>
                  <a:lnTo>
                    <a:pt x="436" y="22"/>
                  </a:lnTo>
                  <a:lnTo>
                    <a:pt x="436" y="20"/>
                  </a:lnTo>
                  <a:lnTo>
                    <a:pt x="438" y="18"/>
                  </a:lnTo>
                  <a:lnTo>
                    <a:pt x="442" y="18"/>
                  </a:lnTo>
                  <a:lnTo>
                    <a:pt x="444" y="18"/>
                  </a:lnTo>
                  <a:lnTo>
                    <a:pt x="448" y="18"/>
                  </a:lnTo>
                  <a:lnTo>
                    <a:pt x="449" y="16"/>
                  </a:lnTo>
                  <a:lnTo>
                    <a:pt x="451" y="16"/>
                  </a:lnTo>
                  <a:lnTo>
                    <a:pt x="453" y="14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1" y="10"/>
                  </a:lnTo>
                  <a:lnTo>
                    <a:pt x="463" y="10"/>
                  </a:lnTo>
                  <a:lnTo>
                    <a:pt x="467" y="10"/>
                  </a:lnTo>
                  <a:lnTo>
                    <a:pt x="467" y="8"/>
                  </a:lnTo>
                  <a:lnTo>
                    <a:pt x="471" y="8"/>
                  </a:lnTo>
                  <a:lnTo>
                    <a:pt x="471" y="6"/>
                  </a:lnTo>
                  <a:lnTo>
                    <a:pt x="472" y="6"/>
                  </a:lnTo>
                  <a:lnTo>
                    <a:pt x="474" y="6"/>
                  </a:lnTo>
                  <a:lnTo>
                    <a:pt x="478" y="6"/>
                  </a:lnTo>
                  <a:lnTo>
                    <a:pt x="480" y="4"/>
                  </a:lnTo>
                  <a:lnTo>
                    <a:pt x="482" y="4"/>
                  </a:lnTo>
                  <a:lnTo>
                    <a:pt x="486" y="4"/>
                  </a:lnTo>
                  <a:lnTo>
                    <a:pt x="490" y="4"/>
                  </a:lnTo>
                  <a:lnTo>
                    <a:pt x="492" y="4"/>
                  </a:lnTo>
                  <a:lnTo>
                    <a:pt x="494" y="4"/>
                  </a:lnTo>
                  <a:lnTo>
                    <a:pt x="495" y="6"/>
                  </a:lnTo>
                  <a:lnTo>
                    <a:pt x="499" y="6"/>
                  </a:lnTo>
                  <a:lnTo>
                    <a:pt x="501" y="6"/>
                  </a:lnTo>
                  <a:lnTo>
                    <a:pt x="505" y="8"/>
                  </a:lnTo>
                  <a:lnTo>
                    <a:pt x="507" y="10"/>
                  </a:lnTo>
                  <a:lnTo>
                    <a:pt x="511" y="10"/>
                  </a:lnTo>
                  <a:lnTo>
                    <a:pt x="513" y="10"/>
                  </a:lnTo>
                  <a:lnTo>
                    <a:pt x="517" y="10"/>
                  </a:lnTo>
                  <a:lnTo>
                    <a:pt x="520" y="10"/>
                  </a:lnTo>
                  <a:lnTo>
                    <a:pt x="522" y="10"/>
                  </a:lnTo>
                  <a:lnTo>
                    <a:pt x="526" y="10"/>
                  </a:lnTo>
                  <a:lnTo>
                    <a:pt x="530" y="10"/>
                  </a:lnTo>
                  <a:lnTo>
                    <a:pt x="532" y="10"/>
                  </a:lnTo>
                  <a:lnTo>
                    <a:pt x="536" y="10"/>
                  </a:lnTo>
                  <a:lnTo>
                    <a:pt x="540" y="10"/>
                  </a:lnTo>
                  <a:lnTo>
                    <a:pt x="542" y="10"/>
                  </a:lnTo>
                  <a:lnTo>
                    <a:pt x="545" y="10"/>
                  </a:lnTo>
                  <a:lnTo>
                    <a:pt x="547" y="10"/>
                  </a:lnTo>
                  <a:lnTo>
                    <a:pt x="549" y="10"/>
                  </a:lnTo>
                  <a:lnTo>
                    <a:pt x="551" y="12"/>
                  </a:lnTo>
                  <a:lnTo>
                    <a:pt x="555" y="14"/>
                  </a:lnTo>
                  <a:lnTo>
                    <a:pt x="559" y="14"/>
                  </a:lnTo>
                  <a:lnTo>
                    <a:pt x="561" y="16"/>
                  </a:lnTo>
                  <a:lnTo>
                    <a:pt x="565" y="16"/>
                  </a:lnTo>
                  <a:lnTo>
                    <a:pt x="566" y="18"/>
                  </a:lnTo>
                  <a:lnTo>
                    <a:pt x="566" y="20"/>
                  </a:lnTo>
                  <a:lnTo>
                    <a:pt x="570" y="20"/>
                  </a:lnTo>
                  <a:lnTo>
                    <a:pt x="572" y="22"/>
                  </a:lnTo>
                  <a:lnTo>
                    <a:pt x="572" y="24"/>
                  </a:lnTo>
                  <a:lnTo>
                    <a:pt x="572" y="25"/>
                  </a:lnTo>
                  <a:lnTo>
                    <a:pt x="576" y="25"/>
                  </a:lnTo>
                  <a:lnTo>
                    <a:pt x="578" y="27"/>
                  </a:lnTo>
                  <a:lnTo>
                    <a:pt x="578" y="31"/>
                  </a:lnTo>
                  <a:lnTo>
                    <a:pt x="580" y="33"/>
                  </a:lnTo>
                  <a:lnTo>
                    <a:pt x="582" y="35"/>
                  </a:lnTo>
                  <a:lnTo>
                    <a:pt x="582" y="37"/>
                  </a:lnTo>
                  <a:lnTo>
                    <a:pt x="586" y="37"/>
                  </a:lnTo>
                  <a:lnTo>
                    <a:pt x="590" y="37"/>
                  </a:lnTo>
                  <a:lnTo>
                    <a:pt x="591" y="37"/>
                  </a:lnTo>
                  <a:lnTo>
                    <a:pt x="595" y="37"/>
                  </a:lnTo>
                  <a:lnTo>
                    <a:pt x="599" y="37"/>
                  </a:lnTo>
                  <a:lnTo>
                    <a:pt x="599" y="37"/>
                  </a:lnTo>
                  <a:lnTo>
                    <a:pt x="601" y="35"/>
                  </a:lnTo>
                  <a:lnTo>
                    <a:pt x="603" y="35"/>
                  </a:lnTo>
                  <a:lnTo>
                    <a:pt x="605" y="33"/>
                  </a:lnTo>
                  <a:lnTo>
                    <a:pt x="605" y="31"/>
                  </a:lnTo>
                  <a:lnTo>
                    <a:pt x="611" y="31"/>
                  </a:lnTo>
                  <a:lnTo>
                    <a:pt x="611" y="29"/>
                  </a:lnTo>
                  <a:lnTo>
                    <a:pt x="613" y="29"/>
                  </a:lnTo>
                  <a:lnTo>
                    <a:pt x="614" y="27"/>
                  </a:lnTo>
                  <a:lnTo>
                    <a:pt x="616" y="27"/>
                  </a:lnTo>
                  <a:lnTo>
                    <a:pt x="620" y="25"/>
                  </a:lnTo>
                  <a:lnTo>
                    <a:pt x="622" y="25"/>
                  </a:lnTo>
                  <a:lnTo>
                    <a:pt x="624" y="25"/>
                  </a:lnTo>
                  <a:lnTo>
                    <a:pt x="630" y="25"/>
                  </a:lnTo>
                  <a:lnTo>
                    <a:pt x="632" y="24"/>
                  </a:lnTo>
                  <a:lnTo>
                    <a:pt x="634" y="24"/>
                  </a:lnTo>
                  <a:lnTo>
                    <a:pt x="636" y="22"/>
                  </a:lnTo>
                  <a:lnTo>
                    <a:pt x="637" y="22"/>
                  </a:lnTo>
                  <a:lnTo>
                    <a:pt x="637" y="20"/>
                  </a:lnTo>
                  <a:lnTo>
                    <a:pt x="641" y="20"/>
                  </a:lnTo>
                  <a:lnTo>
                    <a:pt x="641" y="24"/>
                  </a:lnTo>
                  <a:lnTo>
                    <a:pt x="641" y="25"/>
                  </a:lnTo>
                  <a:lnTo>
                    <a:pt x="643" y="29"/>
                  </a:lnTo>
                  <a:lnTo>
                    <a:pt x="645" y="31"/>
                  </a:lnTo>
                  <a:lnTo>
                    <a:pt x="647" y="33"/>
                  </a:lnTo>
                  <a:lnTo>
                    <a:pt x="647" y="35"/>
                  </a:lnTo>
                  <a:lnTo>
                    <a:pt x="649" y="37"/>
                  </a:lnTo>
                  <a:lnTo>
                    <a:pt x="651" y="41"/>
                  </a:lnTo>
                  <a:lnTo>
                    <a:pt x="651" y="43"/>
                  </a:lnTo>
                  <a:lnTo>
                    <a:pt x="653" y="43"/>
                  </a:lnTo>
                  <a:lnTo>
                    <a:pt x="655" y="45"/>
                  </a:lnTo>
                  <a:lnTo>
                    <a:pt x="657" y="47"/>
                  </a:lnTo>
                  <a:lnTo>
                    <a:pt x="657" y="48"/>
                  </a:lnTo>
                  <a:lnTo>
                    <a:pt x="659" y="50"/>
                  </a:lnTo>
                  <a:lnTo>
                    <a:pt x="662" y="50"/>
                  </a:lnTo>
                  <a:lnTo>
                    <a:pt x="662" y="52"/>
                  </a:lnTo>
                  <a:lnTo>
                    <a:pt x="662" y="56"/>
                  </a:lnTo>
                  <a:lnTo>
                    <a:pt x="666" y="56"/>
                  </a:lnTo>
                  <a:lnTo>
                    <a:pt x="668" y="56"/>
                  </a:lnTo>
                  <a:lnTo>
                    <a:pt x="670" y="56"/>
                  </a:lnTo>
                  <a:lnTo>
                    <a:pt x="670" y="58"/>
                  </a:lnTo>
                  <a:lnTo>
                    <a:pt x="672" y="60"/>
                  </a:lnTo>
                  <a:lnTo>
                    <a:pt x="674" y="60"/>
                  </a:lnTo>
                  <a:lnTo>
                    <a:pt x="676" y="62"/>
                  </a:lnTo>
                  <a:lnTo>
                    <a:pt x="678" y="64"/>
                  </a:lnTo>
                  <a:lnTo>
                    <a:pt x="680" y="66"/>
                  </a:lnTo>
                  <a:lnTo>
                    <a:pt x="680" y="70"/>
                  </a:lnTo>
                  <a:lnTo>
                    <a:pt x="680" y="73"/>
                  </a:lnTo>
                  <a:lnTo>
                    <a:pt x="680" y="75"/>
                  </a:lnTo>
                  <a:lnTo>
                    <a:pt x="680" y="79"/>
                  </a:lnTo>
                  <a:lnTo>
                    <a:pt x="680" y="81"/>
                  </a:lnTo>
                  <a:lnTo>
                    <a:pt x="680" y="85"/>
                  </a:lnTo>
                  <a:lnTo>
                    <a:pt x="678" y="87"/>
                  </a:lnTo>
                  <a:lnTo>
                    <a:pt x="676" y="89"/>
                  </a:lnTo>
                  <a:lnTo>
                    <a:pt x="672" y="89"/>
                  </a:lnTo>
                  <a:lnTo>
                    <a:pt x="672" y="93"/>
                  </a:lnTo>
                  <a:lnTo>
                    <a:pt x="672" y="96"/>
                  </a:lnTo>
                  <a:lnTo>
                    <a:pt x="672" y="98"/>
                  </a:lnTo>
                  <a:lnTo>
                    <a:pt x="672" y="102"/>
                  </a:lnTo>
                  <a:lnTo>
                    <a:pt x="672" y="106"/>
                  </a:lnTo>
                  <a:lnTo>
                    <a:pt x="672" y="108"/>
                  </a:lnTo>
                  <a:lnTo>
                    <a:pt x="676" y="110"/>
                  </a:lnTo>
                  <a:lnTo>
                    <a:pt x="678" y="114"/>
                  </a:lnTo>
                  <a:lnTo>
                    <a:pt x="680" y="116"/>
                  </a:lnTo>
                  <a:lnTo>
                    <a:pt x="682" y="118"/>
                  </a:lnTo>
                  <a:lnTo>
                    <a:pt x="684" y="119"/>
                  </a:lnTo>
                  <a:lnTo>
                    <a:pt x="684" y="123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2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9"/>
                  </a:lnTo>
                  <a:lnTo>
                    <a:pt x="682" y="141"/>
                  </a:lnTo>
                  <a:lnTo>
                    <a:pt x="682" y="142"/>
                  </a:lnTo>
                  <a:lnTo>
                    <a:pt x="682" y="146"/>
                  </a:lnTo>
                  <a:lnTo>
                    <a:pt x="682" y="148"/>
                  </a:lnTo>
                  <a:lnTo>
                    <a:pt x="682" y="150"/>
                  </a:lnTo>
                  <a:lnTo>
                    <a:pt x="682" y="152"/>
                  </a:lnTo>
                  <a:lnTo>
                    <a:pt x="678" y="152"/>
                  </a:lnTo>
                  <a:lnTo>
                    <a:pt x="676" y="154"/>
                  </a:lnTo>
                  <a:lnTo>
                    <a:pt x="674" y="156"/>
                  </a:lnTo>
                  <a:lnTo>
                    <a:pt x="674" y="158"/>
                  </a:lnTo>
                  <a:lnTo>
                    <a:pt x="672" y="160"/>
                  </a:lnTo>
                  <a:lnTo>
                    <a:pt x="668" y="160"/>
                  </a:lnTo>
                  <a:lnTo>
                    <a:pt x="666" y="162"/>
                  </a:lnTo>
                  <a:lnTo>
                    <a:pt x="662" y="162"/>
                  </a:lnTo>
                  <a:lnTo>
                    <a:pt x="662" y="164"/>
                  </a:lnTo>
                  <a:lnTo>
                    <a:pt x="659" y="164"/>
                  </a:lnTo>
                  <a:lnTo>
                    <a:pt x="657" y="164"/>
                  </a:lnTo>
                  <a:lnTo>
                    <a:pt x="655" y="164"/>
                  </a:lnTo>
                  <a:lnTo>
                    <a:pt x="653" y="165"/>
                  </a:lnTo>
                  <a:lnTo>
                    <a:pt x="653" y="165"/>
                  </a:lnTo>
                  <a:lnTo>
                    <a:pt x="651" y="165"/>
                  </a:lnTo>
                  <a:lnTo>
                    <a:pt x="649" y="167"/>
                  </a:lnTo>
                  <a:lnTo>
                    <a:pt x="647" y="167"/>
                  </a:lnTo>
                  <a:lnTo>
                    <a:pt x="645" y="171"/>
                  </a:lnTo>
                  <a:lnTo>
                    <a:pt x="643" y="173"/>
                  </a:lnTo>
                  <a:lnTo>
                    <a:pt x="641" y="177"/>
                  </a:lnTo>
                  <a:lnTo>
                    <a:pt x="641" y="181"/>
                  </a:lnTo>
                  <a:lnTo>
                    <a:pt x="641" y="185"/>
                  </a:lnTo>
                  <a:lnTo>
                    <a:pt x="641" y="185"/>
                  </a:lnTo>
                  <a:lnTo>
                    <a:pt x="641" y="189"/>
                  </a:lnTo>
                  <a:lnTo>
                    <a:pt x="641" y="192"/>
                  </a:lnTo>
                  <a:lnTo>
                    <a:pt x="639" y="192"/>
                  </a:lnTo>
                  <a:lnTo>
                    <a:pt x="639" y="196"/>
                  </a:lnTo>
                  <a:lnTo>
                    <a:pt x="637" y="198"/>
                  </a:lnTo>
                  <a:lnTo>
                    <a:pt x="636" y="200"/>
                  </a:lnTo>
                  <a:lnTo>
                    <a:pt x="634" y="204"/>
                  </a:lnTo>
                  <a:lnTo>
                    <a:pt x="634" y="206"/>
                  </a:lnTo>
                  <a:lnTo>
                    <a:pt x="634" y="208"/>
                  </a:lnTo>
                  <a:lnTo>
                    <a:pt x="632" y="210"/>
                  </a:lnTo>
                  <a:lnTo>
                    <a:pt x="632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0" y="219"/>
                  </a:lnTo>
                  <a:lnTo>
                    <a:pt x="628" y="223"/>
                  </a:lnTo>
                  <a:lnTo>
                    <a:pt x="628" y="225"/>
                  </a:lnTo>
                  <a:lnTo>
                    <a:pt x="628" y="229"/>
                  </a:lnTo>
                  <a:lnTo>
                    <a:pt x="628" y="231"/>
                  </a:lnTo>
                  <a:lnTo>
                    <a:pt x="630" y="235"/>
                  </a:lnTo>
                  <a:lnTo>
                    <a:pt x="630" y="236"/>
                  </a:lnTo>
                  <a:lnTo>
                    <a:pt x="630" y="240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30" y="250"/>
                  </a:lnTo>
                  <a:lnTo>
                    <a:pt x="630" y="252"/>
                  </a:lnTo>
                  <a:lnTo>
                    <a:pt x="628" y="254"/>
                  </a:lnTo>
                  <a:lnTo>
                    <a:pt x="628" y="256"/>
                  </a:lnTo>
                  <a:lnTo>
                    <a:pt x="626" y="258"/>
                  </a:lnTo>
                  <a:lnTo>
                    <a:pt x="626" y="261"/>
                  </a:lnTo>
                  <a:lnTo>
                    <a:pt x="626" y="265"/>
                  </a:lnTo>
                  <a:lnTo>
                    <a:pt x="626" y="267"/>
                  </a:lnTo>
                  <a:lnTo>
                    <a:pt x="626" y="269"/>
                  </a:lnTo>
                  <a:lnTo>
                    <a:pt x="624" y="271"/>
                  </a:lnTo>
                  <a:lnTo>
                    <a:pt x="624" y="273"/>
                  </a:lnTo>
                  <a:lnTo>
                    <a:pt x="622" y="275"/>
                  </a:lnTo>
                  <a:lnTo>
                    <a:pt x="622" y="277"/>
                  </a:lnTo>
                  <a:lnTo>
                    <a:pt x="618" y="279"/>
                  </a:lnTo>
                  <a:lnTo>
                    <a:pt x="618" y="281"/>
                  </a:lnTo>
                  <a:lnTo>
                    <a:pt x="616" y="281"/>
                  </a:lnTo>
                  <a:lnTo>
                    <a:pt x="614" y="283"/>
                  </a:lnTo>
                  <a:lnTo>
                    <a:pt x="614" y="284"/>
                  </a:lnTo>
                  <a:lnTo>
                    <a:pt x="613" y="286"/>
                  </a:lnTo>
                  <a:lnTo>
                    <a:pt x="611" y="290"/>
                  </a:lnTo>
                  <a:lnTo>
                    <a:pt x="611" y="296"/>
                  </a:lnTo>
                  <a:lnTo>
                    <a:pt x="611" y="298"/>
                  </a:lnTo>
                  <a:lnTo>
                    <a:pt x="611" y="302"/>
                  </a:lnTo>
                  <a:lnTo>
                    <a:pt x="611" y="306"/>
                  </a:lnTo>
                  <a:lnTo>
                    <a:pt x="611" y="307"/>
                  </a:lnTo>
                  <a:lnTo>
                    <a:pt x="611" y="311"/>
                  </a:lnTo>
                  <a:lnTo>
                    <a:pt x="611" y="315"/>
                  </a:lnTo>
                  <a:lnTo>
                    <a:pt x="611" y="317"/>
                  </a:lnTo>
                  <a:lnTo>
                    <a:pt x="611" y="321"/>
                  </a:lnTo>
                  <a:lnTo>
                    <a:pt x="611" y="323"/>
                  </a:lnTo>
                  <a:lnTo>
                    <a:pt x="614" y="323"/>
                  </a:lnTo>
                  <a:lnTo>
                    <a:pt x="616" y="325"/>
                  </a:lnTo>
                  <a:lnTo>
                    <a:pt x="618" y="325"/>
                  </a:lnTo>
                  <a:lnTo>
                    <a:pt x="620" y="329"/>
                  </a:lnTo>
                  <a:lnTo>
                    <a:pt x="622" y="332"/>
                  </a:lnTo>
                  <a:lnTo>
                    <a:pt x="622" y="336"/>
                  </a:lnTo>
                  <a:lnTo>
                    <a:pt x="622" y="338"/>
                  </a:lnTo>
                  <a:lnTo>
                    <a:pt x="622" y="342"/>
                  </a:lnTo>
                  <a:lnTo>
                    <a:pt x="622" y="346"/>
                  </a:lnTo>
                  <a:lnTo>
                    <a:pt x="622" y="348"/>
                  </a:lnTo>
                  <a:lnTo>
                    <a:pt x="622" y="352"/>
                  </a:lnTo>
                  <a:lnTo>
                    <a:pt x="622" y="355"/>
                  </a:lnTo>
                  <a:lnTo>
                    <a:pt x="622" y="357"/>
                  </a:lnTo>
                  <a:lnTo>
                    <a:pt x="622" y="359"/>
                  </a:lnTo>
                  <a:lnTo>
                    <a:pt x="624" y="361"/>
                  </a:lnTo>
                  <a:lnTo>
                    <a:pt x="624" y="363"/>
                  </a:lnTo>
                  <a:lnTo>
                    <a:pt x="628" y="367"/>
                  </a:lnTo>
                  <a:lnTo>
                    <a:pt x="628" y="371"/>
                  </a:lnTo>
                  <a:lnTo>
                    <a:pt x="630" y="373"/>
                  </a:lnTo>
                  <a:lnTo>
                    <a:pt x="630" y="377"/>
                  </a:lnTo>
                  <a:lnTo>
                    <a:pt x="630" y="380"/>
                  </a:lnTo>
                  <a:lnTo>
                    <a:pt x="630" y="382"/>
                  </a:lnTo>
                  <a:lnTo>
                    <a:pt x="630" y="384"/>
                  </a:lnTo>
                  <a:lnTo>
                    <a:pt x="632" y="386"/>
                  </a:lnTo>
                  <a:lnTo>
                    <a:pt x="632" y="388"/>
                  </a:lnTo>
                  <a:lnTo>
                    <a:pt x="634" y="392"/>
                  </a:lnTo>
                  <a:lnTo>
                    <a:pt x="636" y="394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7" y="402"/>
                  </a:lnTo>
                  <a:lnTo>
                    <a:pt x="637" y="405"/>
                  </a:lnTo>
                  <a:lnTo>
                    <a:pt x="637" y="407"/>
                  </a:lnTo>
                  <a:lnTo>
                    <a:pt x="637" y="411"/>
                  </a:lnTo>
                  <a:lnTo>
                    <a:pt x="637" y="415"/>
                  </a:lnTo>
                  <a:lnTo>
                    <a:pt x="637" y="417"/>
                  </a:lnTo>
                  <a:lnTo>
                    <a:pt x="637" y="421"/>
                  </a:lnTo>
                  <a:lnTo>
                    <a:pt x="637" y="423"/>
                  </a:lnTo>
                  <a:lnTo>
                    <a:pt x="639" y="425"/>
                  </a:lnTo>
                  <a:lnTo>
                    <a:pt x="639" y="428"/>
                  </a:lnTo>
                  <a:lnTo>
                    <a:pt x="639" y="430"/>
                  </a:lnTo>
                  <a:lnTo>
                    <a:pt x="639" y="432"/>
                  </a:lnTo>
                  <a:lnTo>
                    <a:pt x="641" y="436"/>
                  </a:lnTo>
                  <a:lnTo>
                    <a:pt x="641" y="436"/>
                  </a:lnTo>
                  <a:lnTo>
                    <a:pt x="641" y="438"/>
                  </a:lnTo>
                  <a:lnTo>
                    <a:pt x="643" y="440"/>
                  </a:lnTo>
                  <a:lnTo>
                    <a:pt x="643" y="444"/>
                  </a:lnTo>
                  <a:lnTo>
                    <a:pt x="645" y="446"/>
                  </a:lnTo>
                  <a:lnTo>
                    <a:pt x="645" y="449"/>
                  </a:lnTo>
                  <a:lnTo>
                    <a:pt x="647" y="451"/>
                  </a:lnTo>
                  <a:lnTo>
                    <a:pt x="647" y="455"/>
                  </a:lnTo>
                  <a:lnTo>
                    <a:pt x="649" y="455"/>
                  </a:lnTo>
                  <a:lnTo>
                    <a:pt x="649" y="457"/>
                  </a:lnTo>
                  <a:lnTo>
                    <a:pt x="651" y="459"/>
                  </a:lnTo>
                  <a:lnTo>
                    <a:pt x="651" y="461"/>
                  </a:lnTo>
                  <a:lnTo>
                    <a:pt x="651" y="463"/>
                  </a:lnTo>
                  <a:lnTo>
                    <a:pt x="655" y="465"/>
                  </a:lnTo>
                  <a:lnTo>
                    <a:pt x="657" y="469"/>
                  </a:lnTo>
                  <a:lnTo>
                    <a:pt x="659" y="473"/>
                  </a:lnTo>
                  <a:lnTo>
                    <a:pt x="660" y="474"/>
                  </a:lnTo>
                  <a:lnTo>
                    <a:pt x="662" y="476"/>
                  </a:lnTo>
                  <a:lnTo>
                    <a:pt x="662" y="478"/>
                  </a:lnTo>
                  <a:lnTo>
                    <a:pt x="664" y="478"/>
                  </a:lnTo>
                  <a:lnTo>
                    <a:pt x="664" y="482"/>
                  </a:lnTo>
                  <a:lnTo>
                    <a:pt x="666" y="482"/>
                  </a:lnTo>
                  <a:lnTo>
                    <a:pt x="666" y="486"/>
                  </a:lnTo>
                  <a:lnTo>
                    <a:pt x="670" y="486"/>
                  </a:lnTo>
                  <a:lnTo>
                    <a:pt x="670" y="486"/>
                  </a:lnTo>
                  <a:lnTo>
                    <a:pt x="672" y="486"/>
                  </a:lnTo>
                  <a:lnTo>
                    <a:pt x="674" y="488"/>
                  </a:lnTo>
                  <a:lnTo>
                    <a:pt x="676" y="490"/>
                  </a:lnTo>
                  <a:lnTo>
                    <a:pt x="680" y="494"/>
                  </a:lnTo>
                  <a:lnTo>
                    <a:pt x="680" y="497"/>
                  </a:lnTo>
                  <a:lnTo>
                    <a:pt x="680" y="499"/>
                  </a:lnTo>
                  <a:lnTo>
                    <a:pt x="682" y="501"/>
                  </a:lnTo>
                  <a:lnTo>
                    <a:pt x="678" y="503"/>
                  </a:lnTo>
                  <a:lnTo>
                    <a:pt x="674" y="503"/>
                  </a:lnTo>
                  <a:lnTo>
                    <a:pt x="672" y="503"/>
                  </a:lnTo>
                  <a:lnTo>
                    <a:pt x="668" y="503"/>
                  </a:lnTo>
                  <a:lnTo>
                    <a:pt x="666" y="503"/>
                  </a:lnTo>
                  <a:lnTo>
                    <a:pt x="662" y="505"/>
                  </a:lnTo>
                  <a:lnTo>
                    <a:pt x="660" y="505"/>
                  </a:lnTo>
                  <a:lnTo>
                    <a:pt x="657" y="505"/>
                  </a:lnTo>
                  <a:lnTo>
                    <a:pt x="653" y="505"/>
                  </a:lnTo>
                  <a:lnTo>
                    <a:pt x="651" y="505"/>
                  </a:lnTo>
                  <a:lnTo>
                    <a:pt x="647" y="507"/>
                  </a:lnTo>
                  <a:lnTo>
                    <a:pt x="643" y="507"/>
                  </a:lnTo>
                  <a:lnTo>
                    <a:pt x="641" y="507"/>
                  </a:lnTo>
                  <a:lnTo>
                    <a:pt x="639" y="509"/>
                  </a:lnTo>
                  <a:lnTo>
                    <a:pt x="637" y="511"/>
                  </a:lnTo>
                  <a:lnTo>
                    <a:pt x="636" y="513"/>
                  </a:lnTo>
                  <a:lnTo>
                    <a:pt x="632" y="513"/>
                  </a:lnTo>
                  <a:lnTo>
                    <a:pt x="630" y="513"/>
                  </a:lnTo>
                  <a:lnTo>
                    <a:pt x="626" y="513"/>
                  </a:lnTo>
                  <a:lnTo>
                    <a:pt x="622" y="513"/>
                  </a:lnTo>
                  <a:lnTo>
                    <a:pt x="620" y="513"/>
                  </a:lnTo>
                  <a:lnTo>
                    <a:pt x="616" y="513"/>
                  </a:lnTo>
                  <a:lnTo>
                    <a:pt x="614" y="515"/>
                  </a:lnTo>
                  <a:lnTo>
                    <a:pt x="611" y="515"/>
                  </a:lnTo>
                  <a:lnTo>
                    <a:pt x="609" y="515"/>
                  </a:lnTo>
                  <a:lnTo>
                    <a:pt x="605" y="515"/>
                  </a:lnTo>
                  <a:lnTo>
                    <a:pt x="603" y="517"/>
                  </a:lnTo>
                  <a:lnTo>
                    <a:pt x="601" y="517"/>
                  </a:lnTo>
                  <a:lnTo>
                    <a:pt x="597" y="519"/>
                  </a:lnTo>
                  <a:lnTo>
                    <a:pt x="595" y="519"/>
                  </a:lnTo>
                  <a:lnTo>
                    <a:pt x="595" y="522"/>
                  </a:lnTo>
                  <a:lnTo>
                    <a:pt x="595" y="526"/>
                  </a:lnTo>
                  <a:lnTo>
                    <a:pt x="595" y="528"/>
                  </a:lnTo>
                  <a:lnTo>
                    <a:pt x="597" y="532"/>
                  </a:lnTo>
                  <a:lnTo>
                    <a:pt x="597" y="536"/>
                  </a:lnTo>
                  <a:lnTo>
                    <a:pt x="597" y="538"/>
                  </a:lnTo>
                  <a:lnTo>
                    <a:pt x="597" y="542"/>
                  </a:lnTo>
                  <a:lnTo>
                    <a:pt x="597" y="545"/>
                  </a:lnTo>
                  <a:lnTo>
                    <a:pt x="597" y="547"/>
                  </a:lnTo>
                  <a:lnTo>
                    <a:pt x="597" y="551"/>
                  </a:lnTo>
                  <a:lnTo>
                    <a:pt x="597" y="555"/>
                  </a:lnTo>
                  <a:lnTo>
                    <a:pt x="597" y="557"/>
                  </a:lnTo>
                  <a:lnTo>
                    <a:pt x="597" y="561"/>
                  </a:lnTo>
                  <a:lnTo>
                    <a:pt x="597" y="563"/>
                  </a:lnTo>
                  <a:lnTo>
                    <a:pt x="595" y="565"/>
                  </a:lnTo>
                  <a:lnTo>
                    <a:pt x="597" y="567"/>
                  </a:lnTo>
                  <a:lnTo>
                    <a:pt x="599" y="567"/>
                  </a:lnTo>
                  <a:lnTo>
                    <a:pt x="599" y="568"/>
                  </a:lnTo>
                  <a:lnTo>
                    <a:pt x="601" y="570"/>
                  </a:lnTo>
                  <a:lnTo>
                    <a:pt x="599" y="572"/>
                  </a:lnTo>
                  <a:lnTo>
                    <a:pt x="599" y="576"/>
                  </a:lnTo>
                  <a:lnTo>
                    <a:pt x="599" y="578"/>
                  </a:lnTo>
                  <a:lnTo>
                    <a:pt x="599" y="580"/>
                  </a:lnTo>
                  <a:lnTo>
                    <a:pt x="597" y="582"/>
                  </a:lnTo>
                  <a:lnTo>
                    <a:pt x="597" y="584"/>
                  </a:lnTo>
                  <a:lnTo>
                    <a:pt x="595" y="586"/>
                  </a:lnTo>
                  <a:lnTo>
                    <a:pt x="593" y="586"/>
                  </a:lnTo>
                  <a:lnTo>
                    <a:pt x="593" y="591"/>
                  </a:lnTo>
                  <a:lnTo>
                    <a:pt x="593" y="593"/>
                  </a:lnTo>
                  <a:lnTo>
                    <a:pt x="591" y="595"/>
                  </a:lnTo>
                  <a:lnTo>
                    <a:pt x="591" y="597"/>
                  </a:lnTo>
                  <a:lnTo>
                    <a:pt x="590" y="599"/>
                  </a:lnTo>
                  <a:lnTo>
                    <a:pt x="590" y="603"/>
                  </a:lnTo>
                  <a:lnTo>
                    <a:pt x="588" y="603"/>
                  </a:lnTo>
                  <a:lnTo>
                    <a:pt x="588" y="605"/>
                  </a:lnTo>
                  <a:lnTo>
                    <a:pt x="586" y="607"/>
                  </a:lnTo>
                  <a:lnTo>
                    <a:pt x="586" y="611"/>
                  </a:lnTo>
                  <a:lnTo>
                    <a:pt x="584" y="613"/>
                  </a:lnTo>
                  <a:lnTo>
                    <a:pt x="584" y="615"/>
                  </a:lnTo>
                  <a:lnTo>
                    <a:pt x="584" y="618"/>
                  </a:lnTo>
                  <a:lnTo>
                    <a:pt x="582" y="620"/>
                  </a:lnTo>
                  <a:lnTo>
                    <a:pt x="582" y="620"/>
                  </a:lnTo>
                  <a:lnTo>
                    <a:pt x="582" y="622"/>
                  </a:lnTo>
                  <a:lnTo>
                    <a:pt x="586" y="624"/>
                  </a:lnTo>
                  <a:lnTo>
                    <a:pt x="588" y="624"/>
                  </a:lnTo>
                  <a:lnTo>
                    <a:pt x="591" y="624"/>
                  </a:lnTo>
                  <a:lnTo>
                    <a:pt x="593" y="626"/>
                  </a:lnTo>
                  <a:lnTo>
                    <a:pt x="595" y="628"/>
                  </a:lnTo>
                  <a:lnTo>
                    <a:pt x="597" y="628"/>
                  </a:lnTo>
                  <a:lnTo>
                    <a:pt x="599" y="632"/>
                  </a:lnTo>
                  <a:lnTo>
                    <a:pt x="601" y="634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7" y="638"/>
                  </a:lnTo>
                  <a:lnTo>
                    <a:pt x="607" y="639"/>
                  </a:lnTo>
                  <a:lnTo>
                    <a:pt x="611" y="639"/>
                  </a:lnTo>
                  <a:lnTo>
                    <a:pt x="613" y="641"/>
                  </a:lnTo>
                  <a:lnTo>
                    <a:pt x="616" y="641"/>
                  </a:lnTo>
                  <a:lnTo>
                    <a:pt x="620" y="641"/>
                  </a:lnTo>
                  <a:lnTo>
                    <a:pt x="622" y="641"/>
                  </a:lnTo>
                  <a:lnTo>
                    <a:pt x="626" y="641"/>
                  </a:lnTo>
                  <a:lnTo>
                    <a:pt x="626" y="639"/>
                  </a:lnTo>
                  <a:lnTo>
                    <a:pt x="628" y="638"/>
                  </a:lnTo>
                  <a:lnTo>
                    <a:pt x="632" y="638"/>
                  </a:lnTo>
                  <a:lnTo>
                    <a:pt x="634" y="638"/>
                  </a:lnTo>
                  <a:lnTo>
                    <a:pt x="636" y="636"/>
                  </a:lnTo>
                  <a:lnTo>
                    <a:pt x="637" y="636"/>
                  </a:lnTo>
                  <a:lnTo>
                    <a:pt x="639" y="636"/>
                  </a:lnTo>
                  <a:lnTo>
                    <a:pt x="641" y="634"/>
                  </a:lnTo>
                  <a:lnTo>
                    <a:pt x="645" y="634"/>
                  </a:lnTo>
                  <a:lnTo>
                    <a:pt x="649" y="634"/>
                  </a:lnTo>
                  <a:lnTo>
                    <a:pt x="651" y="632"/>
                  </a:lnTo>
                  <a:lnTo>
                    <a:pt x="653" y="632"/>
                  </a:lnTo>
                  <a:lnTo>
                    <a:pt x="657" y="632"/>
                  </a:lnTo>
                  <a:lnTo>
                    <a:pt x="660" y="632"/>
                  </a:lnTo>
                  <a:lnTo>
                    <a:pt x="662" y="632"/>
                  </a:lnTo>
                  <a:lnTo>
                    <a:pt x="666" y="632"/>
                  </a:lnTo>
                  <a:lnTo>
                    <a:pt x="670" y="632"/>
                  </a:lnTo>
                  <a:lnTo>
                    <a:pt x="672" y="632"/>
                  </a:lnTo>
                  <a:lnTo>
                    <a:pt x="674" y="632"/>
                  </a:lnTo>
                  <a:lnTo>
                    <a:pt x="674" y="636"/>
                  </a:lnTo>
                  <a:lnTo>
                    <a:pt x="672" y="639"/>
                  </a:lnTo>
                  <a:lnTo>
                    <a:pt x="672" y="643"/>
                  </a:lnTo>
                  <a:lnTo>
                    <a:pt x="672" y="647"/>
                  </a:lnTo>
                  <a:lnTo>
                    <a:pt x="672" y="651"/>
                  </a:lnTo>
                  <a:lnTo>
                    <a:pt x="672" y="653"/>
                  </a:lnTo>
                  <a:lnTo>
                    <a:pt x="672" y="655"/>
                  </a:lnTo>
                  <a:lnTo>
                    <a:pt x="674" y="657"/>
                  </a:lnTo>
                  <a:lnTo>
                    <a:pt x="674" y="659"/>
                  </a:lnTo>
                  <a:lnTo>
                    <a:pt x="676" y="661"/>
                  </a:lnTo>
                  <a:lnTo>
                    <a:pt x="676" y="664"/>
                  </a:lnTo>
                  <a:lnTo>
                    <a:pt x="678" y="666"/>
                  </a:lnTo>
                  <a:lnTo>
                    <a:pt x="678" y="670"/>
                  </a:lnTo>
                  <a:lnTo>
                    <a:pt x="678" y="674"/>
                  </a:lnTo>
                  <a:lnTo>
                    <a:pt x="678" y="678"/>
                  </a:lnTo>
                  <a:lnTo>
                    <a:pt x="680" y="682"/>
                  </a:lnTo>
                  <a:lnTo>
                    <a:pt x="678" y="682"/>
                  </a:lnTo>
                  <a:lnTo>
                    <a:pt x="676" y="684"/>
                  </a:lnTo>
                  <a:lnTo>
                    <a:pt x="676" y="686"/>
                  </a:lnTo>
                  <a:lnTo>
                    <a:pt x="672" y="686"/>
                  </a:lnTo>
                  <a:lnTo>
                    <a:pt x="670" y="687"/>
                  </a:lnTo>
                  <a:lnTo>
                    <a:pt x="666" y="687"/>
                  </a:lnTo>
                  <a:lnTo>
                    <a:pt x="662" y="687"/>
                  </a:lnTo>
                  <a:lnTo>
                    <a:pt x="662" y="689"/>
                  </a:lnTo>
                  <a:lnTo>
                    <a:pt x="659" y="689"/>
                  </a:lnTo>
                  <a:lnTo>
                    <a:pt x="655" y="689"/>
                  </a:lnTo>
                  <a:lnTo>
                    <a:pt x="653" y="689"/>
                  </a:lnTo>
                  <a:lnTo>
                    <a:pt x="651" y="689"/>
                  </a:lnTo>
                  <a:lnTo>
                    <a:pt x="647" y="691"/>
                  </a:lnTo>
                  <a:lnTo>
                    <a:pt x="643" y="691"/>
                  </a:lnTo>
                  <a:lnTo>
                    <a:pt x="641" y="691"/>
                  </a:lnTo>
                  <a:lnTo>
                    <a:pt x="637" y="691"/>
                  </a:lnTo>
                  <a:lnTo>
                    <a:pt x="634" y="691"/>
                  </a:lnTo>
                  <a:lnTo>
                    <a:pt x="632" y="691"/>
                  </a:lnTo>
                  <a:lnTo>
                    <a:pt x="628" y="691"/>
                  </a:lnTo>
                  <a:lnTo>
                    <a:pt x="626" y="687"/>
                  </a:lnTo>
                  <a:lnTo>
                    <a:pt x="624" y="687"/>
                  </a:lnTo>
                  <a:lnTo>
                    <a:pt x="622" y="686"/>
                  </a:lnTo>
                  <a:lnTo>
                    <a:pt x="620" y="686"/>
                  </a:lnTo>
                  <a:lnTo>
                    <a:pt x="616" y="682"/>
                  </a:lnTo>
                  <a:lnTo>
                    <a:pt x="614" y="682"/>
                  </a:lnTo>
                  <a:lnTo>
                    <a:pt x="613" y="680"/>
                  </a:lnTo>
                  <a:lnTo>
                    <a:pt x="611" y="678"/>
                  </a:lnTo>
                  <a:lnTo>
                    <a:pt x="609" y="678"/>
                  </a:lnTo>
                  <a:lnTo>
                    <a:pt x="607" y="676"/>
                  </a:lnTo>
                  <a:lnTo>
                    <a:pt x="603" y="676"/>
                  </a:lnTo>
                  <a:lnTo>
                    <a:pt x="601" y="676"/>
                  </a:lnTo>
                  <a:lnTo>
                    <a:pt x="597" y="674"/>
                  </a:lnTo>
                  <a:lnTo>
                    <a:pt x="597" y="672"/>
                  </a:lnTo>
                  <a:lnTo>
                    <a:pt x="595" y="670"/>
                  </a:lnTo>
                  <a:lnTo>
                    <a:pt x="591" y="670"/>
                  </a:lnTo>
                  <a:lnTo>
                    <a:pt x="590" y="666"/>
                  </a:lnTo>
                  <a:lnTo>
                    <a:pt x="588" y="662"/>
                  </a:lnTo>
                  <a:lnTo>
                    <a:pt x="586" y="657"/>
                  </a:lnTo>
                  <a:lnTo>
                    <a:pt x="582" y="655"/>
                  </a:lnTo>
                  <a:lnTo>
                    <a:pt x="582" y="651"/>
                  </a:lnTo>
                  <a:lnTo>
                    <a:pt x="582" y="649"/>
                  </a:lnTo>
                  <a:lnTo>
                    <a:pt x="582" y="647"/>
                  </a:lnTo>
                  <a:lnTo>
                    <a:pt x="582" y="645"/>
                  </a:lnTo>
                  <a:lnTo>
                    <a:pt x="580" y="643"/>
                  </a:lnTo>
                  <a:lnTo>
                    <a:pt x="576" y="643"/>
                  </a:lnTo>
                  <a:lnTo>
                    <a:pt x="574" y="643"/>
                  </a:lnTo>
                  <a:lnTo>
                    <a:pt x="572" y="641"/>
                  </a:lnTo>
                  <a:lnTo>
                    <a:pt x="572" y="638"/>
                  </a:lnTo>
                  <a:lnTo>
                    <a:pt x="570" y="636"/>
                  </a:lnTo>
                  <a:lnTo>
                    <a:pt x="566" y="636"/>
                  </a:lnTo>
                  <a:lnTo>
                    <a:pt x="565" y="636"/>
                  </a:lnTo>
                  <a:lnTo>
                    <a:pt x="561" y="636"/>
                  </a:lnTo>
                  <a:lnTo>
                    <a:pt x="561" y="632"/>
                  </a:lnTo>
                  <a:lnTo>
                    <a:pt x="557" y="632"/>
                  </a:lnTo>
                  <a:lnTo>
                    <a:pt x="553" y="632"/>
                  </a:lnTo>
                  <a:lnTo>
                    <a:pt x="551" y="632"/>
                  </a:lnTo>
                  <a:lnTo>
                    <a:pt x="547" y="632"/>
                  </a:lnTo>
                  <a:lnTo>
                    <a:pt x="543" y="632"/>
                  </a:lnTo>
                  <a:lnTo>
                    <a:pt x="542" y="632"/>
                  </a:lnTo>
                  <a:lnTo>
                    <a:pt x="538" y="632"/>
                  </a:lnTo>
                  <a:lnTo>
                    <a:pt x="534" y="632"/>
                  </a:lnTo>
                  <a:lnTo>
                    <a:pt x="532" y="632"/>
                  </a:lnTo>
                  <a:lnTo>
                    <a:pt x="528" y="632"/>
                  </a:lnTo>
                  <a:lnTo>
                    <a:pt x="526" y="632"/>
                  </a:lnTo>
                  <a:lnTo>
                    <a:pt x="524" y="630"/>
                  </a:lnTo>
                  <a:lnTo>
                    <a:pt x="522" y="630"/>
                  </a:lnTo>
                  <a:lnTo>
                    <a:pt x="519" y="630"/>
                  </a:lnTo>
                  <a:lnTo>
                    <a:pt x="515" y="630"/>
                  </a:lnTo>
                  <a:lnTo>
                    <a:pt x="511" y="630"/>
                  </a:lnTo>
                  <a:lnTo>
                    <a:pt x="509" y="630"/>
                  </a:lnTo>
                  <a:lnTo>
                    <a:pt x="507" y="632"/>
                  </a:lnTo>
                  <a:lnTo>
                    <a:pt x="505" y="632"/>
                  </a:lnTo>
                  <a:lnTo>
                    <a:pt x="501" y="632"/>
                  </a:lnTo>
                  <a:lnTo>
                    <a:pt x="501" y="634"/>
                  </a:lnTo>
                  <a:lnTo>
                    <a:pt x="499" y="634"/>
                  </a:lnTo>
                  <a:lnTo>
                    <a:pt x="497" y="636"/>
                  </a:lnTo>
                  <a:lnTo>
                    <a:pt x="494" y="636"/>
                  </a:lnTo>
                  <a:lnTo>
                    <a:pt x="492" y="636"/>
                  </a:lnTo>
                  <a:lnTo>
                    <a:pt x="488" y="636"/>
                  </a:lnTo>
                  <a:lnTo>
                    <a:pt x="486" y="632"/>
                  </a:lnTo>
                  <a:lnTo>
                    <a:pt x="486" y="630"/>
                  </a:lnTo>
                  <a:lnTo>
                    <a:pt x="484" y="628"/>
                  </a:lnTo>
                  <a:lnTo>
                    <a:pt x="482" y="626"/>
                  </a:lnTo>
                  <a:lnTo>
                    <a:pt x="482" y="626"/>
                  </a:lnTo>
                  <a:lnTo>
                    <a:pt x="478" y="624"/>
                  </a:lnTo>
                  <a:lnTo>
                    <a:pt x="476" y="624"/>
                  </a:lnTo>
                  <a:lnTo>
                    <a:pt x="474" y="622"/>
                  </a:lnTo>
                  <a:lnTo>
                    <a:pt x="472" y="620"/>
                  </a:lnTo>
                  <a:lnTo>
                    <a:pt x="471" y="618"/>
                  </a:lnTo>
                  <a:lnTo>
                    <a:pt x="469" y="616"/>
                  </a:lnTo>
                  <a:lnTo>
                    <a:pt x="469" y="615"/>
                  </a:lnTo>
                  <a:lnTo>
                    <a:pt x="467" y="613"/>
                  </a:lnTo>
                  <a:lnTo>
                    <a:pt x="467" y="609"/>
                  </a:lnTo>
                  <a:lnTo>
                    <a:pt x="467" y="607"/>
                  </a:lnTo>
                  <a:lnTo>
                    <a:pt x="465" y="603"/>
                  </a:lnTo>
                  <a:lnTo>
                    <a:pt x="463" y="601"/>
                  </a:lnTo>
                  <a:lnTo>
                    <a:pt x="463" y="599"/>
                  </a:lnTo>
                  <a:lnTo>
                    <a:pt x="461" y="599"/>
                  </a:lnTo>
                  <a:lnTo>
                    <a:pt x="457" y="599"/>
                  </a:lnTo>
                  <a:lnTo>
                    <a:pt x="453" y="599"/>
                  </a:lnTo>
                  <a:lnTo>
                    <a:pt x="451" y="599"/>
                  </a:lnTo>
                  <a:lnTo>
                    <a:pt x="448" y="599"/>
                  </a:lnTo>
                  <a:lnTo>
                    <a:pt x="444" y="599"/>
                  </a:lnTo>
                  <a:lnTo>
                    <a:pt x="442" y="599"/>
                  </a:lnTo>
                  <a:lnTo>
                    <a:pt x="438" y="599"/>
                  </a:lnTo>
                  <a:lnTo>
                    <a:pt x="434" y="599"/>
                  </a:lnTo>
                  <a:lnTo>
                    <a:pt x="432" y="599"/>
                  </a:lnTo>
                  <a:lnTo>
                    <a:pt x="430" y="599"/>
                  </a:lnTo>
                  <a:lnTo>
                    <a:pt x="426" y="601"/>
                  </a:lnTo>
                  <a:lnTo>
                    <a:pt x="424" y="601"/>
                  </a:lnTo>
                  <a:lnTo>
                    <a:pt x="421" y="601"/>
                  </a:lnTo>
                  <a:lnTo>
                    <a:pt x="421" y="599"/>
                  </a:lnTo>
                  <a:lnTo>
                    <a:pt x="419" y="597"/>
                  </a:lnTo>
                  <a:lnTo>
                    <a:pt x="417" y="595"/>
                  </a:lnTo>
                  <a:lnTo>
                    <a:pt x="417" y="593"/>
                  </a:lnTo>
                  <a:lnTo>
                    <a:pt x="415" y="591"/>
                  </a:lnTo>
                  <a:lnTo>
                    <a:pt x="411" y="591"/>
                  </a:lnTo>
                  <a:lnTo>
                    <a:pt x="411" y="590"/>
                  </a:lnTo>
                  <a:lnTo>
                    <a:pt x="407" y="590"/>
                  </a:lnTo>
                  <a:lnTo>
                    <a:pt x="403" y="590"/>
                  </a:lnTo>
                  <a:lnTo>
                    <a:pt x="401" y="590"/>
                  </a:lnTo>
                  <a:lnTo>
                    <a:pt x="400" y="591"/>
                  </a:lnTo>
                  <a:lnTo>
                    <a:pt x="396" y="591"/>
                  </a:lnTo>
                  <a:lnTo>
                    <a:pt x="392" y="591"/>
                  </a:lnTo>
                  <a:lnTo>
                    <a:pt x="390" y="591"/>
                  </a:lnTo>
                  <a:lnTo>
                    <a:pt x="386" y="591"/>
                  </a:lnTo>
                  <a:lnTo>
                    <a:pt x="382" y="591"/>
                  </a:lnTo>
                  <a:lnTo>
                    <a:pt x="380" y="591"/>
                  </a:lnTo>
                  <a:lnTo>
                    <a:pt x="378" y="593"/>
                  </a:lnTo>
                  <a:lnTo>
                    <a:pt x="375" y="593"/>
                  </a:lnTo>
                  <a:lnTo>
                    <a:pt x="371" y="593"/>
                  </a:lnTo>
                  <a:lnTo>
                    <a:pt x="367" y="593"/>
                  </a:lnTo>
                  <a:lnTo>
                    <a:pt x="365" y="595"/>
                  </a:lnTo>
                  <a:lnTo>
                    <a:pt x="365" y="590"/>
                  </a:lnTo>
                  <a:lnTo>
                    <a:pt x="367" y="586"/>
                  </a:lnTo>
                  <a:lnTo>
                    <a:pt x="367" y="582"/>
                  </a:lnTo>
                  <a:lnTo>
                    <a:pt x="367" y="580"/>
                  </a:lnTo>
                  <a:lnTo>
                    <a:pt x="367" y="576"/>
                  </a:lnTo>
                  <a:lnTo>
                    <a:pt x="363" y="576"/>
                  </a:lnTo>
                  <a:lnTo>
                    <a:pt x="361" y="574"/>
                  </a:lnTo>
                  <a:lnTo>
                    <a:pt x="361" y="570"/>
                  </a:lnTo>
                  <a:lnTo>
                    <a:pt x="361" y="568"/>
                  </a:lnTo>
                  <a:lnTo>
                    <a:pt x="361" y="567"/>
                  </a:lnTo>
                  <a:lnTo>
                    <a:pt x="361" y="565"/>
                  </a:lnTo>
                  <a:lnTo>
                    <a:pt x="357" y="563"/>
                  </a:lnTo>
                  <a:lnTo>
                    <a:pt x="357" y="561"/>
                  </a:lnTo>
                  <a:lnTo>
                    <a:pt x="355" y="561"/>
                  </a:lnTo>
                  <a:lnTo>
                    <a:pt x="353" y="559"/>
                  </a:lnTo>
                  <a:lnTo>
                    <a:pt x="353" y="555"/>
                  </a:lnTo>
                  <a:lnTo>
                    <a:pt x="353" y="553"/>
                  </a:lnTo>
                  <a:lnTo>
                    <a:pt x="353" y="549"/>
                  </a:lnTo>
                  <a:lnTo>
                    <a:pt x="353" y="545"/>
                  </a:lnTo>
                  <a:lnTo>
                    <a:pt x="353" y="544"/>
                  </a:lnTo>
                  <a:lnTo>
                    <a:pt x="352" y="542"/>
                  </a:lnTo>
                  <a:lnTo>
                    <a:pt x="350" y="540"/>
                  </a:lnTo>
                  <a:lnTo>
                    <a:pt x="348" y="540"/>
                  </a:lnTo>
                  <a:lnTo>
                    <a:pt x="346" y="538"/>
                  </a:lnTo>
                  <a:lnTo>
                    <a:pt x="344" y="536"/>
                  </a:lnTo>
                  <a:lnTo>
                    <a:pt x="342" y="534"/>
                  </a:lnTo>
                  <a:lnTo>
                    <a:pt x="342" y="530"/>
                  </a:lnTo>
                  <a:lnTo>
                    <a:pt x="342" y="528"/>
                  </a:lnTo>
                  <a:lnTo>
                    <a:pt x="342" y="526"/>
                  </a:lnTo>
                  <a:lnTo>
                    <a:pt x="342" y="524"/>
                  </a:lnTo>
                  <a:lnTo>
                    <a:pt x="342" y="520"/>
                  </a:lnTo>
                  <a:lnTo>
                    <a:pt x="342" y="517"/>
                  </a:lnTo>
                  <a:lnTo>
                    <a:pt x="342" y="515"/>
                  </a:lnTo>
                  <a:lnTo>
                    <a:pt x="342" y="511"/>
                  </a:lnTo>
                  <a:lnTo>
                    <a:pt x="342" y="509"/>
                  </a:lnTo>
                  <a:lnTo>
                    <a:pt x="342" y="505"/>
                  </a:lnTo>
                  <a:lnTo>
                    <a:pt x="342" y="501"/>
                  </a:lnTo>
                  <a:lnTo>
                    <a:pt x="342" y="499"/>
                  </a:lnTo>
                  <a:lnTo>
                    <a:pt x="342" y="496"/>
                  </a:lnTo>
                  <a:lnTo>
                    <a:pt x="344" y="494"/>
                  </a:lnTo>
                  <a:lnTo>
                    <a:pt x="344" y="490"/>
                  </a:lnTo>
                  <a:lnTo>
                    <a:pt x="346" y="486"/>
                  </a:lnTo>
                  <a:lnTo>
                    <a:pt x="346" y="484"/>
                  </a:lnTo>
                  <a:lnTo>
                    <a:pt x="346" y="480"/>
                  </a:lnTo>
                  <a:lnTo>
                    <a:pt x="346" y="476"/>
                  </a:lnTo>
                  <a:lnTo>
                    <a:pt x="344" y="476"/>
                  </a:lnTo>
                  <a:lnTo>
                    <a:pt x="342" y="474"/>
                  </a:lnTo>
                  <a:lnTo>
                    <a:pt x="342" y="473"/>
                  </a:lnTo>
                  <a:lnTo>
                    <a:pt x="340" y="469"/>
                  </a:lnTo>
                  <a:lnTo>
                    <a:pt x="338" y="467"/>
                  </a:lnTo>
                  <a:lnTo>
                    <a:pt x="334" y="465"/>
                  </a:lnTo>
                  <a:lnTo>
                    <a:pt x="329" y="465"/>
                  </a:lnTo>
                  <a:lnTo>
                    <a:pt x="327" y="465"/>
                  </a:lnTo>
                  <a:lnTo>
                    <a:pt x="323" y="465"/>
                  </a:lnTo>
                  <a:lnTo>
                    <a:pt x="321" y="465"/>
                  </a:lnTo>
                  <a:lnTo>
                    <a:pt x="317" y="465"/>
                  </a:lnTo>
                  <a:lnTo>
                    <a:pt x="313" y="465"/>
                  </a:lnTo>
                  <a:lnTo>
                    <a:pt x="311" y="465"/>
                  </a:lnTo>
                  <a:lnTo>
                    <a:pt x="309" y="465"/>
                  </a:lnTo>
                  <a:lnTo>
                    <a:pt x="309" y="461"/>
                  </a:lnTo>
                  <a:lnTo>
                    <a:pt x="307" y="459"/>
                  </a:lnTo>
                  <a:lnTo>
                    <a:pt x="307" y="457"/>
                  </a:lnTo>
                  <a:lnTo>
                    <a:pt x="304" y="457"/>
                  </a:lnTo>
                  <a:lnTo>
                    <a:pt x="302" y="455"/>
                  </a:lnTo>
                  <a:lnTo>
                    <a:pt x="300" y="455"/>
                  </a:lnTo>
                  <a:lnTo>
                    <a:pt x="296" y="455"/>
                  </a:lnTo>
                  <a:lnTo>
                    <a:pt x="292" y="455"/>
                  </a:lnTo>
                  <a:lnTo>
                    <a:pt x="290" y="455"/>
                  </a:lnTo>
                  <a:lnTo>
                    <a:pt x="286" y="455"/>
                  </a:lnTo>
                  <a:lnTo>
                    <a:pt x="283" y="455"/>
                  </a:lnTo>
                  <a:lnTo>
                    <a:pt x="281" y="455"/>
                  </a:lnTo>
                  <a:lnTo>
                    <a:pt x="279" y="455"/>
                  </a:lnTo>
                  <a:lnTo>
                    <a:pt x="277" y="455"/>
                  </a:lnTo>
                  <a:lnTo>
                    <a:pt x="275" y="459"/>
                  </a:lnTo>
                  <a:lnTo>
                    <a:pt x="275" y="463"/>
                  </a:lnTo>
                  <a:lnTo>
                    <a:pt x="275" y="465"/>
                  </a:lnTo>
                  <a:lnTo>
                    <a:pt x="275" y="469"/>
                  </a:lnTo>
                  <a:lnTo>
                    <a:pt x="273" y="471"/>
                  </a:lnTo>
                  <a:lnTo>
                    <a:pt x="273" y="473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6"/>
                  </a:lnTo>
                  <a:lnTo>
                    <a:pt x="265" y="476"/>
                  </a:lnTo>
                  <a:lnTo>
                    <a:pt x="261" y="476"/>
                  </a:lnTo>
                  <a:lnTo>
                    <a:pt x="259" y="478"/>
                  </a:lnTo>
                  <a:lnTo>
                    <a:pt x="258" y="480"/>
                  </a:lnTo>
                  <a:lnTo>
                    <a:pt x="256" y="482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0" y="484"/>
                  </a:lnTo>
                  <a:lnTo>
                    <a:pt x="248" y="484"/>
                  </a:lnTo>
                  <a:lnTo>
                    <a:pt x="246" y="486"/>
                  </a:lnTo>
                  <a:lnTo>
                    <a:pt x="242" y="486"/>
                  </a:lnTo>
                  <a:lnTo>
                    <a:pt x="238" y="486"/>
                  </a:lnTo>
                  <a:lnTo>
                    <a:pt x="235" y="486"/>
                  </a:lnTo>
                  <a:lnTo>
                    <a:pt x="233" y="488"/>
                  </a:lnTo>
                  <a:lnTo>
                    <a:pt x="231" y="490"/>
                  </a:lnTo>
                  <a:lnTo>
                    <a:pt x="231" y="494"/>
                  </a:lnTo>
                  <a:lnTo>
                    <a:pt x="227" y="496"/>
                  </a:lnTo>
                  <a:lnTo>
                    <a:pt x="225" y="496"/>
                  </a:lnTo>
                  <a:lnTo>
                    <a:pt x="221" y="496"/>
                  </a:lnTo>
                  <a:lnTo>
                    <a:pt x="221" y="496"/>
                  </a:lnTo>
                  <a:lnTo>
                    <a:pt x="217" y="496"/>
                  </a:lnTo>
                  <a:lnTo>
                    <a:pt x="215" y="496"/>
                  </a:lnTo>
                  <a:lnTo>
                    <a:pt x="212" y="496"/>
                  </a:lnTo>
                  <a:lnTo>
                    <a:pt x="212" y="496"/>
                  </a:lnTo>
                  <a:lnTo>
                    <a:pt x="208" y="496"/>
                  </a:lnTo>
                  <a:lnTo>
                    <a:pt x="206" y="496"/>
                  </a:lnTo>
                  <a:lnTo>
                    <a:pt x="204" y="494"/>
                  </a:lnTo>
                  <a:lnTo>
                    <a:pt x="202" y="494"/>
                  </a:lnTo>
                  <a:lnTo>
                    <a:pt x="200" y="492"/>
                  </a:lnTo>
                  <a:lnTo>
                    <a:pt x="198" y="492"/>
                  </a:lnTo>
                  <a:lnTo>
                    <a:pt x="196" y="490"/>
                  </a:lnTo>
                  <a:lnTo>
                    <a:pt x="192" y="488"/>
                  </a:lnTo>
                  <a:lnTo>
                    <a:pt x="190" y="486"/>
                  </a:lnTo>
                  <a:lnTo>
                    <a:pt x="190" y="482"/>
                  </a:lnTo>
                  <a:lnTo>
                    <a:pt x="190" y="480"/>
                  </a:lnTo>
                  <a:lnTo>
                    <a:pt x="190" y="476"/>
                  </a:lnTo>
                  <a:lnTo>
                    <a:pt x="188" y="474"/>
                  </a:lnTo>
                  <a:lnTo>
                    <a:pt x="187" y="471"/>
                  </a:lnTo>
                  <a:lnTo>
                    <a:pt x="185" y="471"/>
                  </a:lnTo>
                  <a:lnTo>
                    <a:pt x="181" y="471"/>
                  </a:lnTo>
                  <a:lnTo>
                    <a:pt x="181" y="469"/>
                  </a:lnTo>
                  <a:lnTo>
                    <a:pt x="179" y="465"/>
                  </a:lnTo>
                  <a:lnTo>
                    <a:pt x="177" y="465"/>
                  </a:lnTo>
                  <a:lnTo>
                    <a:pt x="175" y="465"/>
                  </a:lnTo>
                  <a:lnTo>
                    <a:pt x="173" y="461"/>
                  </a:lnTo>
                  <a:lnTo>
                    <a:pt x="173" y="459"/>
                  </a:lnTo>
                  <a:lnTo>
                    <a:pt x="173" y="455"/>
                  </a:lnTo>
                  <a:lnTo>
                    <a:pt x="171" y="455"/>
                  </a:lnTo>
                  <a:lnTo>
                    <a:pt x="171" y="451"/>
                  </a:lnTo>
                  <a:lnTo>
                    <a:pt x="171" y="449"/>
                  </a:lnTo>
                  <a:lnTo>
                    <a:pt x="169" y="449"/>
                  </a:lnTo>
                  <a:lnTo>
                    <a:pt x="167" y="448"/>
                  </a:lnTo>
                  <a:lnTo>
                    <a:pt x="165" y="446"/>
                  </a:lnTo>
                  <a:lnTo>
                    <a:pt x="164" y="446"/>
                  </a:lnTo>
                  <a:lnTo>
                    <a:pt x="162" y="444"/>
                  </a:lnTo>
                  <a:lnTo>
                    <a:pt x="162" y="442"/>
                  </a:lnTo>
                  <a:lnTo>
                    <a:pt x="160" y="440"/>
                  </a:lnTo>
                  <a:lnTo>
                    <a:pt x="158" y="438"/>
                  </a:lnTo>
                  <a:lnTo>
                    <a:pt x="156" y="436"/>
                  </a:lnTo>
                  <a:lnTo>
                    <a:pt x="154" y="436"/>
                  </a:lnTo>
                  <a:lnTo>
                    <a:pt x="154" y="432"/>
                  </a:lnTo>
                  <a:lnTo>
                    <a:pt x="152" y="430"/>
                  </a:lnTo>
                  <a:lnTo>
                    <a:pt x="150" y="430"/>
                  </a:lnTo>
                  <a:lnTo>
                    <a:pt x="150" y="428"/>
                  </a:lnTo>
                  <a:lnTo>
                    <a:pt x="150" y="425"/>
                  </a:lnTo>
                  <a:lnTo>
                    <a:pt x="148" y="425"/>
                  </a:lnTo>
                  <a:lnTo>
                    <a:pt x="146" y="425"/>
                  </a:lnTo>
                  <a:lnTo>
                    <a:pt x="146" y="417"/>
                  </a:lnTo>
                  <a:lnTo>
                    <a:pt x="144" y="415"/>
                  </a:lnTo>
                  <a:lnTo>
                    <a:pt x="144" y="413"/>
                  </a:lnTo>
                  <a:lnTo>
                    <a:pt x="142" y="411"/>
                  </a:lnTo>
                  <a:lnTo>
                    <a:pt x="141" y="409"/>
                  </a:lnTo>
                  <a:lnTo>
                    <a:pt x="137" y="407"/>
                  </a:lnTo>
                  <a:lnTo>
                    <a:pt x="133" y="407"/>
                  </a:lnTo>
                  <a:lnTo>
                    <a:pt x="131" y="407"/>
                  </a:lnTo>
                  <a:lnTo>
                    <a:pt x="127" y="407"/>
                  </a:lnTo>
                  <a:lnTo>
                    <a:pt x="121" y="407"/>
                  </a:lnTo>
                  <a:lnTo>
                    <a:pt x="119" y="407"/>
                  </a:lnTo>
                  <a:lnTo>
                    <a:pt x="116" y="407"/>
                  </a:lnTo>
                  <a:lnTo>
                    <a:pt x="112" y="405"/>
                  </a:lnTo>
                  <a:lnTo>
                    <a:pt x="110" y="405"/>
                  </a:lnTo>
                  <a:lnTo>
                    <a:pt x="106" y="405"/>
                  </a:lnTo>
                  <a:lnTo>
                    <a:pt x="102" y="405"/>
                  </a:lnTo>
                  <a:lnTo>
                    <a:pt x="98" y="405"/>
                  </a:lnTo>
                  <a:lnTo>
                    <a:pt x="94" y="405"/>
                  </a:lnTo>
                  <a:lnTo>
                    <a:pt x="93" y="405"/>
                  </a:lnTo>
                  <a:lnTo>
                    <a:pt x="91" y="405"/>
                  </a:lnTo>
                  <a:lnTo>
                    <a:pt x="89" y="405"/>
                  </a:lnTo>
                  <a:lnTo>
                    <a:pt x="87" y="405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77" y="400"/>
                  </a:lnTo>
                  <a:lnTo>
                    <a:pt x="71" y="400"/>
                  </a:lnTo>
                  <a:lnTo>
                    <a:pt x="70" y="400"/>
                  </a:lnTo>
                  <a:lnTo>
                    <a:pt x="66" y="400"/>
                  </a:lnTo>
                  <a:lnTo>
                    <a:pt x="62" y="400"/>
                  </a:lnTo>
                  <a:lnTo>
                    <a:pt x="58" y="402"/>
                  </a:lnTo>
                  <a:lnTo>
                    <a:pt x="52" y="402"/>
                  </a:lnTo>
                  <a:lnTo>
                    <a:pt x="48" y="403"/>
                  </a:lnTo>
                  <a:lnTo>
                    <a:pt x="46" y="405"/>
                  </a:lnTo>
                  <a:lnTo>
                    <a:pt x="43" y="405"/>
                  </a:lnTo>
                  <a:lnTo>
                    <a:pt x="41" y="409"/>
                  </a:lnTo>
                  <a:lnTo>
                    <a:pt x="39" y="409"/>
                  </a:lnTo>
                  <a:lnTo>
                    <a:pt x="37" y="411"/>
                  </a:lnTo>
                  <a:lnTo>
                    <a:pt x="35" y="411"/>
                  </a:lnTo>
                  <a:lnTo>
                    <a:pt x="35" y="413"/>
                  </a:lnTo>
                  <a:lnTo>
                    <a:pt x="31" y="413"/>
                  </a:lnTo>
                  <a:lnTo>
                    <a:pt x="29" y="415"/>
                  </a:lnTo>
                  <a:lnTo>
                    <a:pt x="25" y="415"/>
                  </a:lnTo>
                  <a:lnTo>
                    <a:pt x="23" y="419"/>
                  </a:lnTo>
                  <a:lnTo>
                    <a:pt x="22" y="419"/>
                  </a:lnTo>
                  <a:lnTo>
                    <a:pt x="20" y="419"/>
                  </a:lnTo>
                  <a:lnTo>
                    <a:pt x="16" y="421"/>
                  </a:lnTo>
                  <a:lnTo>
                    <a:pt x="14" y="423"/>
                  </a:lnTo>
                  <a:lnTo>
                    <a:pt x="10" y="423"/>
                  </a:lnTo>
                  <a:lnTo>
                    <a:pt x="8" y="425"/>
                  </a:lnTo>
                  <a:lnTo>
                    <a:pt x="6" y="423"/>
                  </a:lnTo>
                  <a:lnTo>
                    <a:pt x="6" y="421"/>
                  </a:lnTo>
                  <a:lnTo>
                    <a:pt x="6" y="417"/>
                  </a:lnTo>
                  <a:lnTo>
                    <a:pt x="4" y="415"/>
                  </a:lnTo>
                  <a:lnTo>
                    <a:pt x="4" y="413"/>
                  </a:lnTo>
                  <a:lnTo>
                    <a:pt x="0" y="407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6" name="Freeform 53"/>
            <p:cNvSpPr>
              <a:spLocks/>
            </p:cNvSpPr>
            <p:nvPr/>
          </p:nvSpPr>
          <p:spPr bwMode="auto">
            <a:xfrm>
              <a:off x="1661" y="1465"/>
              <a:ext cx="387" cy="577"/>
            </a:xfrm>
            <a:custGeom>
              <a:avLst/>
              <a:gdLst/>
              <a:ahLst/>
              <a:cxnLst>
                <a:cxn ang="0">
                  <a:pos x="359" y="136"/>
                </a:cxn>
                <a:cxn ang="0">
                  <a:pos x="339" y="119"/>
                </a:cxn>
                <a:cxn ang="0">
                  <a:pos x="314" y="105"/>
                </a:cxn>
                <a:cxn ang="0">
                  <a:pos x="282" y="90"/>
                </a:cxn>
                <a:cxn ang="0">
                  <a:pos x="253" y="71"/>
                </a:cxn>
                <a:cxn ang="0">
                  <a:pos x="218" y="53"/>
                </a:cxn>
                <a:cxn ang="0">
                  <a:pos x="186" y="40"/>
                </a:cxn>
                <a:cxn ang="0">
                  <a:pos x="171" y="28"/>
                </a:cxn>
                <a:cxn ang="0">
                  <a:pos x="149" y="11"/>
                </a:cxn>
                <a:cxn ang="0">
                  <a:pos x="115" y="3"/>
                </a:cxn>
                <a:cxn ang="0">
                  <a:pos x="88" y="7"/>
                </a:cxn>
                <a:cxn ang="0">
                  <a:pos x="57" y="21"/>
                </a:cxn>
                <a:cxn ang="0">
                  <a:pos x="61" y="50"/>
                </a:cxn>
                <a:cxn ang="0">
                  <a:pos x="80" y="78"/>
                </a:cxn>
                <a:cxn ang="0">
                  <a:pos x="82" y="107"/>
                </a:cxn>
                <a:cxn ang="0">
                  <a:pos x="73" y="134"/>
                </a:cxn>
                <a:cxn ang="0">
                  <a:pos x="69" y="157"/>
                </a:cxn>
                <a:cxn ang="0">
                  <a:pos x="73" y="186"/>
                </a:cxn>
                <a:cxn ang="0">
                  <a:pos x="75" y="215"/>
                </a:cxn>
                <a:cxn ang="0">
                  <a:pos x="73" y="243"/>
                </a:cxn>
                <a:cxn ang="0">
                  <a:pos x="52" y="263"/>
                </a:cxn>
                <a:cxn ang="0">
                  <a:pos x="30" y="282"/>
                </a:cxn>
                <a:cxn ang="0">
                  <a:pos x="11" y="312"/>
                </a:cxn>
                <a:cxn ang="0">
                  <a:pos x="2" y="334"/>
                </a:cxn>
                <a:cxn ang="0">
                  <a:pos x="5" y="362"/>
                </a:cxn>
                <a:cxn ang="0">
                  <a:pos x="17" y="378"/>
                </a:cxn>
                <a:cxn ang="0">
                  <a:pos x="36" y="399"/>
                </a:cxn>
                <a:cxn ang="0">
                  <a:pos x="57" y="412"/>
                </a:cxn>
                <a:cxn ang="0">
                  <a:pos x="73" y="441"/>
                </a:cxn>
                <a:cxn ang="0">
                  <a:pos x="75" y="468"/>
                </a:cxn>
                <a:cxn ang="0">
                  <a:pos x="86" y="485"/>
                </a:cxn>
                <a:cxn ang="0">
                  <a:pos x="63" y="497"/>
                </a:cxn>
                <a:cxn ang="0">
                  <a:pos x="36" y="508"/>
                </a:cxn>
                <a:cxn ang="0">
                  <a:pos x="42" y="529"/>
                </a:cxn>
                <a:cxn ang="0">
                  <a:pos x="65" y="550"/>
                </a:cxn>
                <a:cxn ang="0">
                  <a:pos x="82" y="568"/>
                </a:cxn>
                <a:cxn ang="0">
                  <a:pos x="101" y="575"/>
                </a:cxn>
                <a:cxn ang="0">
                  <a:pos x="136" y="575"/>
                </a:cxn>
                <a:cxn ang="0">
                  <a:pos x="157" y="568"/>
                </a:cxn>
                <a:cxn ang="0">
                  <a:pos x="188" y="568"/>
                </a:cxn>
                <a:cxn ang="0">
                  <a:pos x="199" y="550"/>
                </a:cxn>
                <a:cxn ang="0">
                  <a:pos x="215" y="531"/>
                </a:cxn>
                <a:cxn ang="0">
                  <a:pos x="243" y="522"/>
                </a:cxn>
                <a:cxn ang="0">
                  <a:pos x="265" y="508"/>
                </a:cxn>
                <a:cxn ang="0">
                  <a:pos x="280" y="493"/>
                </a:cxn>
                <a:cxn ang="0">
                  <a:pos x="303" y="474"/>
                </a:cxn>
                <a:cxn ang="0">
                  <a:pos x="316" y="454"/>
                </a:cxn>
                <a:cxn ang="0">
                  <a:pos x="337" y="449"/>
                </a:cxn>
                <a:cxn ang="0">
                  <a:pos x="332" y="422"/>
                </a:cxn>
                <a:cxn ang="0">
                  <a:pos x="312" y="405"/>
                </a:cxn>
                <a:cxn ang="0">
                  <a:pos x="307" y="385"/>
                </a:cxn>
                <a:cxn ang="0">
                  <a:pos x="312" y="362"/>
                </a:cxn>
                <a:cxn ang="0">
                  <a:pos x="328" y="343"/>
                </a:cxn>
                <a:cxn ang="0">
                  <a:pos x="328" y="312"/>
                </a:cxn>
                <a:cxn ang="0">
                  <a:pos x="347" y="297"/>
                </a:cxn>
                <a:cxn ang="0">
                  <a:pos x="366" y="282"/>
                </a:cxn>
                <a:cxn ang="0">
                  <a:pos x="387" y="286"/>
                </a:cxn>
                <a:cxn ang="0">
                  <a:pos x="382" y="259"/>
                </a:cxn>
                <a:cxn ang="0">
                  <a:pos x="382" y="232"/>
                </a:cxn>
                <a:cxn ang="0">
                  <a:pos x="382" y="201"/>
                </a:cxn>
                <a:cxn ang="0">
                  <a:pos x="383" y="170"/>
                </a:cxn>
              </a:cxnLst>
              <a:rect l="0" t="0" r="r" b="b"/>
              <a:pathLst>
                <a:path w="387" h="577">
                  <a:moveTo>
                    <a:pt x="382" y="151"/>
                  </a:moveTo>
                  <a:lnTo>
                    <a:pt x="378" y="147"/>
                  </a:lnTo>
                  <a:lnTo>
                    <a:pt x="372" y="144"/>
                  </a:lnTo>
                  <a:lnTo>
                    <a:pt x="370" y="144"/>
                  </a:lnTo>
                  <a:lnTo>
                    <a:pt x="368" y="140"/>
                  </a:lnTo>
                  <a:lnTo>
                    <a:pt x="364" y="140"/>
                  </a:lnTo>
                  <a:lnTo>
                    <a:pt x="362" y="138"/>
                  </a:lnTo>
                  <a:lnTo>
                    <a:pt x="360" y="136"/>
                  </a:lnTo>
                  <a:lnTo>
                    <a:pt x="359" y="136"/>
                  </a:lnTo>
                  <a:lnTo>
                    <a:pt x="359" y="134"/>
                  </a:lnTo>
                  <a:lnTo>
                    <a:pt x="357" y="132"/>
                  </a:lnTo>
                  <a:lnTo>
                    <a:pt x="355" y="130"/>
                  </a:lnTo>
                  <a:lnTo>
                    <a:pt x="351" y="126"/>
                  </a:lnTo>
                  <a:lnTo>
                    <a:pt x="351" y="124"/>
                  </a:lnTo>
                  <a:lnTo>
                    <a:pt x="349" y="122"/>
                  </a:lnTo>
                  <a:lnTo>
                    <a:pt x="345" y="122"/>
                  </a:lnTo>
                  <a:lnTo>
                    <a:pt x="343" y="119"/>
                  </a:lnTo>
                  <a:lnTo>
                    <a:pt x="339" y="119"/>
                  </a:lnTo>
                  <a:lnTo>
                    <a:pt x="337" y="119"/>
                  </a:lnTo>
                  <a:lnTo>
                    <a:pt x="334" y="117"/>
                  </a:lnTo>
                  <a:lnTo>
                    <a:pt x="332" y="117"/>
                  </a:lnTo>
                  <a:lnTo>
                    <a:pt x="330" y="115"/>
                  </a:lnTo>
                  <a:lnTo>
                    <a:pt x="326" y="111"/>
                  </a:lnTo>
                  <a:lnTo>
                    <a:pt x="322" y="111"/>
                  </a:lnTo>
                  <a:lnTo>
                    <a:pt x="320" y="109"/>
                  </a:lnTo>
                  <a:lnTo>
                    <a:pt x="318" y="107"/>
                  </a:lnTo>
                  <a:lnTo>
                    <a:pt x="314" y="105"/>
                  </a:lnTo>
                  <a:lnTo>
                    <a:pt x="312" y="103"/>
                  </a:lnTo>
                  <a:lnTo>
                    <a:pt x="309" y="103"/>
                  </a:lnTo>
                  <a:lnTo>
                    <a:pt x="305" y="99"/>
                  </a:lnTo>
                  <a:lnTo>
                    <a:pt x="301" y="99"/>
                  </a:lnTo>
                  <a:lnTo>
                    <a:pt x="297" y="97"/>
                  </a:lnTo>
                  <a:lnTo>
                    <a:pt x="293" y="97"/>
                  </a:lnTo>
                  <a:lnTo>
                    <a:pt x="291" y="96"/>
                  </a:lnTo>
                  <a:lnTo>
                    <a:pt x="288" y="94"/>
                  </a:lnTo>
                  <a:lnTo>
                    <a:pt x="282" y="90"/>
                  </a:lnTo>
                  <a:lnTo>
                    <a:pt x="278" y="88"/>
                  </a:lnTo>
                  <a:lnTo>
                    <a:pt x="274" y="86"/>
                  </a:lnTo>
                  <a:lnTo>
                    <a:pt x="272" y="84"/>
                  </a:lnTo>
                  <a:lnTo>
                    <a:pt x="268" y="84"/>
                  </a:lnTo>
                  <a:lnTo>
                    <a:pt x="266" y="82"/>
                  </a:lnTo>
                  <a:lnTo>
                    <a:pt x="263" y="78"/>
                  </a:lnTo>
                  <a:lnTo>
                    <a:pt x="259" y="78"/>
                  </a:lnTo>
                  <a:lnTo>
                    <a:pt x="255" y="74"/>
                  </a:lnTo>
                  <a:lnTo>
                    <a:pt x="253" y="71"/>
                  </a:lnTo>
                  <a:lnTo>
                    <a:pt x="251" y="69"/>
                  </a:lnTo>
                  <a:lnTo>
                    <a:pt x="245" y="65"/>
                  </a:lnTo>
                  <a:lnTo>
                    <a:pt x="240" y="61"/>
                  </a:lnTo>
                  <a:lnTo>
                    <a:pt x="236" y="61"/>
                  </a:lnTo>
                  <a:lnTo>
                    <a:pt x="234" y="57"/>
                  </a:lnTo>
                  <a:lnTo>
                    <a:pt x="230" y="55"/>
                  </a:lnTo>
                  <a:lnTo>
                    <a:pt x="226" y="53"/>
                  </a:lnTo>
                  <a:lnTo>
                    <a:pt x="224" y="53"/>
                  </a:lnTo>
                  <a:lnTo>
                    <a:pt x="218" y="53"/>
                  </a:lnTo>
                  <a:lnTo>
                    <a:pt x="215" y="51"/>
                  </a:lnTo>
                  <a:lnTo>
                    <a:pt x="213" y="50"/>
                  </a:lnTo>
                  <a:lnTo>
                    <a:pt x="209" y="50"/>
                  </a:lnTo>
                  <a:lnTo>
                    <a:pt x="203" y="48"/>
                  </a:lnTo>
                  <a:lnTo>
                    <a:pt x="197" y="44"/>
                  </a:lnTo>
                  <a:lnTo>
                    <a:pt x="194" y="42"/>
                  </a:lnTo>
                  <a:lnTo>
                    <a:pt x="192" y="42"/>
                  </a:lnTo>
                  <a:lnTo>
                    <a:pt x="188" y="42"/>
                  </a:lnTo>
                  <a:lnTo>
                    <a:pt x="186" y="40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78" y="34"/>
                  </a:lnTo>
                  <a:lnTo>
                    <a:pt x="174" y="34"/>
                  </a:lnTo>
                  <a:lnTo>
                    <a:pt x="174" y="32"/>
                  </a:lnTo>
                  <a:lnTo>
                    <a:pt x="174" y="30"/>
                  </a:lnTo>
                  <a:lnTo>
                    <a:pt x="171" y="28"/>
                  </a:lnTo>
                  <a:lnTo>
                    <a:pt x="169" y="28"/>
                  </a:lnTo>
                  <a:lnTo>
                    <a:pt x="167" y="26"/>
                  </a:lnTo>
                  <a:lnTo>
                    <a:pt x="165" y="25"/>
                  </a:lnTo>
                  <a:lnTo>
                    <a:pt x="163" y="23"/>
                  </a:lnTo>
                  <a:lnTo>
                    <a:pt x="161" y="19"/>
                  </a:lnTo>
                  <a:lnTo>
                    <a:pt x="157" y="17"/>
                  </a:lnTo>
                  <a:lnTo>
                    <a:pt x="155" y="15"/>
                  </a:lnTo>
                  <a:lnTo>
                    <a:pt x="153" y="13"/>
                  </a:lnTo>
                  <a:lnTo>
                    <a:pt x="149" y="11"/>
                  </a:lnTo>
                  <a:lnTo>
                    <a:pt x="146" y="11"/>
                  </a:lnTo>
                  <a:lnTo>
                    <a:pt x="142" y="9"/>
                  </a:lnTo>
                  <a:lnTo>
                    <a:pt x="138" y="7"/>
                  </a:lnTo>
                  <a:lnTo>
                    <a:pt x="128" y="7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19" y="5"/>
                  </a:lnTo>
                  <a:lnTo>
                    <a:pt x="119" y="3"/>
                  </a:lnTo>
                  <a:lnTo>
                    <a:pt x="115" y="3"/>
                  </a:lnTo>
                  <a:lnTo>
                    <a:pt x="115" y="2"/>
                  </a:lnTo>
                  <a:lnTo>
                    <a:pt x="113" y="2"/>
                  </a:lnTo>
                  <a:lnTo>
                    <a:pt x="111" y="0"/>
                  </a:lnTo>
                  <a:lnTo>
                    <a:pt x="105" y="0"/>
                  </a:lnTo>
                  <a:lnTo>
                    <a:pt x="101" y="0"/>
                  </a:lnTo>
                  <a:lnTo>
                    <a:pt x="96" y="2"/>
                  </a:lnTo>
                  <a:lnTo>
                    <a:pt x="94" y="3"/>
                  </a:lnTo>
                  <a:lnTo>
                    <a:pt x="92" y="5"/>
                  </a:lnTo>
                  <a:lnTo>
                    <a:pt x="88" y="7"/>
                  </a:lnTo>
                  <a:lnTo>
                    <a:pt x="84" y="11"/>
                  </a:lnTo>
                  <a:lnTo>
                    <a:pt x="80" y="13"/>
                  </a:lnTo>
                  <a:lnTo>
                    <a:pt x="76" y="15"/>
                  </a:lnTo>
                  <a:lnTo>
                    <a:pt x="75" y="15"/>
                  </a:lnTo>
                  <a:lnTo>
                    <a:pt x="71" y="19"/>
                  </a:lnTo>
                  <a:lnTo>
                    <a:pt x="67" y="19"/>
                  </a:lnTo>
                  <a:lnTo>
                    <a:pt x="63" y="19"/>
                  </a:lnTo>
                  <a:lnTo>
                    <a:pt x="61" y="21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1" y="28"/>
                  </a:lnTo>
                  <a:lnTo>
                    <a:pt x="61" y="32"/>
                  </a:lnTo>
                  <a:lnTo>
                    <a:pt x="61" y="36"/>
                  </a:lnTo>
                  <a:lnTo>
                    <a:pt x="61" y="38"/>
                  </a:lnTo>
                  <a:lnTo>
                    <a:pt x="61" y="42"/>
                  </a:lnTo>
                  <a:lnTo>
                    <a:pt x="61" y="46"/>
                  </a:lnTo>
                  <a:lnTo>
                    <a:pt x="61" y="50"/>
                  </a:lnTo>
                  <a:lnTo>
                    <a:pt x="61" y="53"/>
                  </a:lnTo>
                  <a:lnTo>
                    <a:pt x="63" y="57"/>
                  </a:lnTo>
                  <a:lnTo>
                    <a:pt x="63" y="59"/>
                  </a:lnTo>
                  <a:lnTo>
                    <a:pt x="63" y="61"/>
                  </a:lnTo>
                  <a:lnTo>
                    <a:pt x="67" y="67"/>
                  </a:lnTo>
                  <a:lnTo>
                    <a:pt x="69" y="71"/>
                  </a:lnTo>
                  <a:lnTo>
                    <a:pt x="75" y="74"/>
                  </a:lnTo>
                  <a:lnTo>
                    <a:pt x="76" y="76"/>
                  </a:lnTo>
                  <a:lnTo>
                    <a:pt x="80" y="78"/>
                  </a:lnTo>
                  <a:lnTo>
                    <a:pt x="80" y="84"/>
                  </a:lnTo>
                  <a:lnTo>
                    <a:pt x="82" y="86"/>
                  </a:lnTo>
                  <a:lnTo>
                    <a:pt x="82" y="90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97"/>
                  </a:lnTo>
                  <a:lnTo>
                    <a:pt x="84" y="101"/>
                  </a:lnTo>
                  <a:lnTo>
                    <a:pt x="82" y="105"/>
                  </a:lnTo>
                  <a:lnTo>
                    <a:pt x="82" y="107"/>
                  </a:lnTo>
                  <a:lnTo>
                    <a:pt x="82" y="111"/>
                  </a:lnTo>
                  <a:lnTo>
                    <a:pt x="84" y="115"/>
                  </a:lnTo>
                  <a:lnTo>
                    <a:pt x="84" y="117"/>
                  </a:lnTo>
                  <a:lnTo>
                    <a:pt x="84" y="119"/>
                  </a:lnTo>
                  <a:lnTo>
                    <a:pt x="82" y="122"/>
                  </a:lnTo>
                  <a:lnTo>
                    <a:pt x="78" y="126"/>
                  </a:lnTo>
                  <a:lnTo>
                    <a:pt x="75" y="130"/>
                  </a:lnTo>
                  <a:lnTo>
                    <a:pt x="73" y="132"/>
                  </a:lnTo>
                  <a:lnTo>
                    <a:pt x="73" y="134"/>
                  </a:lnTo>
                  <a:lnTo>
                    <a:pt x="69" y="136"/>
                  </a:lnTo>
                  <a:lnTo>
                    <a:pt x="67" y="136"/>
                  </a:lnTo>
                  <a:lnTo>
                    <a:pt x="67" y="140"/>
                  </a:lnTo>
                  <a:lnTo>
                    <a:pt x="67" y="144"/>
                  </a:lnTo>
                  <a:lnTo>
                    <a:pt x="67" y="147"/>
                  </a:lnTo>
                  <a:lnTo>
                    <a:pt x="67" y="151"/>
                  </a:lnTo>
                  <a:lnTo>
                    <a:pt x="69" y="153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71" y="159"/>
                  </a:lnTo>
                  <a:lnTo>
                    <a:pt x="71" y="163"/>
                  </a:lnTo>
                  <a:lnTo>
                    <a:pt x="71" y="167"/>
                  </a:lnTo>
                  <a:lnTo>
                    <a:pt x="71" y="170"/>
                  </a:lnTo>
                  <a:lnTo>
                    <a:pt x="73" y="172"/>
                  </a:lnTo>
                  <a:lnTo>
                    <a:pt x="73" y="176"/>
                  </a:lnTo>
                  <a:lnTo>
                    <a:pt x="73" y="178"/>
                  </a:lnTo>
                  <a:lnTo>
                    <a:pt x="73" y="182"/>
                  </a:lnTo>
                  <a:lnTo>
                    <a:pt x="73" y="186"/>
                  </a:lnTo>
                  <a:lnTo>
                    <a:pt x="73" y="188"/>
                  </a:lnTo>
                  <a:lnTo>
                    <a:pt x="75" y="190"/>
                  </a:lnTo>
                  <a:lnTo>
                    <a:pt x="75" y="193"/>
                  </a:lnTo>
                  <a:lnTo>
                    <a:pt x="75" y="195"/>
                  </a:lnTo>
                  <a:lnTo>
                    <a:pt x="75" y="197"/>
                  </a:lnTo>
                  <a:lnTo>
                    <a:pt x="75" y="201"/>
                  </a:lnTo>
                  <a:lnTo>
                    <a:pt x="75" y="205"/>
                  </a:lnTo>
                  <a:lnTo>
                    <a:pt x="75" y="211"/>
                  </a:lnTo>
                  <a:lnTo>
                    <a:pt x="75" y="215"/>
                  </a:lnTo>
                  <a:lnTo>
                    <a:pt x="75" y="218"/>
                  </a:lnTo>
                  <a:lnTo>
                    <a:pt x="75" y="222"/>
                  </a:lnTo>
                  <a:lnTo>
                    <a:pt x="75" y="226"/>
                  </a:lnTo>
                  <a:lnTo>
                    <a:pt x="75" y="230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5" y="238"/>
                  </a:lnTo>
                  <a:lnTo>
                    <a:pt x="75" y="239"/>
                  </a:lnTo>
                  <a:lnTo>
                    <a:pt x="73" y="243"/>
                  </a:lnTo>
                  <a:lnTo>
                    <a:pt x="69" y="245"/>
                  </a:lnTo>
                  <a:lnTo>
                    <a:pt x="69" y="249"/>
                  </a:lnTo>
                  <a:lnTo>
                    <a:pt x="65" y="251"/>
                  </a:lnTo>
                  <a:lnTo>
                    <a:pt x="65" y="253"/>
                  </a:lnTo>
                  <a:lnTo>
                    <a:pt x="63" y="255"/>
                  </a:lnTo>
                  <a:lnTo>
                    <a:pt x="61" y="255"/>
                  </a:lnTo>
                  <a:lnTo>
                    <a:pt x="57" y="257"/>
                  </a:lnTo>
                  <a:lnTo>
                    <a:pt x="55" y="259"/>
                  </a:lnTo>
                  <a:lnTo>
                    <a:pt x="52" y="263"/>
                  </a:lnTo>
                  <a:lnTo>
                    <a:pt x="50" y="263"/>
                  </a:lnTo>
                  <a:lnTo>
                    <a:pt x="48" y="264"/>
                  </a:lnTo>
                  <a:lnTo>
                    <a:pt x="44" y="268"/>
                  </a:lnTo>
                  <a:lnTo>
                    <a:pt x="42" y="272"/>
                  </a:lnTo>
                  <a:lnTo>
                    <a:pt x="38" y="274"/>
                  </a:lnTo>
                  <a:lnTo>
                    <a:pt x="36" y="276"/>
                  </a:lnTo>
                  <a:lnTo>
                    <a:pt x="36" y="278"/>
                  </a:lnTo>
                  <a:lnTo>
                    <a:pt x="34" y="280"/>
                  </a:lnTo>
                  <a:lnTo>
                    <a:pt x="30" y="282"/>
                  </a:lnTo>
                  <a:lnTo>
                    <a:pt x="27" y="286"/>
                  </a:lnTo>
                  <a:lnTo>
                    <a:pt x="25" y="289"/>
                  </a:lnTo>
                  <a:lnTo>
                    <a:pt x="23" y="291"/>
                  </a:lnTo>
                  <a:lnTo>
                    <a:pt x="21" y="295"/>
                  </a:lnTo>
                  <a:lnTo>
                    <a:pt x="17" y="299"/>
                  </a:lnTo>
                  <a:lnTo>
                    <a:pt x="17" y="303"/>
                  </a:lnTo>
                  <a:lnTo>
                    <a:pt x="17" y="305"/>
                  </a:lnTo>
                  <a:lnTo>
                    <a:pt x="13" y="309"/>
                  </a:lnTo>
                  <a:lnTo>
                    <a:pt x="11" y="312"/>
                  </a:lnTo>
                  <a:lnTo>
                    <a:pt x="9" y="314"/>
                  </a:lnTo>
                  <a:lnTo>
                    <a:pt x="7" y="318"/>
                  </a:lnTo>
                  <a:lnTo>
                    <a:pt x="7" y="322"/>
                  </a:lnTo>
                  <a:lnTo>
                    <a:pt x="5" y="324"/>
                  </a:lnTo>
                  <a:lnTo>
                    <a:pt x="5" y="326"/>
                  </a:lnTo>
                  <a:lnTo>
                    <a:pt x="4" y="326"/>
                  </a:lnTo>
                  <a:lnTo>
                    <a:pt x="4" y="330"/>
                  </a:lnTo>
                  <a:lnTo>
                    <a:pt x="2" y="330"/>
                  </a:lnTo>
                  <a:lnTo>
                    <a:pt x="2" y="334"/>
                  </a:lnTo>
                  <a:lnTo>
                    <a:pt x="0" y="335"/>
                  </a:lnTo>
                  <a:lnTo>
                    <a:pt x="0" y="339"/>
                  </a:lnTo>
                  <a:lnTo>
                    <a:pt x="0" y="343"/>
                  </a:lnTo>
                  <a:lnTo>
                    <a:pt x="0" y="347"/>
                  </a:lnTo>
                  <a:lnTo>
                    <a:pt x="0" y="351"/>
                  </a:lnTo>
                  <a:lnTo>
                    <a:pt x="0" y="353"/>
                  </a:lnTo>
                  <a:lnTo>
                    <a:pt x="2" y="357"/>
                  </a:lnTo>
                  <a:lnTo>
                    <a:pt x="4" y="360"/>
                  </a:lnTo>
                  <a:lnTo>
                    <a:pt x="5" y="362"/>
                  </a:lnTo>
                  <a:lnTo>
                    <a:pt x="5" y="366"/>
                  </a:lnTo>
                  <a:lnTo>
                    <a:pt x="5" y="368"/>
                  </a:lnTo>
                  <a:lnTo>
                    <a:pt x="5" y="372"/>
                  </a:lnTo>
                  <a:lnTo>
                    <a:pt x="7" y="372"/>
                  </a:lnTo>
                  <a:lnTo>
                    <a:pt x="7" y="376"/>
                  </a:lnTo>
                  <a:lnTo>
                    <a:pt x="11" y="376"/>
                  </a:lnTo>
                  <a:lnTo>
                    <a:pt x="13" y="376"/>
                  </a:lnTo>
                  <a:lnTo>
                    <a:pt x="17" y="376"/>
                  </a:lnTo>
                  <a:lnTo>
                    <a:pt x="17" y="378"/>
                  </a:lnTo>
                  <a:lnTo>
                    <a:pt x="19" y="378"/>
                  </a:lnTo>
                  <a:lnTo>
                    <a:pt x="21" y="381"/>
                  </a:lnTo>
                  <a:lnTo>
                    <a:pt x="25" y="381"/>
                  </a:lnTo>
                  <a:lnTo>
                    <a:pt x="27" y="383"/>
                  </a:lnTo>
                  <a:lnTo>
                    <a:pt x="32" y="389"/>
                  </a:lnTo>
                  <a:lnTo>
                    <a:pt x="36" y="391"/>
                  </a:lnTo>
                  <a:lnTo>
                    <a:pt x="36" y="395"/>
                  </a:lnTo>
                  <a:lnTo>
                    <a:pt x="36" y="397"/>
                  </a:lnTo>
                  <a:lnTo>
                    <a:pt x="36" y="399"/>
                  </a:lnTo>
                  <a:lnTo>
                    <a:pt x="38" y="401"/>
                  </a:lnTo>
                  <a:lnTo>
                    <a:pt x="38" y="403"/>
                  </a:lnTo>
                  <a:lnTo>
                    <a:pt x="40" y="405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50" y="406"/>
                  </a:lnTo>
                  <a:lnTo>
                    <a:pt x="52" y="410"/>
                  </a:lnTo>
                  <a:lnTo>
                    <a:pt x="55" y="412"/>
                  </a:lnTo>
                  <a:lnTo>
                    <a:pt x="57" y="412"/>
                  </a:lnTo>
                  <a:lnTo>
                    <a:pt x="59" y="412"/>
                  </a:lnTo>
                  <a:lnTo>
                    <a:pt x="61" y="414"/>
                  </a:lnTo>
                  <a:lnTo>
                    <a:pt x="67" y="420"/>
                  </a:lnTo>
                  <a:lnTo>
                    <a:pt x="73" y="426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5" y="435"/>
                  </a:lnTo>
                  <a:lnTo>
                    <a:pt x="75" y="439"/>
                  </a:lnTo>
                  <a:lnTo>
                    <a:pt x="73" y="441"/>
                  </a:lnTo>
                  <a:lnTo>
                    <a:pt x="73" y="445"/>
                  </a:lnTo>
                  <a:lnTo>
                    <a:pt x="73" y="449"/>
                  </a:lnTo>
                  <a:lnTo>
                    <a:pt x="73" y="451"/>
                  </a:lnTo>
                  <a:lnTo>
                    <a:pt x="73" y="454"/>
                  </a:lnTo>
                  <a:lnTo>
                    <a:pt x="73" y="458"/>
                  </a:lnTo>
                  <a:lnTo>
                    <a:pt x="73" y="460"/>
                  </a:lnTo>
                  <a:lnTo>
                    <a:pt x="73" y="462"/>
                  </a:lnTo>
                  <a:lnTo>
                    <a:pt x="75" y="466"/>
                  </a:lnTo>
                  <a:lnTo>
                    <a:pt x="75" y="468"/>
                  </a:lnTo>
                  <a:lnTo>
                    <a:pt x="75" y="470"/>
                  </a:lnTo>
                  <a:lnTo>
                    <a:pt x="76" y="472"/>
                  </a:lnTo>
                  <a:lnTo>
                    <a:pt x="76" y="474"/>
                  </a:lnTo>
                  <a:lnTo>
                    <a:pt x="78" y="477"/>
                  </a:lnTo>
                  <a:lnTo>
                    <a:pt x="78" y="479"/>
                  </a:lnTo>
                  <a:lnTo>
                    <a:pt x="82" y="481"/>
                  </a:lnTo>
                  <a:lnTo>
                    <a:pt x="82" y="483"/>
                  </a:lnTo>
                  <a:lnTo>
                    <a:pt x="84" y="485"/>
                  </a:lnTo>
                  <a:lnTo>
                    <a:pt x="86" y="485"/>
                  </a:lnTo>
                  <a:lnTo>
                    <a:pt x="88" y="487"/>
                  </a:lnTo>
                  <a:lnTo>
                    <a:pt x="88" y="491"/>
                  </a:lnTo>
                  <a:lnTo>
                    <a:pt x="84" y="493"/>
                  </a:lnTo>
                  <a:lnTo>
                    <a:pt x="82" y="497"/>
                  </a:lnTo>
                  <a:lnTo>
                    <a:pt x="78" y="497"/>
                  </a:lnTo>
                  <a:lnTo>
                    <a:pt x="75" y="497"/>
                  </a:lnTo>
                  <a:lnTo>
                    <a:pt x="73" y="497"/>
                  </a:lnTo>
                  <a:lnTo>
                    <a:pt x="67" y="497"/>
                  </a:lnTo>
                  <a:lnTo>
                    <a:pt x="63" y="497"/>
                  </a:lnTo>
                  <a:lnTo>
                    <a:pt x="57" y="499"/>
                  </a:lnTo>
                  <a:lnTo>
                    <a:pt x="53" y="499"/>
                  </a:lnTo>
                  <a:lnTo>
                    <a:pt x="48" y="499"/>
                  </a:lnTo>
                  <a:lnTo>
                    <a:pt x="44" y="499"/>
                  </a:lnTo>
                  <a:lnTo>
                    <a:pt x="40" y="497"/>
                  </a:lnTo>
                  <a:lnTo>
                    <a:pt x="38" y="499"/>
                  </a:lnTo>
                  <a:lnTo>
                    <a:pt x="38" y="500"/>
                  </a:lnTo>
                  <a:lnTo>
                    <a:pt x="36" y="502"/>
                  </a:lnTo>
                  <a:lnTo>
                    <a:pt x="36" y="508"/>
                  </a:lnTo>
                  <a:lnTo>
                    <a:pt x="34" y="510"/>
                  </a:lnTo>
                  <a:lnTo>
                    <a:pt x="34" y="512"/>
                  </a:lnTo>
                  <a:lnTo>
                    <a:pt x="34" y="516"/>
                  </a:lnTo>
                  <a:lnTo>
                    <a:pt x="32" y="520"/>
                  </a:lnTo>
                  <a:lnTo>
                    <a:pt x="32" y="523"/>
                  </a:lnTo>
                  <a:lnTo>
                    <a:pt x="34" y="525"/>
                  </a:lnTo>
                  <a:lnTo>
                    <a:pt x="36" y="525"/>
                  </a:lnTo>
                  <a:lnTo>
                    <a:pt x="40" y="527"/>
                  </a:lnTo>
                  <a:lnTo>
                    <a:pt x="42" y="529"/>
                  </a:lnTo>
                  <a:lnTo>
                    <a:pt x="48" y="529"/>
                  </a:lnTo>
                  <a:lnTo>
                    <a:pt x="52" y="531"/>
                  </a:lnTo>
                  <a:lnTo>
                    <a:pt x="53" y="537"/>
                  </a:lnTo>
                  <a:lnTo>
                    <a:pt x="55" y="543"/>
                  </a:lnTo>
                  <a:lnTo>
                    <a:pt x="59" y="543"/>
                  </a:lnTo>
                  <a:lnTo>
                    <a:pt x="59" y="547"/>
                  </a:lnTo>
                  <a:lnTo>
                    <a:pt x="61" y="548"/>
                  </a:lnTo>
                  <a:lnTo>
                    <a:pt x="63" y="548"/>
                  </a:lnTo>
                  <a:lnTo>
                    <a:pt x="65" y="550"/>
                  </a:lnTo>
                  <a:lnTo>
                    <a:pt x="67" y="552"/>
                  </a:lnTo>
                  <a:lnTo>
                    <a:pt x="69" y="554"/>
                  </a:lnTo>
                  <a:lnTo>
                    <a:pt x="73" y="556"/>
                  </a:lnTo>
                  <a:lnTo>
                    <a:pt x="75" y="556"/>
                  </a:lnTo>
                  <a:lnTo>
                    <a:pt x="76" y="558"/>
                  </a:lnTo>
                  <a:lnTo>
                    <a:pt x="80" y="560"/>
                  </a:lnTo>
                  <a:lnTo>
                    <a:pt x="80" y="562"/>
                  </a:lnTo>
                  <a:lnTo>
                    <a:pt x="80" y="566"/>
                  </a:lnTo>
                  <a:lnTo>
                    <a:pt x="82" y="568"/>
                  </a:lnTo>
                  <a:lnTo>
                    <a:pt x="82" y="570"/>
                  </a:lnTo>
                  <a:lnTo>
                    <a:pt x="84" y="571"/>
                  </a:lnTo>
                  <a:lnTo>
                    <a:pt x="84" y="573"/>
                  </a:lnTo>
                  <a:lnTo>
                    <a:pt x="86" y="575"/>
                  </a:lnTo>
                  <a:lnTo>
                    <a:pt x="88" y="577"/>
                  </a:lnTo>
                  <a:lnTo>
                    <a:pt x="92" y="575"/>
                  </a:lnTo>
                  <a:lnTo>
                    <a:pt x="96" y="575"/>
                  </a:lnTo>
                  <a:lnTo>
                    <a:pt x="98" y="575"/>
                  </a:lnTo>
                  <a:lnTo>
                    <a:pt x="101" y="575"/>
                  </a:lnTo>
                  <a:lnTo>
                    <a:pt x="105" y="575"/>
                  </a:lnTo>
                  <a:lnTo>
                    <a:pt x="109" y="575"/>
                  </a:lnTo>
                  <a:lnTo>
                    <a:pt x="115" y="575"/>
                  </a:lnTo>
                  <a:lnTo>
                    <a:pt x="119" y="575"/>
                  </a:lnTo>
                  <a:lnTo>
                    <a:pt x="123" y="575"/>
                  </a:lnTo>
                  <a:lnTo>
                    <a:pt x="126" y="575"/>
                  </a:lnTo>
                  <a:lnTo>
                    <a:pt x="130" y="575"/>
                  </a:lnTo>
                  <a:lnTo>
                    <a:pt x="134" y="575"/>
                  </a:lnTo>
                  <a:lnTo>
                    <a:pt x="136" y="575"/>
                  </a:lnTo>
                  <a:lnTo>
                    <a:pt x="138" y="575"/>
                  </a:lnTo>
                  <a:lnTo>
                    <a:pt x="140" y="573"/>
                  </a:lnTo>
                  <a:lnTo>
                    <a:pt x="144" y="573"/>
                  </a:lnTo>
                  <a:lnTo>
                    <a:pt x="147" y="573"/>
                  </a:lnTo>
                  <a:lnTo>
                    <a:pt x="151" y="571"/>
                  </a:lnTo>
                  <a:lnTo>
                    <a:pt x="151" y="571"/>
                  </a:lnTo>
                  <a:lnTo>
                    <a:pt x="155" y="570"/>
                  </a:lnTo>
                  <a:lnTo>
                    <a:pt x="155" y="570"/>
                  </a:lnTo>
                  <a:lnTo>
                    <a:pt x="157" y="568"/>
                  </a:lnTo>
                  <a:lnTo>
                    <a:pt x="159" y="568"/>
                  </a:lnTo>
                  <a:lnTo>
                    <a:pt x="163" y="568"/>
                  </a:lnTo>
                  <a:lnTo>
                    <a:pt x="167" y="568"/>
                  </a:lnTo>
                  <a:lnTo>
                    <a:pt x="171" y="568"/>
                  </a:lnTo>
                  <a:lnTo>
                    <a:pt x="174" y="568"/>
                  </a:lnTo>
                  <a:lnTo>
                    <a:pt x="176" y="568"/>
                  </a:lnTo>
                  <a:lnTo>
                    <a:pt x="180" y="568"/>
                  </a:lnTo>
                  <a:lnTo>
                    <a:pt x="184" y="568"/>
                  </a:lnTo>
                  <a:lnTo>
                    <a:pt x="188" y="568"/>
                  </a:lnTo>
                  <a:lnTo>
                    <a:pt x="188" y="566"/>
                  </a:lnTo>
                  <a:lnTo>
                    <a:pt x="192" y="566"/>
                  </a:lnTo>
                  <a:lnTo>
                    <a:pt x="192" y="564"/>
                  </a:lnTo>
                  <a:lnTo>
                    <a:pt x="194" y="564"/>
                  </a:lnTo>
                  <a:lnTo>
                    <a:pt x="194" y="558"/>
                  </a:lnTo>
                  <a:lnTo>
                    <a:pt x="195" y="556"/>
                  </a:lnTo>
                  <a:lnTo>
                    <a:pt x="195" y="552"/>
                  </a:lnTo>
                  <a:lnTo>
                    <a:pt x="197" y="550"/>
                  </a:lnTo>
                  <a:lnTo>
                    <a:pt x="199" y="550"/>
                  </a:lnTo>
                  <a:lnTo>
                    <a:pt x="201" y="548"/>
                  </a:lnTo>
                  <a:lnTo>
                    <a:pt x="201" y="547"/>
                  </a:lnTo>
                  <a:lnTo>
                    <a:pt x="203" y="545"/>
                  </a:lnTo>
                  <a:lnTo>
                    <a:pt x="205" y="545"/>
                  </a:lnTo>
                  <a:lnTo>
                    <a:pt x="205" y="541"/>
                  </a:lnTo>
                  <a:lnTo>
                    <a:pt x="207" y="539"/>
                  </a:lnTo>
                  <a:lnTo>
                    <a:pt x="211" y="539"/>
                  </a:lnTo>
                  <a:lnTo>
                    <a:pt x="213" y="535"/>
                  </a:lnTo>
                  <a:lnTo>
                    <a:pt x="215" y="531"/>
                  </a:lnTo>
                  <a:lnTo>
                    <a:pt x="217" y="529"/>
                  </a:lnTo>
                  <a:lnTo>
                    <a:pt x="217" y="527"/>
                  </a:lnTo>
                  <a:lnTo>
                    <a:pt x="222" y="522"/>
                  </a:lnTo>
                  <a:lnTo>
                    <a:pt x="226" y="522"/>
                  </a:lnTo>
                  <a:lnTo>
                    <a:pt x="230" y="522"/>
                  </a:lnTo>
                  <a:lnTo>
                    <a:pt x="234" y="522"/>
                  </a:lnTo>
                  <a:lnTo>
                    <a:pt x="238" y="522"/>
                  </a:lnTo>
                  <a:lnTo>
                    <a:pt x="242" y="522"/>
                  </a:lnTo>
                  <a:lnTo>
                    <a:pt x="243" y="522"/>
                  </a:lnTo>
                  <a:lnTo>
                    <a:pt x="245" y="523"/>
                  </a:lnTo>
                  <a:lnTo>
                    <a:pt x="249" y="523"/>
                  </a:lnTo>
                  <a:lnTo>
                    <a:pt x="253" y="522"/>
                  </a:lnTo>
                  <a:lnTo>
                    <a:pt x="255" y="522"/>
                  </a:lnTo>
                  <a:lnTo>
                    <a:pt x="259" y="520"/>
                  </a:lnTo>
                  <a:lnTo>
                    <a:pt x="261" y="518"/>
                  </a:lnTo>
                  <a:lnTo>
                    <a:pt x="261" y="514"/>
                  </a:lnTo>
                  <a:lnTo>
                    <a:pt x="265" y="510"/>
                  </a:lnTo>
                  <a:lnTo>
                    <a:pt x="265" y="508"/>
                  </a:lnTo>
                  <a:lnTo>
                    <a:pt x="266" y="506"/>
                  </a:lnTo>
                  <a:lnTo>
                    <a:pt x="268" y="504"/>
                  </a:lnTo>
                  <a:lnTo>
                    <a:pt x="270" y="502"/>
                  </a:lnTo>
                  <a:lnTo>
                    <a:pt x="272" y="502"/>
                  </a:lnTo>
                  <a:lnTo>
                    <a:pt x="274" y="500"/>
                  </a:lnTo>
                  <a:lnTo>
                    <a:pt x="276" y="499"/>
                  </a:lnTo>
                  <a:lnTo>
                    <a:pt x="276" y="495"/>
                  </a:lnTo>
                  <a:lnTo>
                    <a:pt x="278" y="495"/>
                  </a:lnTo>
                  <a:lnTo>
                    <a:pt x="280" y="493"/>
                  </a:lnTo>
                  <a:lnTo>
                    <a:pt x="282" y="491"/>
                  </a:lnTo>
                  <a:lnTo>
                    <a:pt x="286" y="489"/>
                  </a:lnTo>
                  <a:lnTo>
                    <a:pt x="288" y="485"/>
                  </a:lnTo>
                  <a:lnTo>
                    <a:pt x="291" y="481"/>
                  </a:lnTo>
                  <a:lnTo>
                    <a:pt x="293" y="479"/>
                  </a:lnTo>
                  <a:lnTo>
                    <a:pt x="297" y="477"/>
                  </a:lnTo>
                  <a:lnTo>
                    <a:pt x="299" y="476"/>
                  </a:lnTo>
                  <a:lnTo>
                    <a:pt x="299" y="474"/>
                  </a:lnTo>
                  <a:lnTo>
                    <a:pt x="303" y="474"/>
                  </a:lnTo>
                  <a:lnTo>
                    <a:pt x="305" y="472"/>
                  </a:lnTo>
                  <a:lnTo>
                    <a:pt x="307" y="470"/>
                  </a:lnTo>
                  <a:lnTo>
                    <a:pt x="307" y="468"/>
                  </a:lnTo>
                  <a:lnTo>
                    <a:pt x="309" y="466"/>
                  </a:lnTo>
                  <a:lnTo>
                    <a:pt x="309" y="464"/>
                  </a:lnTo>
                  <a:lnTo>
                    <a:pt x="311" y="462"/>
                  </a:lnTo>
                  <a:lnTo>
                    <a:pt x="312" y="460"/>
                  </a:lnTo>
                  <a:lnTo>
                    <a:pt x="314" y="458"/>
                  </a:lnTo>
                  <a:lnTo>
                    <a:pt x="316" y="454"/>
                  </a:lnTo>
                  <a:lnTo>
                    <a:pt x="318" y="452"/>
                  </a:lnTo>
                  <a:lnTo>
                    <a:pt x="322" y="452"/>
                  </a:lnTo>
                  <a:lnTo>
                    <a:pt x="326" y="452"/>
                  </a:lnTo>
                  <a:lnTo>
                    <a:pt x="328" y="451"/>
                  </a:lnTo>
                  <a:lnTo>
                    <a:pt x="332" y="451"/>
                  </a:lnTo>
                  <a:lnTo>
                    <a:pt x="334" y="451"/>
                  </a:lnTo>
                  <a:lnTo>
                    <a:pt x="336" y="451"/>
                  </a:lnTo>
                  <a:lnTo>
                    <a:pt x="339" y="451"/>
                  </a:lnTo>
                  <a:lnTo>
                    <a:pt x="337" y="449"/>
                  </a:lnTo>
                  <a:lnTo>
                    <a:pt x="337" y="445"/>
                  </a:lnTo>
                  <a:lnTo>
                    <a:pt x="337" y="439"/>
                  </a:lnTo>
                  <a:lnTo>
                    <a:pt x="337" y="435"/>
                  </a:lnTo>
                  <a:lnTo>
                    <a:pt x="337" y="431"/>
                  </a:lnTo>
                  <a:lnTo>
                    <a:pt x="336" y="431"/>
                  </a:lnTo>
                  <a:lnTo>
                    <a:pt x="336" y="428"/>
                  </a:lnTo>
                  <a:lnTo>
                    <a:pt x="334" y="426"/>
                  </a:lnTo>
                  <a:lnTo>
                    <a:pt x="332" y="426"/>
                  </a:lnTo>
                  <a:lnTo>
                    <a:pt x="332" y="422"/>
                  </a:lnTo>
                  <a:lnTo>
                    <a:pt x="328" y="422"/>
                  </a:lnTo>
                  <a:lnTo>
                    <a:pt x="324" y="422"/>
                  </a:lnTo>
                  <a:lnTo>
                    <a:pt x="324" y="414"/>
                  </a:lnTo>
                  <a:lnTo>
                    <a:pt x="322" y="412"/>
                  </a:lnTo>
                  <a:lnTo>
                    <a:pt x="320" y="412"/>
                  </a:lnTo>
                  <a:lnTo>
                    <a:pt x="316" y="412"/>
                  </a:lnTo>
                  <a:lnTo>
                    <a:pt x="316" y="408"/>
                  </a:lnTo>
                  <a:lnTo>
                    <a:pt x="314" y="406"/>
                  </a:lnTo>
                  <a:lnTo>
                    <a:pt x="312" y="405"/>
                  </a:lnTo>
                  <a:lnTo>
                    <a:pt x="311" y="405"/>
                  </a:lnTo>
                  <a:lnTo>
                    <a:pt x="309" y="403"/>
                  </a:lnTo>
                  <a:lnTo>
                    <a:pt x="307" y="403"/>
                  </a:lnTo>
                  <a:lnTo>
                    <a:pt x="305" y="399"/>
                  </a:lnTo>
                  <a:lnTo>
                    <a:pt x="305" y="395"/>
                  </a:lnTo>
                  <a:lnTo>
                    <a:pt x="305" y="393"/>
                  </a:lnTo>
                  <a:lnTo>
                    <a:pt x="305" y="391"/>
                  </a:lnTo>
                  <a:lnTo>
                    <a:pt x="307" y="389"/>
                  </a:lnTo>
                  <a:lnTo>
                    <a:pt x="307" y="385"/>
                  </a:lnTo>
                  <a:lnTo>
                    <a:pt x="307" y="383"/>
                  </a:lnTo>
                  <a:lnTo>
                    <a:pt x="311" y="381"/>
                  </a:lnTo>
                  <a:lnTo>
                    <a:pt x="311" y="378"/>
                  </a:lnTo>
                  <a:lnTo>
                    <a:pt x="312" y="376"/>
                  </a:lnTo>
                  <a:lnTo>
                    <a:pt x="312" y="372"/>
                  </a:lnTo>
                  <a:lnTo>
                    <a:pt x="312" y="370"/>
                  </a:lnTo>
                  <a:lnTo>
                    <a:pt x="312" y="366"/>
                  </a:lnTo>
                  <a:lnTo>
                    <a:pt x="312" y="364"/>
                  </a:lnTo>
                  <a:lnTo>
                    <a:pt x="312" y="362"/>
                  </a:lnTo>
                  <a:lnTo>
                    <a:pt x="316" y="362"/>
                  </a:lnTo>
                  <a:lnTo>
                    <a:pt x="318" y="360"/>
                  </a:lnTo>
                  <a:lnTo>
                    <a:pt x="320" y="357"/>
                  </a:lnTo>
                  <a:lnTo>
                    <a:pt x="320" y="353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49"/>
                  </a:lnTo>
                  <a:lnTo>
                    <a:pt x="326" y="347"/>
                  </a:lnTo>
                  <a:lnTo>
                    <a:pt x="328" y="343"/>
                  </a:lnTo>
                  <a:lnTo>
                    <a:pt x="328" y="339"/>
                  </a:lnTo>
                  <a:lnTo>
                    <a:pt x="328" y="335"/>
                  </a:lnTo>
                  <a:lnTo>
                    <a:pt x="328" y="334"/>
                  </a:lnTo>
                  <a:lnTo>
                    <a:pt x="328" y="330"/>
                  </a:lnTo>
                  <a:lnTo>
                    <a:pt x="328" y="326"/>
                  </a:lnTo>
                  <a:lnTo>
                    <a:pt x="328" y="322"/>
                  </a:lnTo>
                  <a:lnTo>
                    <a:pt x="328" y="318"/>
                  </a:lnTo>
                  <a:lnTo>
                    <a:pt x="328" y="316"/>
                  </a:lnTo>
                  <a:lnTo>
                    <a:pt x="328" y="312"/>
                  </a:lnTo>
                  <a:lnTo>
                    <a:pt x="332" y="312"/>
                  </a:lnTo>
                  <a:lnTo>
                    <a:pt x="334" y="310"/>
                  </a:lnTo>
                  <a:lnTo>
                    <a:pt x="334" y="309"/>
                  </a:lnTo>
                  <a:lnTo>
                    <a:pt x="337" y="309"/>
                  </a:lnTo>
                  <a:lnTo>
                    <a:pt x="339" y="305"/>
                  </a:lnTo>
                  <a:lnTo>
                    <a:pt x="339" y="303"/>
                  </a:lnTo>
                  <a:lnTo>
                    <a:pt x="341" y="301"/>
                  </a:lnTo>
                  <a:lnTo>
                    <a:pt x="343" y="299"/>
                  </a:lnTo>
                  <a:lnTo>
                    <a:pt x="347" y="297"/>
                  </a:lnTo>
                  <a:lnTo>
                    <a:pt x="349" y="293"/>
                  </a:lnTo>
                  <a:lnTo>
                    <a:pt x="351" y="291"/>
                  </a:lnTo>
                  <a:lnTo>
                    <a:pt x="351" y="287"/>
                  </a:lnTo>
                  <a:lnTo>
                    <a:pt x="351" y="286"/>
                  </a:lnTo>
                  <a:lnTo>
                    <a:pt x="351" y="282"/>
                  </a:lnTo>
                  <a:lnTo>
                    <a:pt x="355" y="282"/>
                  </a:lnTo>
                  <a:lnTo>
                    <a:pt x="359" y="282"/>
                  </a:lnTo>
                  <a:lnTo>
                    <a:pt x="362" y="282"/>
                  </a:lnTo>
                  <a:lnTo>
                    <a:pt x="366" y="282"/>
                  </a:lnTo>
                  <a:lnTo>
                    <a:pt x="370" y="280"/>
                  </a:lnTo>
                  <a:lnTo>
                    <a:pt x="372" y="280"/>
                  </a:lnTo>
                  <a:lnTo>
                    <a:pt x="374" y="280"/>
                  </a:lnTo>
                  <a:lnTo>
                    <a:pt x="376" y="282"/>
                  </a:lnTo>
                  <a:lnTo>
                    <a:pt x="380" y="282"/>
                  </a:lnTo>
                  <a:lnTo>
                    <a:pt x="382" y="284"/>
                  </a:lnTo>
                  <a:lnTo>
                    <a:pt x="383" y="284"/>
                  </a:lnTo>
                  <a:lnTo>
                    <a:pt x="383" y="286"/>
                  </a:lnTo>
                  <a:lnTo>
                    <a:pt x="387" y="286"/>
                  </a:lnTo>
                  <a:lnTo>
                    <a:pt x="383" y="284"/>
                  </a:lnTo>
                  <a:lnTo>
                    <a:pt x="383" y="282"/>
                  </a:lnTo>
                  <a:lnTo>
                    <a:pt x="383" y="278"/>
                  </a:lnTo>
                  <a:lnTo>
                    <a:pt x="382" y="276"/>
                  </a:lnTo>
                  <a:lnTo>
                    <a:pt x="382" y="274"/>
                  </a:lnTo>
                  <a:lnTo>
                    <a:pt x="382" y="270"/>
                  </a:lnTo>
                  <a:lnTo>
                    <a:pt x="382" y="266"/>
                  </a:lnTo>
                  <a:lnTo>
                    <a:pt x="382" y="263"/>
                  </a:lnTo>
                  <a:lnTo>
                    <a:pt x="382" y="259"/>
                  </a:lnTo>
                  <a:lnTo>
                    <a:pt x="382" y="255"/>
                  </a:lnTo>
                  <a:lnTo>
                    <a:pt x="382" y="253"/>
                  </a:lnTo>
                  <a:lnTo>
                    <a:pt x="382" y="249"/>
                  </a:lnTo>
                  <a:lnTo>
                    <a:pt x="382" y="245"/>
                  </a:lnTo>
                  <a:lnTo>
                    <a:pt x="382" y="243"/>
                  </a:lnTo>
                  <a:lnTo>
                    <a:pt x="383" y="241"/>
                  </a:lnTo>
                  <a:lnTo>
                    <a:pt x="383" y="238"/>
                  </a:lnTo>
                  <a:lnTo>
                    <a:pt x="382" y="236"/>
                  </a:lnTo>
                  <a:lnTo>
                    <a:pt x="382" y="232"/>
                  </a:lnTo>
                  <a:lnTo>
                    <a:pt x="380" y="230"/>
                  </a:lnTo>
                  <a:lnTo>
                    <a:pt x="380" y="226"/>
                  </a:lnTo>
                  <a:lnTo>
                    <a:pt x="380" y="222"/>
                  </a:lnTo>
                  <a:lnTo>
                    <a:pt x="380" y="218"/>
                  </a:lnTo>
                  <a:lnTo>
                    <a:pt x="380" y="215"/>
                  </a:lnTo>
                  <a:lnTo>
                    <a:pt x="380" y="213"/>
                  </a:lnTo>
                  <a:lnTo>
                    <a:pt x="380" y="209"/>
                  </a:lnTo>
                  <a:lnTo>
                    <a:pt x="382" y="205"/>
                  </a:lnTo>
                  <a:lnTo>
                    <a:pt x="382" y="201"/>
                  </a:lnTo>
                  <a:lnTo>
                    <a:pt x="382" y="197"/>
                  </a:lnTo>
                  <a:lnTo>
                    <a:pt x="382" y="195"/>
                  </a:lnTo>
                  <a:lnTo>
                    <a:pt x="382" y="192"/>
                  </a:lnTo>
                  <a:lnTo>
                    <a:pt x="382" y="188"/>
                  </a:lnTo>
                  <a:lnTo>
                    <a:pt x="382" y="184"/>
                  </a:lnTo>
                  <a:lnTo>
                    <a:pt x="382" y="180"/>
                  </a:lnTo>
                  <a:lnTo>
                    <a:pt x="383" y="176"/>
                  </a:lnTo>
                  <a:lnTo>
                    <a:pt x="383" y="174"/>
                  </a:lnTo>
                  <a:lnTo>
                    <a:pt x="383" y="170"/>
                  </a:lnTo>
                  <a:lnTo>
                    <a:pt x="383" y="167"/>
                  </a:lnTo>
                  <a:lnTo>
                    <a:pt x="383" y="163"/>
                  </a:lnTo>
                  <a:lnTo>
                    <a:pt x="383" y="159"/>
                  </a:lnTo>
                  <a:lnTo>
                    <a:pt x="383" y="157"/>
                  </a:lnTo>
                  <a:lnTo>
                    <a:pt x="383" y="153"/>
                  </a:lnTo>
                  <a:lnTo>
                    <a:pt x="383" y="149"/>
                  </a:lnTo>
                  <a:lnTo>
                    <a:pt x="382" y="1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7" name="Freeform 54"/>
            <p:cNvSpPr>
              <a:spLocks/>
            </p:cNvSpPr>
            <p:nvPr/>
          </p:nvSpPr>
          <p:spPr bwMode="auto">
            <a:xfrm>
              <a:off x="1661" y="1465"/>
              <a:ext cx="387" cy="577"/>
            </a:xfrm>
            <a:custGeom>
              <a:avLst/>
              <a:gdLst/>
              <a:ahLst/>
              <a:cxnLst>
                <a:cxn ang="0">
                  <a:pos x="359" y="136"/>
                </a:cxn>
                <a:cxn ang="0">
                  <a:pos x="339" y="119"/>
                </a:cxn>
                <a:cxn ang="0">
                  <a:pos x="314" y="105"/>
                </a:cxn>
                <a:cxn ang="0">
                  <a:pos x="282" y="90"/>
                </a:cxn>
                <a:cxn ang="0">
                  <a:pos x="253" y="71"/>
                </a:cxn>
                <a:cxn ang="0">
                  <a:pos x="218" y="53"/>
                </a:cxn>
                <a:cxn ang="0">
                  <a:pos x="186" y="40"/>
                </a:cxn>
                <a:cxn ang="0">
                  <a:pos x="171" y="28"/>
                </a:cxn>
                <a:cxn ang="0">
                  <a:pos x="149" y="11"/>
                </a:cxn>
                <a:cxn ang="0">
                  <a:pos x="115" y="3"/>
                </a:cxn>
                <a:cxn ang="0">
                  <a:pos x="88" y="7"/>
                </a:cxn>
                <a:cxn ang="0">
                  <a:pos x="57" y="21"/>
                </a:cxn>
                <a:cxn ang="0">
                  <a:pos x="61" y="50"/>
                </a:cxn>
                <a:cxn ang="0">
                  <a:pos x="80" y="78"/>
                </a:cxn>
                <a:cxn ang="0">
                  <a:pos x="82" y="107"/>
                </a:cxn>
                <a:cxn ang="0">
                  <a:pos x="73" y="134"/>
                </a:cxn>
                <a:cxn ang="0">
                  <a:pos x="69" y="157"/>
                </a:cxn>
                <a:cxn ang="0">
                  <a:pos x="73" y="186"/>
                </a:cxn>
                <a:cxn ang="0">
                  <a:pos x="75" y="215"/>
                </a:cxn>
                <a:cxn ang="0">
                  <a:pos x="73" y="243"/>
                </a:cxn>
                <a:cxn ang="0">
                  <a:pos x="52" y="263"/>
                </a:cxn>
                <a:cxn ang="0">
                  <a:pos x="30" y="282"/>
                </a:cxn>
                <a:cxn ang="0">
                  <a:pos x="11" y="312"/>
                </a:cxn>
                <a:cxn ang="0">
                  <a:pos x="2" y="334"/>
                </a:cxn>
                <a:cxn ang="0">
                  <a:pos x="5" y="362"/>
                </a:cxn>
                <a:cxn ang="0">
                  <a:pos x="17" y="378"/>
                </a:cxn>
                <a:cxn ang="0">
                  <a:pos x="36" y="399"/>
                </a:cxn>
                <a:cxn ang="0">
                  <a:pos x="57" y="412"/>
                </a:cxn>
                <a:cxn ang="0">
                  <a:pos x="73" y="441"/>
                </a:cxn>
                <a:cxn ang="0">
                  <a:pos x="75" y="468"/>
                </a:cxn>
                <a:cxn ang="0">
                  <a:pos x="86" y="485"/>
                </a:cxn>
                <a:cxn ang="0">
                  <a:pos x="63" y="497"/>
                </a:cxn>
                <a:cxn ang="0">
                  <a:pos x="36" y="508"/>
                </a:cxn>
                <a:cxn ang="0">
                  <a:pos x="42" y="529"/>
                </a:cxn>
                <a:cxn ang="0">
                  <a:pos x="65" y="550"/>
                </a:cxn>
                <a:cxn ang="0">
                  <a:pos x="82" y="568"/>
                </a:cxn>
                <a:cxn ang="0">
                  <a:pos x="101" y="575"/>
                </a:cxn>
                <a:cxn ang="0">
                  <a:pos x="136" y="575"/>
                </a:cxn>
                <a:cxn ang="0">
                  <a:pos x="157" y="568"/>
                </a:cxn>
                <a:cxn ang="0">
                  <a:pos x="188" y="568"/>
                </a:cxn>
                <a:cxn ang="0">
                  <a:pos x="199" y="550"/>
                </a:cxn>
                <a:cxn ang="0">
                  <a:pos x="215" y="531"/>
                </a:cxn>
                <a:cxn ang="0">
                  <a:pos x="243" y="522"/>
                </a:cxn>
                <a:cxn ang="0">
                  <a:pos x="265" y="508"/>
                </a:cxn>
                <a:cxn ang="0">
                  <a:pos x="280" y="493"/>
                </a:cxn>
                <a:cxn ang="0">
                  <a:pos x="303" y="474"/>
                </a:cxn>
                <a:cxn ang="0">
                  <a:pos x="316" y="454"/>
                </a:cxn>
                <a:cxn ang="0">
                  <a:pos x="337" y="449"/>
                </a:cxn>
                <a:cxn ang="0">
                  <a:pos x="332" y="422"/>
                </a:cxn>
                <a:cxn ang="0">
                  <a:pos x="312" y="405"/>
                </a:cxn>
                <a:cxn ang="0">
                  <a:pos x="307" y="385"/>
                </a:cxn>
                <a:cxn ang="0">
                  <a:pos x="312" y="362"/>
                </a:cxn>
                <a:cxn ang="0">
                  <a:pos x="328" y="343"/>
                </a:cxn>
                <a:cxn ang="0">
                  <a:pos x="328" y="312"/>
                </a:cxn>
                <a:cxn ang="0">
                  <a:pos x="347" y="297"/>
                </a:cxn>
                <a:cxn ang="0">
                  <a:pos x="366" y="282"/>
                </a:cxn>
                <a:cxn ang="0">
                  <a:pos x="387" y="286"/>
                </a:cxn>
                <a:cxn ang="0">
                  <a:pos x="382" y="259"/>
                </a:cxn>
                <a:cxn ang="0">
                  <a:pos x="382" y="232"/>
                </a:cxn>
                <a:cxn ang="0">
                  <a:pos x="382" y="201"/>
                </a:cxn>
                <a:cxn ang="0">
                  <a:pos x="383" y="170"/>
                </a:cxn>
              </a:cxnLst>
              <a:rect l="0" t="0" r="r" b="b"/>
              <a:pathLst>
                <a:path w="387" h="577">
                  <a:moveTo>
                    <a:pt x="382" y="151"/>
                  </a:moveTo>
                  <a:lnTo>
                    <a:pt x="378" y="147"/>
                  </a:lnTo>
                  <a:lnTo>
                    <a:pt x="372" y="144"/>
                  </a:lnTo>
                  <a:lnTo>
                    <a:pt x="370" y="144"/>
                  </a:lnTo>
                  <a:lnTo>
                    <a:pt x="368" y="140"/>
                  </a:lnTo>
                  <a:lnTo>
                    <a:pt x="364" y="140"/>
                  </a:lnTo>
                  <a:lnTo>
                    <a:pt x="362" y="138"/>
                  </a:lnTo>
                  <a:lnTo>
                    <a:pt x="360" y="136"/>
                  </a:lnTo>
                  <a:lnTo>
                    <a:pt x="359" y="136"/>
                  </a:lnTo>
                  <a:lnTo>
                    <a:pt x="359" y="134"/>
                  </a:lnTo>
                  <a:lnTo>
                    <a:pt x="357" y="132"/>
                  </a:lnTo>
                  <a:lnTo>
                    <a:pt x="355" y="130"/>
                  </a:lnTo>
                  <a:lnTo>
                    <a:pt x="351" y="126"/>
                  </a:lnTo>
                  <a:lnTo>
                    <a:pt x="351" y="124"/>
                  </a:lnTo>
                  <a:lnTo>
                    <a:pt x="349" y="122"/>
                  </a:lnTo>
                  <a:lnTo>
                    <a:pt x="345" y="122"/>
                  </a:lnTo>
                  <a:lnTo>
                    <a:pt x="343" y="119"/>
                  </a:lnTo>
                  <a:lnTo>
                    <a:pt x="339" y="119"/>
                  </a:lnTo>
                  <a:lnTo>
                    <a:pt x="337" y="119"/>
                  </a:lnTo>
                  <a:lnTo>
                    <a:pt x="334" y="117"/>
                  </a:lnTo>
                  <a:lnTo>
                    <a:pt x="332" y="117"/>
                  </a:lnTo>
                  <a:lnTo>
                    <a:pt x="330" y="115"/>
                  </a:lnTo>
                  <a:lnTo>
                    <a:pt x="326" y="111"/>
                  </a:lnTo>
                  <a:lnTo>
                    <a:pt x="322" y="111"/>
                  </a:lnTo>
                  <a:lnTo>
                    <a:pt x="320" y="109"/>
                  </a:lnTo>
                  <a:lnTo>
                    <a:pt x="318" y="107"/>
                  </a:lnTo>
                  <a:lnTo>
                    <a:pt x="314" y="105"/>
                  </a:lnTo>
                  <a:lnTo>
                    <a:pt x="312" y="103"/>
                  </a:lnTo>
                  <a:lnTo>
                    <a:pt x="309" y="103"/>
                  </a:lnTo>
                  <a:lnTo>
                    <a:pt x="305" y="99"/>
                  </a:lnTo>
                  <a:lnTo>
                    <a:pt x="301" y="99"/>
                  </a:lnTo>
                  <a:lnTo>
                    <a:pt x="297" y="97"/>
                  </a:lnTo>
                  <a:lnTo>
                    <a:pt x="293" y="97"/>
                  </a:lnTo>
                  <a:lnTo>
                    <a:pt x="291" y="96"/>
                  </a:lnTo>
                  <a:lnTo>
                    <a:pt x="288" y="94"/>
                  </a:lnTo>
                  <a:lnTo>
                    <a:pt x="282" y="90"/>
                  </a:lnTo>
                  <a:lnTo>
                    <a:pt x="278" y="88"/>
                  </a:lnTo>
                  <a:lnTo>
                    <a:pt x="274" y="86"/>
                  </a:lnTo>
                  <a:lnTo>
                    <a:pt x="272" y="84"/>
                  </a:lnTo>
                  <a:lnTo>
                    <a:pt x="268" y="84"/>
                  </a:lnTo>
                  <a:lnTo>
                    <a:pt x="266" y="82"/>
                  </a:lnTo>
                  <a:lnTo>
                    <a:pt x="263" y="78"/>
                  </a:lnTo>
                  <a:lnTo>
                    <a:pt x="259" y="78"/>
                  </a:lnTo>
                  <a:lnTo>
                    <a:pt x="255" y="74"/>
                  </a:lnTo>
                  <a:lnTo>
                    <a:pt x="253" y="71"/>
                  </a:lnTo>
                  <a:lnTo>
                    <a:pt x="251" y="69"/>
                  </a:lnTo>
                  <a:lnTo>
                    <a:pt x="245" y="65"/>
                  </a:lnTo>
                  <a:lnTo>
                    <a:pt x="240" y="61"/>
                  </a:lnTo>
                  <a:lnTo>
                    <a:pt x="236" y="61"/>
                  </a:lnTo>
                  <a:lnTo>
                    <a:pt x="234" y="57"/>
                  </a:lnTo>
                  <a:lnTo>
                    <a:pt x="230" y="55"/>
                  </a:lnTo>
                  <a:lnTo>
                    <a:pt x="226" y="53"/>
                  </a:lnTo>
                  <a:lnTo>
                    <a:pt x="224" y="53"/>
                  </a:lnTo>
                  <a:lnTo>
                    <a:pt x="218" y="53"/>
                  </a:lnTo>
                  <a:lnTo>
                    <a:pt x="215" y="51"/>
                  </a:lnTo>
                  <a:lnTo>
                    <a:pt x="213" y="50"/>
                  </a:lnTo>
                  <a:lnTo>
                    <a:pt x="209" y="50"/>
                  </a:lnTo>
                  <a:lnTo>
                    <a:pt x="203" y="48"/>
                  </a:lnTo>
                  <a:lnTo>
                    <a:pt x="197" y="44"/>
                  </a:lnTo>
                  <a:lnTo>
                    <a:pt x="194" y="42"/>
                  </a:lnTo>
                  <a:lnTo>
                    <a:pt x="192" y="42"/>
                  </a:lnTo>
                  <a:lnTo>
                    <a:pt x="188" y="42"/>
                  </a:lnTo>
                  <a:lnTo>
                    <a:pt x="186" y="40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78" y="34"/>
                  </a:lnTo>
                  <a:lnTo>
                    <a:pt x="174" y="34"/>
                  </a:lnTo>
                  <a:lnTo>
                    <a:pt x="174" y="32"/>
                  </a:lnTo>
                  <a:lnTo>
                    <a:pt x="174" y="30"/>
                  </a:lnTo>
                  <a:lnTo>
                    <a:pt x="171" y="28"/>
                  </a:lnTo>
                  <a:lnTo>
                    <a:pt x="169" y="28"/>
                  </a:lnTo>
                  <a:lnTo>
                    <a:pt x="167" y="26"/>
                  </a:lnTo>
                  <a:lnTo>
                    <a:pt x="165" y="25"/>
                  </a:lnTo>
                  <a:lnTo>
                    <a:pt x="163" y="23"/>
                  </a:lnTo>
                  <a:lnTo>
                    <a:pt x="161" y="19"/>
                  </a:lnTo>
                  <a:lnTo>
                    <a:pt x="157" y="17"/>
                  </a:lnTo>
                  <a:lnTo>
                    <a:pt x="155" y="15"/>
                  </a:lnTo>
                  <a:lnTo>
                    <a:pt x="153" y="13"/>
                  </a:lnTo>
                  <a:lnTo>
                    <a:pt x="149" y="11"/>
                  </a:lnTo>
                  <a:lnTo>
                    <a:pt x="146" y="11"/>
                  </a:lnTo>
                  <a:lnTo>
                    <a:pt x="142" y="9"/>
                  </a:lnTo>
                  <a:lnTo>
                    <a:pt x="138" y="7"/>
                  </a:lnTo>
                  <a:lnTo>
                    <a:pt x="128" y="7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19" y="5"/>
                  </a:lnTo>
                  <a:lnTo>
                    <a:pt x="119" y="3"/>
                  </a:lnTo>
                  <a:lnTo>
                    <a:pt x="115" y="3"/>
                  </a:lnTo>
                  <a:lnTo>
                    <a:pt x="115" y="2"/>
                  </a:lnTo>
                  <a:lnTo>
                    <a:pt x="113" y="2"/>
                  </a:lnTo>
                  <a:lnTo>
                    <a:pt x="111" y="0"/>
                  </a:lnTo>
                  <a:lnTo>
                    <a:pt x="105" y="0"/>
                  </a:lnTo>
                  <a:lnTo>
                    <a:pt x="101" y="0"/>
                  </a:lnTo>
                  <a:lnTo>
                    <a:pt x="96" y="2"/>
                  </a:lnTo>
                  <a:lnTo>
                    <a:pt x="94" y="3"/>
                  </a:lnTo>
                  <a:lnTo>
                    <a:pt x="92" y="5"/>
                  </a:lnTo>
                  <a:lnTo>
                    <a:pt x="88" y="7"/>
                  </a:lnTo>
                  <a:lnTo>
                    <a:pt x="84" y="11"/>
                  </a:lnTo>
                  <a:lnTo>
                    <a:pt x="80" y="13"/>
                  </a:lnTo>
                  <a:lnTo>
                    <a:pt x="76" y="15"/>
                  </a:lnTo>
                  <a:lnTo>
                    <a:pt x="75" y="15"/>
                  </a:lnTo>
                  <a:lnTo>
                    <a:pt x="71" y="19"/>
                  </a:lnTo>
                  <a:lnTo>
                    <a:pt x="67" y="19"/>
                  </a:lnTo>
                  <a:lnTo>
                    <a:pt x="63" y="19"/>
                  </a:lnTo>
                  <a:lnTo>
                    <a:pt x="61" y="21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1" y="28"/>
                  </a:lnTo>
                  <a:lnTo>
                    <a:pt x="61" y="32"/>
                  </a:lnTo>
                  <a:lnTo>
                    <a:pt x="61" y="36"/>
                  </a:lnTo>
                  <a:lnTo>
                    <a:pt x="61" y="38"/>
                  </a:lnTo>
                  <a:lnTo>
                    <a:pt x="61" y="42"/>
                  </a:lnTo>
                  <a:lnTo>
                    <a:pt x="61" y="46"/>
                  </a:lnTo>
                  <a:lnTo>
                    <a:pt x="61" y="50"/>
                  </a:lnTo>
                  <a:lnTo>
                    <a:pt x="61" y="53"/>
                  </a:lnTo>
                  <a:lnTo>
                    <a:pt x="63" y="57"/>
                  </a:lnTo>
                  <a:lnTo>
                    <a:pt x="63" y="59"/>
                  </a:lnTo>
                  <a:lnTo>
                    <a:pt x="63" y="61"/>
                  </a:lnTo>
                  <a:lnTo>
                    <a:pt x="67" y="67"/>
                  </a:lnTo>
                  <a:lnTo>
                    <a:pt x="69" y="71"/>
                  </a:lnTo>
                  <a:lnTo>
                    <a:pt x="75" y="74"/>
                  </a:lnTo>
                  <a:lnTo>
                    <a:pt x="76" y="76"/>
                  </a:lnTo>
                  <a:lnTo>
                    <a:pt x="80" y="78"/>
                  </a:lnTo>
                  <a:lnTo>
                    <a:pt x="80" y="84"/>
                  </a:lnTo>
                  <a:lnTo>
                    <a:pt x="82" y="86"/>
                  </a:lnTo>
                  <a:lnTo>
                    <a:pt x="82" y="90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97"/>
                  </a:lnTo>
                  <a:lnTo>
                    <a:pt x="84" y="101"/>
                  </a:lnTo>
                  <a:lnTo>
                    <a:pt x="82" y="105"/>
                  </a:lnTo>
                  <a:lnTo>
                    <a:pt x="82" y="107"/>
                  </a:lnTo>
                  <a:lnTo>
                    <a:pt x="82" y="111"/>
                  </a:lnTo>
                  <a:lnTo>
                    <a:pt x="84" y="115"/>
                  </a:lnTo>
                  <a:lnTo>
                    <a:pt x="84" y="117"/>
                  </a:lnTo>
                  <a:lnTo>
                    <a:pt x="84" y="119"/>
                  </a:lnTo>
                  <a:lnTo>
                    <a:pt x="82" y="122"/>
                  </a:lnTo>
                  <a:lnTo>
                    <a:pt x="78" y="126"/>
                  </a:lnTo>
                  <a:lnTo>
                    <a:pt x="75" y="130"/>
                  </a:lnTo>
                  <a:lnTo>
                    <a:pt x="73" y="132"/>
                  </a:lnTo>
                  <a:lnTo>
                    <a:pt x="73" y="134"/>
                  </a:lnTo>
                  <a:lnTo>
                    <a:pt x="69" y="136"/>
                  </a:lnTo>
                  <a:lnTo>
                    <a:pt x="67" y="136"/>
                  </a:lnTo>
                  <a:lnTo>
                    <a:pt x="67" y="140"/>
                  </a:lnTo>
                  <a:lnTo>
                    <a:pt x="67" y="144"/>
                  </a:lnTo>
                  <a:lnTo>
                    <a:pt x="67" y="147"/>
                  </a:lnTo>
                  <a:lnTo>
                    <a:pt x="67" y="151"/>
                  </a:lnTo>
                  <a:lnTo>
                    <a:pt x="69" y="153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71" y="159"/>
                  </a:lnTo>
                  <a:lnTo>
                    <a:pt x="71" y="163"/>
                  </a:lnTo>
                  <a:lnTo>
                    <a:pt x="71" y="167"/>
                  </a:lnTo>
                  <a:lnTo>
                    <a:pt x="71" y="170"/>
                  </a:lnTo>
                  <a:lnTo>
                    <a:pt x="73" y="172"/>
                  </a:lnTo>
                  <a:lnTo>
                    <a:pt x="73" y="176"/>
                  </a:lnTo>
                  <a:lnTo>
                    <a:pt x="73" y="178"/>
                  </a:lnTo>
                  <a:lnTo>
                    <a:pt x="73" y="182"/>
                  </a:lnTo>
                  <a:lnTo>
                    <a:pt x="73" y="186"/>
                  </a:lnTo>
                  <a:lnTo>
                    <a:pt x="73" y="188"/>
                  </a:lnTo>
                  <a:lnTo>
                    <a:pt x="75" y="190"/>
                  </a:lnTo>
                  <a:lnTo>
                    <a:pt x="75" y="193"/>
                  </a:lnTo>
                  <a:lnTo>
                    <a:pt x="75" y="195"/>
                  </a:lnTo>
                  <a:lnTo>
                    <a:pt x="75" y="197"/>
                  </a:lnTo>
                  <a:lnTo>
                    <a:pt x="75" y="201"/>
                  </a:lnTo>
                  <a:lnTo>
                    <a:pt x="75" y="205"/>
                  </a:lnTo>
                  <a:lnTo>
                    <a:pt x="75" y="211"/>
                  </a:lnTo>
                  <a:lnTo>
                    <a:pt x="75" y="215"/>
                  </a:lnTo>
                  <a:lnTo>
                    <a:pt x="75" y="218"/>
                  </a:lnTo>
                  <a:lnTo>
                    <a:pt x="75" y="222"/>
                  </a:lnTo>
                  <a:lnTo>
                    <a:pt x="75" y="226"/>
                  </a:lnTo>
                  <a:lnTo>
                    <a:pt x="75" y="230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5" y="238"/>
                  </a:lnTo>
                  <a:lnTo>
                    <a:pt x="75" y="239"/>
                  </a:lnTo>
                  <a:lnTo>
                    <a:pt x="73" y="243"/>
                  </a:lnTo>
                  <a:lnTo>
                    <a:pt x="69" y="245"/>
                  </a:lnTo>
                  <a:lnTo>
                    <a:pt x="69" y="249"/>
                  </a:lnTo>
                  <a:lnTo>
                    <a:pt x="65" y="251"/>
                  </a:lnTo>
                  <a:lnTo>
                    <a:pt x="65" y="253"/>
                  </a:lnTo>
                  <a:lnTo>
                    <a:pt x="63" y="255"/>
                  </a:lnTo>
                  <a:lnTo>
                    <a:pt x="61" y="255"/>
                  </a:lnTo>
                  <a:lnTo>
                    <a:pt x="57" y="257"/>
                  </a:lnTo>
                  <a:lnTo>
                    <a:pt x="55" y="259"/>
                  </a:lnTo>
                  <a:lnTo>
                    <a:pt x="52" y="263"/>
                  </a:lnTo>
                  <a:lnTo>
                    <a:pt x="50" y="263"/>
                  </a:lnTo>
                  <a:lnTo>
                    <a:pt x="48" y="264"/>
                  </a:lnTo>
                  <a:lnTo>
                    <a:pt x="44" y="268"/>
                  </a:lnTo>
                  <a:lnTo>
                    <a:pt x="42" y="272"/>
                  </a:lnTo>
                  <a:lnTo>
                    <a:pt x="38" y="274"/>
                  </a:lnTo>
                  <a:lnTo>
                    <a:pt x="36" y="276"/>
                  </a:lnTo>
                  <a:lnTo>
                    <a:pt x="36" y="278"/>
                  </a:lnTo>
                  <a:lnTo>
                    <a:pt x="34" y="280"/>
                  </a:lnTo>
                  <a:lnTo>
                    <a:pt x="30" y="282"/>
                  </a:lnTo>
                  <a:lnTo>
                    <a:pt x="27" y="286"/>
                  </a:lnTo>
                  <a:lnTo>
                    <a:pt x="25" y="289"/>
                  </a:lnTo>
                  <a:lnTo>
                    <a:pt x="23" y="291"/>
                  </a:lnTo>
                  <a:lnTo>
                    <a:pt x="21" y="295"/>
                  </a:lnTo>
                  <a:lnTo>
                    <a:pt x="17" y="299"/>
                  </a:lnTo>
                  <a:lnTo>
                    <a:pt x="17" y="303"/>
                  </a:lnTo>
                  <a:lnTo>
                    <a:pt x="17" y="305"/>
                  </a:lnTo>
                  <a:lnTo>
                    <a:pt x="13" y="309"/>
                  </a:lnTo>
                  <a:lnTo>
                    <a:pt x="11" y="312"/>
                  </a:lnTo>
                  <a:lnTo>
                    <a:pt x="9" y="314"/>
                  </a:lnTo>
                  <a:lnTo>
                    <a:pt x="7" y="318"/>
                  </a:lnTo>
                  <a:lnTo>
                    <a:pt x="7" y="322"/>
                  </a:lnTo>
                  <a:lnTo>
                    <a:pt x="5" y="324"/>
                  </a:lnTo>
                  <a:lnTo>
                    <a:pt x="5" y="326"/>
                  </a:lnTo>
                  <a:lnTo>
                    <a:pt x="4" y="326"/>
                  </a:lnTo>
                  <a:lnTo>
                    <a:pt x="4" y="330"/>
                  </a:lnTo>
                  <a:lnTo>
                    <a:pt x="2" y="330"/>
                  </a:lnTo>
                  <a:lnTo>
                    <a:pt x="2" y="334"/>
                  </a:lnTo>
                  <a:lnTo>
                    <a:pt x="0" y="335"/>
                  </a:lnTo>
                  <a:lnTo>
                    <a:pt x="0" y="339"/>
                  </a:lnTo>
                  <a:lnTo>
                    <a:pt x="0" y="343"/>
                  </a:lnTo>
                  <a:lnTo>
                    <a:pt x="0" y="347"/>
                  </a:lnTo>
                  <a:lnTo>
                    <a:pt x="0" y="351"/>
                  </a:lnTo>
                  <a:lnTo>
                    <a:pt x="0" y="353"/>
                  </a:lnTo>
                  <a:lnTo>
                    <a:pt x="2" y="357"/>
                  </a:lnTo>
                  <a:lnTo>
                    <a:pt x="4" y="360"/>
                  </a:lnTo>
                  <a:lnTo>
                    <a:pt x="5" y="362"/>
                  </a:lnTo>
                  <a:lnTo>
                    <a:pt x="5" y="366"/>
                  </a:lnTo>
                  <a:lnTo>
                    <a:pt x="5" y="368"/>
                  </a:lnTo>
                  <a:lnTo>
                    <a:pt x="5" y="372"/>
                  </a:lnTo>
                  <a:lnTo>
                    <a:pt x="7" y="372"/>
                  </a:lnTo>
                  <a:lnTo>
                    <a:pt x="7" y="376"/>
                  </a:lnTo>
                  <a:lnTo>
                    <a:pt x="11" y="376"/>
                  </a:lnTo>
                  <a:lnTo>
                    <a:pt x="13" y="376"/>
                  </a:lnTo>
                  <a:lnTo>
                    <a:pt x="17" y="376"/>
                  </a:lnTo>
                  <a:lnTo>
                    <a:pt x="17" y="378"/>
                  </a:lnTo>
                  <a:lnTo>
                    <a:pt x="19" y="378"/>
                  </a:lnTo>
                  <a:lnTo>
                    <a:pt x="21" y="381"/>
                  </a:lnTo>
                  <a:lnTo>
                    <a:pt x="25" y="381"/>
                  </a:lnTo>
                  <a:lnTo>
                    <a:pt x="27" y="383"/>
                  </a:lnTo>
                  <a:lnTo>
                    <a:pt x="32" y="389"/>
                  </a:lnTo>
                  <a:lnTo>
                    <a:pt x="36" y="391"/>
                  </a:lnTo>
                  <a:lnTo>
                    <a:pt x="36" y="395"/>
                  </a:lnTo>
                  <a:lnTo>
                    <a:pt x="36" y="397"/>
                  </a:lnTo>
                  <a:lnTo>
                    <a:pt x="36" y="399"/>
                  </a:lnTo>
                  <a:lnTo>
                    <a:pt x="38" y="401"/>
                  </a:lnTo>
                  <a:lnTo>
                    <a:pt x="38" y="403"/>
                  </a:lnTo>
                  <a:lnTo>
                    <a:pt x="40" y="405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50" y="406"/>
                  </a:lnTo>
                  <a:lnTo>
                    <a:pt x="52" y="410"/>
                  </a:lnTo>
                  <a:lnTo>
                    <a:pt x="55" y="412"/>
                  </a:lnTo>
                  <a:lnTo>
                    <a:pt x="57" y="412"/>
                  </a:lnTo>
                  <a:lnTo>
                    <a:pt x="59" y="412"/>
                  </a:lnTo>
                  <a:lnTo>
                    <a:pt x="61" y="414"/>
                  </a:lnTo>
                  <a:lnTo>
                    <a:pt x="67" y="420"/>
                  </a:lnTo>
                  <a:lnTo>
                    <a:pt x="73" y="426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5" y="435"/>
                  </a:lnTo>
                  <a:lnTo>
                    <a:pt x="75" y="439"/>
                  </a:lnTo>
                  <a:lnTo>
                    <a:pt x="73" y="441"/>
                  </a:lnTo>
                  <a:lnTo>
                    <a:pt x="73" y="445"/>
                  </a:lnTo>
                  <a:lnTo>
                    <a:pt x="73" y="449"/>
                  </a:lnTo>
                  <a:lnTo>
                    <a:pt x="73" y="451"/>
                  </a:lnTo>
                  <a:lnTo>
                    <a:pt x="73" y="454"/>
                  </a:lnTo>
                  <a:lnTo>
                    <a:pt x="73" y="458"/>
                  </a:lnTo>
                  <a:lnTo>
                    <a:pt x="73" y="460"/>
                  </a:lnTo>
                  <a:lnTo>
                    <a:pt x="73" y="462"/>
                  </a:lnTo>
                  <a:lnTo>
                    <a:pt x="75" y="466"/>
                  </a:lnTo>
                  <a:lnTo>
                    <a:pt x="75" y="468"/>
                  </a:lnTo>
                  <a:lnTo>
                    <a:pt x="75" y="470"/>
                  </a:lnTo>
                  <a:lnTo>
                    <a:pt x="76" y="472"/>
                  </a:lnTo>
                  <a:lnTo>
                    <a:pt x="76" y="474"/>
                  </a:lnTo>
                  <a:lnTo>
                    <a:pt x="78" y="477"/>
                  </a:lnTo>
                  <a:lnTo>
                    <a:pt x="78" y="479"/>
                  </a:lnTo>
                  <a:lnTo>
                    <a:pt x="82" y="481"/>
                  </a:lnTo>
                  <a:lnTo>
                    <a:pt x="82" y="483"/>
                  </a:lnTo>
                  <a:lnTo>
                    <a:pt x="84" y="485"/>
                  </a:lnTo>
                  <a:lnTo>
                    <a:pt x="86" y="485"/>
                  </a:lnTo>
                  <a:lnTo>
                    <a:pt x="88" y="487"/>
                  </a:lnTo>
                  <a:lnTo>
                    <a:pt x="88" y="491"/>
                  </a:lnTo>
                  <a:lnTo>
                    <a:pt x="84" y="493"/>
                  </a:lnTo>
                  <a:lnTo>
                    <a:pt x="82" y="497"/>
                  </a:lnTo>
                  <a:lnTo>
                    <a:pt x="78" y="497"/>
                  </a:lnTo>
                  <a:lnTo>
                    <a:pt x="75" y="497"/>
                  </a:lnTo>
                  <a:lnTo>
                    <a:pt x="73" y="497"/>
                  </a:lnTo>
                  <a:lnTo>
                    <a:pt x="67" y="497"/>
                  </a:lnTo>
                  <a:lnTo>
                    <a:pt x="63" y="497"/>
                  </a:lnTo>
                  <a:lnTo>
                    <a:pt x="57" y="499"/>
                  </a:lnTo>
                  <a:lnTo>
                    <a:pt x="53" y="499"/>
                  </a:lnTo>
                  <a:lnTo>
                    <a:pt x="48" y="499"/>
                  </a:lnTo>
                  <a:lnTo>
                    <a:pt x="44" y="499"/>
                  </a:lnTo>
                  <a:lnTo>
                    <a:pt x="40" y="497"/>
                  </a:lnTo>
                  <a:lnTo>
                    <a:pt x="38" y="499"/>
                  </a:lnTo>
                  <a:lnTo>
                    <a:pt x="38" y="500"/>
                  </a:lnTo>
                  <a:lnTo>
                    <a:pt x="36" y="502"/>
                  </a:lnTo>
                  <a:lnTo>
                    <a:pt x="36" y="508"/>
                  </a:lnTo>
                  <a:lnTo>
                    <a:pt x="34" y="510"/>
                  </a:lnTo>
                  <a:lnTo>
                    <a:pt x="34" y="512"/>
                  </a:lnTo>
                  <a:lnTo>
                    <a:pt x="34" y="516"/>
                  </a:lnTo>
                  <a:lnTo>
                    <a:pt x="32" y="520"/>
                  </a:lnTo>
                  <a:lnTo>
                    <a:pt x="32" y="523"/>
                  </a:lnTo>
                  <a:lnTo>
                    <a:pt x="34" y="525"/>
                  </a:lnTo>
                  <a:lnTo>
                    <a:pt x="36" y="525"/>
                  </a:lnTo>
                  <a:lnTo>
                    <a:pt x="40" y="527"/>
                  </a:lnTo>
                  <a:lnTo>
                    <a:pt x="42" y="529"/>
                  </a:lnTo>
                  <a:lnTo>
                    <a:pt x="48" y="529"/>
                  </a:lnTo>
                  <a:lnTo>
                    <a:pt x="52" y="531"/>
                  </a:lnTo>
                  <a:lnTo>
                    <a:pt x="53" y="537"/>
                  </a:lnTo>
                  <a:lnTo>
                    <a:pt x="55" y="543"/>
                  </a:lnTo>
                  <a:lnTo>
                    <a:pt x="59" y="543"/>
                  </a:lnTo>
                  <a:lnTo>
                    <a:pt x="59" y="547"/>
                  </a:lnTo>
                  <a:lnTo>
                    <a:pt x="61" y="548"/>
                  </a:lnTo>
                  <a:lnTo>
                    <a:pt x="63" y="548"/>
                  </a:lnTo>
                  <a:lnTo>
                    <a:pt x="65" y="550"/>
                  </a:lnTo>
                  <a:lnTo>
                    <a:pt x="67" y="552"/>
                  </a:lnTo>
                  <a:lnTo>
                    <a:pt x="69" y="554"/>
                  </a:lnTo>
                  <a:lnTo>
                    <a:pt x="73" y="556"/>
                  </a:lnTo>
                  <a:lnTo>
                    <a:pt x="75" y="556"/>
                  </a:lnTo>
                  <a:lnTo>
                    <a:pt x="76" y="558"/>
                  </a:lnTo>
                  <a:lnTo>
                    <a:pt x="80" y="560"/>
                  </a:lnTo>
                  <a:lnTo>
                    <a:pt x="80" y="562"/>
                  </a:lnTo>
                  <a:lnTo>
                    <a:pt x="80" y="566"/>
                  </a:lnTo>
                  <a:lnTo>
                    <a:pt x="82" y="568"/>
                  </a:lnTo>
                  <a:lnTo>
                    <a:pt x="82" y="570"/>
                  </a:lnTo>
                  <a:lnTo>
                    <a:pt x="84" y="571"/>
                  </a:lnTo>
                  <a:lnTo>
                    <a:pt x="84" y="573"/>
                  </a:lnTo>
                  <a:lnTo>
                    <a:pt x="86" y="575"/>
                  </a:lnTo>
                  <a:lnTo>
                    <a:pt x="88" y="577"/>
                  </a:lnTo>
                  <a:lnTo>
                    <a:pt x="92" y="575"/>
                  </a:lnTo>
                  <a:lnTo>
                    <a:pt x="96" y="575"/>
                  </a:lnTo>
                  <a:lnTo>
                    <a:pt x="98" y="575"/>
                  </a:lnTo>
                  <a:lnTo>
                    <a:pt x="101" y="575"/>
                  </a:lnTo>
                  <a:lnTo>
                    <a:pt x="105" y="575"/>
                  </a:lnTo>
                  <a:lnTo>
                    <a:pt x="109" y="575"/>
                  </a:lnTo>
                  <a:lnTo>
                    <a:pt x="115" y="575"/>
                  </a:lnTo>
                  <a:lnTo>
                    <a:pt x="119" y="575"/>
                  </a:lnTo>
                  <a:lnTo>
                    <a:pt x="123" y="575"/>
                  </a:lnTo>
                  <a:lnTo>
                    <a:pt x="126" y="575"/>
                  </a:lnTo>
                  <a:lnTo>
                    <a:pt x="130" y="575"/>
                  </a:lnTo>
                  <a:lnTo>
                    <a:pt x="134" y="575"/>
                  </a:lnTo>
                  <a:lnTo>
                    <a:pt x="136" y="575"/>
                  </a:lnTo>
                  <a:lnTo>
                    <a:pt x="138" y="575"/>
                  </a:lnTo>
                  <a:lnTo>
                    <a:pt x="140" y="573"/>
                  </a:lnTo>
                  <a:lnTo>
                    <a:pt x="144" y="573"/>
                  </a:lnTo>
                  <a:lnTo>
                    <a:pt x="147" y="573"/>
                  </a:lnTo>
                  <a:lnTo>
                    <a:pt x="151" y="571"/>
                  </a:lnTo>
                  <a:lnTo>
                    <a:pt x="151" y="571"/>
                  </a:lnTo>
                  <a:lnTo>
                    <a:pt x="155" y="570"/>
                  </a:lnTo>
                  <a:lnTo>
                    <a:pt x="155" y="570"/>
                  </a:lnTo>
                  <a:lnTo>
                    <a:pt x="157" y="568"/>
                  </a:lnTo>
                  <a:lnTo>
                    <a:pt x="159" y="568"/>
                  </a:lnTo>
                  <a:lnTo>
                    <a:pt x="163" y="568"/>
                  </a:lnTo>
                  <a:lnTo>
                    <a:pt x="167" y="568"/>
                  </a:lnTo>
                  <a:lnTo>
                    <a:pt x="171" y="568"/>
                  </a:lnTo>
                  <a:lnTo>
                    <a:pt x="174" y="568"/>
                  </a:lnTo>
                  <a:lnTo>
                    <a:pt x="176" y="568"/>
                  </a:lnTo>
                  <a:lnTo>
                    <a:pt x="180" y="568"/>
                  </a:lnTo>
                  <a:lnTo>
                    <a:pt x="184" y="568"/>
                  </a:lnTo>
                  <a:lnTo>
                    <a:pt x="188" y="568"/>
                  </a:lnTo>
                  <a:lnTo>
                    <a:pt x="188" y="566"/>
                  </a:lnTo>
                  <a:lnTo>
                    <a:pt x="192" y="566"/>
                  </a:lnTo>
                  <a:lnTo>
                    <a:pt x="192" y="564"/>
                  </a:lnTo>
                  <a:lnTo>
                    <a:pt x="194" y="564"/>
                  </a:lnTo>
                  <a:lnTo>
                    <a:pt x="194" y="558"/>
                  </a:lnTo>
                  <a:lnTo>
                    <a:pt x="195" y="556"/>
                  </a:lnTo>
                  <a:lnTo>
                    <a:pt x="195" y="552"/>
                  </a:lnTo>
                  <a:lnTo>
                    <a:pt x="197" y="550"/>
                  </a:lnTo>
                  <a:lnTo>
                    <a:pt x="199" y="550"/>
                  </a:lnTo>
                  <a:lnTo>
                    <a:pt x="201" y="548"/>
                  </a:lnTo>
                  <a:lnTo>
                    <a:pt x="201" y="547"/>
                  </a:lnTo>
                  <a:lnTo>
                    <a:pt x="203" y="545"/>
                  </a:lnTo>
                  <a:lnTo>
                    <a:pt x="205" y="545"/>
                  </a:lnTo>
                  <a:lnTo>
                    <a:pt x="205" y="541"/>
                  </a:lnTo>
                  <a:lnTo>
                    <a:pt x="207" y="539"/>
                  </a:lnTo>
                  <a:lnTo>
                    <a:pt x="211" y="539"/>
                  </a:lnTo>
                  <a:lnTo>
                    <a:pt x="213" y="535"/>
                  </a:lnTo>
                  <a:lnTo>
                    <a:pt x="215" y="531"/>
                  </a:lnTo>
                  <a:lnTo>
                    <a:pt x="217" y="529"/>
                  </a:lnTo>
                  <a:lnTo>
                    <a:pt x="217" y="527"/>
                  </a:lnTo>
                  <a:lnTo>
                    <a:pt x="222" y="522"/>
                  </a:lnTo>
                  <a:lnTo>
                    <a:pt x="226" y="522"/>
                  </a:lnTo>
                  <a:lnTo>
                    <a:pt x="230" y="522"/>
                  </a:lnTo>
                  <a:lnTo>
                    <a:pt x="234" y="522"/>
                  </a:lnTo>
                  <a:lnTo>
                    <a:pt x="238" y="522"/>
                  </a:lnTo>
                  <a:lnTo>
                    <a:pt x="242" y="522"/>
                  </a:lnTo>
                  <a:lnTo>
                    <a:pt x="243" y="522"/>
                  </a:lnTo>
                  <a:lnTo>
                    <a:pt x="245" y="523"/>
                  </a:lnTo>
                  <a:lnTo>
                    <a:pt x="249" y="523"/>
                  </a:lnTo>
                  <a:lnTo>
                    <a:pt x="253" y="522"/>
                  </a:lnTo>
                  <a:lnTo>
                    <a:pt x="255" y="522"/>
                  </a:lnTo>
                  <a:lnTo>
                    <a:pt x="259" y="520"/>
                  </a:lnTo>
                  <a:lnTo>
                    <a:pt x="261" y="518"/>
                  </a:lnTo>
                  <a:lnTo>
                    <a:pt x="261" y="514"/>
                  </a:lnTo>
                  <a:lnTo>
                    <a:pt x="265" y="510"/>
                  </a:lnTo>
                  <a:lnTo>
                    <a:pt x="265" y="508"/>
                  </a:lnTo>
                  <a:lnTo>
                    <a:pt x="266" y="506"/>
                  </a:lnTo>
                  <a:lnTo>
                    <a:pt x="268" y="504"/>
                  </a:lnTo>
                  <a:lnTo>
                    <a:pt x="270" y="502"/>
                  </a:lnTo>
                  <a:lnTo>
                    <a:pt x="272" y="502"/>
                  </a:lnTo>
                  <a:lnTo>
                    <a:pt x="274" y="500"/>
                  </a:lnTo>
                  <a:lnTo>
                    <a:pt x="276" y="499"/>
                  </a:lnTo>
                  <a:lnTo>
                    <a:pt x="276" y="495"/>
                  </a:lnTo>
                  <a:lnTo>
                    <a:pt x="278" y="495"/>
                  </a:lnTo>
                  <a:lnTo>
                    <a:pt x="280" y="493"/>
                  </a:lnTo>
                  <a:lnTo>
                    <a:pt x="282" y="491"/>
                  </a:lnTo>
                  <a:lnTo>
                    <a:pt x="286" y="489"/>
                  </a:lnTo>
                  <a:lnTo>
                    <a:pt x="288" y="485"/>
                  </a:lnTo>
                  <a:lnTo>
                    <a:pt x="291" y="481"/>
                  </a:lnTo>
                  <a:lnTo>
                    <a:pt x="293" y="479"/>
                  </a:lnTo>
                  <a:lnTo>
                    <a:pt x="297" y="477"/>
                  </a:lnTo>
                  <a:lnTo>
                    <a:pt x="299" y="476"/>
                  </a:lnTo>
                  <a:lnTo>
                    <a:pt x="299" y="474"/>
                  </a:lnTo>
                  <a:lnTo>
                    <a:pt x="303" y="474"/>
                  </a:lnTo>
                  <a:lnTo>
                    <a:pt x="305" y="472"/>
                  </a:lnTo>
                  <a:lnTo>
                    <a:pt x="307" y="470"/>
                  </a:lnTo>
                  <a:lnTo>
                    <a:pt x="307" y="468"/>
                  </a:lnTo>
                  <a:lnTo>
                    <a:pt x="309" y="466"/>
                  </a:lnTo>
                  <a:lnTo>
                    <a:pt x="309" y="464"/>
                  </a:lnTo>
                  <a:lnTo>
                    <a:pt x="311" y="462"/>
                  </a:lnTo>
                  <a:lnTo>
                    <a:pt x="312" y="460"/>
                  </a:lnTo>
                  <a:lnTo>
                    <a:pt x="314" y="458"/>
                  </a:lnTo>
                  <a:lnTo>
                    <a:pt x="316" y="454"/>
                  </a:lnTo>
                  <a:lnTo>
                    <a:pt x="318" y="452"/>
                  </a:lnTo>
                  <a:lnTo>
                    <a:pt x="322" y="452"/>
                  </a:lnTo>
                  <a:lnTo>
                    <a:pt x="326" y="452"/>
                  </a:lnTo>
                  <a:lnTo>
                    <a:pt x="328" y="451"/>
                  </a:lnTo>
                  <a:lnTo>
                    <a:pt x="332" y="451"/>
                  </a:lnTo>
                  <a:lnTo>
                    <a:pt x="334" y="451"/>
                  </a:lnTo>
                  <a:lnTo>
                    <a:pt x="336" y="451"/>
                  </a:lnTo>
                  <a:lnTo>
                    <a:pt x="339" y="451"/>
                  </a:lnTo>
                  <a:lnTo>
                    <a:pt x="337" y="449"/>
                  </a:lnTo>
                  <a:lnTo>
                    <a:pt x="337" y="445"/>
                  </a:lnTo>
                  <a:lnTo>
                    <a:pt x="337" y="439"/>
                  </a:lnTo>
                  <a:lnTo>
                    <a:pt x="337" y="435"/>
                  </a:lnTo>
                  <a:lnTo>
                    <a:pt x="337" y="431"/>
                  </a:lnTo>
                  <a:lnTo>
                    <a:pt x="336" y="431"/>
                  </a:lnTo>
                  <a:lnTo>
                    <a:pt x="336" y="428"/>
                  </a:lnTo>
                  <a:lnTo>
                    <a:pt x="334" y="426"/>
                  </a:lnTo>
                  <a:lnTo>
                    <a:pt x="332" y="426"/>
                  </a:lnTo>
                  <a:lnTo>
                    <a:pt x="332" y="422"/>
                  </a:lnTo>
                  <a:lnTo>
                    <a:pt x="328" y="422"/>
                  </a:lnTo>
                  <a:lnTo>
                    <a:pt x="324" y="422"/>
                  </a:lnTo>
                  <a:lnTo>
                    <a:pt x="324" y="414"/>
                  </a:lnTo>
                  <a:lnTo>
                    <a:pt x="322" y="412"/>
                  </a:lnTo>
                  <a:lnTo>
                    <a:pt x="320" y="412"/>
                  </a:lnTo>
                  <a:lnTo>
                    <a:pt x="316" y="412"/>
                  </a:lnTo>
                  <a:lnTo>
                    <a:pt x="316" y="408"/>
                  </a:lnTo>
                  <a:lnTo>
                    <a:pt x="314" y="406"/>
                  </a:lnTo>
                  <a:lnTo>
                    <a:pt x="312" y="405"/>
                  </a:lnTo>
                  <a:lnTo>
                    <a:pt x="311" y="405"/>
                  </a:lnTo>
                  <a:lnTo>
                    <a:pt x="309" y="403"/>
                  </a:lnTo>
                  <a:lnTo>
                    <a:pt x="307" y="403"/>
                  </a:lnTo>
                  <a:lnTo>
                    <a:pt x="305" y="399"/>
                  </a:lnTo>
                  <a:lnTo>
                    <a:pt x="305" y="395"/>
                  </a:lnTo>
                  <a:lnTo>
                    <a:pt x="305" y="393"/>
                  </a:lnTo>
                  <a:lnTo>
                    <a:pt x="305" y="391"/>
                  </a:lnTo>
                  <a:lnTo>
                    <a:pt x="307" y="389"/>
                  </a:lnTo>
                  <a:lnTo>
                    <a:pt x="307" y="385"/>
                  </a:lnTo>
                  <a:lnTo>
                    <a:pt x="307" y="383"/>
                  </a:lnTo>
                  <a:lnTo>
                    <a:pt x="311" y="381"/>
                  </a:lnTo>
                  <a:lnTo>
                    <a:pt x="311" y="378"/>
                  </a:lnTo>
                  <a:lnTo>
                    <a:pt x="312" y="376"/>
                  </a:lnTo>
                  <a:lnTo>
                    <a:pt x="312" y="372"/>
                  </a:lnTo>
                  <a:lnTo>
                    <a:pt x="312" y="370"/>
                  </a:lnTo>
                  <a:lnTo>
                    <a:pt x="312" y="366"/>
                  </a:lnTo>
                  <a:lnTo>
                    <a:pt x="312" y="364"/>
                  </a:lnTo>
                  <a:lnTo>
                    <a:pt x="312" y="362"/>
                  </a:lnTo>
                  <a:lnTo>
                    <a:pt x="316" y="362"/>
                  </a:lnTo>
                  <a:lnTo>
                    <a:pt x="318" y="360"/>
                  </a:lnTo>
                  <a:lnTo>
                    <a:pt x="320" y="357"/>
                  </a:lnTo>
                  <a:lnTo>
                    <a:pt x="320" y="353"/>
                  </a:lnTo>
                  <a:lnTo>
                    <a:pt x="322" y="353"/>
                  </a:lnTo>
                  <a:lnTo>
                    <a:pt x="322" y="351"/>
                  </a:lnTo>
                  <a:lnTo>
                    <a:pt x="324" y="349"/>
                  </a:lnTo>
                  <a:lnTo>
                    <a:pt x="326" y="347"/>
                  </a:lnTo>
                  <a:lnTo>
                    <a:pt x="328" y="343"/>
                  </a:lnTo>
                  <a:lnTo>
                    <a:pt x="328" y="339"/>
                  </a:lnTo>
                  <a:lnTo>
                    <a:pt x="328" y="335"/>
                  </a:lnTo>
                  <a:lnTo>
                    <a:pt x="328" y="334"/>
                  </a:lnTo>
                  <a:lnTo>
                    <a:pt x="328" y="330"/>
                  </a:lnTo>
                  <a:lnTo>
                    <a:pt x="328" y="326"/>
                  </a:lnTo>
                  <a:lnTo>
                    <a:pt x="328" y="322"/>
                  </a:lnTo>
                  <a:lnTo>
                    <a:pt x="328" y="318"/>
                  </a:lnTo>
                  <a:lnTo>
                    <a:pt x="328" y="316"/>
                  </a:lnTo>
                  <a:lnTo>
                    <a:pt x="328" y="312"/>
                  </a:lnTo>
                  <a:lnTo>
                    <a:pt x="332" y="312"/>
                  </a:lnTo>
                  <a:lnTo>
                    <a:pt x="334" y="310"/>
                  </a:lnTo>
                  <a:lnTo>
                    <a:pt x="334" y="309"/>
                  </a:lnTo>
                  <a:lnTo>
                    <a:pt x="337" y="309"/>
                  </a:lnTo>
                  <a:lnTo>
                    <a:pt x="339" y="305"/>
                  </a:lnTo>
                  <a:lnTo>
                    <a:pt x="339" y="303"/>
                  </a:lnTo>
                  <a:lnTo>
                    <a:pt x="341" y="301"/>
                  </a:lnTo>
                  <a:lnTo>
                    <a:pt x="343" y="299"/>
                  </a:lnTo>
                  <a:lnTo>
                    <a:pt x="347" y="297"/>
                  </a:lnTo>
                  <a:lnTo>
                    <a:pt x="349" y="293"/>
                  </a:lnTo>
                  <a:lnTo>
                    <a:pt x="351" y="291"/>
                  </a:lnTo>
                  <a:lnTo>
                    <a:pt x="351" y="287"/>
                  </a:lnTo>
                  <a:lnTo>
                    <a:pt x="351" y="286"/>
                  </a:lnTo>
                  <a:lnTo>
                    <a:pt x="351" y="282"/>
                  </a:lnTo>
                  <a:lnTo>
                    <a:pt x="355" y="282"/>
                  </a:lnTo>
                  <a:lnTo>
                    <a:pt x="359" y="282"/>
                  </a:lnTo>
                  <a:lnTo>
                    <a:pt x="362" y="282"/>
                  </a:lnTo>
                  <a:lnTo>
                    <a:pt x="366" y="282"/>
                  </a:lnTo>
                  <a:lnTo>
                    <a:pt x="370" y="280"/>
                  </a:lnTo>
                  <a:lnTo>
                    <a:pt x="372" y="280"/>
                  </a:lnTo>
                  <a:lnTo>
                    <a:pt x="374" y="280"/>
                  </a:lnTo>
                  <a:lnTo>
                    <a:pt x="376" y="282"/>
                  </a:lnTo>
                  <a:lnTo>
                    <a:pt x="380" y="282"/>
                  </a:lnTo>
                  <a:lnTo>
                    <a:pt x="382" y="284"/>
                  </a:lnTo>
                  <a:lnTo>
                    <a:pt x="383" y="284"/>
                  </a:lnTo>
                  <a:lnTo>
                    <a:pt x="383" y="286"/>
                  </a:lnTo>
                  <a:lnTo>
                    <a:pt x="387" y="286"/>
                  </a:lnTo>
                  <a:lnTo>
                    <a:pt x="383" y="284"/>
                  </a:lnTo>
                  <a:lnTo>
                    <a:pt x="383" y="282"/>
                  </a:lnTo>
                  <a:lnTo>
                    <a:pt x="383" y="278"/>
                  </a:lnTo>
                  <a:lnTo>
                    <a:pt x="382" y="276"/>
                  </a:lnTo>
                  <a:lnTo>
                    <a:pt x="382" y="274"/>
                  </a:lnTo>
                  <a:lnTo>
                    <a:pt x="382" y="270"/>
                  </a:lnTo>
                  <a:lnTo>
                    <a:pt x="382" y="266"/>
                  </a:lnTo>
                  <a:lnTo>
                    <a:pt x="382" y="263"/>
                  </a:lnTo>
                  <a:lnTo>
                    <a:pt x="382" y="259"/>
                  </a:lnTo>
                  <a:lnTo>
                    <a:pt x="382" y="255"/>
                  </a:lnTo>
                  <a:lnTo>
                    <a:pt x="382" y="253"/>
                  </a:lnTo>
                  <a:lnTo>
                    <a:pt x="382" y="249"/>
                  </a:lnTo>
                  <a:lnTo>
                    <a:pt x="382" y="245"/>
                  </a:lnTo>
                  <a:lnTo>
                    <a:pt x="382" y="243"/>
                  </a:lnTo>
                  <a:lnTo>
                    <a:pt x="383" y="241"/>
                  </a:lnTo>
                  <a:lnTo>
                    <a:pt x="383" y="238"/>
                  </a:lnTo>
                  <a:lnTo>
                    <a:pt x="382" y="236"/>
                  </a:lnTo>
                  <a:lnTo>
                    <a:pt x="382" y="232"/>
                  </a:lnTo>
                  <a:lnTo>
                    <a:pt x="380" y="230"/>
                  </a:lnTo>
                  <a:lnTo>
                    <a:pt x="380" y="226"/>
                  </a:lnTo>
                  <a:lnTo>
                    <a:pt x="380" y="222"/>
                  </a:lnTo>
                  <a:lnTo>
                    <a:pt x="380" y="218"/>
                  </a:lnTo>
                  <a:lnTo>
                    <a:pt x="380" y="215"/>
                  </a:lnTo>
                  <a:lnTo>
                    <a:pt x="380" y="213"/>
                  </a:lnTo>
                  <a:lnTo>
                    <a:pt x="380" y="209"/>
                  </a:lnTo>
                  <a:lnTo>
                    <a:pt x="382" y="205"/>
                  </a:lnTo>
                  <a:lnTo>
                    <a:pt x="382" y="201"/>
                  </a:lnTo>
                  <a:lnTo>
                    <a:pt x="382" y="197"/>
                  </a:lnTo>
                  <a:lnTo>
                    <a:pt x="382" y="195"/>
                  </a:lnTo>
                  <a:lnTo>
                    <a:pt x="382" y="192"/>
                  </a:lnTo>
                  <a:lnTo>
                    <a:pt x="382" y="188"/>
                  </a:lnTo>
                  <a:lnTo>
                    <a:pt x="382" y="184"/>
                  </a:lnTo>
                  <a:lnTo>
                    <a:pt x="382" y="180"/>
                  </a:lnTo>
                  <a:lnTo>
                    <a:pt x="383" y="176"/>
                  </a:lnTo>
                  <a:lnTo>
                    <a:pt x="383" y="174"/>
                  </a:lnTo>
                  <a:lnTo>
                    <a:pt x="383" y="170"/>
                  </a:lnTo>
                  <a:lnTo>
                    <a:pt x="383" y="167"/>
                  </a:lnTo>
                  <a:lnTo>
                    <a:pt x="383" y="163"/>
                  </a:lnTo>
                  <a:lnTo>
                    <a:pt x="383" y="159"/>
                  </a:lnTo>
                  <a:lnTo>
                    <a:pt x="383" y="157"/>
                  </a:lnTo>
                  <a:lnTo>
                    <a:pt x="383" y="153"/>
                  </a:lnTo>
                  <a:lnTo>
                    <a:pt x="383" y="149"/>
                  </a:lnTo>
                  <a:lnTo>
                    <a:pt x="382" y="151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8" name="Freeform 55"/>
            <p:cNvSpPr>
              <a:spLocks/>
            </p:cNvSpPr>
            <p:nvPr/>
          </p:nvSpPr>
          <p:spPr bwMode="auto">
            <a:xfrm>
              <a:off x="1523" y="1102"/>
              <a:ext cx="562" cy="516"/>
            </a:xfrm>
            <a:custGeom>
              <a:avLst/>
              <a:gdLst/>
              <a:ahLst/>
              <a:cxnLst>
                <a:cxn ang="0">
                  <a:pos x="543" y="88"/>
                </a:cxn>
                <a:cxn ang="0">
                  <a:pos x="537" y="127"/>
                </a:cxn>
                <a:cxn ang="0">
                  <a:pos x="546" y="150"/>
                </a:cxn>
                <a:cxn ang="0">
                  <a:pos x="554" y="175"/>
                </a:cxn>
                <a:cxn ang="0">
                  <a:pos x="552" y="230"/>
                </a:cxn>
                <a:cxn ang="0">
                  <a:pos x="558" y="294"/>
                </a:cxn>
                <a:cxn ang="0">
                  <a:pos x="558" y="409"/>
                </a:cxn>
                <a:cxn ang="0">
                  <a:pos x="560" y="455"/>
                </a:cxn>
                <a:cxn ang="0">
                  <a:pos x="554" y="480"/>
                </a:cxn>
                <a:cxn ang="0">
                  <a:pos x="527" y="489"/>
                </a:cxn>
                <a:cxn ang="0">
                  <a:pos x="510" y="505"/>
                </a:cxn>
                <a:cxn ang="0">
                  <a:pos x="489" y="487"/>
                </a:cxn>
                <a:cxn ang="0">
                  <a:pos x="470" y="476"/>
                </a:cxn>
                <a:cxn ang="0">
                  <a:pos x="445" y="466"/>
                </a:cxn>
                <a:cxn ang="0">
                  <a:pos x="424" y="453"/>
                </a:cxn>
                <a:cxn ang="0">
                  <a:pos x="399" y="443"/>
                </a:cxn>
                <a:cxn ang="0">
                  <a:pos x="376" y="424"/>
                </a:cxn>
                <a:cxn ang="0">
                  <a:pos x="330" y="409"/>
                </a:cxn>
                <a:cxn ang="0">
                  <a:pos x="307" y="388"/>
                </a:cxn>
                <a:cxn ang="0">
                  <a:pos x="280" y="372"/>
                </a:cxn>
                <a:cxn ang="0">
                  <a:pos x="253" y="368"/>
                </a:cxn>
                <a:cxn ang="0">
                  <a:pos x="232" y="366"/>
                </a:cxn>
                <a:cxn ang="0">
                  <a:pos x="213" y="380"/>
                </a:cxn>
                <a:cxn ang="0">
                  <a:pos x="195" y="386"/>
                </a:cxn>
                <a:cxn ang="0">
                  <a:pos x="170" y="393"/>
                </a:cxn>
                <a:cxn ang="0">
                  <a:pos x="153" y="376"/>
                </a:cxn>
                <a:cxn ang="0">
                  <a:pos x="122" y="366"/>
                </a:cxn>
                <a:cxn ang="0">
                  <a:pos x="92" y="361"/>
                </a:cxn>
                <a:cxn ang="0">
                  <a:pos x="78" y="334"/>
                </a:cxn>
                <a:cxn ang="0">
                  <a:pos x="55" y="322"/>
                </a:cxn>
                <a:cxn ang="0">
                  <a:pos x="30" y="317"/>
                </a:cxn>
                <a:cxn ang="0">
                  <a:pos x="21" y="292"/>
                </a:cxn>
                <a:cxn ang="0">
                  <a:pos x="2" y="267"/>
                </a:cxn>
                <a:cxn ang="0">
                  <a:pos x="11" y="240"/>
                </a:cxn>
                <a:cxn ang="0">
                  <a:pos x="21" y="215"/>
                </a:cxn>
                <a:cxn ang="0">
                  <a:pos x="19" y="167"/>
                </a:cxn>
                <a:cxn ang="0">
                  <a:pos x="21" y="134"/>
                </a:cxn>
                <a:cxn ang="0">
                  <a:pos x="26" y="98"/>
                </a:cxn>
                <a:cxn ang="0">
                  <a:pos x="36" y="71"/>
                </a:cxn>
                <a:cxn ang="0">
                  <a:pos x="51" y="52"/>
                </a:cxn>
                <a:cxn ang="0">
                  <a:pos x="74" y="38"/>
                </a:cxn>
                <a:cxn ang="0">
                  <a:pos x="92" y="25"/>
                </a:cxn>
                <a:cxn ang="0">
                  <a:pos x="101" y="10"/>
                </a:cxn>
                <a:cxn ang="0">
                  <a:pos x="134" y="15"/>
                </a:cxn>
                <a:cxn ang="0">
                  <a:pos x="165" y="11"/>
                </a:cxn>
                <a:cxn ang="0">
                  <a:pos x="195" y="27"/>
                </a:cxn>
                <a:cxn ang="0">
                  <a:pos x="213" y="46"/>
                </a:cxn>
                <a:cxn ang="0">
                  <a:pos x="238" y="75"/>
                </a:cxn>
                <a:cxn ang="0">
                  <a:pos x="318" y="90"/>
                </a:cxn>
                <a:cxn ang="0">
                  <a:pos x="353" y="107"/>
                </a:cxn>
                <a:cxn ang="0">
                  <a:pos x="380" y="90"/>
                </a:cxn>
                <a:cxn ang="0">
                  <a:pos x="370" y="50"/>
                </a:cxn>
                <a:cxn ang="0">
                  <a:pos x="385" y="17"/>
                </a:cxn>
                <a:cxn ang="0">
                  <a:pos x="410" y="4"/>
                </a:cxn>
                <a:cxn ang="0">
                  <a:pos x="450" y="8"/>
                </a:cxn>
                <a:cxn ang="0">
                  <a:pos x="472" y="25"/>
                </a:cxn>
                <a:cxn ang="0">
                  <a:pos x="493" y="48"/>
                </a:cxn>
                <a:cxn ang="0">
                  <a:pos x="518" y="48"/>
                </a:cxn>
                <a:cxn ang="0">
                  <a:pos x="546" y="61"/>
                </a:cxn>
              </a:cxnLst>
              <a:rect l="0" t="0" r="r" b="b"/>
              <a:pathLst>
                <a:path w="562" h="516">
                  <a:moveTo>
                    <a:pt x="548" y="61"/>
                  </a:moveTo>
                  <a:lnTo>
                    <a:pt x="546" y="65"/>
                  </a:lnTo>
                  <a:lnTo>
                    <a:pt x="543" y="69"/>
                  </a:lnTo>
                  <a:lnTo>
                    <a:pt x="543" y="73"/>
                  </a:lnTo>
                  <a:lnTo>
                    <a:pt x="541" y="75"/>
                  </a:lnTo>
                  <a:lnTo>
                    <a:pt x="541" y="81"/>
                  </a:lnTo>
                  <a:lnTo>
                    <a:pt x="543" y="84"/>
                  </a:lnTo>
                  <a:lnTo>
                    <a:pt x="543" y="86"/>
                  </a:lnTo>
                  <a:lnTo>
                    <a:pt x="543" y="88"/>
                  </a:lnTo>
                  <a:lnTo>
                    <a:pt x="545" y="92"/>
                  </a:lnTo>
                  <a:lnTo>
                    <a:pt x="545" y="102"/>
                  </a:lnTo>
                  <a:lnTo>
                    <a:pt x="545" y="109"/>
                  </a:lnTo>
                  <a:lnTo>
                    <a:pt x="543" y="113"/>
                  </a:lnTo>
                  <a:lnTo>
                    <a:pt x="543" y="115"/>
                  </a:lnTo>
                  <a:lnTo>
                    <a:pt x="541" y="117"/>
                  </a:lnTo>
                  <a:lnTo>
                    <a:pt x="539" y="119"/>
                  </a:lnTo>
                  <a:lnTo>
                    <a:pt x="539" y="123"/>
                  </a:lnTo>
                  <a:lnTo>
                    <a:pt x="537" y="127"/>
                  </a:lnTo>
                  <a:lnTo>
                    <a:pt x="537" y="129"/>
                  </a:lnTo>
                  <a:lnTo>
                    <a:pt x="537" y="130"/>
                  </a:lnTo>
                  <a:lnTo>
                    <a:pt x="539" y="134"/>
                  </a:lnTo>
                  <a:lnTo>
                    <a:pt x="539" y="136"/>
                  </a:lnTo>
                  <a:lnTo>
                    <a:pt x="541" y="138"/>
                  </a:lnTo>
                  <a:lnTo>
                    <a:pt x="541" y="140"/>
                  </a:lnTo>
                  <a:lnTo>
                    <a:pt x="543" y="144"/>
                  </a:lnTo>
                  <a:lnTo>
                    <a:pt x="545" y="146"/>
                  </a:lnTo>
                  <a:lnTo>
                    <a:pt x="546" y="150"/>
                  </a:lnTo>
                  <a:lnTo>
                    <a:pt x="548" y="152"/>
                  </a:lnTo>
                  <a:lnTo>
                    <a:pt x="548" y="152"/>
                  </a:lnTo>
                  <a:lnTo>
                    <a:pt x="548" y="155"/>
                  </a:lnTo>
                  <a:lnTo>
                    <a:pt x="550" y="157"/>
                  </a:lnTo>
                  <a:lnTo>
                    <a:pt x="550" y="159"/>
                  </a:lnTo>
                  <a:lnTo>
                    <a:pt x="552" y="161"/>
                  </a:lnTo>
                  <a:lnTo>
                    <a:pt x="552" y="165"/>
                  </a:lnTo>
                  <a:lnTo>
                    <a:pt x="554" y="167"/>
                  </a:lnTo>
                  <a:lnTo>
                    <a:pt x="554" y="175"/>
                  </a:lnTo>
                  <a:lnTo>
                    <a:pt x="554" y="180"/>
                  </a:lnTo>
                  <a:lnTo>
                    <a:pt x="552" y="184"/>
                  </a:lnTo>
                  <a:lnTo>
                    <a:pt x="552" y="194"/>
                  </a:lnTo>
                  <a:lnTo>
                    <a:pt x="552" y="205"/>
                  </a:lnTo>
                  <a:lnTo>
                    <a:pt x="550" y="207"/>
                  </a:lnTo>
                  <a:lnTo>
                    <a:pt x="550" y="215"/>
                  </a:lnTo>
                  <a:lnTo>
                    <a:pt x="550" y="221"/>
                  </a:lnTo>
                  <a:lnTo>
                    <a:pt x="552" y="224"/>
                  </a:lnTo>
                  <a:lnTo>
                    <a:pt x="552" y="230"/>
                  </a:lnTo>
                  <a:lnTo>
                    <a:pt x="552" y="236"/>
                  </a:lnTo>
                  <a:lnTo>
                    <a:pt x="554" y="242"/>
                  </a:lnTo>
                  <a:lnTo>
                    <a:pt x="554" y="249"/>
                  </a:lnTo>
                  <a:lnTo>
                    <a:pt x="554" y="257"/>
                  </a:lnTo>
                  <a:lnTo>
                    <a:pt x="556" y="263"/>
                  </a:lnTo>
                  <a:lnTo>
                    <a:pt x="556" y="269"/>
                  </a:lnTo>
                  <a:lnTo>
                    <a:pt x="556" y="276"/>
                  </a:lnTo>
                  <a:lnTo>
                    <a:pt x="558" y="280"/>
                  </a:lnTo>
                  <a:lnTo>
                    <a:pt x="558" y="294"/>
                  </a:lnTo>
                  <a:lnTo>
                    <a:pt x="558" y="305"/>
                  </a:lnTo>
                  <a:lnTo>
                    <a:pt x="556" y="309"/>
                  </a:lnTo>
                  <a:lnTo>
                    <a:pt x="556" y="322"/>
                  </a:lnTo>
                  <a:lnTo>
                    <a:pt x="554" y="334"/>
                  </a:lnTo>
                  <a:lnTo>
                    <a:pt x="554" y="380"/>
                  </a:lnTo>
                  <a:lnTo>
                    <a:pt x="556" y="382"/>
                  </a:lnTo>
                  <a:lnTo>
                    <a:pt x="556" y="393"/>
                  </a:lnTo>
                  <a:lnTo>
                    <a:pt x="556" y="405"/>
                  </a:lnTo>
                  <a:lnTo>
                    <a:pt x="558" y="409"/>
                  </a:lnTo>
                  <a:lnTo>
                    <a:pt x="558" y="413"/>
                  </a:lnTo>
                  <a:lnTo>
                    <a:pt x="558" y="416"/>
                  </a:lnTo>
                  <a:lnTo>
                    <a:pt x="560" y="420"/>
                  </a:lnTo>
                  <a:lnTo>
                    <a:pt x="560" y="428"/>
                  </a:lnTo>
                  <a:lnTo>
                    <a:pt x="560" y="437"/>
                  </a:lnTo>
                  <a:lnTo>
                    <a:pt x="562" y="441"/>
                  </a:lnTo>
                  <a:lnTo>
                    <a:pt x="562" y="447"/>
                  </a:lnTo>
                  <a:lnTo>
                    <a:pt x="562" y="453"/>
                  </a:lnTo>
                  <a:lnTo>
                    <a:pt x="560" y="455"/>
                  </a:lnTo>
                  <a:lnTo>
                    <a:pt x="560" y="459"/>
                  </a:lnTo>
                  <a:lnTo>
                    <a:pt x="560" y="460"/>
                  </a:lnTo>
                  <a:lnTo>
                    <a:pt x="558" y="462"/>
                  </a:lnTo>
                  <a:lnTo>
                    <a:pt x="558" y="466"/>
                  </a:lnTo>
                  <a:lnTo>
                    <a:pt x="558" y="470"/>
                  </a:lnTo>
                  <a:lnTo>
                    <a:pt x="556" y="474"/>
                  </a:lnTo>
                  <a:lnTo>
                    <a:pt x="556" y="476"/>
                  </a:lnTo>
                  <a:lnTo>
                    <a:pt x="556" y="480"/>
                  </a:lnTo>
                  <a:lnTo>
                    <a:pt x="554" y="480"/>
                  </a:lnTo>
                  <a:lnTo>
                    <a:pt x="554" y="484"/>
                  </a:lnTo>
                  <a:lnTo>
                    <a:pt x="548" y="484"/>
                  </a:lnTo>
                  <a:lnTo>
                    <a:pt x="545" y="484"/>
                  </a:lnTo>
                  <a:lnTo>
                    <a:pt x="541" y="485"/>
                  </a:lnTo>
                  <a:lnTo>
                    <a:pt x="539" y="485"/>
                  </a:lnTo>
                  <a:lnTo>
                    <a:pt x="535" y="487"/>
                  </a:lnTo>
                  <a:lnTo>
                    <a:pt x="531" y="487"/>
                  </a:lnTo>
                  <a:lnTo>
                    <a:pt x="529" y="487"/>
                  </a:lnTo>
                  <a:lnTo>
                    <a:pt x="527" y="489"/>
                  </a:lnTo>
                  <a:lnTo>
                    <a:pt x="525" y="489"/>
                  </a:lnTo>
                  <a:lnTo>
                    <a:pt x="523" y="491"/>
                  </a:lnTo>
                  <a:lnTo>
                    <a:pt x="523" y="503"/>
                  </a:lnTo>
                  <a:lnTo>
                    <a:pt x="523" y="516"/>
                  </a:lnTo>
                  <a:lnTo>
                    <a:pt x="521" y="514"/>
                  </a:lnTo>
                  <a:lnTo>
                    <a:pt x="518" y="512"/>
                  </a:lnTo>
                  <a:lnTo>
                    <a:pt x="516" y="508"/>
                  </a:lnTo>
                  <a:lnTo>
                    <a:pt x="512" y="507"/>
                  </a:lnTo>
                  <a:lnTo>
                    <a:pt x="510" y="505"/>
                  </a:lnTo>
                  <a:lnTo>
                    <a:pt x="510" y="503"/>
                  </a:lnTo>
                  <a:lnTo>
                    <a:pt x="510" y="499"/>
                  </a:lnTo>
                  <a:lnTo>
                    <a:pt x="506" y="499"/>
                  </a:lnTo>
                  <a:lnTo>
                    <a:pt x="502" y="499"/>
                  </a:lnTo>
                  <a:lnTo>
                    <a:pt x="500" y="495"/>
                  </a:lnTo>
                  <a:lnTo>
                    <a:pt x="498" y="493"/>
                  </a:lnTo>
                  <a:lnTo>
                    <a:pt x="495" y="493"/>
                  </a:lnTo>
                  <a:lnTo>
                    <a:pt x="493" y="489"/>
                  </a:lnTo>
                  <a:lnTo>
                    <a:pt x="489" y="487"/>
                  </a:lnTo>
                  <a:lnTo>
                    <a:pt x="487" y="487"/>
                  </a:lnTo>
                  <a:lnTo>
                    <a:pt x="485" y="485"/>
                  </a:lnTo>
                  <a:lnTo>
                    <a:pt x="483" y="485"/>
                  </a:lnTo>
                  <a:lnTo>
                    <a:pt x="481" y="484"/>
                  </a:lnTo>
                  <a:lnTo>
                    <a:pt x="481" y="482"/>
                  </a:lnTo>
                  <a:lnTo>
                    <a:pt x="477" y="482"/>
                  </a:lnTo>
                  <a:lnTo>
                    <a:pt x="475" y="480"/>
                  </a:lnTo>
                  <a:lnTo>
                    <a:pt x="472" y="480"/>
                  </a:lnTo>
                  <a:lnTo>
                    <a:pt x="470" y="476"/>
                  </a:lnTo>
                  <a:lnTo>
                    <a:pt x="468" y="476"/>
                  </a:lnTo>
                  <a:lnTo>
                    <a:pt x="466" y="474"/>
                  </a:lnTo>
                  <a:lnTo>
                    <a:pt x="460" y="474"/>
                  </a:lnTo>
                  <a:lnTo>
                    <a:pt x="456" y="474"/>
                  </a:lnTo>
                  <a:lnTo>
                    <a:pt x="452" y="472"/>
                  </a:lnTo>
                  <a:lnTo>
                    <a:pt x="450" y="470"/>
                  </a:lnTo>
                  <a:lnTo>
                    <a:pt x="450" y="468"/>
                  </a:lnTo>
                  <a:lnTo>
                    <a:pt x="447" y="468"/>
                  </a:lnTo>
                  <a:lnTo>
                    <a:pt x="445" y="466"/>
                  </a:lnTo>
                  <a:lnTo>
                    <a:pt x="445" y="464"/>
                  </a:lnTo>
                  <a:lnTo>
                    <a:pt x="441" y="464"/>
                  </a:lnTo>
                  <a:lnTo>
                    <a:pt x="441" y="462"/>
                  </a:lnTo>
                  <a:lnTo>
                    <a:pt x="439" y="460"/>
                  </a:lnTo>
                  <a:lnTo>
                    <a:pt x="435" y="460"/>
                  </a:lnTo>
                  <a:lnTo>
                    <a:pt x="431" y="459"/>
                  </a:lnTo>
                  <a:lnTo>
                    <a:pt x="429" y="457"/>
                  </a:lnTo>
                  <a:lnTo>
                    <a:pt x="427" y="457"/>
                  </a:lnTo>
                  <a:lnTo>
                    <a:pt x="424" y="453"/>
                  </a:lnTo>
                  <a:lnTo>
                    <a:pt x="420" y="451"/>
                  </a:lnTo>
                  <a:lnTo>
                    <a:pt x="416" y="451"/>
                  </a:lnTo>
                  <a:lnTo>
                    <a:pt x="414" y="449"/>
                  </a:lnTo>
                  <a:lnTo>
                    <a:pt x="412" y="447"/>
                  </a:lnTo>
                  <a:lnTo>
                    <a:pt x="410" y="447"/>
                  </a:lnTo>
                  <a:lnTo>
                    <a:pt x="406" y="447"/>
                  </a:lnTo>
                  <a:lnTo>
                    <a:pt x="403" y="445"/>
                  </a:lnTo>
                  <a:lnTo>
                    <a:pt x="401" y="443"/>
                  </a:lnTo>
                  <a:lnTo>
                    <a:pt x="399" y="443"/>
                  </a:lnTo>
                  <a:lnTo>
                    <a:pt x="395" y="441"/>
                  </a:lnTo>
                  <a:lnTo>
                    <a:pt x="393" y="439"/>
                  </a:lnTo>
                  <a:lnTo>
                    <a:pt x="391" y="437"/>
                  </a:lnTo>
                  <a:lnTo>
                    <a:pt x="387" y="436"/>
                  </a:lnTo>
                  <a:lnTo>
                    <a:pt x="385" y="432"/>
                  </a:lnTo>
                  <a:lnTo>
                    <a:pt x="383" y="430"/>
                  </a:lnTo>
                  <a:lnTo>
                    <a:pt x="381" y="428"/>
                  </a:lnTo>
                  <a:lnTo>
                    <a:pt x="380" y="426"/>
                  </a:lnTo>
                  <a:lnTo>
                    <a:pt x="376" y="424"/>
                  </a:lnTo>
                  <a:lnTo>
                    <a:pt x="372" y="420"/>
                  </a:lnTo>
                  <a:lnTo>
                    <a:pt x="366" y="418"/>
                  </a:lnTo>
                  <a:lnTo>
                    <a:pt x="362" y="416"/>
                  </a:lnTo>
                  <a:lnTo>
                    <a:pt x="358" y="414"/>
                  </a:lnTo>
                  <a:lnTo>
                    <a:pt x="339" y="414"/>
                  </a:lnTo>
                  <a:lnTo>
                    <a:pt x="339" y="413"/>
                  </a:lnTo>
                  <a:lnTo>
                    <a:pt x="335" y="413"/>
                  </a:lnTo>
                  <a:lnTo>
                    <a:pt x="332" y="411"/>
                  </a:lnTo>
                  <a:lnTo>
                    <a:pt x="330" y="409"/>
                  </a:lnTo>
                  <a:lnTo>
                    <a:pt x="326" y="403"/>
                  </a:lnTo>
                  <a:lnTo>
                    <a:pt x="322" y="401"/>
                  </a:lnTo>
                  <a:lnTo>
                    <a:pt x="318" y="401"/>
                  </a:lnTo>
                  <a:lnTo>
                    <a:pt x="316" y="397"/>
                  </a:lnTo>
                  <a:lnTo>
                    <a:pt x="312" y="397"/>
                  </a:lnTo>
                  <a:lnTo>
                    <a:pt x="312" y="395"/>
                  </a:lnTo>
                  <a:lnTo>
                    <a:pt x="309" y="391"/>
                  </a:lnTo>
                  <a:lnTo>
                    <a:pt x="309" y="389"/>
                  </a:lnTo>
                  <a:lnTo>
                    <a:pt x="307" y="388"/>
                  </a:lnTo>
                  <a:lnTo>
                    <a:pt x="303" y="388"/>
                  </a:lnTo>
                  <a:lnTo>
                    <a:pt x="301" y="386"/>
                  </a:lnTo>
                  <a:lnTo>
                    <a:pt x="295" y="382"/>
                  </a:lnTo>
                  <a:lnTo>
                    <a:pt x="293" y="382"/>
                  </a:lnTo>
                  <a:lnTo>
                    <a:pt x="291" y="380"/>
                  </a:lnTo>
                  <a:lnTo>
                    <a:pt x="287" y="378"/>
                  </a:lnTo>
                  <a:lnTo>
                    <a:pt x="285" y="374"/>
                  </a:lnTo>
                  <a:lnTo>
                    <a:pt x="284" y="374"/>
                  </a:lnTo>
                  <a:lnTo>
                    <a:pt x="280" y="372"/>
                  </a:lnTo>
                  <a:lnTo>
                    <a:pt x="278" y="372"/>
                  </a:lnTo>
                  <a:lnTo>
                    <a:pt x="274" y="372"/>
                  </a:lnTo>
                  <a:lnTo>
                    <a:pt x="272" y="372"/>
                  </a:lnTo>
                  <a:lnTo>
                    <a:pt x="270" y="370"/>
                  </a:lnTo>
                  <a:lnTo>
                    <a:pt x="266" y="368"/>
                  </a:lnTo>
                  <a:lnTo>
                    <a:pt x="262" y="368"/>
                  </a:lnTo>
                  <a:lnTo>
                    <a:pt x="261" y="368"/>
                  </a:lnTo>
                  <a:lnTo>
                    <a:pt x="257" y="366"/>
                  </a:lnTo>
                  <a:lnTo>
                    <a:pt x="253" y="368"/>
                  </a:lnTo>
                  <a:lnTo>
                    <a:pt x="251" y="366"/>
                  </a:lnTo>
                  <a:lnTo>
                    <a:pt x="247" y="366"/>
                  </a:lnTo>
                  <a:lnTo>
                    <a:pt x="245" y="365"/>
                  </a:lnTo>
                  <a:lnTo>
                    <a:pt x="243" y="363"/>
                  </a:lnTo>
                  <a:lnTo>
                    <a:pt x="243" y="363"/>
                  </a:lnTo>
                  <a:lnTo>
                    <a:pt x="238" y="363"/>
                  </a:lnTo>
                  <a:lnTo>
                    <a:pt x="236" y="363"/>
                  </a:lnTo>
                  <a:lnTo>
                    <a:pt x="234" y="365"/>
                  </a:lnTo>
                  <a:lnTo>
                    <a:pt x="232" y="366"/>
                  </a:lnTo>
                  <a:lnTo>
                    <a:pt x="230" y="368"/>
                  </a:lnTo>
                  <a:lnTo>
                    <a:pt x="228" y="372"/>
                  </a:lnTo>
                  <a:lnTo>
                    <a:pt x="228" y="374"/>
                  </a:lnTo>
                  <a:lnTo>
                    <a:pt x="224" y="374"/>
                  </a:lnTo>
                  <a:lnTo>
                    <a:pt x="222" y="376"/>
                  </a:lnTo>
                  <a:lnTo>
                    <a:pt x="220" y="376"/>
                  </a:lnTo>
                  <a:lnTo>
                    <a:pt x="218" y="378"/>
                  </a:lnTo>
                  <a:lnTo>
                    <a:pt x="216" y="380"/>
                  </a:lnTo>
                  <a:lnTo>
                    <a:pt x="213" y="380"/>
                  </a:lnTo>
                  <a:lnTo>
                    <a:pt x="211" y="380"/>
                  </a:lnTo>
                  <a:lnTo>
                    <a:pt x="209" y="382"/>
                  </a:lnTo>
                  <a:lnTo>
                    <a:pt x="207" y="382"/>
                  </a:lnTo>
                  <a:lnTo>
                    <a:pt x="205" y="382"/>
                  </a:lnTo>
                  <a:lnTo>
                    <a:pt x="203" y="384"/>
                  </a:lnTo>
                  <a:lnTo>
                    <a:pt x="203" y="386"/>
                  </a:lnTo>
                  <a:lnTo>
                    <a:pt x="199" y="388"/>
                  </a:lnTo>
                  <a:lnTo>
                    <a:pt x="195" y="388"/>
                  </a:lnTo>
                  <a:lnTo>
                    <a:pt x="195" y="386"/>
                  </a:lnTo>
                  <a:lnTo>
                    <a:pt x="193" y="386"/>
                  </a:lnTo>
                  <a:lnTo>
                    <a:pt x="191" y="388"/>
                  </a:lnTo>
                  <a:lnTo>
                    <a:pt x="188" y="388"/>
                  </a:lnTo>
                  <a:lnTo>
                    <a:pt x="186" y="388"/>
                  </a:lnTo>
                  <a:lnTo>
                    <a:pt x="182" y="389"/>
                  </a:lnTo>
                  <a:lnTo>
                    <a:pt x="176" y="389"/>
                  </a:lnTo>
                  <a:lnTo>
                    <a:pt x="174" y="391"/>
                  </a:lnTo>
                  <a:lnTo>
                    <a:pt x="174" y="393"/>
                  </a:lnTo>
                  <a:lnTo>
                    <a:pt x="170" y="393"/>
                  </a:lnTo>
                  <a:lnTo>
                    <a:pt x="170" y="395"/>
                  </a:lnTo>
                  <a:lnTo>
                    <a:pt x="167" y="393"/>
                  </a:lnTo>
                  <a:lnTo>
                    <a:pt x="165" y="389"/>
                  </a:lnTo>
                  <a:lnTo>
                    <a:pt x="163" y="386"/>
                  </a:lnTo>
                  <a:lnTo>
                    <a:pt x="161" y="384"/>
                  </a:lnTo>
                  <a:lnTo>
                    <a:pt x="159" y="382"/>
                  </a:lnTo>
                  <a:lnTo>
                    <a:pt x="157" y="380"/>
                  </a:lnTo>
                  <a:lnTo>
                    <a:pt x="155" y="380"/>
                  </a:lnTo>
                  <a:lnTo>
                    <a:pt x="153" y="376"/>
                  </a:lnTo>
                  <a:lnTo>
                    <a:pt x="151" y="374"/>
                  </a:lnTo>
                  <a:lnTo>
                    <a:pt x="149" y="372"/>
                  </a:lnTo>
                  <a:lnTo>
                    <a:pt x="147" y="370"/>
                  </a:lnTo>
                  <a:lnTo>
                    <a:pt x="147" y="368"/>
                  </a:lnTo>
                  <a:lnTo>
                    <a:pt x="134" y="368"/>
                  </a:lnTo>
                  <a:lnTo>
                    <a:pt x="132" y="366"/>
                  </a:lnTo>
                  <a:lnTo>
                    <a:pt x="128" y="366"/>
                  </a:lnTo>
                  <a:lnTo>
                    <a:pt x="124" y="366"/>
                  </a:lnTo>
                  <a:lnTo>
                    <a:pt x="122" y="366"/>
                  </a:lnTo>
                  <a:lnTo>
                    <a:pt x="119" y="365"/>
                  </a:lnTo>
                  <a:lnTo>
                    <a:pt x="119" y="365"/>
                  </a:lnTo>
                  <a:lnTo>
                    <a:pt x="115" y="363"/>
                  </a:lnTo>
                  <a:lnTo>
                    <a:pt x="115" y="363"/>
                  </a:lnTo>
                  <a:lnTo>
                    <a:pt x="109" y="363"/>
                  </a:lnTo>
                  <a:lnTo>
                    <a:pt x="103" y="363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2" y="361"/>
                  </a:lnTo>
                  <a:lnTo>
                    <a:pt x="92" y="351"/>
                  </a:lnTo>
                  <a:lnTo>
                    <a:pt x="90" y="349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88" y="342"/>
                  </a:lnTo>
                  <a:lnTo>
                    <a:pt x="86" y="342"/>
                  </a:lnTo>
                  <a:lnTo>
                    <a:pt x="84" y="338"/>
                  </a:lnTo>
                  <a:lnTo>
                    <a:pt x="82" y="336"/>
                  </a:lnTo>
                  <a:lnTo>
                    <a:pt x="78" y="334"/>
                  </a:lnTo>
                  <a:lnTo>
                    <a:pt x="76" y="332"/>
                  </a:lnTo>
                  <a:lnTo>
                    <a:pt x="76" y="330"/>
                  </a:lnTo>
                  <a:lnTo>
                    <a:pt x="74" y="326"/>
                  </a:lnTo>
                  <a:lnTo>
                    <a:pt x="71" y="324"/>
                  </a:lnTo>
                  <a:lnTo>
                    <a:pt x="67" y="324"/>
                  </a:lnTo>
                  <a:lnTo>
                    <a:pt x="65" y="322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5" y="322"/>
                  </a:lnTo>
                  <a:lnTo>
                    <a:pt x="53" y="322"/>
                  </a:lnTo>
                  <a:lnTo>
                    <a:pt x="49" y="322"/>
                  </a:lnTo>
                  <a:lnTo>
                    <a:pt x="46" y="320"/>
                  </a:lnTo>
                  <a:lnTo>
                    <a:pt x="44" y="320"/>
                  </a:lnTo>
                  <a:lnTo>
                    <a:pt x="40" y="320"/>
                  </a:lnTo>
                  <a:lnTo>
                    <a:pt x="38" y="318"/>
                  </a:lnTo>
                  <a:lnTo>
                    <a:pt x="36" y="318"/>
                  </a:lnTo>
                  <a:lnTo>
                    <a:pt x="32" y="317"/>
                  </a:lnTo>
                  <a:lnTo>
                    <a:pt x="30" y="317"/>
                  </a:lnTo>
                  <a:lnTo>
                    <a:pt x="28" y="315"/>
                  </a:lnTo>
                  <a:lnTo>
                    <a:pt x="28" y="313"/>
                  </a:lnTo>
                  <a:lnTo>
                    <a:pt x="25" y="311"/>
                  </a:lnTo>
                  <a:lnTo>
                    <a:pt x="21" y="307"/>
                  </a:lnTo>
                  <a:lnTo>
                    <a:pt x="21" y="303"/>
                  </a:lnTo>
                  <a:lnTo>
                    <a:pt x="19" y="301"/>
                  </a:lnTo>
                  <a:lnTo>
                    <a:pt x="19" y="297"/>
                  </a:lnTo>
                  <a:lnTo>
                    <a:pt x="21" y="294"/>
                  </a:lnTo>
                  <a:lnTo>
                    <a:pt x="21" y="292"/>
                  </a:lnTo>
                  <a:lnTo>
                    <a:pt x="21" y="288"/>
                  </a:lnTo>
                  <a:lnTo>
                    <a:pt x="19" y="288"/>
                  </a:lnTo>
                  <a:lnTo>
                    <a:pt x="19" y="284"/>
                  </a:lnTo>
                  <a:lnTo>
                    <a:pt x="17" y="282"/>
                  </a:lnTo>
                  <a:lnTo>
                    <a:pt x="15" y="278"/>
                  </a:lnTo>
                  <a:lnTo>
                    <a:pt x="13" y="276"/>
                  </a:lnTo>
                  <a:lnTo>
                    <a:pt x="7" y="272"/>
                  </a:lnTo>
                  <a:lnTo>
                    <a:pt x="3" y="269"/>
                  </a:lnTo>
                  <a:lnTo>
                    <a:pt x="2" y="267"/>
                  </a:lnTo>
                  <a:lnTo>
                    <a:pt x="0" y="265"/>
                  </a:lnTo>
                  <a:lnTo>
                    <a:pt x="0" y="259"/>
                  </a:lnTo>
                  <a:lnTo>
                    <a:pt x="0" y="251"/>
                  </a:lnTo>
                  <a:lnTo>
                    <a:pt x="2" y="249"/>
                  </a:lnTo>
                  <a:lnTo>
                    <a:pt x="3" y="246"/>
                  </a:lnTo>
                  <a:lnTo>
                    <a:pt x="5" y="244"/>
                  </a:lnTo>
                  <a:lnTo>
                    <a:pt x="7" y="244"/>
                  </a:lnTo>
                  <a:lnTo>
                    <a:pt x="9" y="242"/>
                  </a:lnTo>
                  <a:lnTo>
                    <a:pt x="11" y="240"/>
                  </a:lnTo>
                  <a:lnTo>
                    <a:pt x="15" y="240"/>
                  </a:lnTo>
                  <a:lnTo>
                    <a:pt x="17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21" y="230"/>
                  </a:lnTo>
                  <a:lnTo>
                    <a:pt x="23" y="226"/>
                  </a:lnTo>
                  <a:lnTo>
                    <a:pt x="21" y="224"/>
                  </a:lnTo>
                  <a:lnTo>
                    <a:pt x="21" y="221"/>
                  </a:lnTo>
                  <a:lnTo>
                    <a:pt x="21" y="215"/>
                  </a:lnTo>
                  <a:lnTo>
                    <a:pt x="19" y="213"/>
                  </a:lnTo>
                  <a:lnTo>
                    <a:pt x="19" y="203"/>
                  </a:lnTo>
                  <a:lnTo>
                    <a:pt x="19" y="194"/>
                  </a:lnTo>
                  <a:lnTo>
                    <a:pt x="21" y="192"/>
                  </a:lnTo>
                  <a:lnTo>
                    <a:pt x="21" y="186"/>
                  </a:lnTo>
                  <a:lnTo>
                    <a:pt x="19" y="186"/>
                  </a:lnTo>
                  <a:lnTo>
                    <a:pt x="17" y="186"/>
                  </a:lnTo>
                  <a:lnTo>
                    <a:pt x="17" y="169"/>
                  </a:lnTo>
                  <a:lnTo>
                    <a:pt x="19" y="167"/>
                  </a:lnTo>
                  <a:lnTo>
                    <a:pt x="19" y="165"/>
                  </a:lnTo>
                  <a:lnTo>
                    <a:pt x="21" y="163"/>
                  </a:lnTo>
                  <a:lnTo>
                    <a:pt x="21" y="161"/>
                  </a:lnTo>
                  <a:lnTo>
                    <a:pt x="23" y="159"/>
                  </a:lnTo>
                  <a:lnTo>
                    <a:pt x="23" y="152"/>
                  </a:lnTo>
                  <a:lnTo>
                    <a:pt x="23" y="144"/>
                  </a:lnTo>
                  <a:lnTo>
                    <a:pt x="21" y="140"/>
                  </a:lnTo>
                  <a:lnTo>
                    <a:pt x="21" y="136"/>
                  </a:lnTo>
                  <a:lnTo>
                    <a:pt x="21" y="134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7" y="113"/>
                  </a:lnTo>
                  <a:lnTo>
                    <a:pt x="17" y="102"/>
                  </a:lnTo>
                  <a:lnTo>
                    <a:pt x="19" y="100"/>
                  </a:lnTo>
                  <a:lnTo>
                    <a:pt x="23" y="100"/>
                  </a:lnTo>
                  <a:lnTo>
                    <a:pt x="26" y="98"/>
                  </a:lnTo>
                  <a:lnTo>
                    <a:pt x="28" y="96"/>
                  </a:lnTo>
                  <a:lnTo>
                    <a:pt x="32" y="94"/>
                  </a:lnTo>
                  <a:lnTo>
                    <a:pt x="34" y="92"/>
                  </a:lnTo>
                  <a:lnTo>
                    <a:pt x="34" y="88"/>
                  </a:lnTo>
                  <a:lnTo>
                    <a:pt x="36" y="86"/>
                  </a:lnTo>
                  <a:lnTo>
                    <a:pt x="36" y="81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1"/>
                  </a:lnTo>
                  <a:lnTo>
                    <a:pt x="38" y="67"/>
                  </a:lnTo>
                  <a:lnTo>
                    <a:pt x="40" y="65"/>
                  </a:lnTo>
                  <a:lnTo>
                    <a:pt x="42" y="63"/>
                  </a:lnTo>
                  <a:lnTo>
                    <a:pt x="42" y="59"/>
                  </a:lnTo>
                  <a:lnTo>
                    <a:pt x="44" y="58"/>
                  </a:lnTo>
                  <a:lnTo>
                    <a:pt x="44" y="56"/>
                  </a:lnTo>
                  <a:lnTo>
                    <a:pt x="46" y="54"/>
                  </a:lnTo>
                  <a:lnTo>
                    <a:pt x="48" y="52"/>
                  </a:lnTo>
                  <a:lnTo>
                    <a:pt x="51" y="52"/>
                  </a:lnTo>
                  <a:lnTo>
                    <a:pt x="55" y="50"/>
                  </a:lnTo>
                  <a:lnTo>
                    <a:pt x="59" y="48"/>
                  </a:lnTo>
                  <a:lnTo>
                    <a:pt x="63" y="48"/>
                  </a:lnTo>
                  <a:lnTo>
                    <a:pt x="65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3" y="44"/>
                  </a:lnTo>
                  <a:lnTo>
                    <a:pt x="73" y="40"/>
                  </a:lnTo>
                  <a:lnTo>
                    <a:pt x="74" y="38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8" y="33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6" y="23"/>
                  </a:lnTo>
                  <a:lnTo>
                    <a:pt x="97" y="21"/>
                  </a:lnTo>
                  <a:lnTo>
                    <a:pt x="96" y="17"/>
                  </a:lnTo>
                  <a:lnTo>
                    <a:pt x="96" y="13"/>
                  </a:lnTo>
                  <a:lnTo>
                    <a:pt x="94" y="11"/>
                  </a:lnTo>
                  <a:lnTo>
                    <a:pt x="94" y="8"/>
                  </a:lnTo>
                  <a:lnTo>
                    <a:pt x="96" y="8"/>
                  </a:lnTo>
                  <a:lnTo>
                    <a:pt x="97" y="10"/>
                  </a:lnTo>
                  <a:lnTo>
                    <a:pt x="101" y="10"/>
                  </a:lnTo>
                  <a:lnTo>
                    <a:pt x="103" y="10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11" y="15"/>
                  </a:lnTo>
                  <a:lnTo>
                    <a:pt x="115" y="15"/>
                  </a:lnTo>
                  <a:lnTo>
                    <a:pt x="117" y="17"/>
                  </a:lnTo>
                  <a:lnTo>
                    <a:pt x="124" y="17"/>
                  </a:lnTo>
                  <a:lnTo>
                    <a:pt x="130" y="17"/>
                  </a:lnTo>
                  <a:lnTo>
                    <a:pt x="134" y="15"/>
                  </a:lnTo>
                  <a:lnTo>
                    <a:pt x="136" y="15"/>
                  </a:lnTo>
                  <a:lnTo>
                    <a:pt x="140" y="13"/>
                  </a:lnTo>
                  <a:lnTo>
                    <a:pt x="143" y="13"/>
                  </a:lnTo>
                  <a:lnTo>
                    <a:pt x="147" y="11"/>
                  </a:lnTo>
                  <a:lnTo>
                    <a:pt x="149" y="11"/>
                  </a:lnTo>
                  <a:lnTo>
                    <a:pt x="153" y="11"/>
                  </a:lnTo>
                  <a:lnTo>
                    <a:pt x="155" y="11"/>
                  </a:lnTo>
                  <a:lnTo>
                    <a:pt x="159" y="11"/>
                  </a:lnTo>
                  <a:lnTo>
                    <a:pt x="165" y="11"/>
                  </a:lnTo>
                  <a:lnTo>
                    <a:pt x="167" y="13"/>
                  </a:lnTo>
                  <a:lnTo>
                    <a:pt x="168" y="15"/>
                  </a:lnTo>
                  <a:lnTo>
                    <a:pt x="172" y="15"/>
                  </a:lnTo>
                  <a:lnTo>
                    <a:pt x="174" y="19"/>
                  </a:lnTo>
                  <a:lnTo>
                    <a:pt x="178" y="21"/>
                  </a:lnTo>
                  <a:lnTo>
                    <a:pt x="180" y="23"/>
                  </a:lnTo>
                  <a:lnTo>
                    <a:pt x="184" y="25"/>
                  </a:lnTo>
                  <a:lnTo>
                    <a:pt x="188" y="27"/>
                  </a:lnTo>
                  <a:lnTo>
                    <a:pt x="195" y="27"/>
                  </a:lnTo>
                  <a:lnTo>
                    <a:pt x="199" y="27"/>
                  </a:lnTo>
                  <a:lnTo>
                    <a:pt x="201" y="29"/>
                  </a:lnTo>
                  <a:lnTo>
                    <a:pt x="203" y="29"/>
                  </a:lnTo>
                  <a:lnTo>
                    <a:pt x="205" y="29"/>
                  </a:lnTo>
                  <a:lnTo>
                    <a:pt x="207" y="31"/>
                  </a:lnTo>
                  <a:lnTo>
                    <a:pt x="209" y="31"/>
                  </a:lnTo>
                  <a:lnTo>
                    <a:pt x="209" y="38"/>
                  </a:lnTo>
                  <a:lnTo>
                    <a:pt x="209" y="42"/>
                  </a:lnTo>
                  <a:lnTo>
                    <a:pt x="213" y="46"/>
                  </a:lnTo>
                  <a:lnTo>
                    <a:pt x="213" y="58"/>
                  </a:lnTo>
                  <a:lnTo>
                    <a:pt x="213" y="59"/>
                  </a:lnTo>
                  <a:lnTo>
                    <a:pt x="216" y="63"/>
                  </a:lnTo>
                  <a:lnTo>
                    <a:pt x="220" y="67"/>
                  </a:lnTo>
                  <a:lnTo>
                    <a:pt x="224" y="71"/>
                  </a:lnTo>
                  <a:lnTo>
                    <a:pt x="228" y="73"/>
                  </a:lnTo>
                  <a:lnTo>
                    <a:pt x="232" y="73"/>
                  </a:lnTo>
                  <a:lnTo>
                    <a:pt x="234" y="75"/>
                  </a:lnTo>
                  <a:lnTo>
                    <a:pt x="238" y="75"/>
                  </a:lnTo>
                  <a:lnTo>
                    <a:pt x="243" y="77"/>
                  </a:lnTo>
                  <a:lnTo>
                    <a:pt x="247" y="79"/>
                  </a:lnTo>
                  <a:lnTo>
                    <a:pt x="259" y="79"/>
                  </a:lnTo>
                  <a:lnTo>
                    <a:pt x="261" y="81"/>
                  </a:lnTo>
                  <a:lnTo>
                    <a:pt x="284" y="81"/>
                  </a:lnTo>
                  <a:lnTo>
                    <a:pt x="307" y="81"/>
                  </a:lnTo>
                  <a:lnTo>
                    <a:pt x="309" y="84"/>
                  </a:lnTo>
                  <a:lnTo>
                    <a:pt x="312" y="86"/>
                  </a:lnTo>
                  <a:lnTo>
                    <a:pt x="318" y="90"/>
                  </a:lnTo>
                  <a:lnTo>
                    <a:pt x="320" y="94"/>
                  </a:lnTo>
                  <a:lnTo>
                    <a:pt x="324" y="98"/>
                  </a:lnTo>
                  <a:lnTo>
                    <a:pt x="330" y="102"/>
                  </a:lnTo>
                  <a:lnTo>
                    <a:pt x="332" y="104"/>
                  </a:lnTo>
                  <a:lnTo>
                    <a:pt x="335" y="104"/>
                  </a:lnTo>
                  <a:lnTo>
                    <a:pt x="339" y="107"/>
                  </a:lnTo>
                  <a:lnTo>
                    <a:pt x="345" y="107"/>
                  </a:lnTo>
                  <a:lnTo>
                    <a:pt x="351" y="107"/>
                  </a:lnTo>
                  <a:lnTo>
                    <a:pt x="353" y="107"/>
                  </a:lnTo>
                  <a:lnTo>
                    <a:pt x="355" y="107"/>
                  </a:lnTo>
                  <a:lnTo>
                    <a:pt x="358" y="107"/>
                  </a:lnTo>
                  <a:lnTo>
                    <a:pt x="362" y="107"/>
                  </a:lnTo>
                  <a:lnTo>
                    <a:pt x="364" y="105"/>
                  </a:lnTo>
                  <a:lnTo>
                    <a:pt x="370" y="100"/>
                  </a:lnTo>
                  <a:lnTo>
                    <a:pt x="374" y="98"/>
                  </a:lnTo>
                  <a:lnTo>
                    <a:pt x="376" y="96"/>
                  </a:lnTo>
                  <a:lnTo>
                    <a:pt x="378" y="94"/>
                  </a:lnTo>
                  <a:lnTo>
                    <a:pt x="380" y="90"/>
                  </a:lnTo>
                  <a:lnTo>
                    <a:pt x="381" y="88"/>
                  </a:lnTo>
                  <a:lnTo>
                    <a:pt x="381" y="86"/>
                  </a:lnTo>
                  <a:lnTo>
                    <a:pt x="383" y="81"/>
                  </a:lnTo>
                  <a:lnTo>
                    <a:pt x="383" y="73"/>
                  </a:lnTo>
                  <a:lnTo>
                    <a:pt x="383" y="65"/>
                  </a:lnTo>
                  <a:lnTo>
                    <a:pt x="381" y="61"/>
                  </a:lnTo>
                  <a:lnTo>
                    <a:pt x="378" y="59"/>
                  </a:lnTo>
                  <a:lnTo>
                    <a:pt x="374" y="56"/>
                  </a:lnTo>
                  <a:lnTo>
                    <a:pt x="370" y="50"/>
                  </a:lnTo>
                  <a:lnTo>
                    <a:pt x="368" y="48"/>
                  </a:lnTo>
                  <a:lnTo>
                    <a:pt x="368" y="38"/>
                  </a:lnTo>
                  <a:lnTo>
                    <a:pt x="368" y="29"/>
                  </a:lnTo>
                  <a:lnTo>
                    <a:pt x="370" y="27"/>
                  </a:lnTo>
                  <a:lnTo>
                    <a:pt x="372" y="23"/>
                  </a:lnTo>
                  <a:lnTo>
                    <a:pt x="374" y="21"/>
                  </a:lnTo>
                  <a:lnTo>
                    <a:pt x="378" y="19"/>
                  </a:lnTo>
                  <a:lnTo>
                    <a:pt x="381" y="19"/>
                  </a:lnTo>
                  <a:lnTo>
                    <a:pt x="385" y="17"/>
                  </a:lnTo>
                  <a:lnTo>
                    <a:pt x="389" y="15"/>
                  </a:lnTo>
                  <a:lnTo>
                    <a:pt x="391" y="13"/>
                  </a:lnTo>
                  <a:lnTo>
                    <a:pt x="393" y="11"/>
                  </a:lnTo>
                  <a:lnTo>
                    <a:pt x="395" y="10"/>
                  </a:lnTo>
                  <a:lnTo>
                    <a:pt x="399" y="10"/>
                  </a:lnTo>
                  <a:lnTo>
                    <a:pt x="403" y="8"/>
                  </a:lnTo>
                  <a:lnTo>
                    <a:pt x="406" y="6"/>
                  </a:lnTo>
                  <a:lnTo>
                    <a:pt x="410" y="6"/>
                  </a:lnTo>
                  <a:lnTo>
                    <a:pt x="410" y="4"/>
                  </a:lnTo>
                  <a:lnTo>
                    <a:pt x="412" y="4"/>
                  </a:lnTo>
                  <a:lnTo>
                    <a:pt x="418" y="0"/>
                  </a:lnTo>
                  <a:lnTo>
                    <a:pt x="427" y="0"/>
                  </a:lnTo>
                  <a:lnTo>
                    <a:pt x="437" y="0"/>
                  </a:lnTo>
                  <a:lnTo>
                    <a:pt x="439" y="2"/>
                  </a:lnTo>
                  <a:lnTo>
                    <a:pt x="441" y="2"/>
                  </a:lnTo>
                  <a:lnTo>
                    <a:pt x="445" y="2"/>
                  </a:lnTo>
                  <a:lnTo>
                    <a:pt x="449" y="4"/>
                  </a:lnTo>
                  <a:lnTo>
                    <a:pt x="450" y="8"/>
                  </a:lnTo>
                  <a:lnTo>
                    <a:pt x="456" y="10"/>
                  </a:lnTo>
                  <a:lnTo>
                    <a:pt x="460" y="11"/>
                  </a:lnTo>
                  <a:lnTo>
                    <a:pt x="462" y="13"/>
                  </a:lnTo>
                  <a:lnTo>
                    <a:pt x="464" y="15"/>
                  </a:lnTo>
                  <a:lnTo>
                    <a:pt x="466" y="17"/>
                  </a:lnTo>
                  <a:lnTo>
                    <a:pt x="468" y="19"/>
                  </a:lnTo>
                  <a:lnTo>
                    <a:pt x="470" y="21"/>
                  </a:lnTo>
                  <a:lnTo>
                    <a:pt x="470" y="23"/>
                  </a:lnTo>
                  <a:lnTo>
                    <a:pt x="472" y="25"/>
                  </a:lnTo>
                  <a:lnTo>
                    <a:pt x="474" y="29"/>
                  </a:lnTo>
                  <a:lnTo>
                    <a:pt x="474" y="36"/>
                  </a:lnTo>
                  <a:lnTo>
                    <a:pt x="474" y="46"/>
                  </a:lnTo>
                  <a:lnTo>
                    <a:pt x="475" y="48"/>
                  </a:lnTo>
                  <a:lnTo>
                    <a:pt x="479" y="48"/>
                  </a:lnTo>
                  <a:lnTo>
                    <a:pt x="481" y="48"/>
                  </a:lnTo>
                  <a:lnTo>
                    <a:pt x="485" y="48"/>
                  </a:lnTo>
                  <a:lnTo>
                    <a:pt x="489" y="48"/>
                  </a:lnTo>
                  <a:lnTo>
                    <a:pt x="493" y="48"/>
                  </a:lnTo>
                  <a:lnTo>
                    <a:pt x="500" y="48"/>
                  </a:lnTo>
                  <a:lnTo>
                    <a:pt x="502" y="46"/>
                  </a:lnTo>
                  <a:lnTo>
                    <a:pt x="506" y="46"/>
                  </a:lnTo>
                  <a:lnTo>
                    <a:pt x="506" y="44"/>
                  </a:lnTo>
                  <a:lnTo>
                    <a:pt x="508" y="42"/>
                  </a:lnTo>
                  <a:lnTo>
                    <a:pt x="510" y="42"/>
                  </a:lnTo>
                  <a:lnTo>
                    <a:pt x="514" y="44"/>
                  </a:lnTo>
                  <a:lnTo>
                    <a:pt x="516" y="46"/>
                  </a:lnTo>
                  <a:lnTo>
                    <a:pt x="518" y="48"/>
                  </a:lnTo>
                  <a:lnTo>
                    <a:pt x="520" y="50"/>
                  </a:lnTo>
                  <a:lnTo>
                    <a:pt x="520" y="52"/>
                  </a:lnTo>
                  <a:lnTo>
                    <a:pt x="521" y="54"/>
                  </a:lnTo>
                  <a:lnTo>
                    <a:pt x="523" y="56"/>
                  </a:lnTo>
                  <a:lnTo>
                    <a:pt x="527" y="56"/>
                  </a:lnTo>
                  <a:lnTo>
                    <a:pt x="529" y="58"/>
                  </a:lnTo>
                  <a:lnTo>
                    <a:pt x="537" y="58"/>
                  </a:lnTo>
                  <a:lnTo>
                    <a:pt x="545" y="58"/>
                  </a:lnTo>
                  <a:lnTo>
                    <a:pt x="546" y="61"/>
                  </a:lnTo>
                  <a:lnTo>
                    <a:pt x="548" y="6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69" name="Freeform 56"/>
            <p:cNvSpPr>
              <a:spLocks/>
            </p:cNvSpPr>
            <p:nvPr/>
          </p:nvSpPr>
          <p:spPr bwMode="auto">
            <a:xfrm>
              <a:off x="1523" y="1102"/>
              <a:ext cx="562" cy="516"/>
            </a:xfrm>
            <a:custGeom>
              <a:avLst/>
              <a:gdLst/>
              <a:ahLst/>
              <a:cxnLst>
                <a:cxn ang="0">
                  <a:pos x="543" y="88"/>
                </a:cxn>
                <a:cxn ang="0">
                  <a:pos x="537" y="127"/>
                </a:cxn>
                <a:cxn ang="0">
                  <a:pos x="546" y="150"/>
                </a:cxn>
                <a:cxn ang="0">
                  <a:pos x="554" y="175"/>
                </a:cxn>
                <a:cxn ang="0">
                  <a:pos x="552" y="230"/>
                </a:cxn>
                <a:cxn ang="0">
                  <a:pos x="558" y="294"/>
                </a:cxn>
                <a:cxn ang="0">
                  <a:pos x="558" y="409"/>
                </a:cxn>
                <a:cxn ang="0">
                  <a:pos x="560" y="455"/>
                </a:cxn>
                <a:cxn ang="0">
                  <a:pos x="554" y="480"/>
                </a:cxn>
                <a:cxn ang="0">
                  <a:pos x="527" y="489"/>
                </a:cxn>
                <a:cxn ang="0">
                  <a:pos x="510" y="505"/>
                </a:cxn>
                <a:cxn ang="0">
                  <a:pos x="489" y="487"/>
                </a:cxn>
                <a:cxn ang="0">
                  <a:pos x="470" y="476"/>
                </a:cxn>
                <a:cxn ang="0">
                  <a:pos x="445" y="466"/>
                </a:cxn>
                <a:cxn ang="0">
                  <a:pos x="424" y="453"/>
                </a:cxn>
                <a:cxn ang="0">
                  <a:pos x="399" y="443"/>
                </a:cxn>
                <a:cxn ang="0">
                  <a:pos x="376" y="424"/>
                </a:cxn>
                <a:cxn ang="0">
                  <a:pos x="330" y="409"/>
                </a:cxn>
                <a:cxn ang="0">
                  <a:pos x="307" y="388"/>
                </a:cxn>
                <a:cxn ang="0">
                  <a:pos x="280" y="372"/>
                </a:cxn>
                <a:cxn ang="0">
                  <a:pos x="253" y="368"/>
                </a:cxn>
                <a:cxn ang="0">
                  <a:pos x="232" y="366"/>
                </a:cxn>
                <a:cxn ang="0">
                  <a:pos x="213" y="380"/>
                </a:cxn>
                <a:cxn ang="0">
                  <a:pos x="195" y="386"/>
                </a:cxn>
                <a:cxn ang="0">
                  <a:pos x="170" y="393"/>
                </a:cxn>
                <a:cxn ang="0">
                  <a:pos x="153" y="376"/>
                </a:cxn>
                <a:cxn ang="0">
                  <a:pos x="122" y="366"/>
                </a:cxn>
                <a:cxn ang="0">
                  <a:pos x="92" y="361"/>
                </a:cxn>
                <a:cxn ang="0">
                  <a:pos x="78" y="334"/>
                </a:cxn>
                <a:cxn ang="0">
                  <a:pos x="55" y="322"/>
                </a:cxn>
                <a:cxn ang="0">
                  <a:pos x="30" y="317"/>
                </a:cxn>
                <a:cxn ang="0">
                  <a:pos x="21" y="292"/>
                </a:cxn>
                <a:cxn ang="0">
                  <a:pos x="2" y="267"/>
                </a:cxn>
                <a:cxn ang="0">
                  <a:pos x="11" y="240"/>
                </a:cxn>
                <a:cxn ang="0">
                  <a:pos x="21" y="215"/>
                </a:cxn>
                <a:cxn ang="0">
                  <a:pos x="19" y="167"/>
                </a:cxn>
                <a:cxn ang="0">
                  <a:pos x="21" y="134"/>
                </a:cxn>
                <a:cxn ang="0">
                  <a:pos x="26" y="98"/>
                </a:cxn>
                <a:cxn ang="0">
                  <a:pos x="36" y="71"/>
                </a:cxn>
                <a:cxn ang="0">
                  <a:pos x="51" y="52"/>
                </a:cxn>
                <a:cxn ang="0">
                  <a:pos x="74" y="38"/>
                </a:cxn>
                <a:cxn ang="0">
                  <a:pos x="92" y="25"/>
                </a:cxn>
                <a:cxn ang="0">
                  <a:pos x="101" y="10"/>
                </a:cxn>
                <a:cxn ang="0">
                  <a:pos x="134" y="15"/>
                </a:cxn>
                <a:cxn ang="0">
                  <a:pos x="165" y="11"/>
                </a:cxn>
                <a:cxn ang="0">
                  <a:pos x="195" y="27"/>
                </a:cxn>
                <a:cxn ang="0">
                  <a:pos x="213" y="46"/>
                </a:cxn>
                <a:cxn ang="0">
                  <a:pos x="238" y="75"/>
                </a:cxn>
                <a:cxn ang="0">
                  <a:pos x="318" y="90"/>
                </a:cxn>
                <a:cxn ang="0">
                  <a:pos x="353" y="107"/>
                </a:cxn>
                <a:cxn ang="0">
                  <a:pos x="380" y="90"/>
                </a:cxn>
                <a:cxn ang="0">
                  <a:pos x="370" y="50"/>
                </a:cxn>
                <a:cxn ang="0">
                  <a:pos x="385" y="17"/>
                </a:cxn>
                <a:cxn ang="0">
                  <a:pos x="410" y="4"/>
                </a:cxn>
                <a:cxn ang="0">
                  <a:pos x="450" y="8"/>
                </a:cxn>
                <a:cxn ang="0">
                  <a:pos x="472" y="25"/>
                </a:cxn>
                <a:cxn ang="0">
                  <a:pos x="493" y="48"/>
                </a:cxn>
                <a:cxn ang="0">
                  <a:pos x="518" y="48"/>
                </a:cxn>
                <a:cxn ang="0">
                  <a:pos x="546" y="61"/>
                </a:cxn>
              </a:cxnLst>
              <a:rect l="0" t="0" r="r" b="b"/>
              <a:pathLst>
                <a:path w="562" h="516">
                  <a:moveTo>
                    <a:pt x="548" y="61"/>
                  </a:moveTo>
                  <a:lnTo>
                    <a:pt x="546" y="65"/>
                  </a:lnTo>
                  <a:lnTo>
                    <a:pt x="543" y="69"/>
                  </a:lnTo>
                  <a:lnTo>
                    <a:pt x="543" y="73"/>
                  </a:lnTo>
                  <a:lnTo>
                    <a:pt x="541" y="75"/>
                  </a:lnTo>
                  <a:lnTo>
                    <a:pt x="541" y="81"/>
                  </a:lnTo>
                  <a:lnTo>
                    <a:pt x="543" y="84"/>
                  </a:lnTo>
                  <a:lnTo>
                    <a:pt x="543" y="86"/>
                  </a:lnTo>
                  <a:lnTo>
                    <a:pt x="543" y="88"/>
                  </a:lnTo>
                  <a:lnTo>
                    <a:pt x="545" y="92"/>
                  </a:lnTo>
                  <a:lnTo>
                    <a:pt x="545" y="102"/>
                  </a:lnTo>
                  <a:lnTo>
                    <a:pt x="545" y="109"/>
                  </a:lnTo>
                  <a:lnTo>
                    <a:pt x="543" y="113"/>
                  </a:lnTo>
                  <a:lnTo>
                    <a:pt x="543" y="115"/>
                  </a:lnTo>
                  <a:lnTo>
                    <a:pt x="541" y="117"/>
                  </a:lnTo>
                  <a:lnTo>
                    <a:pt x="539" y="119"/>
                  </a:lnTo>
                  <a:lnTo>
                    <a:pt x="539" y="123"/>
                  </a:lnTo>
                  <a:lnTo>
                    <a:pt x="537" y="127"/>
                  </a:lnTo>
                  <a:lnTo>
                    <a:pt x="537" y="129"/>
                  </a:lnTo>
                  <a:lnTo>
                    <a:pt x="537" y="130"/>
                  </a:lnTo>
                  <a:lnTo>
                    <a:pt x="539" y="134"/>
                  </a:lnTo>
                  <a:lnTo>
                    <a:pt x="539" y="136"/>
                  </a:lnTo>
                  <a:lnTo>
                    <a:pt x="541" y="138"/>
                  </a:lnTo>
                  <a:lnTo>
                    <a:pt x="541" y="140"/>
                  </a:lnTo>
                  <a:lnTo>
                    <a:pt x="543" y="144"/>
                  </a:lnTo>
                  <a:lnTo>
                    <a:pt x="545" y="146"/>
                  </a:lnTo>
                  <a:lnTo>
                    <a:pt x="546" y="150"/>
                  </a:lnTo>
                  <a:lnTo>
                    <a:pt x="548" y="152"/>
                  </a:lnTo>
                  <a:lnTo>
                    <a:pt x="548" y="152"/>
                  </a:lnTo>
                  <a:lnTo>
                    <a:pt x="548" y="155"/>
                  </a:lnTo>
                  <a:lnTo>
                    <a:pt x="550" y="157"/>
                  </a:lnTo>
                  <a:lnTo>
                    <a:pt x="550" y="159"/>
                  </a:lnTo>
                  <a:lnTo>
                    <a:pt x="552" y="161"/>
                  </a:lnTo>
                  <a:lnTo>
                    <a:pt x="552" y="165"/>
                  </a:lnTo>
                  <a:lnTo>
                    <a:pt x="554" y="167"/>
                  </a:lnTo>
                  <a:lnTo>
                    <a:pt x="554" y="175"/>
                  </a:lnTo>
                  <a:lnTo>
                    <a:pt x="554" y="180"/>
                  </a:lnTo>
                  <a:lnTo>
                    <a:pt x="552" y="184"/>
                  </a:lnTo>
                  <a:lnTo>
                    <a:pt x="552" y="194"/>
                  </a:lnTo>
                  <a:lnTo>
                    <a:pt x="552" y="205"/>
                  </a:lnTo>
                  <a:lnTo>
                    <a:pt x="550" y="207"/>
                  </a:lnTo>
                  <a:lnTo>
                    <a:pt x="550" y="215"/>
                  </a:lnTo>
                  <a:lnTo>
                    <a:pt x="550" y="221"/>
                  </a:lnTo>
                  <a:lnTo>
                    <a:pt x="552" y="224"/>
                  </a:lnTo>
                  <a:lnTo>
                    <a:pt x="552" y="230"/>
                  </a:lnTo>
                  <a:lnTo>
                    <a:pt x="552" y="236"/>
                  </a:lnTo>
                  <a:lnTo>
                    <a:pt x="554" y="242"/>
                  </a:lnTo>
                  <a:lnTo>
                    <a:pt x="554" y="249"/>
                  </a:lnTo>
                  <a:lnTo>
                    <a:pt x="554" y="257"/>
                  </a:lnTo>
                  <a:lnTo>
                    <a:pt x="556" y="263"/>
                  </a:lnTo>
                  <a:lnTo>
                    <a:pt x="556" y="269"/>
                  </a:lnTo>
                  <a:lnTo>
                    <a:pt x="556" y="276"/>
                  </a:lnTo>
                  <a:lnTo>
                    <a:pt x="558" y="280"/>
                  </a:lnTo>
                  <a:lnTo>
                    <a:pt x="558" y="294"/>
                  </a:lnTo>
                  <a:lnTo>
                    <a:pt x="558" y="305"/>
                  </a:lnTo>
                  <a:lnTo>
                    <a:pt x="556" y="309"/>
                  </a:lnTo>
                  <a:lnTo>
                    <a:pt x="556" y="322"/>
                  </a:lnTo>
                  <a:lnTo>
                    <a:pt x="554" y="334"/>
                  </a:lnTo>
                  <a:lnTo>
                    <a:pt x="554" y="380"/>
                  </a:lnTo>
                  <a:lnTo>
                    <a:pt x="556" y="382"/>
                  </a:lnTo>
                  <a:lnTo>
                    <a:pt x="556" y="393"/>
                  </a:lnTo>
                  <a:lnTo>
                    <a:pt x="556" y="405"/>
                  </a:lnTo>
                  <a:lnTo>
                    <a:pt x="558" y="409"/>
                  </a:lnTo>
                  <a:lnTo>
                    <a:pt x="558" y="413"/>
                  </a:lnTo>
                  <a:lnTo>
                    <a:pt x="558" y="416"/>
                  </a:lnTo>
                  <a:lnTo>
                    <a:pt x="560" y="420"/>
                  </a:lnTo>
                  <a:lnTo>
                    <a:pt x="560" y="428"/>
                  </a:lnTo>
                  <a:lnTo>
                    <a:pt x="560" y="437"/>
                  </a:lnTo>
                  <a:lnTo>
                    <a:pt x="562" y="441"/>
                  </a:lnTo>
                  <a:lnTo>
                    <a:pt x="562" y="447"/>
                  </a:lnTo>
                  <a:lnTo>
                    <a:pt x="562" y="453"/>
                  </a:lnTo>
                  <a:lnTo>
                    <a:pt x="560" y="455"/>
                  </a:lnTo>
                  <a:lnTo>
                    <a:pt x="560" y="459"/>
                  </a:lnTo>
                  <a:lnTo>
                    <a:pt x="560" y="460"/>
                  </a:lnTo>
                  <a:lnTo>
                    <a:pt x="558" y="462"/>
                  </a:lnTo>
                  <a:lnTo>
                    <a:pt x="558" y="466"/>
                  </a:lnTo>
                  <a:lnTo>
                    <a:pt x="558" y="470"/>
                  </a:lnTo>
                  <a:lnTo>
                    <a:pt x="556" y="474"/>
                  </a:lnTo>
                  <a:lnTo>
                    <a:pt x="556" y="476"/>
                  </a:lnTo>
                  <a:lnTo>
                    <a:pt x="556" y="480"/>
                  </a:lnTo>
                  <a:lnTo>
                    <a:pt x="554" y="480"/>
                  </a:lnTo>
                  <a:lnTo>
                    <a:pt x="554" y="484"/>
                  </a:lnTo>
                  <a:lnTo>
                    <a:pt x="548" y="484"/>
                  </a:lnTo>
                  <a:lnTo>
                    <a:pt x="545" y="484"/>
                  </a:lnTo>
                  <a:lnTo>
                    <a:pt x="541" y="485"/>
                  </a:lnTo>
                  <a:lnTo>
                    <a:pt x="539" y="485"/>
                  </a:lnTo>
                  <a:lnTo>
                    <a:pt x="535" y="487"/>
                  </a:lnTo>
                  <a:lnTo>
                    <a:pt x="531" y="487"/>
                  </a:lnTo>
                  <a:lnTo>
                    <a:pt x="529" y="487"/>
                  </a:lnTo>
                  <a:lnTo>
                    <a:pt x="527" y="489"/>
                  </a:lnTo>
                  <a:lnTo>
                    <a:pt x="525" y="489"/>
                  </a:lnTo>
                  <a:lnTo>
                    <a:pt x="523" y="491"/>
                  </a:lnTo>
                  <a:lnTo>
                    <a:pt x="523" y="503"/>
                  </a:lnTo>
                  <a:lnTo>
                    <a:pt x="523" y="516"/>
                  </a:lnTo>
                  <a:lnTo>
                    <a:pt x="521" y="514"/>
                  </a:lnTo>
                  <a:lnTo>
                    <a:pt x="518" y="512"/>
                  </a:lnTo>
                  <a:lnTo>
                    <a:pt x="516" y="508"/>
                  </a:lnTo>
                  <a:lnTo>
                    <a:pt x="512" y="507"/>
                  </a:lnTo>
                  <a:lnTo>
                    <a:pt x="510" y="505"/>
                  </a:lnTo>
                  <a:lnTo>
                    <a:pt x="510" y="503"/>
                  </a:lnTo>
                  <a:lnTo>
                    <a:pt x="510" y="499"/>
                  </a:lnTo>
                  <a:lnTo>
                    <a:pt x="506" y="499"/>
                  </a:lnTo>
                  <a:lnTo>
                    <a:pt x="502" y="499"/>
                  </a:lnTo>
                  <a:lnTo>
                    <a:pt x="500" y="495"/>
                  </a:lnTo>
                  <a:lnTo>
                    <a:pt x="498" y="493"/>
                  </a:lnTo>
                  <a:lnTo>
                    <a:pt x="495" y="493"/>
                  </a:lnTo>
                  <a:lnTo>
                    <a:pt x="493" y="489"/>
                  </a:lnTo>
                  <a:lnTo>
                    <a:pt x="489" y="487"/>
                  </a:lnTo>
                  <a:lnTo>
                    <a:pt x="487" y="487"/>
                  </a:lnTo>
                  <a:lnTo>
                    <a:pt x="485" y="485"/>
                  </a:lnTo>
                  <a:lnTo>
                    <a:pt x="483" y="485"/>
                  </a:lnTo>
                  <a:lnTo>
                    <a:pt x="481" y="484"/>
                  </a:lnTo>
                  <a:lnTo>
                    <a:pt x="481" y="482"/>
                  </a:lnTo>
                  <a:lnTo>
                    <a:pt x="477" y="482"/>
                  </a:lnTo>
                  <a:lnTo>
                    <a:pt x="475" y="480"/>
                  </a:lnTo>
                  <a:lnTo>
                    <a:pt x="472" y="480"/>
                  </a:lnTo>
                  <a:lnTo>
                    <a:pt x="470" y="476"/>
                  </a:lnTo>
                  <a:lnTo>
                    <a:pt x="468" y="476"/>
                  </a:lnTo>
                  <a:lnTo>
                    <a:pt x="466" y="474"/>
                  </a:lnTo>
                  <a:lnTo>
                    <a:pt x="460" y="474"/>
                  </a:lnTo>
                  <a:lnTo>
                    <a:pt x="456" y="474"/>
                  </a:lnTo>
                  <a:lnTo>
                    <a:pt x="452" y="472"/>
                  </a:lnTo>
                  <a:lnTo>
                    <a:pt x="450" y="470"/>
                  </a:lnTo>
                  <a:lnTo>
                    <a:pt x="450" y="468"/>
                  </a:lnTo>
                  <a:lnTo>
                    <a:pt x="447" y="468"/>
                  </a:lnTo>
                  <a:lnTo>
                    <a:pt x="445" y="466"/>
                  </a:lnTo>
                  <a:lnTo>
                    <a:pt x="445" y="464"/>
                  </a:lnTo>
                  <a:lnTo>
                    <a:pt x="441" y="464"/>
                  </a:lnTo>
                  <a:lnTo>
                    <a:pt x="441" y="462"/>
                  </a:lnTo>
                  <a:lnTo>
                    <a:pt x="439" y="460"/>
                  </a:lnTo>
                  <a:lnTo>
                    <a:pt x="435" y="460"/>
                  </a:lnTo>
                  <a:lnTo>
                    <a:pt x="431" y="459"/>
                  </a:lnTo>
                  <a:lnTo>
                    <a:pt x="429" y="457"/>
                  </a:lnTo>
                  <a:lnTo>
                    <a:pt x="427" y="457"/>
                  </a:lnTo>
                  <a:lnTo>
                    <a:pt x="424" y="453"/>
                  </a:lnTo>
                  <a:lnTo>
                    <a:pt x="420" y="451"/>
                  </a:lnTo>
                  <a:lnTo>
                    <a:pt x="416" y="451"/>
                  </a:lnTo>
                  <a:lnTo>
                    <a:pt x="414" y="449"/>
                  </a:lnTo>
                  <a:lnTo>
                    <a:pt x="412" y="447"/>
                  </a:lnTo>
                  <a:lnTo>
                    <a:pt x="410" y="447"/>
                  </a:lnTo>
                  <a:lnTo>
                    <a:pt x="406" y="447"/>
                  </a:lnTo>
                  <a:lnTo>
                    <a:pt x="403" y="445"/>
                  </a:lnTo>
                  <a:lnTo>
                    <a:pt x="401" y="443"/>
                  </a:lnTo>
                  <a:lnTo>
                    <a:pt x="399" y="443"/>
                  </a:lnTo>
                  <a:lnTo>
                    <a:pt x="395" y="441"/>
                  </a:lnTo>
                  <a:lnTo>
                    <a:pt x="393" y="439"/>
                  </a:lnTo>
                  <a:lnTo>
                    <a:pt x="391" y="437"/>
                  </a:lnTo>
                  <a:lnTo>
                    <a:pt x="387" y="436"/>
                  </a:lnTo>
                  <a:lnTo>
                    <a:pt x="385" y="432"/>
                  </a:lnTo>
                  <a:lnTo>
                    <a:pt x="383" y="430"/>
                  </a:lnTo>
                  <a:lnTo>
                    <a:pt x="381" y="428"/>
                  </a:lnTo>
                  <a:lnTo>
                    <a:pt x="380" y="426"/>
                  </a:lnTo>
                  <a:lnTo>
                    <a:pt x="376" y="424"/>
                  </a:lnTo>
                  <a:lnTo>
                    <a:pt x="372" y="420"/>
                  </a:lnTo>
                  <a:lnTo>
                    <a:pt x="366" y="418"/>
                  </a:lnTo>
                  <a:lnTo>
                    <a:pt x="362" y="416"/>
                  </a:lnTo>
                  <a:lnTo>
                    <a:pt x="358" y="414"/>
                  </a:lnTo>
                  <a:lnTo>
                    <a:pt x="339" y="414"/>
                  </a:lnTo>
                  <a:lnTo>
                    <a:pt x="339" y="413"/>
                  </a:lnTo>
                  <a:lnTo>
                    <a:pt x="335" y="413"/>
                  </a:lnTo>
                  <a:lnTo>
                    <a:pt x="332" y="411"/>
                  </a:lnTo>
                  <a:lnTo>
                    <a:pt x="330" y="409"/>
                  </a:lnTo>
                  <a:lnTo>
                    <a:pt x="326" y="403"/>
                  </a:lnTo>
                  <a:lnTo>
                    <a:pt x="322" y="401"/>
                  </a:lnTo>
                  <a:lnTo>
                    <a:pt x="318" y="401"/>
                  </a:lnTo>
                  <a:lnTo>
                    <a:pt x="316" y="397"/>
                  </a:lnTo>
                  <a:lnTo>
                    <a:pt x="312" y="397"/>
                  </a:lnTo>
                  <a:lnTo>
                    <a:pt x="312" y="395"/>
                  </a:lnTo>
                  <a:lnTo>
                    <a:pt x="309" y="391"/>
                  </a:lnTo>
                  <a:lnTo>
                    <a:pt x="309" y="389"/>
                  </a:lnTo>
                  <a:lnTo>
                    <a:pt x="307" y="388"/>
                  </a:lnTo>
                  <a:lnTo>
                    <a:pt x="303" y="388"/>
                  </a:lnTo>
                  <a:lnTo>
                    <a:pt x="301" y="386"/>
                  </a:lnTo>
                  <a:lnTo>
                    <a:pt x="295" y="382"/>
                  </a:lnTo>
                  <a:lnTo>
                    <a:pt x="293" y="382"/>
                  </a:lnTo>
                  <a:lnTo>
                    <a:pt x="291" y="380"/>
                  </a:lnTo>
                  <a:lnTo>
                    <a:pt x="287" y="378"/>
                  </a:lnTo>
                  <a:lnTo>
                    <a:pt x="285" y="374"/>
                  </a:lnTo>
                  <a:lnTo>
                    <a:pt x="284" y="374"/>
                  </a:lnTo>
                  <a:lnTo>
                    <a:pt x="280" y="372"/>
                  </a:lnTo>
                  <a:lnTo>
                    <a:pt x="278" y="372"/>
                  </a:lnTo>
                  <a:lnTo>
                    <a:pt x="274" y="372"/>
                  </a:lnTo>
                  <a:lnTo>
                    <a:pt x="272" y="372"/>
                  </a:lnTo>
                  <a:lnTo>
                    <a:pt x="270" y="370"/>
                  </a:lnTo>
                  <a:lnTo>
                    <a:pt x="266" y="368"/>
                  </a:lnTo>
                  <a:lnTo>
                    <a:pt x="262" y="368"/>
                  </a:lnTo>
                  <a:lnTo>
                    <a:pt x="261" y="368"/>
                  </a:lnTo>
                  <a:lnTo>
                    <a:pt x="257" y="366"/>
                  </a:lnTo>
                  <a:lnTo>
                    <a:pt x="253" y="368"/>
                  </a:lnTo>
                  <a:lnTo>
                    <a:pt x="251" y="366"/>
                  </a:lnTo>
                  <a:lnTo>
                    <a:pt x="247" y="366"/>
                  </a:lnTo>
                  <a:lnTo>
                    <a:pt x="245" y="365"/>
                  </a:lnTo>
                  <a:lnTo>
                    <a:pt x="243" y="363"/>
                  </a:lnTo>
                  <a:lnTo>
                    <a:pt x="243" y="363"/>
                  </a:lnTo>
                  <a:lnTo>
                    <a:pt x="238" y="363"/>
                  </a:lnTo>
                  <a:lnTo>
                    <a:pt x="236" y="363"/>
                  </a:lnTo>
                  <a:lnTo>
                    <a:pt x="234" y="365"/>
                  </a:lnTo>
                  <a:lnTo>
                    <a:pt x="232" y="366"/>
                  </a:lnTo>
                  <a:lnTo>
                    <a:pt x="230" y="368"/>
                  </a:lnTo>
                  <a:lnTo>
                    <a:pt x="228" y="372"/>
                  </a:lnTo>
                  <a:lnTo>
                    <a:pt x="228" y="374"/>
                  </a:lnTo>
                  <a:lnTo>
                    <a:pt x="224" y="374"/>
                  </a:lnTo>
                  <a:lnTo>
                    <a:pt x="222" y="376"/>
                  </a:lnTo>
                  <a:lnTo>
                    <a:pt x="220" y="376"/>
                  </a:lnTo>
                  <a:lnTo>
                    <a:pt x="218" y="378"/>
                  </a:lnTo>
                  <a:lnTo>
                    <a:pt x="216" y="380"/>
                  </a:lnTo>
                  <a:lnTo>
                    <a:pt x="213" y="380"/>
                  </a:lnTo>
                  <a:lnTo>
                    <a:pt x="211" y="380"/>
                  </a:lnTo>
                  <a:lnTo>
                    <a:pt x="209" y="382"/>
                  </a:lnTo>
                  <a:lnTo>
                    <a:pt x="207" y="382"/>
                  </a:lnTo>
                  <a:lnTo>
                    <a:pt x="205" y="382"/>
                  </a:lnTo>
                  <a:lnTo>
                    <a:pt x="203" y="384"/>
                  </a:lnTo>
                  <a:lnTo>
                    <a:pt x="203" y="386"/>
                  </a:lnTo>
                  <a:lnTo>
                    <a:pt x="199" y="388"/>
                  </a:lnTo>
                  <a:lnTo>
                    <a:pt x="195" y="388"/>
                  </a:lnTo>
                  <a:lnTo>
                    <a:pt x="195" y="386"/>
                  </a:lnTo>
                  <a:lnTo>
                    <a:pt x="193" y="386"/>
                  </a:lnTo>
                  <a:lnTo>
                    <a:pt x="191" y="388"/>
                  </a:lnTo>
                  <a:lnTo>
                    <a:pt x="188" y="388"/>
                  </a:lnTo>
                  <a:lnTo>
                    <a:pt x="186" y="388"/>
                  </a:lnTo>
                  <a:lnTo>
                    <a:pt x="182" y="389"/>
                  </a:lnTo>
                  <a:lnTo>
                    <a:pt x="176" y="389"/>
                  </a:lnTo>
                  <a:lnTo>
                    <a:pt x="174" y="391"/>
                  </a:lnTo>
                  <a:lnTo>
                    <a:pt x="174" y="393"/>
                  </a:lnTo>
                  <a:lnTo>
                    <a:pt x="170" y="393"/>
                  </a:lnTo>
                  <a:lnTo>
                    <a:pt x="170" y="395"/>
                  </a:lnTo>
                  <a:lnTo>
                    <a:pt x="167" y="393"/>
                  </a:lnTo>
                  <a:lnTo>
                    <a:pt x="165" y="389"/>
                  </a:lnTo>
                  <a:lnTo>
                    <a:pt x="163" y="386"/>
                  </a:lnTo>
                  <a:lnTo>
                    <a:pt x="161" y="384"/>
                  </a:lnTo>
                  <a:lnTo>
                    <a:pt x="159" y="382"/>
                  </a:lnTo>
                  <a:lnTo>
                    <a:pt x="157" y="380"/>
                  </a:lnTo>
                  <a:lnTo>
                    <a:pt x="155" y="380"/>
                  </a:lnTo>
                  <a:lnTo>
                    <a:pt x="153" y="376"/>
                  </a:lnTo>
                  <a:lnTo>
                    <a:pt x="151" y="374"/>
                  </a:lnTo>
                  <a:lnTo>
                    <a:pt x="149" y="372"/>
                  </a:lnTo>
                  <a:lnTo>
                    <a:pt x="147" y="370"/>
                  </a:lnTo>
                  <a:lnTo>
                    <a:pt x="147" y="368"/>
                  </a:lnTo>
                  <a:lnTo>
                    <a:pt x="134" y="368"/>
                  </a:lnTo>
                  <a:lnTo>
                    <a:pt x="132" y="366"/>
                  </a:lnTo>
                  <a:lnTo>
                    <a:pt x="128" y="366"/>
                  </a:lnTo>
                  <a:lnTo>
                    <a:pt x="124" y="366"/>
                  </a:lnTo>
                  <a:lnTo>
                    <a:pt x="122" y="366"/>
                  </a:lnTo>
                  <a:lnTo>
                    <a:pt x="119" y="365"/>
                  </a:lnTo>
                  <a:lnTo>
                    <a:pt x="119" y="365"/>
                  </a:lnTo>
                  <a:lnTo>
                    <a:pt x="115" y="363"/>
                  </a:lnTo>
                  <a:lnTo>
                    <a:pt x="115" y="363"/>
                  </a:lnTo>
                  <a:lnTo>
                    <a:pt x="109" y="363"/>
                  </a:lnTo>
                  <a:lnTo>
                    <a:pt x="103" y="363"/>
                  </a:lnTo>
                  <a:lnTo>
                    <a:pt x="99" y="361"/>
                  </a:lnTo>
                  <a:lnTo>
                    <a:pt x="96" y="361"/>
                  </a:lnTo>
                  <a:lnTo>
                    <a:pt x="92" y="361"/>
                  </a:lnTo>
                  <a:lnTo>
                    <a:pt x="92" y="351"/>
                  </a:lnTo>
                  <a:lnTo>
                    <a:pt x="90" y="349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88" y="342"/>
                  </a:lnTo>
                  <a:lnTo>
                    <a:pt x="86" y="342"/>
                  </a:lnTo>
                  <a:lnTo>
                    <a:pt x="84" y="338"/>
                  </a:lnTo>
                  <a:lnTo>
                    <a:pt x="82" y="336"/>
                  </a:lnTo>
                  <a:lnTo>
                    <a:pt x="78" y="334"/>
                  </a:lnTo>
                  <a:lnTo>
                    <a:pt x="76" y="332"/>
                  </a:lnTo>
                  <a:lnTo>
                    <a:pt x="76" y="330"/>
                  </a:lnTo>
                  <a:lnTo>
                    <a:pt x="74" y="326"/>
                  </a:lnTo>
                  <a:lnTo>
                    <a:pt x="71" y="324"/>
                  </a:lnTo>
                  <a:lnTo>
                    <a:pt x="67" y="324"/>
                  </a:lnTo>
                  <a:lnTo>
                    <a:pt x="65" y="322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5" y="322"/>
                  </a:lnTo>
                  <a:lnTo>
                    <a:pt x="53" y="322"/>
                  </a:lnTo>
                  <a:lnTo>
                    <a:pt x="49" y="322"/>
                  </a:lnTo>
                  <a:lnTo>
                    <a:pt x="46" y="320"/>
                  </a:lnTo>
                  <a:lnTo>
                    <a:pt x="44" y="320"/>
                  </a:lnTo>
                  <a:lnTo>
                    <a:pt x="40" y="320"/>
                  </a:lnTo>
                  <a:lnTo>
                    <a:pt x="38" y="318"/>
                  </a:lnTo>
                  <a:lnTo>
                    <a:pt x="36" y="318"/>
                  </a:lnTo>
                  <a:lnTo>
                    <a:pt x="32" y="317"/>
                  </a:lnTo>
                  <a:lnTo>
                    <a:pt x="30" y="317"/>
                  </a:lnTo>
                  <a:lnTo>
                    <a:pt x="28" y="315"/>
                  </a:lnTo>
                  <a:lnTo>
                    <a:pt x="28" y="313"/>
                  </a:lnTo>
                  <a:lnTo>
                    <a:pt x="25" y="311"/>
                  </a:lnTo>
                  <a:lnTo>
                    <a:pt x="21" y="307"/>
                  </a:lnTo>
                  <a:lnTo>
                    <a:pt x="21" y="303"/>
                  </a:lnTo>
                  <a:lnTo>
                    <a:pt x="19" y="301"/>
                  </a:lnTo>
                  <a:lnTo>
                    <a:pt x="19" y="297"/>
                  </a:lnTo>
                  <a:lnTo>
                    <a:pt x="21" y="294"/>
                  </a:lnTo>
                  <a:lnTo>
                    <a:pt x="21" y="292"/>
                  </a:lnTo>
                  <a:lnTo>
                    <a:pt x="21" y="288"/>
                  </a:lnTo>
                  <a:lnTo>
                    <a:pt x="19" y="288"/>
                  </a:lnTo>
                  <a:lnTo>
                    <a:pt x="19" y="284"/>
                  </a:lnTo>
                  <a:lnTo>
                    <a:pt x="17" y="282"/>
                  </a:lnTo>
                  <a:lnTo>
                    <a:pt x="15" y="278"/>
                  </a:lnTo>
                  <a:lnTo>
                    <a:pt x="13" y="276"/>
                  </a:lnTo>
                  <a:lnTo>
                    <a:pt x="7" y="272"/>
                  </a:lnTo>
                  <a:lnTo>
                    <a:pt x="3" y="269"/>
                  </a:lnTo>
                  <a:lnTo>
                    <a:pt x="2" y="267"/>
                  </a:lnTo>
                  <a:lnTo>
                    <a:pt x="0" y="265"/>
                  </a:lnTo>
                  <a:lnTo>
                    <a:pt x="0" y="259"/>
                  </a:lnTo>
                  <a:lnTo>
                    <a:pt x="0" y="251"/>
                  </a:lnTo>
                  <a:lnTo>
                    <a:pt x="2" y="249"/>
                  </a:lnTo>
                  <a:lnTo>
                    <a:pt x="3" y="246"/>
                  </a:lnTo>
                  <a:lnTo>
                    <a:pt x="5" y="244"/>
                  </a:lnTo>
                  <a:lnTo>
                    <a:pt x="7" y="244"/>
                  </a:lnTo>
                  <a:lnTo>
                    <a:pt x="9" y="242"/>
                  </a:lnTo>
                  <a:lnTo>
                    <a:pt x="11" y="240"/>
                  </a:lnTo>
                  <a:lnTo>
                    <a:pt x="15" y="240"/>
                  </a:lnTo>
                  <a:lnTo>
                    <a:pt x="17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21" y="230"/>
                  </a:lnTo>
                  <a:lnTo>
                    <a:pt x="23" y="226"/>
                  </a:lnTo>
                  <a:lnTo>
                    <a:pt x="21" y="224"/>
                  </a:lnTo>
                  <a:lnTo>
                    <a:pt x="21" y="221"/>
                  </a:lnTo>
                  <a:lnTo>
                    <a:pt x="21" y="215"/>
                  </a:lnTo>
                  <a:lnTo>
                    <a:pt x="19" y="213"/>
                  </a:lnTo>
                  <a:lnTo>
                    <a:pt x="19" y="203"/>
                  </a:lnTo>
                  <a:lnTo>
                    <a:pt x="19" y="194"/>
                  </a:lnTo>
                  <a:lnTo>
                    <a:pt x="21" y="192"/>
                  </a:lnTo>
                  <a:lnTo>
                    <a:pt x="21" y="186"/>
                  </a:lnTo>
                  <a:lnTo>
                    <a:pt x="19" y="186"/>
                  </a:lnTo>
                  <a:lnTo>
                    <a:pt x="17" y="186"/>
                  </a:lnTo>
                  <a:lnTo>
                    <a:pt x="17" y="169"/>
                  </a:lnTo>
                  <a:lnTo>
                    <a:pt x="19" y="167"/>
                  </a:lnTo>
                  <a:lnTo>
                    <a:pt x="19" y="165"/>
                  </a:lnTo>
                  <a:lnTo>
                    <a:pt x="21" y="163"/>
                  </a:lnTo>
                  <a:lnTo>
                    <a:pt x="21" y="161"/>
                  </a:lnTo>
                  <a:lnTo>
                    <a:pt x="23" y="159"/>
                  </a:lnTo>
                  <a:lnTo>
                    <a:pt x="23" y="152"/>
                  </a:lnTo>
                  <a:lnTo>
                    <a:pt x="23" y="144"/>
                  </a:lnTo>
                  <a:lnTo>
                    <a:pt x="21" y="140"/>
                  </a:lnTo>
                  <a:lnTo>
                    <a:pt x="21" y="136"/>
                  </a:lnTo>
                  <a:lnTo>
                    <a:pt x="21" y="134"/>
                  </a:lnTo>
                  <a:lnTo>
                    <a:pt x="19" y="132"/>
                  </a:lnTo>
                  <a:lnTo>
                    <a:pt x="19" y="130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7" y="113"/>
                  </a:lnTo>
                  <a:lnTo>
                    <a:pt x="17" y="102"/>
                  </a:lnTo>
                  <a:lnTo>
                    <a:pt x="19" y="100"/>
                  </a:lnTo>
                  <a:lnTo>
                    <a:pt x="23" y="100"/>
                  </a:lnTo>
                  <a:lnTo>
                    <a:pt x="26" y="98"/>
                  </a:lnTo>
                  <a:lnTo>
                    <a:pt x="28" y="96"/>
                  </a:lnTo>
                  <a:lnTo>
                    <a:pt x="32" y="94"/>
                  </a:lnTo>
                  <a:lnTo>
                    <a:pt x="34" y="92"/>
                  </a:lnTo>
                  <a:lnTo>
                    <a:pt x="34" y="88"/>
                  </a:lnTo>
                  <a:lnTo>
                    <a:pt x="36" y="86"/>
                  </a:lnTo>
                  <a:lnTo>
                    <a:pt x="36" y="81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1"/>
                  </a:lnTo>
                  <a:lnTo>
                    <a:pt x="38" y="67"/>
                  </a:lnTo>
                  <a:lnTo>
                    <a:pt x="40" y="65"/>
                  </a:lnTo>
                  <a:lnTo>
                    <a:pt x="42" y="63"/>
                  </a:lnTo>
                  <a:lnTo>
                    <a:pt x="42" y="59"/>
                  </a:lnTo>
                  <a:lnTo>
                    <a:pt x="44" y="58"/>
                  </a:lnTo>
                  <a:lnTo>
                    <a:pt x="44" y="56"/>
                  </a:lnTo>
                  <a:lnTo>
                    <a:pt x="46" y="54"/>
                  </a:lnTo>
                  <a:lnTo>
                    <a:pt x="48" y="52"/>
                  </a:lnTo>
                  <a:lnTo>
                    <a:pt x="51" y="52"/>
                  </a:lnTo>
                  <a:lnTo>
                    <a:pt x="55" y="50"/>
                  </a:lnTo>
                  <a:lnTo>
                    <a:pt x="59" y="48"/>
                  </a:lnTo>
                  <a:lnTo>
                    <a:pt x="63" y="48"/>
                  </a:lnTo>
                  <a:lnTo>
                    <a:pt x="65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3" y="44"/>
                  </a:lnTo>
                  <a:lnTo>
                    <a:pt x="73" y="40"/>
                  </a:lnTo>
                  <a:lnTo>
                    <a:pt x="74" y="38"/>
                  </a:lnTo>
                  <a:lnTo>
                    <a:pt x="76" y="36"/>
                  </a:lnTo>
                  <a:lnTo>
                    <a:pt x="76" y="34"/>
                  </a:lnTo>
                  <a:lnTo>
                    <a:pt x="78" y="33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6" y="23"/>
                  </a:lnTo>
                  <a:lnTo>
                    <a:pt x="97" y="21"/>
                  </a:lnTo>
                  <a:lnTo>
                    <a:pt x="96" y="17"/>
                  </a:lnTo>
                  <a:lnTo>
                    <a:pt x="96" y="13"/>
                  </a:lnTo>
                  <a:lnTo>
                    <a:pt x="94" y="11"/>
                  </a:lnTo>
                  <a:lnTo>
                    <a:pt x="94" y="8"/>
                  </a:lnTo>
                  <a:lnTo>
                    <a:pt x="96" y="8"/>
                  </a:lnTo>
                  <a:lnTo>
                    <a:pt x="97" y="10"/>
                  </a:lnTo>
                  <a:lnTo>
                    <a:pt x="101" y="10"/>
                  </a:lnTo>
                  <a:lnTo>
                    <a:pt x="103" y="10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11" y="15"/>
                  </a:lnTo>
                  <a:lnTo>
                    <a:pt x="115" y="15"/>
                  </a:lnTo>
                  <a:lnTo>
                    <a:pt x="117" y="17"/>
                  </a:lnTo>
                  <a:lnTo>
                    <a:pt x="124" y="17"/>
                  </a:lnTo>
                  <a:lnTo>
                    <a:pt x="130" y="17"/>
                  </a:lnTo>
                  <a:lnTo>
                    <a:pt x="134" y="15"/>
                  </a:lnTo>
                  <a:lnTo>
                    <a:pt x="136" y="15"/>
                  </a:lnTo>
                  <a:lnTo>
                    <a:pt x="140" y="13"/>
                  </a:lnTo>
                  <a:lnTo>
                    <a:pt x="143" y="13"/>
                  </a:lnTo>
                  <a:lnTo>
                    <a:pt x="147" y="11"/>
                  </a:lnTo>
                  <a:lnTo>
                    <a:pt x="149" y="11"/>
                  </a:lnTo>
                  <a:lnTo>
                    <a:pt x="153" y="11"/>
                  </a:lnTo>
                  <a:lnTo>
                    <a:pt x="155" y="11"/>
                  </a:lnTo>
                  <a:lnTo>
                    <a:pt x="159" y="11"/>
                  </a:lnTo>
                  <a:lnTo>
                    <a:pt x="165" y="11"/>
                  </a:lnTo>
                  <a:lnTo>
                    <a:pt x="167" y="13"/>
                  </a:lnTo>
                  <a:lnTo>
                    <a:pt x="168" y="15"/>
                  </a:lnTo>
                  <a:lnTo>
                    <a:pt x="172" y="15"/>
                  </a:lnTo>
                  <a:lnTo>
                    <a:pt x="174" y="19"/>
                  </a:lnTo>
                  <a:lnTo>
                    <a:pt x="178" y="21"/>
                  </a:lnTo>
                  <a:lnTo>
                    <a:pt x="180" y="23"/>
                  </a:lnTo>
                  <a:lnTo>
                    <a:pt x="184" y="25"/>
                  </a:lnTo>
                  <a:lnTo>
                    <a:pt x="188" y="27"/>
                  </a:lnTo>
                  <a:lnTo>
                    <a:pt x="195" y="27"/>
                  </a:lnTo>
                  <a:lnTo>
                    <a:pt x="199" y="27"/>
                  </a:lnTo>
                  <a:lnTo>
                    <a:pt x="201" y="29"/>
                  </a:lnTo>
                  <a:lnTo>
                    <a:pt x="203" y="29"/>
                  </a:lnTo>
                  <a:lnTo>
                    <a:pt x="205" y="29"/>
                  </a:lnTo>
                  <a:lnTo>
                    <a:pt x="207" y="31"/>
                  </a:lnTo>
                  <a:lnTo>
                    <a:pt x="209" y="31"/>
                  </a:lnTo>
                  <a:lnTo>
                    <a:pt x="209" y="38"/>
                  </a:lnTo>
                  <a:lnTo>
                    <a:pt x="209" y="42"/>
                  </a:lnTo>
                  <a:lnTo>
                    <a:pt x="213" y="46"/>
                  </a:lnTo>
                  <a:lnTo>
                    <a:pt x="213" y="58"/>
                  </a:lnTo>
                  <a:lnTo>
                    <a:pt x="213" y="59"/>
                  </a:lnTo>
                  <a:lnTo>
                    <a:pt x="216" y="63"/>
                  </a:lnTo>
                  <a:lnTo>
                    <a:pt x="220" y="67"/>
                  </a:lnTo>
                  <a:lnTo>
                    <a:pt x="224" y="71"/>
                  </a:lnTo>
                  <a:lnTo>
                    <a:pt x="228" y="73"/>
                  </a:lnTo>
                  <a:lnTo>
                    <a:pt x="232" y="73"/>
                  </a:lnTo>
                  <a:lnTo>
                    <a:pt x="234" y="75"/>
                  </a:lnTo>
                  <a:lnTo>
                    <a:pt x="238" y="75"/>
                  </a:lnTo>
                  <a:lnTo>
                    <a:pt x="243" y="77"/>
                  </a:lnTo>
                  <a:lnTo>
                    <a:pt x="247" y="79"/>
                  </a:lnTo>
                  <a:lnTo>
                    <a:pt x="259" y="79"/>
                  </a:lnTo>
                  <a:lnTo>
                    <a:pt x="261" y="81"/>
                  </a:lnTo>
                  <a:lnTo>
                    <a:pt x="284" y="81"/>
                  </a:lnTo>
                  <a:lnTo>
                    <a:pt x="307" y="81"/>
                  </a:lnTo>
                  <a:lnTo>
                    <a:pt x="309" y="84"/>
                  </a:lnTo>
                  <a:lnTo>
                    <a:pt x="312" y="86"/>
                  </a:lnTo>
                  <a:lnTo>
                    <a:pt x="318" y="90"/>
                  </a:lnTo>
                  <a:lnTo>
                    <a:pt x="320" y="94"/>
                  </a:lnTo>
                  <a:lnTo>
                    <a:pt x="324" y="98"/>
                  </a:lnTo>
                  <a:lnTo>
                    <a:pt x="330" y="102"/>
                  </a:lnTo>
                  <a:lnTo>
                    <a:pt x="332" y="104"/>
                  </a:lnTo>
                  <a:lnTo>
                    <a:pt x="335" y="104"/>
                  </a:lnTo>
                  <a:lnTo>
                    <a:pt x="339" y="107"/>
                  </a:lnTo>
                  <a:lnTo>
                    <a:pt x="345" y="107"/>
                  </a:lnTo>
                  <a:lnTo>
                    <a:pt x="351" y="107"/>
                  </a:lnTo>
                  <a:lnTo>
                    <a:pt x="353" y="107"/>
                  </a:lnTo>
                  <a:lnTo>
                    <a:pt x="355" y="107"/>
                  </a:lnTo>
                  <a:lnTo>
                    <a:pt x="358" y="107"/>
                  </a:lnTo>
                  <a:lnTo>
                    <a:pt x="362" y="107"/>
                  </a:lnTo>
                  <a:lnTo>
                    <a:pt x="364" y="105"/>
                  </a:lnTo>
                  <a:lnTo>
                    <a:pt x="370" y="100"/>
                  </a:lnTo>
                  <a:lnTo>
                    <a:pt x="374" y="98"/>
                  </a:lnTo>
                  <a:lnTo>
                    <a:pt x="376" y="96"/>
                  </a:lnTo>
                  <a:lnTo>
                    <a:pt x="378" y="94"/>
                  </a:lnTo>
                  <a:lnTo>
                    <a:pt x="380" y="90"/>
                  </a:lnTo>
                  <a:lnTo>
                    <a:pt x="381" y="88"/>
                  </a:lnTo>
                  <a:lnTo>
                    <a:pt x="381" y="86"/>
                  </a:lnTo>
                  <a:lnTo>
                    <a:pt x="383" y="81"/>
                  </a:lnTo>
                  <a:lnTo>
                    <a:pt x="383" y="73"/>
                  </a:lnTo>
                  <a:lnTo>
                    <a:pt x="383" y="65"/>
                  </a:lnTo>
                  <a:lnTo>
                    <a:pt x="381" y="61"/>
                  </a:lnTo>
                  <a:lnTo>
                    <a:pt x="378" y="59"/>
                  </a:lnTo>
                  <a:lnTo>
                    <a:pt x="374" y="56"/>
                  </a:lnTo>
                  <a:lnTo>
                    <a:pt x="370" y="50"/>
                  </a:lnTo>
                  <a:lnTo>
                    <a:pt x="368" y="48"/>
                  </a:lnTo>
                  <a:lnTo>
                    <a:pt x="368" y="38"/>
                  </a:lnTo>
                  <a:lnTo>
                    <a:pt x="368" y="29"/>
                  </a:lnTo>
                  <a:lnTo>
                    <a:pt x="370" y="27"/>
                  </a:lnTo>
                  <a:lnTo>
                    <a:pt x="372" y="23"/>
                  </a:lnTo>
                  <a:lnTo>
                    <a:pt x="374" y="21"/>
                  </a:lnTo>
                  <a:lnTo>
                    <a:pt x="378" y="19"/>
                  </a:lnTo>
                  <a:lnTo>
                    <a:pt x="381" y="19"/>
                  </a:lnTo>
                  <a:lnTo>
                    <a:pt x="385" y="17"/>
                  </a:lnTo>
                  <a:lnTo>
                    <a:pt x="389" y="15"/>
                  </a:lnTo>
                  <a:lnTo>
                    <a:pt x="391" y="13"/>
                  </a:lnTo>
                  <a:lnTo>
                    <a:pt x="393" y="11"/>
                  </a:lnTo>
                  <a:lnTo>
                    <a:pt x="395" y="10"/>
                  </a:lnTo>
                  <a:lnTo>
                    <a:pt x="399" y="10"/>
                  </a:lnTo>
                  <a:lnTo>
                    <a:pt x="403" y="8"/>
                  </a:lnTo>
                  <a:lnTo>
                    <a:pt x="406" y="6"/>
                  </a:lnTo>
                  <a:lnTo>
                    <a:pt x="410" y="6"/>
                  </a:lnTo>
                  <a:lnTo>
                    <a:pt x="410" y="4"/>
                  </a:lnTo>
                  <a:lnTo>
                    <a:pt x="412" y="4"/>
                  </a:lnTo>
                  <a:lnTo>
                    <a:pt x="418" y="0"/>
                  </a:lnTo>
                  <a:lnTo>
                    <a:pt x="427" y="0"/>
                  </a:lnTo>
                  <a:lnTo>
                    <a:pt x="437" y="0"/>
                  </a:lnTo>
                  <a:lnTo>
                    <a:pt x="439" y="2"/>
                  </a:lnTo>
                  <a:lnTo>
                    <a:pt x="441" y="2"/>
                  </a:lnTo>
                  <a:lnTo>
                    <a:pt x="445" y="2"/>
                  </a:lnTo>
                  <a:lnTo>
                    <a:pt x="449" y="4"/>
                  </a:lnTo>
                  <a:lnTo>
                    <a:pt x="450" y="8"/>
                  </a:lnTo>
                  <a:lnTo>
                    <a:pt x="456" y="10"/>
                  </a:lnTo>
                  <a:lnTo>
                    <a:pt x="460" y="11"/>
                  </a:lnTo>
                  <a:lnTo>
                    <a:pt x="462" y="13"/>
                  </a:lnTo>
                  <a:lnTo>
                    <a:pt x="464" y="15"/>
                  </a:lnTo>
                  <a:lnTo>
                    <a:pt x="466" y="17"/>
                  </a:lnTo>
                  <a:lnTo>
                    <a:pt x="468" y="19"/>
                  </a:lnTo>
                  <a:lnTo>
                    <a:pt x="470" y="21"/>
                  </a:lnTo>
                  <a:lnTo>
                    <a:pt x="470" y="23"/>
                  </a:lnTo>
                  <a:lnTo>
                    <a:pt x="472" y="25"/>
                  </a:lnTo>
                  <a:lnTo>
                    <a:pt x="474" y="29"/>
                  </a:lnTo>
                  <a:lnTo>
                    <a:pt x="474" y="36"/>
                  </a:lnTo>
                  <a:lnTo>
                    <a:pt x="474" y="46"/>
                  </a:lnTo>
                  <a:lnTo>
                    <a:pt x="475" y="48"/>
                  </a:lnTo>
                  <a:lnTo>
                    <a:pt x="479" y="48"/>
                  </a:lnTo>
                  <a:lnTo>
                    <a:pt x="481" y="48"/>
                  </a:lnTo>
                  <a:lnTo>
                    <a:pt x="485" y="48"/>
                  </a:lnTo>
                  <a:lnTo>
                    <a:pt x="489" y="48"/>
                  </a:lnTo>
                  <a:lnTo>
                    <a:pt x="493" y="48"/>
                  </a:lnTo>
                  <a:lnTo>
                    <a:pt x="500" y="48"/>
                  </a:lnTo>
                  <a:lnTo>
                    <a:pt x="502" y="46"/>
                  </a:lnTo>
                  <a:lnTo>
                    <a:pt x="506" y="46"/>
                  </a:lnTo>
                  <a:lnTo>
                    <a:pt x="506" y="44"/>
                  </a:lnTo>
                  <a:lnTo>
                    <a:pt x="508" y="42"/>
                  </a:lnTo>
                  <a:lnTo>
                    <a:pt x="510" y="42"/>
                  </a:lnTo>
                  <a:lnTo>
                    <a:pt x="514" y="44"/>
                  </a:lnTo>
                  <a:lnTo>
                    <a:pt x="516" y="46"/>
                  </a:lnTo>
                  <a:lnTo>
                    <a:pt x="518" y="48"/>
                  </a:lnTo>
                  <a:lnTo>
                    <a:pt x="520" y="50"/>
                  </a:lnTo>
                  <a:lnTo>
                    <a:pt x="520" y="52"/>
                  </a:lnTo>
                  <a:lnTo>
                    <a:pt x="521" y="54"/>
                  </a:lnTo>
                  <a:lnTo>
                    <a:pt x="523" y="56"/>
                  </a:lnTo>
                  <a:lnTo>
                    <a:pt x="527" y="56"/>
                  </a:lnTo>
                  <a:lnTo>
                    <a:pt x="529" y="58"/>
                  </a:lnTo>
                  <a:lnTo>
                    <a:pt x="537" y="58"/>
                  </a:lnTo>
                  <a:lnTo>
                    <a:pt x="545" y="58"/>
                  </a:lnTo>
                  <a:lnTo>
                    <a:pt x="546" y="61"/>
                  </a:lnTo>
                  <a:lnTo>
                    <a:pt x="548" y="61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0" name="Freeform 57"/>
            <p:cNvSpPr>
              <a:spLocks/>
            </p:cNvSpPr>
            <p:nvPr/>
          </p:nvSpPr>
          <p:spPr bwMode="auto">
            <a:xfrm>
              <a:off x="1469" y="945"/>
              <a:ext cx="151" cy="261"/>
            </a:xfrm>
            <a:custGeom>
              <a:avLst/>
              <a:gdLst/>
              <a:ahLst/>
              <a:cxnLst>
                <a:cxn ang="0">
                  <a:pos x="136" y="165"/>
                </a:cxn>
                <a:cxn ang="0">
                  <a:pos x="125" y="155"/>
                </a:cxn>
                <a:cxn ang="0">
                  <a:pos x="117" y="147"/>
                </a:cxn>
                <a:cxn ang="0">
                  <a:pos x="109" y="145"/>
                </a:cxn>
                <a:cxn ang="0">
                  <a:pos x="98" y="144"/>
                </a:cxn>
                <a:cxn ang="0">
                  <a:pos x="90" y="132"/>
                </a:cxn>
                <a:cxn ang="0">
                  <a:pos x="82" y="126"/>
                </a:cxn>
                <a:cxn ang="0">
                  <a:pos x="86" y="113"/>
                </a:cxn>
                <a:cxn ang="0">
                  <a:pos x="94" y="113"/>
                </a:cxn>
                <a:cxn ang="0">
                  <a:pos x="107" y="111"/>
                </a:cxn>
                <a:cxn ang="0">
                  <a:pos x="113" y="103"/>
                </a:cxn>
                <a:cxn ang="0">
                  <a:pos x="117" y="92"/>
                </a:cxn>
                <a:cxn ang="0">
                  <a:pos x="119" y="80"/>
                </a:cxn>
                <a:cxn ang="0">
                  <a:pos x="119" y="71"/>
                </a:cxn>
                <a:cxn ang="0">
                  <a:pos x="115" y="59"/>
                </a:cxn>
                <a:cxn ang="0">
                  <a:pos x="102" y="55"/>
                </a:cxn>
                <a:cxn ang="0">
                  <a:pos x="105" y="46"/>
                </a:cxn>
                <a:cxn ang="0">
                  <a:pos x="115" y="34"/>
                </a:cxn>
                <a:cxn ang="0">
                  <a:pos x="119" y="21"/>
                </a:cxn>
                <a:cxn ang="0">
                  <a:pos x="103" y="25"/>
                </a:cxn>
                <a:cxn ang="0">
                  <a:pos x="90" y="17"/>
                </a:cxn>
                <a:cxn ang="0">
                  <a:pos x="84" y="5"/>
                </a:cxn>
                <a:cxn ang="0">
                  <a:pos x="73" y="0"/>
                </a:cxn>
                <a:cxn ang="0">
                  <a:pos x="54" y="7"/>
                </a:cxn>
                <a:cxn ang="0">
                  <a:pos x="44" y="17"/>
                </a:cxn>
                <a:cxn ang="0">
                  <a:pos x="31" y="28"/>
                </a:cxn>
                <a:cxn ang="0">
                  <a:pos x="25" y="42"/>
                </a:cxn>
                <a:cxn ang="0">
                  <a:pos x="29" y="59"/>
                </a:cxn>
                <a:cxn ang="0">
                  <a:pos x="29" y="73"/>
                </a:cxn>
                <a:cxn ang="0">
                  <a:pos x="27" y="90"/>
                </a:cxn>
                <a:cxn ang="0">
                  <a:pos x="15" y="103"/>
                </a:cxn>
                <a:cxn ang="0">
                  <a:pos x="6" y="111"/>
                </a:cxn>
                <a:cxn ang="0">
                  <a:pos x="0" y="126"/>
                </a:cxn>
                <a:cxn ang="0">
                  <a:pos x="0" y="138"/>
                </a:cxn>
                <a:cxn ang="0">
                  <a:pos x="4" y="155"/>
                </a:cxn>
                <a:cxn ang="0">
                  <a:pos x="11" y="168"/>
                </a:cxn>
                <a:cxn ang="0">
                  <a:pos x="19" y="182"/>
                </a:cxn>
                <a:cxn ang="0">
                  <a:pos x="31" y="188"/>
                </a:cxn>
                <a:cxn ang="0">
                  <a:pos x="44" y="193"/>
                </a:cxn>
                <a:cxn ang="0">
                  <a:pos x="48" y="205"/>
                </a:cxn>
                <a:cxn ang="0">
                  <a:pos x="46" y="215"/>
                </a:cxn>
                <a:cxn ang="0">
                  <a:pos x="52" y="224"/>
                </a:cxn>
                <a:cxn ang="0">
                  <a:pos x="59" y="236"/>
                </a:cxn>
                <a:cxn ang="0">
                  <a:pos x="67" y="253"/>
                </a:cxn>
                <a:cxn ang="0">
                  <a:pos x="75" y="261"/>
                </a:cxn>
                <a:cxn ang="0">
                  <a:pos x="88" y="249"/>
                </a:cxn>
                <a:cxn ang="0">
                  <a:pos x="90" y="232"/>
                </a:cxn>
                <a:cxn ang="0">
                  <a:pos x="90" y="224"/>
                </a:cxn>
                <a:cxn ang="0">
                  <a:pos x="100" y="211"/>
                </a:cxn>
                <a:cxn ang="0">
                  <a:pos x="109" y="205"/>
                </a:cxn>
                <a:cxn ang="0">
                  <a:pos x="127" y="197"/>
                </a:cxn>
                <a:cxn ang="0">
                  <a:pos x="134" y="186"/>
                </a:cxn>
                <a:cxn ang="0">
                  <a:pos x="146" y="182"/>
                </a:cxn>
                <a:cxn ang="0">
                  <a:pos x="150" y="172"/>
                </a:cxn>
              </a:cxnLst>
              <a:rect l="0" t="0" r="r" b="b"/>
              <a:pathLst>
                <a:path w="151" h="261">
                  <a:moveTo>
                    <a:pt x="148" y="165"/>
                  </a:moveTo>
                  <a:lnTo>
                    <a:pt x="140" y="165"/>
                  </a:lnTo>
                  <a:lnTo>
                    <a:pt x="140" y="165"/>
                  </a:lnTo>
                  <a:lnTo>
                    <a:pt x="138" y="165"/>
                  </a:lnTo>
                  <a:lnTo>
                    <a:pt x="136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27" y="161"/>
                  </a:lnTo>
                  <a:lnTo>
                    <a:pt x="127" y="157"/>
                  </a:lnTo>
                  <a:lnTo>
                    <a:pt x="125" y="155"/>
                  </a:lnTo>
                  <a:lnTo>
                    <a:pt x="125" y="153"/>
                  </a:lnTo>
                  <a:lnTo>
                    <a:pt x="123" y="153"/>
                  </a:lnTo>
                  <a:lnTo>
                    <a:pt x="123" y="149"/>
                  </a:lnTo>
                  <a:lnTo>
                    <a:pt x="119" y="147"/>
                  </a:lnTo>
                  <a:lnTo>
                    <a:pt x="117" y="147"/>
                  </a:lnTo>
                  <a:lnTo>
                    <a:pt x="113" y="147"/>
                  </a:lnTo>
                  <a:lnTo>
                    <a:pt x="111" y="145"/>
                  </a:lnTo>
                  <a:lnTo>
                    <a:pt x="111" y="145"/>
                  </a:lnTo>
                  <a:lnTo>
                    <a:pt x="109" y="145"/>
                  </a:lnTo>
                  <a:lnTo>
                    <a:pt x="109" y="145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0" y="145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6" y="144"/>
                  </a:lnTo>
                  <a:lnTo>
                    <a:pt x="94" y="140"/>
                  </a:lnTo>
                  <a:lnTo>
                    <a:pt x="90" y="138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88" y="130"/>
                  </a:lnTo>
                  <a:lnTo>
                    <a:pt x="86" y="128"/>
                  </a:lnTo>
                  <a:lnTo>
                    <a:pt x="82" y="128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17"/>
                  </a:lnTo>
                  <a:lnTo>
                    <a:pt x="86" y="113"/>
                  </a:lnTo>
                  <a:lnTo>
                    <a:pt x="88" y="113"/>
                  </a:lnTo>
                  <a:lnTo>
                    <a:pt x="90" y="113"/>
                  </a:lnTo>
                  <a:lnTo>
                    <a:pt x="92" y="113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6" y="113"/>
                  </a:lnTo>
                  <a:lnTo>
                    <a:pt x="98" y="113"/>
                  </a:lnTo>
                  <a:lnTo>
                    <a:pt x="98" y="113"/>
                  </a:lnTo>
                  <a:lnTo>
                    <a:pt x="107" y="113"/>
                  </a:lnTo>
                  <a:lnTo>
                    <a:pt x="107" y="111"/>
                  </a:lnTo>
                  <a:lnTo>
                    <a:pt x="109" y="111"/>
                  </a:lnTo>
                  <a:lnTo>
                    <a:pt x="109" y="107"/>
                  </a:lnTo>
                  <a:lnTo>
                    <a:pt x="111" y="107"/>
                  </a:lnTo>
                  <a:lnTo>
                    <a:pt x="111" y="105"/>
                  </a:lnTo>
                  <a:lnTo>
                    <a:pt x="113" y="103"/>
                  </a:lnTo>
                  <a:lnTo>
                    <a:pt x="113" y="99"/>
                  </a:lnTo>
                  <a:lnTo>
                    <a:pt x="115" y="97"/>
                  </a:lnTo>
                  <a:lnTo>
                    <a:pt x="115" y="94"/>
                  </a:lnTo>
                  <a:lnTo>
                    <a:pt x="117" y="94"/>
                  </a:lnTo>
                  <a:lnTo>
                    <a:pt x="117" y="92"/>
                  </a:lnTo>
                  <a:lnTo>
                    <a:pt x="117" y="88"/>
                  </a:lnTo>
                  <a:lnTo>
                    <a:pt x="117" y="86"/>
                  </a:lnTo>
                  <a:lnTo>
                    <a:pt x="117" y="84"/>
                  </a:lnTo>
                  <a:lnTo>
                    <a:pt x="119" y="82"/>
                  </a:lnTo>
                  <a:lnTo>
                    <a:pt x="119" y="80"/>
                  </a:lnTo>
                  <a:lnTo>
                    <a:pt x="119" y="78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9" y="67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7" y="61"/>
                  </a:lnTo>
                  <a:lnTo>
                    <a:pt x="115" y="59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09" y="57"/>
                  </a:lnTo>
                  <a:lnTo>
                    <a:pt x="105" y="57"/>
                  </a:lnTo>
                  <a:lnTo>
                    <a:pt x="102" y="55"/>
                  </a:lnTo>
                  <a:lnTo>
                    <a:pt x="100" y="53"/>
                  </a:lnTo>
                  <a:lnTo>
                    <a:pt x="102" y="51"/>
                  </a:lnTo>
                  <a:lnTo>
                    <a:pt x="103" y="49"/>
                  </a:lnTo>
                  <a:lnTo>
                    <a:pt x="105" y="48"/>
                  </a:lnTo>
                  <a:lnTo>
                    <a:pt x="105" y="46"/>
                  </a:lnTo>
                  <a:lnTo>
                    <a:pt x="109" y="46"/>
                  </a:lnTo>
                  <a:lnTo>
                    <a:pt x="111" y="44"/>
                  </a:lnTo>
                  <a:lnTo>
                    <a:pt x="113" y="40"/>
                  </a:lnTo>
                  <a:lnTo>
                    <a:pt x="115" y="38"/>
                  </a:lnTo>
                  <a:lnTo>
                    <a:pt x="115" y="34"/>
                  </a:lnTo>
                  <a:lnTo>
                    <a:pt x="117" y="32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19" y="25"/>
                  </a:lnTo>
                  <a:lnTo>
                    <a:pt x="119" y="21"/>
                  </a:lnTo>
                  <a:lnTo>
                    <a:pt x="111" y="21"/>
                  </a:lnTo>
                  <a:lnTo>
                    <a:pt x="109" y="23"/>
                  </a:lnTo>
                  <a:lnTo>
                    <a:pt x="109" y="25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6"/>
                  </a:lnTo>
                  <a:lnTo>
                    <a:pt x="96" y="26"/>
                  </a:lnTo>
                  <a:lnTo>
                    <a:pt x="94" y="25"/>
                  </a:lnTo>
                  <a:lnTo>
                    <a:pt x="90" y="23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4" y="5"/>
                  </a:lnTo>
                  <a:lnTo>
                    <a:pt x="82" y="3"/>
                  </a:lnTo>
                  <a:lnTo>
                    <a:pt x="79" y="2"/>
                  </a:lnTo>
                  <a:lnTo>
                    <a:pt x="75" y="2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63" y="0"/>
                  </a:lnTo>
                  <a:lnTo>
                    <a:pt x="61" y="2"/>
                  </a:lnTo>
                  <a:lnTo>
                    <a:pt x="57" y="3"/>
                  </a:lnTo>
                  <a:lnTo>
                    <a:pt x="56" y="7"/>
                  </a:lnTo>
                  <a:lnTo>
                    <a:pt x="54" y="7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8" y="13"/>
                  </a:lnTo>
                  <a:lnTo>
                    <a:pt x="46" y="15"/>
                  </a:lnTo>
                  <a:lnTo>
                    <a:pt x="44" y="17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4" y="23"/>
                  </a:lnTo>
                  <a:lnTo>
                    <a:pt x="32" y="26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5" y="32"/>
                  </a:lnTo>
                  <a:lnTo>
                    <a:pt x="23" y="32"/>
                  </a:lnTo>
                  <a:lnTo>
                    <a:pt x="25" y="38"/>
                  </a:lnTo>
                  <a:lnTo>
                    <a:pt x="25" y="42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9"/>
                  </a:lnTo>
                  <a:lnTo>
                    <a:pt x="29" y="53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5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8"/>
                  </a:lnTo>
                  <a:lnTo>
                    <a:pt x="29" y="88"/>
                  </a:lnTo>
                  <a:lnTo>
                    <a:pt x="27" y="90"/>
                  </a:lnTo>
                  <a:lnTo>
                    <a:pt x="27" y="92"/>
                  </a:lnTo>
                  <a:lnTo>
                    <a:pt x="23" y="96"/>
                  </a:lnTo>
                  <a:lnTo>
                    <a:pt x="21" y="97"/>
                  </a:lnTo>
                  <a:lnTo>
                    <a:pt x="19" y="101"/>
                  </a:lnTo>
                  <a:lnTo>
                    <a:pt x="15" y="103"/>
                  </a:lnTo>
                  <a:lnTo>
                    <a:pt x="13" y="107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8" y="111"/>
                  </a:lnTo>
                  <a:lnTo>
                    <a:pt x="6" y="111"/>
                  </a:lnTo>
                  <a:lnTo>
                    <a:pt x="4" y="115"/>
                  </a:lnTo>
                  <a:lnTo>
                    <a:pt x="2" y="117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0" y="126"/>
                  </a:lnTo>
                  <a:lnTo>
                    <a:pt x="0" y="130"/>
                  </a:lnTo>
                  <a:lnTo>
                    <a:pt x="0" y="132"/>
                  </a:lnTo>
                  <a:lnTo>
                    <a:pt x="0" y="134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4"/>
                  </a:lnTo>
                  <a:lnTo>
                    <a:pt x="2" y="147"/>
                  </a:lnTo>
                  <a:lnTo>
                    <a:pt x="4" y="151"/>
                  </a:lnTo>
                  <a:lnTo>
                    <a:pt x="4" y="155"/>
                  </a:lnTo>
                  <a:lnTo>
                    <a:pt x="6" y="159"/>
                  </a:lnTo>
                  <a:lnTo>
                    <a:pt x="8" y="161"/>
                  </a:lnTo>
                  <a:lnTo>
                    <a:pt x="11" y="163"/>
                  </a:lnTo>
                  <a:lnTo>
                    <a:pt x="11" y="165"/>
                  </a:lnTo>
                  <a:lnTo>
                    <a:pt x="11" y="168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5" y="176"/>
                  </a:lnTo>
                  <a:lnTo>
                    <a:pt x="19" y="178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3" y="186"/>
                  </a:lnTo>
                  <a:lnTo>
                    <a:pt x="27" y="186"/>
                  </a:lnTo>
                  <a:lnTo>
                    <a:pt x="29" y="188"/>
                  </a:lnTo>
                  <a:lnTo>
                    <a:pt x="31" y="188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40" y="190"/>
                  </a:lnTo>
                  <a:lnTo>
                    <a:pt x="42" y="191"/>
                  </a:lnTo>
                  <a:lnTo>
                    <a:pt x="44" y="193"/>
                  </a:lnTo>
                  <a:lnTo>
                    <a:pt x="44" y="195"/>
                  </a:lnTo>
                  <a:lnTo>
                    <a:pt x="48" y="197"/>
                  </a:lnTo>
                  <a:lnTo>
                    <a:pt x="48" y="199"/>
                  </a:lnTo>
                  <a:lnTo>
                    <a:pt x="48" y="203"/>
                  </a:lnTo>
                  <a:lnTo>
                    <a:pt x="48" y="205"/>
                  </a:lnTo>
                  <a:lnTo>
                    <a:pt x="46" y="207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6" y="211"/>
                  </a:lnTo>
                  <a:lnTo>
                    <a:pt x="46" y="215"/>
                  </a:lnTo>
                  <a:lnTo>
                    <a:pt x="46" y="218"/>
                  </a:lnTo>
                  <a:lnTo>
                    <a:pt x="48" y="218"/>
                  </a:lnTo>
                  <a:lnTo>
                    <a:pt x="48" y="222"/>
                  </a:lnTo>
                  <a:lnTo>
                    <a:pt x="50" y="224"/>
                  </a:lnTo>
                  <a:lnTo>
                    <a:pt x="52" y="224"/>
                  </a:lnTo>
                  <a:lnTo>
                    <a:pt x="54" y="226"/>
                  </a:lnTo>
                  <a:lnTo>
                    <a:pt x="54" y="230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9" y="236"/>
                  </a:lnTo>
                  <a:lnTo>
                    <a:pt x="61" y="239"/>
                  </a:lnTo>
                  <a:lnTo>
                    <a:pt x="61" y="243"/>
                  </a:lnTo>
                  <a:lnTo>
                    <a:pt x="63" y="245"/>
                  </a:lnTo>
                  <a:lnTo>
                    <a:pt x="65" y="249"/>
                  </a:lnTo>
                  <a:lnTo>
                    <a:pt x="67" y="253"/>
                  </a:lnTo>
                  <a:lnTo>
                    <a:pt x="69" y="255"/>
                  </a:lnTo>
                  <a:lnTo>
                    <a:pt x="69" y="259"/>
                  </a:lnTo>
                  <a:lnTo>
                    <a:pt x="71" y="261"/>
                  </a:lnTo>
                  <a:lnTo>
                    <a:pt x="73" y="261"/>
                  </a:lnTo>
                  <a:lnTo>
                    <a:pt x="75" y="261"/>
                  </a:lnTo>
                  <a:lnTo>
                    <a:pt x="79" y="257"/>
                  </a:lnTo>
                  <a:lnTo>
                    <a:pt x="82" y="255"/>
                  </a:lnTo>
                  <a:lnTo>
                    <a:pt x="84" y="251"/>
                  </a:lnTo>
                  <a:lnTo>
                    <a:pt x="86" y="249"/>
                  </a:lnTo>
                  <a:lnTo>
                    <a:pt x="88" y="249"/>
                  </a:lnTo>
                  <a:lnTo>
                    <a:pt x="90" y="247"/>
                  </a:lnTo>
                  <a:lnTo>
                    <a:pt x="90" y="241"/>
                  </a:lnTo>
                  <a:lnTo>
                    <a:pt x="90" y="238"/>
                  </a:lnTo>
                  <a:lnTo>
                    <a:pt x="90" y="236"/>
                  </a:lnTo>
                  <a:lnTo>
                    <a:pt x="90" y="232"/>
                  </a:lnTo>
                  <a:lnTo>
                    <a:pt x="90" y="230"/>
                  </a:lnTo>
                  <a:lnTo>
                    <a:pt x="90" y="228"/>
                  </a:lnTo>
                  <a:lnTo>
                    <a:pt x="90" y="226"/>
                  </a:lnTo>
                  <a:lnTo>
                    <a:pt x="90" y="226"/>
                  </a:lnTo>
                  <a:lnTo>
                    <a:pt x="90" y="224"/>
                  </a:lnTo>
                  <a:lnTo>
                    <a:pt x="90" y="218"/>
                  </a:lnTo>
                  <a:lnTo>
                    <a:pt x="92" y="216"/>
                  </a:lnTo>
                  <a:lnTo>
                    <a:pt x="94" y="213"/>
                  </a:lnTo>
                  <a:lnTo>
                    <a:pt x="98" y="213"/>
                  </a:lnTo>
                  <a:lnTo>
                    <a:pt x="100" y="211"/>
                  </a:lnTo>
                  <a:lnTo>
                    <a:pt x="103" y="209"/>
                  </a:lnTo>
                  <a:lnTo>
                    <a:pt x="105" y="207"/>
                  </a:lnTo>
                  <a:lnTo>
                    <a:pt x="107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17" y="205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7" y="197"/>
                  </a:lnTo>
                  <a:lnTo>
                    <a:pt x="130" y="197"/>
                  </a:lnTo>
                  <a:lnTo>
                    <a:pt x="130" y="193"/>
                  </a:lnTo>
                  <a:lnTo>
                    <a:pt x="132" y="191"/>
                  </a:lnTo>
                  <a:lnTo>
                    <a:pt x="134" y="190"/>
                  </a:lnTo>
                  <a:lnTo>
                    <a:pt x="134" y="186"/>
                  </a:lnTo>
                  <a:lnTo>
                    <a:pt x="136" y="186"/>
                  </a:lnTo>
                  <a:lnTo>
                    <a:pt x="138" y="184"/>
                  </a:lnTo>
                  <a:lnTo>
                    <a:pt x="142" y="184"/>
                  </a:lnTo>
                  <a:lnTo>
                    <a:pt x="142" y="182"/>
                  </a:lnTo>
                  <a:lnTo>
                    <a:pt x="146" y="182"/>
                  </a:lnTo>
                  <a:lnTo>
                    <a:pt x="150" y="180"/>
                  </a:lnTo>
                  <a:lnTo>
                    <a:pt x="150" y="178"/>
                  </a:lnTo>
                  <a:lnTo>
                    <a:pt x="151" y="176"/>
                  </a:lnTo>
                  <a:lnTo>
                    <a:pt x="151" y="172"/>
                  </a:lnTo>
                  <a:lnTo>
                    <a:pt x="150" y="172"/>
                  </a:lnTo>
                  <a:lnTo>
                    <a:pt x="150" y="170"/>
                  </a:lnTo>
                  <a:lnTo>
                    <a:pt x="150" y="165"/>
                  </a:lnTo>
                  <a:lnTo>
                    <a:pt x="148" y="1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1" name="Freeform 58"/>
            <p:cNvSpPr>
              <a:spLocks/>
            </p:cNvSpPr>
            <p:nvPr/>
          </p:nvSpPr>
          <p:spPr bwMode="auto">
            <a:xfrm>
              <a:off x="1469" y="945"/>
              <a:ext cx="151" cy="261"/>
            </a:xfrm>
            <a:custGeom>
              <a:avLst/>
              <a:gdLst/>
              <a:ahLst/>
              <a:cxnLst>
                <a:cxn ang="0">
                  <a:pos x="136" y="165"/>
                </a:cxn>
                <a:cxn ang="0">
                  <a:pos x="125" y="155"/>
                </a:cxn>
                <a:cxn ang="0">
                  <a:pos x="117" y="147"/>
                </a:cxn>
                <a:cxn ang="0">
                  <a:pos x="109" y="145"/>
                </a:cxn>
                <a:cxn ang="0">
                  <a:pos x="98" y="144"/>
                </a:cxn>
                <a:cxn ang="0">
                  <a:pos x="90" y="132"/>
                </a:cxn>
                <a:cxn ang="0">
                  <a:pos x="82" y="126"/>
                </a:cxn>
                <a:cxn ang="0">
                  <a:pos x="86" y="113"/>
                </a:cxn>
                <a:cxn ang="0">
                  <a:pos x="94" y="113"/>
                </a:cxn>
                <a:cxn ang="0">
                  <a:pos x="107" y="111"/>
                </a:cxn>
                <a:cxn ang="0">
                  <a:pos x="113" y="103"/>
                </a:cxn>
                <a:cxn ang="0">
                  <a:pos x="117" y="92"/>
                </a:cxn>
                <a:cxn ang="0">
                  <a:pos x="119" y="80"/>
                </a:cxn>
                <a:cxn ang="0">
                  <a:pos x="119" y="71"/>
                </a:cxn>
                <a:cxn ang="0">
                  <a:pos x="115" y="59"/>
                </a:cxn>
                <a:cxn ang="0">
                  <a:pos x="102" y="55"/>
                </a:cxn>
                <a:cxn ang="0">
                  <a:pos x="105" y="46"/>
                </a:cxn>
                <a:cxn ang="0">
                  <a:pos x="115" y="34"/>
                </a:cxn>
                <a:cxn ang="0">
                  <a:pos x="119" y="21"/>
                </a:cxn>
                <a:cxn ang="0">
                  <a:pos x="103" y="25"/>
                </a:cxn>
                <a:cxn ang="0">
                  <a:pos x="90" y="17"/>
                </a:cxn>
                <a:cxn ang="0">
                  <a:pos x="84" y="5"/>
                </a:cxn>
                <a:cxn ang="0">
                  <a:pos x="73" y="0"/>
                </a:cxn>
                <a:cxn ang="0">
                  <a:pos x="54" y="7"/>
                </a:cxn>
                <a:cxn ang="0">
                  <a:pos x="44" y="17"/>
                </a:cxn>
                <a:cxn ang="0">
                  <a:pos x="31" y="28"/>
                </a:cxn>
                <a:cxn ang="0">
                  <a:pos x="25" y="42"/>
                </a:cxn>
                <a:cxn ang="0">
                  <a:pos x="29" y="59"/>
                </a:cxn>
                <a:cxn ang="0">
                  <a:pos x="29" y="73"/>
                </a:cxn>
                <a:cxn ang="0">
                  <a:pos x="27" y="90"/>
                </a:cxn>
                <a:cxn ang="0">
                  <a:pos x="15" y="103"/>
                </a:cxn>
                <a:cxn ang="0">
                  <a:pos x="6" y="111"/>
                </a:cxn>
                <a:cxn ang="0">
                  <a:pos x="0" y="126"/>
                </a:cxn>
                <a:cxn ang="0">
                  <a:pos x="0" y="138"/>
                </a:cxn>
                <a:cxn ang="0">
                  <a:pos x="4" y="155"/>
                </a:cxn>
                <a:cxn ang="0">
                  <a:pos x="11" y="168"/>
                </a:cxn>
                <a:cxn ang="0">
                  <a:pos x="19" y="182"/>
                </a:cxn>
                <a:cxn ang="0">
                  <a:pos x="31" y="188"/>
                </a:cxn>
                <a:cxn ang="0">
                  <a:pos x="44" y="193"/>
                </a:cxn>
                <a:cxn ang="0">
                  <a:pos x="48" y="205"/>
                </a:cxn>
                <a:cxn ang="0">
                  <a:pos x="46" y="215"/>
                </a:cxn>
                <a:cxn ang="0">
                  <a:pos x="52" y="224"/>
                </a:cxn>
                <a:cxn ang="0">
                  <a:pos x="59" y="236"/>
                </a:cxn>
                <a:cxn ang="0">
                  <a:pos x="67" y="253"/>
                </a:cxn>
                <a:cxn ang="0">
                  <a:pos x="75" y="261"/>
                </a:cxn>
                <a:cxn ang="0">
                  <a:pos x="88" y="249"/>
                </a:cxn>
                <a:cxn ang="0">
                  <a:pos x="90" y="232"/>
                </a:cxn>
                <a:cxn ang="0">
                  <a:pos x="90" y="224"/>
                </a:cxn>
                <a:cxn ang="0">
                  <a:pos x="100" y="211"/>
                </a:cxn>
                <a:cxn ang="0">
                  <a:pos x="109" y="205"/>
                </a:cxn>
                <a:cxn ang="0">
                  <a:pos x="127" y="197"/>
                </a:cxn>
                <a:cxn ang="0">
                  <a:pos x="134" y="186"/>
                </a:cxn>
                <a:cxn ang="0">
                  <a:pos x="146" y="182"/>
                </a:cxn>
                <a:cxn ang="0">
                  <a:pos x="150" y="172"/>
                </a:cxn>
              </a:cxnLst>
              <a:rect l="0" t="0" r="r" b="b"/>
              <a:pathLst>
                <a:path w="151" h="261">
                  <a:moveTo>
                    <a:pt x="148" y="165"/>
                  </a:moveTo>
                  <a:lnTo>
                    <a:pt x="140" y="165"/>
                  </a:lnTo>
                  <a:lnTo>
                    <a:pt x="140" y="165"/>
                  </a:lnTo>
                  <a:lnTo>
                    <a:pt x="138" y="165"/>
                  </a:lnTo>
                  <a:lnTo>
                    <a:pt x="136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27" y="161"/>
                  </a:lnTo>
                  <a:lnTo>
                    <a:pt x="127" y="157"/>
                  </a:lnTo>
                  <a:lnTo>
                    <a:pt x="125" y="155"/>
                  </a:lnTo>
                  <a:lnTo>
                    <a:pt x="125" y="153"/>
                  </a:lnTo>
                  <a:lnTo>
                    <a:pt x="123" y="153"/>
                  </a:lnTo>
                  <a:lnTo>
                    <a:pt x="123" y="149"/>
                  </a:lnTo>
                  <a:lnTo>
                    <a:pt x="119" y="147"/>
                  </a:lnTo>
                  <a:lnTo>
                    <a:pt x="117" y="147"/>
                  </a:lnTo>
                  <a:lnTo>
                    <a:pt x="113" y="147"/>
                  </a:lnTo>
                  <a:lnTo>
                    <a:pt x="111" y="145"/>
                  </a:lnTo>
                  <a:lnTo>
                    <a:pt x="111" y="145"/>
                  </a:lnTo>
                  <a:lnTo>
                    <a:pt x="109" y="145"/>
                  </a:lnTo>
                  <a:lnTo>
                    <a:pt x="109" y="145"/>
                  </a:lnTo>
                  <a:lnTo>
                    <a:pt x="107" y="145"/>
                  </a:lnTo>
                  <a:lnTo>
                    <a:pt x="107" y="145"/>
                  </a:lnTo>
                  <a:lnTo>
                    <a:pt x="100" y="145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6" y="144"/>
                  </a:lnTo>
                  <a:lnTo>
                    <a:pt x="94" y="140"/>
                  </a:lnTo>
                  <a:lnTo>
                    <a:pt x="90" y="138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88" y="130"/>
                  </a:lnTo>
                  <a:lnTo>
                    <a:pt x="86" y="128"/>
                  </a:lnTo>
                  <a:lnTo>
                    <a:pt x="82" y="128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2" y="126"/>
                  </a:lnTo>
                  <a:lnTo>
                    <a:pt x="82" y="124"/>
                  </a:lnTo>
                  <a:lnTo>
                    <a:pt x="82" y="124"/>
                  </a:lnTo>
                  <a:lnTo>
                    <a:pt x="82" y="117"/>
                  </a:lnTo>
                  <a:lnTo>
                    <a:pt x="86" y="113"/>
                  </a:lnTo>
                  <a:lnTo>
                    <a:pt x="88" y="113"/>
                  </a:lnTo>
                  <a:lnTo>
                    <a:pt x="90" y="113"/>
                  </a:lnTo>
                  <a:lnTo>
                    <a:pt x="92" y="113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6" y="113"/>
                  </a:lnTo>
                  <a:lnTo>
                    <a:pt x="98" y="113"/>
                  </a:lnTo>
                  <a:lnTo>
                    <a:pt x="98" y="113"/>
                  </a:lnTo>
                  <a:lnTo>
                    <a:pt x="107" y="113"/>
                  </a:lnTo>
                  <a:lnTo>
                    <a:pt x="107" y="111"/>
                  </a:lnTo>
                  <a:lnTo>
                    <a:pt x="109" y="111"/>
                  </a:lnTo>
                  <a:lnTo>
                    <a:pt x="109" y="107"/>
                  </a:lnTo>
                  <a:lnTo>
                    <a:pt x="111" y="107"/>
                  </a:lnTo>
                  <a:lnTo>
                    <a:pt x="111" y="105"/>
                  </a:lnTo>
                  <a:lnTo>
                    <a:pt x="113" y="103"/>
                  </a:lnTo>
                  <a:lnTo>
                    <a:pt x="113" y="99"/>
                  </a:lnTo>
                  <a:lnTo>
                    <a:pt x="115" y="97"/>
                  </a:lnTo>
                  <a:lnTo>
                    <a:pt x="115" y="94"/>
                  </a:lnTo>
                  <a:lnTo>
                    <a:pt x="117" y="94"/>
                  </a:lnTo>
                  <a:lnTo>
                    <a:pt x="117" y="92"/>
                  </a:lnTo>
                  <a:lnTo>
                    <a:pt x="117" y="88"/>
                  </a:lnTo>
                  <a:lnTo>
                    <a:pt x="117" y="86"/>
                  </a:lnTo>
                  <a:lnTo>
                    <a:pt x="117" y="84"/>
                  </a:lnTo>
                  <a:lnTo>
                    <a:pt x="119" y="82"/>
                  </a:lnTo>
                  <a:lnTo>
                    <a:pt x="119" y="80"/>
                  </a:lnTo>
                  <a:lnTo>
                    <a:pt x="119" y="78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9" y="67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7" y="61"/>
                  </a:lnTo>
                  <a:lnTo>
                    <a:pt x="115" y="59"/>
                  </a:lnTo>
                  <a:lnTo>
                    <a:pt x="113" y="57"/>
                  </a:lnTo>
                  <a:lnTo>
                    <a:pt x="111" y="57"/>
                  </a:lnTo>
                  <a:lnTo>
                    <a:pt x="109" y="57"/>
                  </a:lnTo>
                  <a:lnTo>
                    <a:pt x="105" y="57"/>
                  </a:lnTo>
                  <a:lnTo>
                    <a:pt x="102" y="55"/>
                  </a:lnTo>
                  <a:lnTo>
                    <a:pt x="100" y="53"/>
                  </a:lnTo>
                  <a:lnTo>
                    <a:pt x="102" y="51"/>
                  </a:lnTo>
                  <a:lnTo>
                    <a:pt x="103" y="49"/>
                  </a:lnTo>
                  <a:lnTo>
                    <a:pt x="105" y="48"/>
                  </a:lnTo>
                  <a:lnTo>
                    <a:pt x="105" y="46"/>
                  </a:lnTo>
                  <a:lnTo>
                    <a:pt x="109" y="46"/>
                  </a:lnTo>
                  <a:lnTo>
                    <a:pt x="111" y="44"/>
                  </a:lnTo>
                  <a:lnTo>
                    <a:pt x="113" y="40"/>
                  </a:lnTo>
                  <a:lnTo>
                    <a:pt x="115" y="38"/>
                  </a:lnTo>
                  <a:lnTo>
                    <a:pt x="115" y="34"/>
                  </a:lnTo>
                  <a:lnTo>
                    <a:pt x="117" y="32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19" y="25"/>
                  </a:lnTo>
                  <a:lnTo>
                    <a:pt x="119" y="21"/>
                  </a:lnTo>
                  <a:lnTo>
                    <a:pt x="111" y="21"/>
                  </a:lnTo>
                  <a:lnTo>
                    <a:pt x="109" y="23"/>
                  </a:lnTo>
                  <a:lnTo>
                    <a:pt x="109" y="25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6"/>
                  </a:lnTo>
                  <a:lnTo>
                    <a:pt x="96" y="26"/>
                  </a:lnTo>
                  <a:lnTo>
                    <a:pt x="94" y="25"/>
                  </a:lnTo>
                  <a:lnTo>
                    <a:pt x="90" y="23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4" y="5"/>
                  </a:lnTo>
                  <a:lnTo>
                    <a:pt x="82" y="3"/>
                  </a:lnTo>
                  <a:lnTo>
                    <a:pt x="79" y="2"/>
                  </a:lnTo>
                  <a:lnTo>
                    <a:pt x="75" y="2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63" y="0"/>
                  </a:lnTo>
                  <a:lnTo>
                    <a:pt x="61" y="2"/>
                  </a:lnTo>
                  <a:lnTo>
                    <a:pt x="57" y="3"/>
                  </a:lnTo>
                  <a:lnTo>
                    <a:pt x="56" y="7"/>
                  </a:lnTo>
                  <a:lnTo>
                    <a:pt x="54" y="7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8" y="13"/>
                  </a:lnTo>
                  <a:lnTo>
                    <a:pt x="46" y="15"/>
                  </a:lnTo>
                  <a:lnTo>
                    <a:pt x="44" y="17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4" y="23"/>
                  </a:lnTo>
                  <a:lnTo>
                    <a:pt x="32" y="26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5" y="32"/>
                  </a:lnTo>
                  <a:lnTo>
                    <a:pt x="23" y="32"/>
                  </a:lnTo>
                  <a:lnTo>
                    <a:pt x="25" y="38"/>
                  </a:lnTo>
                  <a:lnTo>
                    <a:pt x="25" y="42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9"/>
                  </a:lnTo>
                  <a:lnTo>
                    <a:pt x="29" y="53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5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8"/>
                  </a:lnTo>
                  <a:lnTo>
                    <a:pt x="29" y="88"/>
                  </a:lnTo>
                  <a:lnTo>
                    <a:pt x="27" y="90"/>
                  </a:lnTo>
                  <a:lnTo>
                    <a:pt x="27" y="92"/>
                  </a:lnTo>
                  <a:lnTo>
                    <a:pt x="23" y="96"/>
                  </a:lnTo>
                  <a:lnTo>
                    <a:pt x="21" y="97"/>
                  </a:lnTo>
                  <a:lnTo>
                    <a:pt x="19" y="101"/>
                  </a:lnTo>
                  <a:lnTo>
                    <a:pt x="15" y="103"/>
                  </a:lnTo>
                  <a:lnTo>
                    <a:pt x="13" y="107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8" y="111"/>
                  </a:lnTo>
                  <a:lnTo>
                    <a:pt x="6" y="111"/>
                  </a:lnTo>
                  <a:lnTo>
                    <a:pt x="4" y="115"/>
                  </a:lnTo>
                  <a:lnTo>
                    <a:pt x="2" y="117"/>
                  </a:lnTo>
                  <a:lnTo>
                    <a:pt x="0" y="120"/>
                  </a:lnTo>
                  <a:lnTo>
                    <a:pt x="0" y="122"/>
                  </a:lnTo>
                  <a:lnTo>
                    <a:pt x="0" y="126"/>
                  </a:lnTo>
                  <a:lnTo>
                    <a:pt x="0" y="130"/>
                  </a:lnTo>
                  <a:lnTo>
                    <a:pt x="0" y="132"/>
                  </a:lnTo>
                  <a:lnTo>
                    <a:pt x="0" y="134"/>
                  </a:lnTo>
                  <a:lnTo>
                    <a:pt x="0" y="136"/>
                  </a:lnTo>
                  <a:lnTo>
                    <a:pt x="0" y="138"/>
                  </a:lnTo>
                  <a:lnTo>
                    <a:pt x="0" y="140"/>
                  </a:lnTo>
                  <a:lnTo>
                    <a:pt x="0" y="144"/>
                  </a:lnTo>
                  <a:lnTo>
                    <a:pt x="2" y="147"/>
                  </a:lnTo>
                  <a:lnTo>
                    <a:pt x="4" y="151"/>
                  </a:lnTo>
                  <a:lnTo>
                    <a:pt x="4" y="155"/>
                  </a:lnTo>
                  <a:lnTo>
                    <a:pt x="6" y="159"/>
                  </a:lnTo>
                  <a:lnTo>
                    <a:pt x="8" y="161"/>
                  </a:lnTo>
                  <a:lnTo>
                    <a:pt x="11" y="163"/>
                  </a:lnTo>
                  <a:lnTo>
                    <a:pt x="11" y="165"/>
                  </a:lnTo>
                  <a:lnTo>
                    <a:pt x="11" y="168"/>
                  </a:lnTo>
                  <a:lnTo>
                    <a:pt x="13" y="170"/>
                  </a:lnTo>
                  <a:lnTo>
                    <a:pt x="13" y="172"/>
                  </a:lnTo>
                  <a:lnTo>
                    <a:pt x="15" y="176"/>
                  </a:lnTo>
                  <a:lnTo>
                    <a:pt x="19" y="178"/>
                  </a:lnTo>
                  <a:lnTo>
                    <a:pt x="19" y="182"/>
                  </a:lnTo>
                  <a:lnTo>
                    <a:pt x="21" y="184"/>
                  </a:lnTo>
                  <a:lnTo>
                    <a:pt x="23" y="186"/>
                  </a:lnTo>
                  <a:lnTo>
                    <a:pt x="27" y="186"/>
                  </a:lnTo>
                  <a:lnTo>
                    <a:pt x="29" y="188"/>
                  </a:lnTo>
                  <a:lnTo>
                    <a:pt x="31" y="188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40" y="190"/>
                  </a:lnTo>
                  <a:lnTo>
                    <a:pt x="42" y="191"/>
                  </a:lnTo>
                  <a:lnTo>
                    <a:pt x="44" y="193"/>
                  </a:lnTo>
                  <a:lnTo>
                    <a:pt x="44" y="195"/>
                  </a:lnTo>
                  <a:lnTo>
                    <a:pt x="48" y="197"/>
                  </a:lnTo>
                  <a:lnTo>
                    <a:pt x="48" y="199"/>
                  </a:lnTo>
                  <a:lnTo>
                    <a:pt x="48" y="203"/>
                  </a:lnTo>
                  <a:lnTo>
                    <a:pt x="48" y="205"/>
                  </a:lnTo>
                  <a:lnTo>
                    <a:pt x="46" y="207"/>
                  </a:lnTo>
                  <a:lnTo>
                    <a:pt x="46" y="209"/>
                  </a:lnTo>
                  <a:lnTo>
                    <a:pt x="46" y="209"/>
                  </a:lnTo>
                  <a:lnTo>
                    <a:pt x="46" y="211"/>
                  </a:lnTo>
                  <a:lnTo>
                    <a:pt x="46" y="215"/>
                  </a:lnTo>
                  <a:lnTo>
                    <a:pt x="46" y="218"/>
                  </a:lnTo>
                  <a:lnTo>
                    <a:pt x="48" y="218"/>
                  </a:lnTo>
                  <a:lnTo>
                    <a:pt x="48" y="222"/>
                  </a:lnTo>
                  <a:lnTo>
                    <a:pt x="50" y="224"/>
                  </a:lnTo>
                  <a:lnTo>
                    <a:pt x="52" y="224"/>
                  </a:lnTo>
                  <a:lnTo>
                    <a:pt x="54" y="226"/>
                  </a:lnTo>
                  <a:lnTo>
                    <a:pt x="54" y="230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9" y="236"/>
                  </a:lnTo>
                  <a:lnTo>
                    <a:pt x="61" y="239"/>
                  </a:lnTo>
                  <a:lnTo>
                    <a:pt x="61" y="243"/>
                  </a:lnTo>
                  <a:lnTo>
                    <a:pt x="63" y="245"/>
                  </a:lnTo>
                  <a:lnTo>
                    <a:pt x="65" y="249"/>
                  </a:lnTo>
                  <a:lnTo>
                    <a:pt x="67" y="253"/>
                  </a:lnTo>
                  <a:lnTo>
                    <a:pt x="69" y="255"/>
                  </a:lnTo>
                  <a:lnTo>
                    <a:pt x="69" y="259"/>
                  </a:lnTo>
                  <a:lnTo>
                    <a:pt x="71" y="261"/>
                  </a:lnTo>
                  <a:lnTo>
                    <a:pt x="73" y="261"/>
                  </a:lnTo>
                  <a:lnTo>
                    <a:pt x="75" y="261"/>
                  </a:lnTo>
                  <a:lnTo>
                    <a:pt x="79" y="257"/>
                  </a:lnTo>
                  <a:lnTo>
                    <a:pt x="82" y="255"/>
                  </a:lnTo>
                  <a:lnTo>
                    <a:pt x="84" y="251"/>
                  </a:lnTo>
                  <a:lnTo>
                    <a:pt x="86" y="249"/>
                  </a:lnTo>
                  <a:lnTo>
                    <a:pt x="88" y="249"/>
                  </a:lnTo>
                  <a:lnTo>
                    <a:pt x="90" y="247"/>
                  </a:lnTo>
                  <a:lnTo>
                    <a:pt x="90" y="241"/>
                  </a:lnTo>
                  <a:lnTo>
                    <a:pt x="90" y="238"/>
                  </a:lnTo>
                  <a:lnTo>
                    <a:pt x="90" y="236"/>
                  </a:lnTo>
                  <a:lnTo>
                    <a:pt x="90" y="232"/>
                  </a:lnTo>
                  <a:lnTo>
                    <a:pt x="90" y="230"/>
                  </a:lnTo>
                  <a:lnTo>
                    <a:pt x="90" y="228"/>
                  </a:lnTo>
                  <a:lnTo>
                    <a:pt x="90" y="226"/>
                  </a:lnTo>
                  <a:lnTo>
                    <a:pt x="90" y="226"/>
                  </a:lnTo>
                  <a:lnTo>
                    <a:pt x="90" y="224"/>
                  </a:lnTo>
                  <a:lnTo>
                    <a:pt x="90" y="218"/>
                  </a:lnTo>
                  <a:lnTo>
                    <a:pt x="92" y="216"/>
                  </a:lnTo>
                  <a:lnTo>
                    <a:pt x="94" y="213"/>
                  </a:lnTo>
                  <a:lnTo>
                    <a:pt x="98" y="213"/>
                  </a:lnTo>
                  <a:lnTo>
                    <a:pt x="100" y="211"/>
                  </a:lnTo>
                  <a:lnTo>
                    <a:pt x="103" y="209"/>
                  </a:lnTo>
                  <a:lnTo>
                    <a:pt x="105" y="207"/>
                  </a:lnTo>
                  <a:lnTo>
                    <a:pt x="107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17" y="205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7" y="197"/>
                  </a:lnTo>
                  <a:lnTo>
                    <a:pt x="130" y="197"/>
                  </a:lnTo>
                  <a:lnTo>
                    <a:pt x="130" y="193"/>
                  </a:lnTo>
                  <a:lnTo>
                    <a:pt x="132" y="191"/>
                  </a:lnTo>
                  <a:lnTo>
                    <a:pt x="134" y="190"/>
                  </a:lnTo>
                  <a:lnTo>
                    <a:pt x="134" y="186"/>
                  </a:lnTo>
                  <a:lnTo>
                    <a:pt x="136" y="186"/>
                  </a:lnTo>
                  <a:lnTo>
                    <a:pt x="138" y="184"/>
                  </a:lnTo>
                  <a:lnTo>
                    <a:pt x="142" y="184"/>
                  </a:lnTo>
                  <a:lnTo>
                    <a:pt x="142" y="182"/>
                  </a:lnTo>
                  <a:lnTo>
                    <a:pt x="146" y="182"/>
                  </a:lnTo>
                  <a:lnTo>
                    <a:pt x="150" y="180"/>
                  </a:lnTo>
                  <a:lnTo>
                    <a:pt x="150" y="178"/>
                  </a:lnTo>
                  <a:lnTo>
                    <a:pt x="151" y="176"/>
                  </a:lnTo>
                  <a:lnTo>
                    <a:pt x="151" y="172"/>
                  </a:lnTo>
                  <a:lnTo>
                    <a:pt x="150" y="172"/>
                  </a:lnTo>
                  <a:lnTo>
                    <a:pt x="150" y="170"/>
                  </a:lnTo>
                  <a:lnTo>
                    <a:pt x="150" y="165"/>
                  </a:lnTo>
                  <a:lnTo>
                    <a:pt x="148" y="165"/>
                  </a:lnTo>
                </a:path>
              </a:pathLst>
            </a:custGeom>
            <a:solidFill>
              <a:srgbClr val="FFFF99"/>
            </a:solidFill>
            <a:ln w="3175"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2" name="Freeform 59"/>
            <p:cNvSpPr>
              <a:spLocks/>
            </p:cNvSpPr>
            <p:nvPr/>
          </p:nvSpPr>
          <p:spPr bwMode="auto">
            <a:xfrm>
              <a:off x="889" y="960"/>
              <a:ext cx="726" cy="666"/>
            </a:xfrm>
            <a:custGeom>
              <a:avLst/>
              <a:gdLst/>
              <a:ahLst/>
              <a:cxnLst>
                <a:cxn ang="0">
                  <a:pos x="566" y="4"/>
                </a:cxn>
                <a:cxn ang="0">
                  <a:pos x="524" y="13"/>
                </a:cxn>
                <a:cxn ang="0">
                  <a:pos x="484" y="6"/>
                </a:cxn>
                <a:cxn ang="0">
                  <a:pos x="449" y="6"/>
                </a:cxn>
                <a:cxn ang="0">
                  <a:pos x="394" y="10"/>
                </a:cxn>
                <a:cxn ang="0">
                  <a:pos x="365" y="21"/>
                </a:cxn>
                <a:cxn ang="0">
                  <a:pos x="329" y="34"/>
                </a:cxn>
                <a:cxn ang="0">
                  <a:pos x="302" y="36"/>
                </a:cxn>
                <a:cxn ang="0">
                  <a:pos x="277" y="54"/>
                </a:cxn>
                <a:cxn ang="0">
                  <a:pos x="252" y="65"/>
                </a:cxn>
                <a:cxn ang="0">
                  <a:pos x="263" y="96"/>
                </a:cxn>
                <a:cxn ang="0">
                  <a:pos x="267" y="140"/>
                </a:cxn>
                <a:cxn ang="0">
                  <a:pos x="282" y="161"/>
                </a:cxn>
                <a:cxn ang="0">
                  <a:pos x="271" y="180"/>
                </a:cxn>
                <a:cxn ang="0">
                  <a:pos x="229" y="180"/>
                </a:cxn>
                <a:cxn ang="0">
                  <a:pos x="200" y="188"/>
                </a:cxn>
                <a:cxn ang="0">
                  <a:pos x="188" y="203"/>
                </a:cxn>
                <a:cxn ang="0">
                  <a:pos x="173" y="228"/>
                </a:cxn>
                <a:cxn ang="0">
                  <a:pos x="150" y="244"/>
                </a:cxn>
                <a:cxn ang="0">
                  <a:pos x="131" y="257"/>
                </a:cxn>
                <a:cxn ang="0">
                  <a:pos x="104" y="267"/>
                </a:cxn>
                <a:cxn ang="0">
                  <a:pos x="73" y="265"/>
                </a:cxn>
                <a:cxn ang="0">
                  <a:pos x="46" y="282"/>
                </a:cxn>
                <a:cxn ang="0">
                  <a:pos x="29" y="299"/>
                </a:cxn>
                <a:cxn ang="0">
                  <a:pos x="0" y="311"/>
                </a:cxn>
                <a:cxn ang="0">
                  <a:pos x="8" y="365"/>
                </a:cxn>
                <a:cxn ang="0">
                  <a:pos x="33" y="376"/>
                </a:cxn>
                <a:cxn ang="0">
                  <a:pos x="60" y="391"/>
                </a:cxn>
                <a:cxn ang="0">
                  <a:pos x="85" y="411"/>
                </a:cxn>
                <a:cxn ang="0">
                  <a:pos x="114" y="432"/>
                </a:cxn>
                <a:cxn ang="0">
                  <a:pos x="350" y="604"/>
                </a:cxn>
                <a:cxn ang="0">
                  <a:pos x="375" y="627"/>
                </a:cxn>
                <a:cxn ang="0">
                  <a:pos x="396" y="645"/>
                </a:cxn>
                <a:cxn ang="0">
                  <a:pos x="403" y="662"/>
                </a:cxn>
                <a:cxn ang="0">
                  <a:pos x="434" y="666"/>
                </a:cxn>
                <a:cxn ang="0">
                  <a:pos x="465" y="662"/>
                </a:cxn>
                <a:cxn ang="0">
                  <a:pos x="495" y="652"/>
                </a:cxn>
                <a:cxn ang="0">
                  <a:pos x="724" y="485"/>
                </a:cxn>
                <a:cxn ang="0">
                  <a:pos x="708" y="466"/>
                </a:cxn>
                <a:cxn ang="0">
                  <a:pos x="682" y="460"/>
                </a:cxn>
                <a:cxn ang="0">
                  <a:pos x="653" y="449"/>
                </a:cxn>
                <a:cxn ang="0">
                  <a:pos x="645" y="422"/>
                </a:cxn>
                <a:cxn ang="0">
                  <a:pos x="632" y="399"/>
                </a:cxn>
                <a:cxn ang="0">
                  <a:pos x="643" y="380"/>
                </a:cxn>
                <a:cxn ang="0">
                  <a:pos x="664" y="372"/>
                </a:cxn>
                <a:cxn ang="0">
                  <a:pos x="655" y="347"/>
                </a:cxn>
                <a:cxn ang="0">
                  <a:pos x="651" y="313"/>
                </a:cxn>
                <a:cxn ang="0">
                  <a:pos x="655" y="286"/>
                </a:cxn>
                <a:cxn ang="0">
                  <a:pos x="651" y="249"/>
                </a:cxn>
                <a:cxn ang="0">
                  <a:pos x="639" y="223"/>
                </a:cxn>
                <a:cxn ang="0">
                  <a:pos x="626" y="201"/>
                </a:cxn>
                <a:cxn ang="0">
                  <a:pos x="624" y="173"/>
                </a:cxn>
                <a:cxn ang="0">
                  <a:pos x="599" y="169"/>
                </a:cxn>
                <a:cxn ang="0">
                  <a:pos x="586" y="142"/>
                </a:cxn>
                <a:cxn ang="0">
                  <a:pos x="578" y="113"/>
                </a:cxn>
                <a:cxn ang="0">
                  <a:pos x="586" y="90"/>
                </a:cxn>
                <a:cxn ang="0">
                  <a:pos x="607" y="69"/>
                </a:cxn>
                <a:cxn ang="0">
                  <a:pos x="609" y="38"/>
                </a:cxn>
              </a:cxnLst>
              <a:rect l="0" t="0" r="r" b="b"/>
              <a:pathLst>
                <a:path w="726" h="666">
                  <a:moveTo>
                    <a:pt x="605" y="13"/>
                  </a:moveTo>
                  <a:lnTo>
                    <a:pt x="595" y="13"/>
                  </a:lnTo>
                  <a:lnTo>
                    <a:pt x="593" y="13"/>
                  </a:lnTo>
                  <a:lnTo>
                    <a:pt x="593" y="10"/>
                  </a:lnTo>
                  <a:lnTo>
                    <a:pt x="591" y="8"/>
                  </a:lnTo>
                  <a:lnTo>
                    <a:pt x="588" y="6"/>
                  </a:lnTo>
                  <a:lnTo>
                    <a:pt x="584" y="6"/>
                  </a:lnTo>
                  <a:lnTo>
                    <a:pt x="580" y="6"/>
                  </a:lnTo>
                  <a:lnTo>
                    <a:pt x="576" y="4"/>
                  </a:lnTo>
                  <a:lnTo>
                    <a:pt x="566" y="4"/>
                  </a:lnTo>
                  <a:lnTo>
                    <a:pt x="557" y="6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5" y="8"/>
                  </a:lnTo>
                  <a:lnTo>
                    <a:pt x="543" y="10"/>
                  </a:lnTo>
                  <a:lnTo>
                    <a:pt x="536" y="10"/>
                  </a:lnTo>
                  <a:lnTo>
                    <a:pt x="534" y="10"/>
                  </a:lnTo>
                  <a:lnTo>
                    <a:pt x="532" y="11"/>
                  </a:lnTo>
                  <a:lnTo>
                    <a:pt x="528" y="13"/>
                  </a:lnTo>
                  <a:lnTo>
                    <a:pt x="524" y="13"/>
                  </a:lnTo>
                  <a:lnTo>
                    <a:pt x="520" y="13"/>
                  </a:lnTo>
                  <a:lnTo>
                    <a:pt x="513" y="13"/>
                  </a:lnTo>
                  <a:lnTo>
                    <a:pt x="507" y="13"/>
                  </a:lnTo>
                  <a:lnTo>
                    <a:pt x="503" y="13"/>
                  </a:lnTo>
                  <a:lnTo>
                    <a:pt x="499" y="13"/>
                  </a:lnTo>
                  <a:lnTo>
                    <a:pt x="495" y="10"/>
                  </a:lnTo>
                  <a:lnTo>
                    <a:pt x="494" y="10"/>
                  </a:lnTo>
                  <a:lnTo>
                    <a:pt x="490" y="8"/>
                  </a:lnTo>
                  <a:lnTo>
                    <a:pt x="488" y="6"/>
                  </a:lnTo>
                  <a:lnTo>
                    <a:pt x="484" y="6"/>
                  </a:lnTo>
                  <a:lnTo>
                    <a:pt x="482" y="4"/>
                  </a:lnTo>
                  <a:lnTo>
                    <a:pt x="480" y="2"/>
                  </a:lnTo>
                  <a:lnTo>
                    <a:pt x="476" y="2"/>
                  </a:lnTo>
                  <a:lnTo>
                    <a:pt x="472" y="0"/>
                  </a:lnTo>
                  <a:lnTo>
                    <a:pt x="469" y="2"/>
                  </a:lnTo>
                  <a:lnTo>
                    <a:pt x="467" y="2"/>
                  </a:lnTo>
                  <a:lnTo>
                    <a:pt x="457" y="2"/>
                  </a:lnTo>
                  <a:lnTo>
                    <a:pt x="455" y="4"/>
                  </a:lnTo>
                  <a:lnTo>
                    <a:pt x="453" y="6"/>
                  </a:lnTo>
                  <a:lnTo>
                    <a:pt x="449" y="6"/>
                  </a:lnTo>
                  <a:lnTo>
                    <a:pt x="446" y="8"/>
                  </a:lnTo>
                  <a:lnTo>
                    <a:pt x="444" y="10"/>
                  </a:lnTo>
                  <a:lnTo>
                    <a:pt x="440" y="11"/>
                  </a:lnTo>
                  <a:lnTo>
                    <a:pt x="436" y="11"/>
                  </a:lnTo>
                  <a:lnTo>
                    <a:pt x="434" y="10"/>
                  </a:lnTo>
                  <a:lnTo>
                    <a:pt x="428" y="10"/>
                  </a:lnTo>
                  <a:lnTo>
                    <a:pt x="423" y="10"/>
                  </a:lnTo>
                  <a:lnTo>
                    <a:pt x="409" y="8"/>
                  </a:lnTo>
                  <a:lnTo>
                    <a:pt x="394" y="8"/>
                  </a:lnTo>
                  <a:lnTo>
                    <a:pt x="394" y="10"/>
                  </a:lnTo>
                  <a:lnTo>
                    <a:pt x="392" y="10"/>
                  </a:lnTo>
                  <a:lnTo>
                    <a:pt x="390" y="11"/>
                  </a:lnTo>
                  <a:lnTo>
                    <a:pt x="390" y="13"/>
                  </a:lnTo>
                  <a:lnTo>
                    <a:pt x="386" y="13"/>
                  </a:lnTo>
                  <a:lnTo>
                    <a:pt x="384" y="15"/>
                  </a:lnTo>
                  <a:lnTo>
                    <a:pt x="380" y="17"/>
                  </a:lnTo>
                  <a:lnTo>
                    <a:pt x="378" y="19"/>
                  </a:lnTo>
                  <a:lnTo>
                    <a:pt x="373" y="19"/>
                  </a:lnTo>
                  <a:lnTo>
                    <a:pt x="371" y="21"/>
                  </a:lnTo>
                  <a:lnTo>
                    <a:pt x="365" y="21"/>
                  </a:lnTo>
                  <a:lnTo>
                    <a:pt x="357" y="21"/>
                  </a:lnTo>
                  <a:lnTo>
                    <a:pt x="355" y="23"/>
                  </a:lnTo>
                  <a:lnTo>
                    <a:pt x="350" y="23"/>
                  </a:lnTo>
                  <a:lnTo>
                    <a:pt x="344" y="23"/>
                  </a:lnTo>
                  <a:lnTo>
                    <a:pt x="342" y="25"/>
                  </a:lnTo>
                  <a:lnTo>
                    <a:pt x="338" y="27"/>
                  </a:lnTo>
                  <a:lnTo>
                    <a:pt x="336" y="29"/>
                  </a:lnTo>
                  <a:lnTo>
                    <a:pt x="334" y="31"/>
                  </a:lnTo>
                  <a:lnTo>
                    <a:pt x="332" y="33"/>
                  </a:lnTo>
                  <a:lnTo>
                    <a:pt x="329" y="34"/>
                  </a:lnTo>
                  <a:lnTo>
                    <a:pt x="325" y="34"/>
                  </a:lnTo>
                  <a:lnTo>
                    <a:pt x="323" y="36"/>
                  </a:lnTo>
                  <a:lnTo>
                    <a:pt x="321" y="36"/>
                  </a:lnTo>
                  <a:lnTo>
                    <a:pt x="317" y="38"/>
                  </a:lnTo>
                  <a:lnTo>
                    <a:pt x="315" y="38"/>
                  </a:lnTo>
                  <a:lnTo>
                    <a:pt x="311" y="38"/>
                  </a:lnTo>
                  <a:lnTo>
                    <a:pt x="309" y="40"/>
                  </a:lnTo>
                  <a:lnTo>
                    <a:pt x="305" y="40"/>
                  </a:lnTo>
                  <a:lnTo>
                    <a:pt x="304" y="40"/>
                  </a:lnTo>
                  <a:lnTo>
                    <a:pt x="302" y="36"/>
                  </a:lnTo>
                  <a:lnTo>
                    <a:pt x="290" y="36"/>
                  </a:lnTo>
                  <a:lnTo>
                    <a:pt x="286" y="38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2" y="44"/>
                  </a:lnTo>
                  <a:lnTo>
                    <a:pt x="281" y="46"/>
                  </a:lnTo>
                  <a:lnTo>
                    <a:pt x="281" y="50"/>
                  </a:lnTo>
                  <a:lnTo>
                    <a:pt x="279" y="52"/>
                  </a:lnTo>
                  <a:lnTo>
                    <a:pt x="277" y="52"/>
                  </a:lnTo>
                  <a:lnTo>
                    <a:pt x="277" y="54"/>
                  </a:lnTo>
                  <a:lnTo>
                    <a:pt x="275" y="56"/>
                  </a:lnTo>
                  <a:lnTo>
                    <a:pt x="271" y="56"/>
                  </a:lnTo>
                  <a:lnTo>
                    <a:pt x="267" y="56"/>
                  </a:lnTo>
                  <a:lnTo>
                    <a:pt x="265" y="58"/>
                  </a:lnTo>
                  <a:lnTo>
                    <a:pt x="263" y="58"/>
                  </a:lnTo>
                  <a:lnTo>
                    <a:pt x="261" y="59"/>
                  </a:lnTo>
                  <a:lnTo>
                    <a:pt x="258" y="63"/>
                  </a:lnTo>
                  <a:lnTo>
                    <a:pt x="256" y="63"/>
                  </a:lnTo>
                  <a:lnTo>
                    <a:pt x="254" y="65"/>
                  </a:lnTo>
                  <a:lnTo>
                    <a:pt x="252" y="65"/>
                  </a:lnTo>
                  <a:lnTo>
                    <a:pt x="254" y="67"/>
                  </a:lnTo>
                  <a:lnTo>
                    <a:pt x="254" y="71"/>
                  </a:lnTo>
                  <a:lnTo>
                    <a:pt x="254" y="75"/>
                  </a:lnTo>
                  <a:lnTo>
                    <a:pt x="254" y="79"/>
                  </a:lnTo>
                  <a:lnTo>
                    <a:pt x="256" y="82"/>
                  </a:lnTo>
                  <a:lnTo>
                    <a:pt x="258" y="86"/>
                  </a:lnTo>
                  <a:lnTo>
                    <a:pt x="259" y="90"/>
                  </a:lnTo>
                  <a:lnTo>
                    <a:pt x="259" y="92"/>
                  </a:lnTo>
                  <a:lnTo>
                    <a:pt x="263" y="94"/>
                  </a:lnTo>
                  <a:lnTo>
                    <a:pt x="263" y="96"/>
                  </a:lnTo>
                  <a:lnTo>
                    <a:pt x="263" y="107"/>
                  </a:lnTo>
                  <a:lnTo>
                    <a:pt x="261" y="109"/>
                  </a:lnTo>
                  <a:lnTo>
                    <a:pt x="261" y="117"/>
                  </a:lnTo>
                  <a:lnTo>
                    <a:pt x="261" y="127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3" y="134"/>
                  </a:lnTo>
                  <a:lnTo>
                    <a:pt x="265" y="136"/>
                  </a:lnTo>
                  <a:lnTo>
                    <a:pt x="265" y="138"/>
                  </a:lnTo>
                  <a:lnTo>
                    <a:pt x="267" y="140"/>
                  </a:lnTo>
                  <a:lnTo>
                    <a:pt x="269" y="144"/>
                  </a:lnTo>
                  <a:lnTo>
                    <a:pt x="271" y="146"/>
                  </a:lnTo>
                  <a:lnTo>
                    <a:pt x="275" y="148"/>
                  </a:lnTo>
                  <a:lnTo>
                    <a:pt x="277" y="150"/>
                  </a:lnTo>
                  <a:lnTo>
                    <a:pt x="277" y="150"/>
                  </a:lnTo>
                  <a:lnTo>
                    <a:pt x="277" y="153"/>
                  </a:lnTo>
                  <a:lnTo>
                    <a:pt x="281" y="153"/>
                  </a:lnTo>
                  <a:lnTo>
                    <a:pt x="282" y="155"/>
                  </a:lnTo>
                  <a:lnTo>
                    <a:pt x="282" y="159"/>
                  </a:lnTo>
                  <a:lnTo>
                    <a:pt x="282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2" y="167"/>
                  </a:lnTo>
                  <a:lnTo>
                    <a:pt x="279" y="167"/>
                  </a:lnTo>
                  <a:lnTo>
                    <a:pt x="277" y="167"/>
                  </a:lnTo>
                  <a:lnTo>
                    <a:pt x="275" y="169"/>
                  </a:lnTo>
                  <a:lnTo>
                    <a:pt x="273" y="171"/>
                  </a:lnTo>
                  <a:lnTo>
                    <a:pt x="273" y="175"/>
                  </a:lnTo>
                  <a:lnTo>
                    <a:pt x="275" y="178"/>
                  </a:lnTo>
                  <a:lnTo>
                    <a:pt x="271" y="180"/>
                  </a:lnTo>
                  <a:lnTo>
                    <a:pt x="267" y="180"/>
                  </a:lnTo>
                  <a:lnTo>
                    <a:pt x="263" y="182"/>
                  </a:lnTo>
                  <a:lnTo>
                    <a:pt x="258" y="182"/>
                  </a:lnTo>
                  <a:lnTo>
                    <a:pt x="256" y="180"/>
                  </a:lnTo>
                  <a:lnTo>
                    <a:pt x="254" y="178"/>
                  </a:lnTo>
                  <a:lnTo>
                    <a:pt x="248" y="178"/>
                  </a:lnTo>
                  <a:lnTo>
                    <a:pt x="244" y="176"/>
                  </a:lnTo>
                  <a:lnTo>
                    <a:pt x="236" y="176"/>
                  </a:lnTo>
                  <a:lnTo>
                    <a:pt x="231" y="176"/>
                  </a:lnTo>
                  <a:lnTo>
                    <a:pt x="229" y="180"/>
                  </a:lnTo>
                  <a:lnTo>
                    <a:pt x="229" y="182"/>
                  </a:lnTo>
                  <a:lnTo>
                    <a:pt x="225" y="182"/>
                  </a:lnTo>
                  <a:lnTo>
                    <a:pt x="221" y="184"/>
                  </a:lnTo>
                  <a:lnTo>
                    <a:pt x="219" y="184"/>
                  </a:lnTo>
                  <a:lnTo>
                    <a:pt x="217" y="184"/>
                  </a:lnTo>
                  <a:lnTo>
                    <a:pt x="213" y="186"/>
                  </a:lnTo>
                  <a:lnTo>
                    <a:pt x="210" y="186"/>
                  </a:lnTo>
                  <a:lnTo>
                    <a:pt x="206" y="188"/>
                  </a:lnTo>
                  <a:lnTo>
                    <a:pt x="202" y="188"/>
                  </a:lnTo>
                  <a:lnTo>
                    <a:pt x="200" y="188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0" y="190"/>
                  </a:lnTo>
                  <a:lnTo>
                    <a:pt x="188" y="192"/>
                  </a:lnTo>
                  <a:lnTo>
                    <a:pt x="187" y="192"/>
                  </a:lnTo>
                  <a:lnTo>
                    <a:pt x="185" y="194"/>
                  </a:lnTo>
                  <a:lnTo>
                    <a:pt x="187" y="198"/>
                  </a:lnTo>
                  <a:lnTo>
                    <a:pt x="187" y="200"/>
                  </a:lnTo>
                  <a:lnTo>
                    <a:pt x="187" y="203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90" y="209"/>
                  </a:lnTo>
                  <a:lnTo>
                    <a:pt x="190" y="217"/>
                  </a:lnTo>
                  <a:lnTo>
                    <a:pt x="190" y="224"/>
                  </a:lnTo>
                  <a:lnTo>
                    <a:pt x="188" y="226"/>
                  </a:lnTo>
                  <a:lnTo>
                    <a:pt x="187" y="228"/>
                  </a:lnTo>
                  <a:lnTo>
                    <a:pt x="183" y="228"/>
                  </a:lnTo>
                  <a:lnTo>
                    <a:pt x="179" y="228"/>
                  </a:lnTo>
                  <a:lnTo>
                    <a:pt x="177" y="228"/>
                  </a:lnTo>
                  <a:lnTo>
                    <a:pt x="173" y="228"/>
                  </a:lnTo>
                  <a:lnTo>
                    <a:pt x="171" y="230"/>
                  </a:lnTo>
                  <a:lnTo>
                    <a:pt x="167" y="230"/>
                  </a:lnTo>
                  <a:lnTo>
                    <a:pt x="165" y="232"/>
                  </a:lnTo>
                  <a:lnTo>
                    <a:pt x="163" y="232"/>
                  </a:lnTo>
                  <a:lnTo>
                    <a:pt x="160" y="234"/>
                  </a:lnTo>
                  <a:lnTo>
                    <a:pt x="158" y="236"/>
                  </a:lnTo>
                  <a:lnTo>
                    <a:pt x="156" y="238"/>
                  </a:lnTo>
                  <a:lnTo>
                    <a:pt x="154" y="240"/>
                  </a:lnTo>
                  <a:lnTo>
                    <a:pt x="152" y="242"/>
                  </a:lnTo>
                  <a:lnTo>
                    <a:pt x="150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2" y="246"/>
                  </a:lnTo>
                  <a:lnTo>
                    <a:pt x="139" y="246"/>
                  </a:lnTo>
                  <a:lnTo>
                    <a:pt x="139" y="246"/>
                  </a:lnTo>
                  <a:lnTo>
                    <a:pt x="137" y="247"/>
                  </a:lnTo>
                  <a:lnTo>
                    <a:pt x="137" y="249"/>
                  </a:lnTo>
                  <a:lnTo>
                    <a:pt x="135" y="251"/>
                  </a:lnTo>
                  <a:lnTo>
                    <a:pt x="133" y="255"/>
                  </a:lnTo>
                  <a:lnTo>
                    <a:pt x="131" y="257"/>
                  </a:lnTo>
                  <a:lnTo>
                    <a:pt x="127" y="259"/>
                  </a:lnTo>
                  <a:lnTo>
                    <a:pt x="125" y="259"/>
                  </a:lnTo>
                  <a:lnTo>
                    <a:pt x="123" y="261"/>
                  </a:lnTo>
                  <a:lnTo>
                    <a:pt x="121" y="263"/>
                  </a:lnTo>
                  <a:lnTo>
                    <a:pt x="117" y="265"/>
                  </a:lnTo>
                  <a:lnTo>
                    <a:pt x="116" y="265"/>
                  </a:lnTo>
                  <a:lnTo>
                    <a:pt x="114" y="265"/>
                  </a:lnTo>
                  <a:lnTo>
                    <a:pt x="112" y="267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0" y="265"/>
                  </a:lnTo>
                  <a:lnTo>
                    <a:pt x="98" y="265"/>
                  </a:lnTo>
                  <a:lnTo>
                    <a:pt x="94" y="263"/>
                  </a:lnTo>
                  <a:lnTo>
                    <a:pt x="93" y="263"/>
                  </a:lnTo>
                  <a:lnTo>
                    <a:pt x="91" y="261"/>
                  </a:lnTo>
                  <a:lnTo>
                    <a:pt x="87" y="261"/>
                  </a:lnTo>
                  <a:lnTo>
                    <a:pt x="83" y="263"/>
                  </a:lnTo>
                  <a:lnTo>
                    <a:pt x="79" y="263"/>
                  </a:lnTo>
                  <a:lnTo>
                    <a:pt x="75" y="263"/>
                  </a:lnTo>
                  <a:lnTo>
                    <a:pt x="73" y="265"/>
                  </a:lnTo>
                  <a:lnTo>
                    <a:pt x="71" y="267"/>
                  </a:lnTo>
                  <a:lnTo>
                    <a:pt x="71" y="269"/>
                  </a:lnTo>
                  <a:lnTo>
                    <a:pt x="69" y="272"/>
                  </a:lnTo>
                  <a:lnTo>
                    <a:pt x="69" y="274"/>
                  </a:lnTo>
                  <a:lnTo>
                    <a:pt x="68" y="276"/>
                  </a:lnTo>
                  <a:lnTo>
                    <a:pt x="66" y="278"/>
                  </a:lnTo>
                  <a:lnTo>
                    <a:pt x="58" y="278"/>
                  </a:lnTo>
                  <a:lnTo>
                    <a:pt x="48" y="278"/>
                  </a:lnTo>
                  <a:lnTo>
                    <a:pt x="46" y="280"/>
                  </a:lnTo>
                  <a:lnTo>
                    <a:pt x="46" y="282"/>
                  </a:lnTo>
                  <a:lnTo>
                    <a:pt x="45" y="286"/>
                  </a:lnTo>
                  <a:lnTo>
                    <a:pt x="43" y="288"/>
                  </a:lnTo>
                  <a:lnTo>
                    <a:pt x="41" y="288"/>
                  </a:lnTo>
                  <a:lnTo>
                    <a:pt x="39" y="288"/>
                  </a:lnTo>
                  <a:lnTo>
                    <a:pt x="39" y="292"/>
                  </a:lnTo>
                  <a:lnTo>
                    <a:pt x="39" y="294"/>
                  </a:lnTo>
                  <a:lnTo>
                    <a:pt x="37" y="295"/>
                  </a:lnTo>
                  <a:lnTo>
                    <a:pt x="33" y="295"/>
                  </a:lnTo>
                  <a:lnTo>
                    <a:pt x="31" y="297"/>
                  </a:lnTo>
                  <a:lnTo>
                    <a:pt x="29" y="299"/>
                  </a:lnTo>
                  <a:lnTo>
                    <a:pt x="23" y="299"/>
                  </a:lnTo>
                  <a:lnTo>
                    <a:pt x="22" y="301"/>
                  </a:lnTo>
                  <a:lnTo>
                    <a:pt x="18" y="301"/>
                  </a:lnTo>
                  <a:lnTo>
                    <a:pt x="12" y="301"/>
                  </a:lnTo>
                  <a:lnTo>
                    <a:pt x="10" y="303"/>
                  </a:lnTo>
                  <a:lnTo>
                    <a:pt x="8" y="303"/>
                  </a:lnTo>
                  <a:lnTo>
                    <a:pt x="6" y="307"/>
                  </a:lnTo>
                  <a:lnTo>
                    <a:pt x="4" y="307"/>
                  </a:lnTo>
                  <a:lnTo>
                    <a:pt x="2" y="309"/>
                  </a:lnTo>
                  <a:lnTo>
                    <a:pt x="0" y="311"/>
                  </a:lnTo>
                  <a:lnTo>
                    <a:pt x="0" y="317"/>
                  </a:lnTo>
                  <a:lnTo>
                    <a:pt x="0" y="320"/>
                  </a:lnTo>
                  <a:lnTo>
                    <a:pt x="0" y="332"/>
                  </a:lnTo>
                  <a:lnTo>
                    <a:pt x="0" y="345"/>
                  </a:lnTo>
                  <a:lnTo>
                    <a:pt x="0" y="347"/>
                  </a:lnTo>
                  <a:lnTo>
                    <a:pt x="0" y="353"/>
                  </a:lnTo>
                  <a:lnTo>
                    <a:pt x="0" y="359"/>
                  </a:lnTo>
                  <a:lnTo>
                    <a:pt x="2" y="359"/>
                  </a:lnTo>
                  <a:lnTo>
                    <a:pt x="4" y="361"/>
                  </a:lnTo>
                  <a:lnTo>
                    <a:pt x="8" y="365"/>
                  </a:lnTo>
                  <a:lnTo>
                    <a:pt x="12" y="365"/>
                  </a:lnTo>
                  <a:lnTo>
                    <a:pt x="12" y="365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8" y="368"/>
                  </a:lnTo>
                  <a:lnTo>
                    <a:pt x="20" y="370"/>
                  </a:lnTo>
                  <a:lnTo>
                    <a:pt x="23" y="372"/>
                  </a:lnTo>
                  <a:lnTo>
                    <a:pt x="27" y="372"/>
                  </a:lnTo>
                  <a:lnTo>
                    <a:pt x="31" y="374"/>
                  </a:lnTo>
                  <a:lnTo>
                    <a:pt x="33" y="376"/>
                  </a:lnTo>
                  <a:lnTo>
                    <a:pt x="35" y="378"/>
                  </a:lnTo>
                  <a:lnTo>
                    <a:pt x="39" y="378"/>
                  </a:lnTo>
                  <a:lnTo>
                    <a:pt x="41" y="380"/>
                  </a:lnTo>
                  <a:lnTo>
                    <a:pt x="45" y="384"/>
                  </a:lnTo>
                  <a:lnTo>
                    <a:pt x="48" y="384"/>
                  </a:lnTo>
                  <a:lnTo>
                    <a:pt x="52" y="386"/>
                  </a:lnTo>
                  <a:lnTo>
                    <a:pt x="54" y="386"/>
                  </a:lnTo>
                  <a:lnTo>
                    <a:pt x="56" y="389"/>
                  </a:lnTo>
                  <a:lnTo>
                    <a:pt x="60" y="389"/>
                  </a:lnTo>
                  <a:lnTo>
                    <a:pt x="60" y="391"/>
                  </a:lnTo>
                  <a:lnTo>
                    <a:pt x="64" y="393"/>
                  </a:lnTo>
                  <a:lnTo>
                    <a:pt x="68" y="397"/>
                  </a:lnTo>
                  <a:lnTo>
                    <a:pt x="69" y="399"/>
                  </a:lnTo>
                  <a:lnTo>
                    <a:pt x="71" y="399"/>
                  </a:lnTo>
                  <a:lnTo>
                    <a:pt x="75" y="401"/>
                  </a:lnTo>
                  <a:lnTo>
                    <a:pt x="75" y="403"/>
                  </a:lnTo>
                  <a:lnTo>
                    <a:pt x="79" y="405"/>
                  </a:lnTo>
                  <a:lnTo>
                    <a:pt x="79" y="407"/>
                  </a:lnTo>
                  <a:lnTo>
                    <a:pt x="81" y="407"/>
                  </a:lnTo>
                  <a:lnTo>
                    <a:pt x="85" y="411"/>
                  </a:lnTo>
                  <a:lnTo>
                    <a:pt x="89" y="413"/>
                  </a:lnTo>
                  <a:lnTo>
                    <a:pt x="91" y="414"/>
                  </a:lnTo>
                  <a:lnTo>
                    <a:pt x="91" y="416"/>
                  </a:lnTo>
                  <a:lnTo>
                    <a:pt x="94" y="420"/>
                  </a:lnTo>
                  <a:lnTo>
                    <a:pt x="96" y="420"/>
                  </a:lnTo>
                  <a:lnTo>
                    <a:pt x="98" y="422"/>
                  </a:lnTo>
                  <a:lnTo>
                    <a:pt x="100" y="426"/>
                  </a:lnTo>
                  <a:lnTo>
                    <a:pt x="106" y="426"/>
                  </a:lnTo>
                  <a:lnTo>
                    <a:pt x="112" y="428"/>
                  </a:lnTo>
                  <a:lnTo>
                    <a:pt x="114" y="432"/>
                  </a:lnTo>
                  <a:lnTo>
                    <a:pt x="117" y="432"/>
                  </a:lnTo>
                  <a:lnTo>
                    <a:pt x="117" y="434"/>
                  </a:lnTo>
                  <a:lnTo>
                    <a:pt x="117" y="436"/>
                  </a:lnTo>
                  <a:lnTo>
                    <a:pt x="121" y="436"/>
                  </a:lnTo>
                  <a:lnTo>
                    <a:pt x="123" y="437"/>
                  </a:lnTo>
                  <a:lnTo>
                    <a:pt x="125" y="439"/>
                  </a:lnTo>
                  <a:lnTo>
                    <a:pt x="125" y="441"/>
                  </a:lnTo>
                  <a:lnTo>
                    <a:pt x="127" y="439"/>
                  </a:lnTo>
                  <a:lnTo>
                    <a:pt x="342" y="601"/>
                  </a:lnTo>
                  <a:lnTo>
                    <a:pt x="350" y="604"/>
                  </a:lnTo>
                  <a:lnTo>
                    <a:pt x="357" y="608"/>
                  </a:lnTo>
                  <a:lnTo>
                    <a:pt x="357" y="612"/>
                  </a:lnTo>
                  <a:lnTo>
                    <a:pt x="357" y="616"/>
                  </a:lnTo>
                  <a:lnTo>
                    <a:pt x="357" y="620"/>
                  </a:lnTo>
                  <a:lnTo>
                    <a:pt x="357" y="622"/>
                  </a:lnTo>
                  <a:lnTo>
                    <a:pt x="361" y="624"/>
                  </a:lnTo>
                  <a:lnTo>
                    <a:pt x="365" y="624"/>
                  </a:lnTo>
                  <a:lnTo>
                    <a:pt x="369" y="624"/>
                  </a:lnTo>
                  <a:lnTo>
                    <a:pt x="373" y="626"/>
                  </a:lnTo>
                  <a:lnTo>
                    <a:pt x="375" y="627"/>
                  </a:lnTo>
                  <a:lnTo>
                    <a:pt x="376" y="627"/>
                  </a:lnTo>
                  <a:lnTo>
                    <a:pt x="378" y="629"/>
                  </a:lnTo>
                  <a:lnTo>
                    <a:pt x="380" y="629"/>
                  </a:lnTo>
                  <a:lnTo>
                    <a:pt x="382" y="633"/>
                  </a:lnTo>
                  <a:lnTo>
                    <a:pt x="384" y="635"/>
                  </a:lnTo>
                  <a:lnTo>
                    <a:pt x="388" y="635"/>
                  </a:lnTo>
                  <a:lnTo>
                    <a:pt x="392" y="637"/>
                  </a:lnTo>
                  <a:lnTo>
                    <a:pt x="394" y="639"/>
                  </a:lnTo>
                  <a:lnTo>
                    <a:pt x="396" y="641"/>
                  </a:lnTo>
                  <a:lnTo>
                    <a:pt x="396" y="645"/>
                  </a:lnTo>
                  <a:lnTo>
                    <a:pt x="396" y="647"/>
                  </a:lnTo>
                  <a:lnTo>
                    <a:pt x="398" y="649"/>
                  </a:lnTo>
                  <a:lnTo>
                    <a:pt x="401" y="650"/>
                  </a:lnTo>
                  <a:lnTo>
                    <a:pt x="403" y="652"/>
                  </a:lnTo>
                  <a:lnTo>
                    <a:pt x="403" y="652"/>
                  </a:lnTo>
                  <a:lnTo>
                    <a:pt x="403" y="650"/>
                  </a:lnTo>
                  <a:lnTo>
                    <a:pt x="403" y="654"/>
                  </a:lnTo>
                  <a:lnTo>
                    <a:pt x="403" y="658"/>
                  </a:lnTo>
                  <a:lnTo>
                    <a:pt x="403" y="660"/>
                  </a:lnTo>
                  <a:lnTo>
                    <a:pt x="403" y="662"/>
                  </a:lnTo>
                  <a:lnTo>
                    <a:pt x="405" y="664"/>
                  </a:lnTo>
                  <a:lnTo>
                    <a:pt x="407" y="666"/>
                  </a:lnTo>
                  <a:lnTo>
                    <a:pt x="411" y="666"/>
                  </a:lnTo>
                  <a:lnTo>
                    <a:pt x="413" y="666"/>
                  </a:lnTo>
                  <a:lnTo>
                    <a:pt x="417" y="666"/>
                  </a:lnTo>
                  <a:lnTo>
                    <a:pt x="421" y="666"/>
                  </a:lnTo>
                  <a:lnTo>
                    <a:pt x="424" y="666"/>
                  </a:lnTo>
                  <a:lnTo>
                    <a:pt x="428" y="666"/>
                  </a:lnTo>
                  <a:lnTo>
                    <a:pt x="432" y="666"/>
                  </a:lnTo>
                  <a:lnTo>
                    <a:pt x="434" y="666"/>
                  </a:lnTo>
                  <a:lnTo>
                    <a:pt x="438" y="666"/>
                  </a:lnTo>
                  <a:lnTo>
                    <a:pt x="442" y="666"/>
                  </a:lnTo>
                  <a:lnTo>
                    <a:pt x="446" y="666"/>
                  </a:lnTo>
                  <a:lnTo>
                    <a:pt x="449" y="666"/>
                  </a:lnTo>
                  <a:lnTo>
                    <a:pt x="453" y="666"/>
                  </a:lnTo>
                  <a:lnTo>
                    <a:pt x="453" y="664"/>
                  </a:lnTo>
                  <a:lnTo>
                    <a:pt x="457" y="664"/>
                  </a:lnTo>
                  <a:lnTo>
                    <a:pt x="459" y="664"/>
                  </a:lnTo>
                  <a:lnTo>
                    <a:pt x="463" y="662"/>
                  </a:lnTo>
                  <a:lnTo>
                    <a:pt x="465" y="662"/>
                  </a:lnTo>
                  <a:lnTo>
                    <a:pt x="469" y="662"/>
                  </a:lnTo>
                  <a:lnTo>
                    <a:pt x="472" y="662"/>
                  </a:lnTo>
                  <a:lnTo>
                    <a:pt x="474" y="660"/>
                  </a:lnTo>
                  <a:lnTo>
                    <a:pt x="476" y="660"/>
                  </a:lnTo>
                  <a:lnTo>
                    <a:pt x="482" y="660"/>
                  </a:lnTo>
                  <a:lnTo>
                    <a:pt x="486" y="658"/>
                  </a:lnTo>
                  <a:lnTo>
                    <a:pt x="490" y="658"/>
                  </a:lnTo>
                  <a:lnTo>
                    <a:pt x="492" y="656"/>
                  </a:lnTo>
                  <a:lnTo>
                    <a:pt x="494" y="656"/>
                  </a:lnTo>
                  <a:lnTo>
                    <a:pt x="495" y="652"/>
                  </a:lnTo>
                  <a:lnTo>
                    <a:pt x="495" y="650"/>
                  </a:lnTo>
                  <a:lnTo>
                    <a:pt x="497" y="650"/>
                  </a:lnTo>
                  <a:lnTo>
                    <a:pt x="499" y="649"/>
                  </a:lnTo>
                  <a:lnTo>
                    <a:pt x="499" y="645"/>
                  </a:lnTo>
                  <a:lnTo>
                    <a:pt x="501" y="643"/>
                  </a:lnTo>
                  <a:lnTo>
                    <a:pt x="568" y="595"/>
                  </a:lnTo>
                  <a:lnTo>
                    <a:pt x="726" y="503"/>
                  </a:lnTo>
                  <a:lnTo>
                    <a:pt x="724" y="497"/>
                  </a:lnTo>
                  <a:lnTo>
                    <a:pt x="724" y="493"/>
                  </a:lnTo>
                  <a:lnTo>
                    <a:pt x="724" y="485"/>
                  </a:lnTo>
                  <a:lnTo>
                    <a:pt x="722" y="484"/>
                  </a:lnTo>
                  <a:lnTo>
                    <a:pt x="720" y="482"/>
                  </a:lnTo>
                  <a:lnTo>
                    <a:pt x="718" y="480"/>
                  </a:lnTo>
                  <a:lnTo>
                    <a:pt x="716" y="480"/>
                  </a:lnTo>
                  <a:lnTo>
                    <a:pt x="716" y="476"/>
                  </a:lnTo>
                  <a:lnTo>
                    <a:pt x="712" y="474"/>
                  </a:lnTo>
                  <a:lnTo>
                    <a:pt x="710" y="472"/>
                  </a:lnTo>
                  <a:lnTo>
                    <a:pt x="710" y="470"/>
                  </a:lnTo>
                  <a:lnTo>
                    <a:pt x="708" y="468"/>
                  </a:lnTo>
                  <a:lnTo>
                    <a:pt x="708" y="466"/>
                  </a:lnTo>
                  <a:lnTo>
                    <a:pt x="703" y="466"/>
                  </a:lnTo>
                  <a:lnTo>
                    <a:pt x="701" y="464"/>
                  </a:lnTo>
                  <a:lnTo>
                    <a:pt x="697" y="464"/>
                  </a:lnTo>
                  <a:lnTo>
                    <a:pt x="697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89" y="462"/>
                  </a:lnTo>
                  <a:lnTo>
                    <a:pt x="689" y="460"/>
                  </a:lnTo>
                  <a:lnTo>
                    <a:pt x="685" y="460"/>
                  </a:lnTo>
                  <a:lnTo>
                    <a:pt x="682" y="460"/>
                  </a:lnTo>
                  <a:lnTo>
                    <a:pt x="678" y="460"/>
                  </a:lnTo>
                  <a:lnTo>
                    <a:pt x="674" y="460"/>
                  </a:lnTo>
                  <a:lnTo>
                    <a:pt x="672" y="460"/>
                  </a:lnTo>
                  <a:lnTo>
                    <a:pt x="670" y="460"/>
                  </a:lnTo>
                  <a:lnTo>
                    <a:pt x="668" y="459"/>
                  </a:lnTo>
                  <a:lnTo>
                    <a:pt x="664" y="459"/>
                  </a:lnTo>
                  <a:lnTo>
                    <a:pt x="660" y="457"/>
                  </a:lnTo>
                  <a:lnTo>
                    <a:pt x="659" y="455"/>
                  </a:lnTo>
                  <a:lnTo>
                    <a:pt x="655" y="453"/>
                  </a:lnTo>
                  <a:lnTo>
                    <a:pt x="653" y="449"/>
                  </a:lnTo>
                  <a:lnTo>
                    <a:pt x="653" y="445"/>
                  </a:lnTo>
                  <a:lnTo>
                    <a:pt x="651" y="445"/>
                  </a:lnTo>
                  <a:lnTo>
                    <a:pt x="651" y="441"/>
                  </a:lnTo>
                  <a:lnTo>
                    <a:pt x="651" y="437"/>
                  </a:lnTo>
                  <a:lnTo>
                    <a:pt x="653" y="434"/>
                  </a:lnTo>
                  <a:lnTo>
                    <a:pt x="653" y="430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49" y="424"/>
                  </a:lnTo>
                  <a:lnTo>
                    <a:pt x="645" y="422"/>
                  </a:lnTo>
                  <a:lnTo>
                    <a:pt x="643" y="420"/>
                  </a:lnTo>
                  <a:lnTo>
                    <a:pt x="641" y="418"/>
                  </a:lnTo>
                  <a:lnTo>
                    <a:pt x="639" y="416"/>
                  </a:lnTo>
                  <a:lnTo>
                    <a:pt x="639" y="413"/>
                  </a:lnTo>
                  <a:lnTo>
                    <a:pt x="637" y="411"/>
                  </a:lnTo>
                  <a:lnTo>
                    <a:pt x="636" y="411"/>
                  </a:lnTo>
                  <a:lnTo>
                    <a:pt x="634" y="409"/>
                  </a:lnTo>
                  <a:lnTo>
                    <a:pt x="632" y="407"/>
                  </a:lnTo>
                  <a:lnTo>
                    <a:pt x="632" y="403"/>
                  </a:lnTo>
                  <a:lnTo>
                    <a:pt x="632" y="399"/>
                  </a:lnTo>
                  <a:lnTo>
                    <a:pt x="632" y="395"/>
                  </a:lnTo>
                  <a:lnTo>
                    <a:pt x="634" y="393"/>
                  </a:lnTo>
                  <a:lnTo>
                    <a:pt x="636" y="391"/>
                  </a:lnTo>
                  <a:lnTo>
                    <a:pt x="636" y="388"/>
                  </a:lnTo>
                  <a:lnTo>
                    <a:pt x="637" y="388"/>
                  </a:lnTo>
                  <a:lnTo>
                    <a:pt x="639" y="386"/>
                  </a:lnTo>
                  <a:lnTo>
                    <a:pt x="639" y="382"/>
                  </a:lnTo>
                  <a:lnTo>
                    <a:pt x="643" y="382"/>
                  </a:lnTo>
                  <a:lnTo>
                    <a:pt x="645" y="380"/>
                  </a:lnTo>
                  <a:lnTo>
                    <a:pt x="643" y="380"/>
                  </a:lnTo>
                  <a:lnTo>
                    <a:pt x="645" y="382"/>
                  </a:lnTo>
                  <a:lnTo>
                    <a:pt x="645" y="380"/>
                  </a:lnTo>
                  <a:lnTo>
                    <a:pt x="643" y="378"/>
                  </a:lnTo>
                  <a:lnTo>
                    <a:pt x="643" y="378"/>
                  </a:lnTo>
                  <a:lnTo>
                    <a:pt x="649" y="378"/>
                  </a:lnTo>
                  <a:lnTo>
                    <a:pt x="651" y="376"/>
                  </a:lnTo>
                  <a:lnTo>
                    <a:pt x="655" y="376"/>
                  </a:lnTo>
                  <a:lnTo>
                    <a:pt x="659" y="376"/>
                  </a:lnTo>
                  <a:lnTo>
                    <a:pt x="660" y="374"/>
                  </a:lnTo>
                  <a:lnTo>
                    <a:pt x="664" y="372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7" y="365"/>
                  </a:lnTo>
                  <a:lnTo>
                    <a:pt x="653" y="363"/>
                  </a:lnTo>
                  <a:lnTo>
                    <a:pt x="653" y="359"/>
                  </a:lnTo>
                  <a:lnTo>
                    <a:pt x="653" y="357"/>
                  </a:lnTo>
                  <a:lnTo>
                    <a:pt x="653" y="353"/>
                  </a:lnTo>
                  <a:lnTo>
                    <a:pt x="655" y="351"/>
                  </a:lnTo>
                  <a:lnTo>
                    <a:pt x="655" y="347"/>
                  </a:lnTo>
                  <a:lnTo>
                    <a:pt x="655" y="345"/>
                  </a:lnTo>
                  <a:lnTo>
                    <a:pt x="655" y="342"/>
                  </a:lnTo>
                  <a:lnTo>
                    <a:pt x="653" y="340"/>
                  </a:lnTo>
                  <a:lnTo>
                    <a:pt x="653" y="336"/>
                  </a:lnTo>
                  <a:lnTo>
                    <a:pt x="653" y="332"/>
                  </a:lnTo>
                  <a:lnTo>
                    <a:pt x="653" y="328"/>
                  </a:lnTo>
                  <a:lnTo>
                    <a:pt x="653" y="324"/>
                  </a:lnTo>
                  <a:lnTo>
                    <a:pt x="651" y="320"/>
                  </a:lnTo>
                  <a:lnTo>
                    <a:pt x="651" y="317"/>
                  </a:lnTo>
                  <a:lnTo>
                    <a:pt x="651" y="313"/>
                  </a:lnTo>
                  <a:lnTo>
                    <a:pt x="651" y="309"/>
                  </a:lnTo>
                  <a:lnTo>
                    <a:pt x="651" y="307"/>
                  </a:lnTo>
                  <a:lnTo>
                    <a:pt x="651" y="303"/>
                  </a:lnTo>
                  <a:lnTo>
                    <a:pt x="651" y="301"/>
                  </a:lnTo>
                  <a:lnTo>
                    <a:pt x="653" y="299"/>
                  </a:lnTo>
                  <a:lnTo>
                    <a:pt x="653" y="297"/>
                  </a:lnTo>
                  <a:lnTo>
                    <a:pt x="653" y="294"/>
                  </a:lnTo>
                  <a:lnTo>
                    <a:pt x="655" y="292"/>
                  </a:lnTo>
                  <a:lnTo>
                    <a:pt x="655" y="288"/>
                  </a:lnTo>
                  <a:lnTo>
                    <a:pt x="655" y="286"/>
                  </a:lnTo>
                  <a:lnTo>
                    <a:pt x="655" y="282"/>
                  </a:lnTo>
                  <a:lnTo>
                    <a:pt x="655" y="278"/>
                  </a:lnTo>
                  <a:lnTo>
                    <a:pt x="653" y="272"/>
                  </a:lnTo>
                  <a:lnTo>
                    <a:pt x="653" y="269"/>
                  </a:lnTo>
                  <a:lnTo>
                    <a:pt x="653" y="267"/>
                  </a:lnTo>
                  <a:lnTo>
                    <a:pt x="653" y="263"/>
                  </a:lnTo>
                  <a:lnTo>
                    <a:pt x="653" y="259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1" y="249"/>
                  </a:lnTo>
                  <a:lnTo>
                    <a:pt x="651" y="246"/>
                  </a:lnTo>
                  <a:lnTo>
                    <a:pt x="651" y="244"/>
                  </a:lnTo>
                  <a:lnTo>
                    <a:pt x="651" y="240"/>
                  </a:lnTo>
                  <a:lnTo>
                    <a:pt x="649" y="238"/>
                  </a:lnTo>
                  <a:lnTo>
                    <a:pt x="647" y="236"/>
                  </a:lnTo>
                  <a:lnTo>
                    <a:pt x="643" y="234"/>
                  </a:lnTo>
                  <a:lnTo>
                    <a:pt x="641" y="230"/>
                  </a:lnTo>
                  <a:lnTo>
                    <a:pt x="639" y="228"/>
                  </a:lnTo>
                  <a:lnTo>
                    <a:pt x="639" y="224"/>
                  </a:lnTo>
                  <a:lnTo>
                    <a:pt x="639" y="223"/>
                  </a:lnTo>
                  <a:lnTo>
                    <a:pt x="637" y="221"/>
                  </a:lnTo>
                  <a:lnTo>
                    <a:pt x="637" y="217"/>
                  </a:lnTo>
                  <a:lnTo>
                    <a:pt x="636" y="217"/>
                  </a:lnTo>
                  <a:lnTo>
                    <a:pt x="636" y="213"/>
                  </a:lnTo>
                  <a:lnTo>
                    <a:pt x="634" y="209"/>
                  </a:lnTo>
                  <a:lnTo>
                    <a:pt x="632" y="209"/>
                  </a:lnTo>
                  <a:lnTo>
                    <a:pt x="630" y="207"/>
                  </a:lnTo>
                  <a:lnTo>
                    <a:pt x="630" y="205"/>
                  </a:lnTo>
                  <a:lnTo>
                    <a:pt x="628" y="205"/>
                  </a:lnTo>
                  <a:lnTo>
                    <a:pt x="626" y="201"/>
                  </a:lnTo>
                  <a:lnTo>
                    <a:pt x="624" y="198"/>
                  </a:lnTo>
                  <a:lnTo>
                    <a:pt x="624" y="194"/>
                  </a:lnTo>
                  <a:lnTo>
                    <a:pt x="624" y="192"/>
                  </a:lnTo>
                  <a:lnTo>
                    <a:pt x="624" y="190"/>
                  </a:lnTo>
                  <a:lnTo>
                    <a:pt x="626" y="188"/>
                  </a:lnTo>
                  <a:lnTo>
                    <a:pt x="626" y="184"/>
                  </a:lnTo>
                  <a:lnTo>
                    <a:pt x="626" y="180"/>
                  </a:lnTo>
                  <a:lnTo>
                    <a:pt x="626" y="178"/>
                  </a:lnTo>
                  <a:lnTo>
                    <a:pt x="624" y="176"/>
                  </a:lnTo>
                  <a:lnTo>
                    <a:pt x="624" y="173"/>
                  </a:lnTo>
                  <a:lnTo>
                    <a:pt x="620" y="173"/>
                  </a:lnTo>
                  <a:lnTo>
                    <a:pt x="618" y="173"/>
                  </a:lnTo>
                  <a:lnTo>
                    <a:pt x="616" y="171"/>
                  </a:lnTo>
                  <a:lnTo>
                    <a:pt x="612" y="171"/>
                  </a:lnTo>
                  <a:lnTo>
                    <a:pt x="611" y="171"/>
                  </a:lnTo>
                  <a:lnTo>
                    <a:pt x="607" y="171"/>
                  </a:lnTo>
                  <a:lnTo>
                    <a:pt x="605" y="171"/>
                  </a:lnTo>
                  <a:lnTo>
                    <a:pt x="603" y="171"/>
                  </a:lnTo>
                  <a:lnTo>
                    <a:pt x="601" y="171"/>
                  </a:lnTo>
                  <a:lnTo>
                    <a:pt x="599" y="169"/>
                  </a:lnTo>
                  <a:lnTo>
                    <a:pt x="597" y="167"/>
                  </a:lnTo>
                  <a:lnTo>
                    <a:pt x="597" y="163"/>
                  </a:lnTo>
                  <a:lnTo>
                    <a:pt x="595" y="161"/>
                  </a:lnTo>
                  <a:lnTo>
                    <a:pt x="595" y="157"/>
                  </a:lnTo>
                  <a:lnTo>
                    <a:pt x="593" y="155"/>
                  </a:lnTo>
                  <a:lnTo>
                    <a:pt x="593" y="152"/>
                  </a:lnTo>
                  <a:lnTo>
                    <a:pt x="591" y="150"/>
                  </a:lnTo>
                  <a:lnTo>
                    <a:pt x="591" y="148"/>
                  </a:lnTo>
                  <a:lnTo>
                    <a:pt x="589" y="146"/>
                  </a:lnTo>
                  <a:lnTo>
                    <a:pt x="586" y="142"/>
                  </a:lnTo>
                  <a:lnTo>
                    <a:pt x="584" y="140"/>
                  </a:lnTo>
                  <a:lnTo>
                    <a:pt x="582" y="136"/>
                  </a:lnTo>
                  <a:lnTo>
                    <a:pt x="582" y="134"/>
                  </a:lnTo>
                  <a:lnTo>
                    <a:pt x="582" y="130"/>
                  </a:lnTo>
                  <a:lnTo>
                    <a:pt x="580" y="130"/>
                  </a:lnTo>
                  <a:lnTo>
                    <a:pt x="580" y="127"/>
                  </a:lnTo>
                  <a:lnTo>
                    <a:pt x="578" y="125"/>
                  </a:lnTo>
                  <a:lnTo>
                    <a:pt x="578" y="121"/>
                  </a:lnTo>
                  <a:lnTo>
                    <a:pt x="578" y="117"/>
                  </a:lnTo>
                  <a:lnTo>
                    <a:pt x="578" y="113"/>
                  </a:lnTo>
                  <a:lnTo>
                    <a:pt x="578" y="111"/>
                  </a:lnTo>
                  <a:lnTo>
                    <a:pt x="580" y="109"/>
                  </a:lnTo>
                  <a:lnTo>
                    <a:pt x="580" y="105"/>
                  </a:lnTo>
                  <a:lnTo>
                    <a:pt x="580" y="104"/>
                  </a:lnTo>
                  <a:lnTo>
                    <a:pt x="582" y="102"/>
                  </a:lnTo>
                  <a:lnTo>
                    <a:pt x="582" y="100"/>
                  </a:lnTo>
                  <a:lnTo>
                    <a:pt x="582" y="96"/>
                  </a:lnTo>
                  <a:lnTo>
                    <a:pt x="584" y="96"/>
                  </a:lnTo>
                  <a:lnTo>
                    <a:pt x="584" y="92"/>
                  </a:lnTo>
                  <a:lnTo>
                    <a:pt x="586" y="90"/>
                  </a:lnTo>
                  <a:lnTo>
                    <a:pt x="589" y="90"/>
                  </a:lnTo>
                  <a:lnTo>
                    <a:pt x="591" y="88"/>
                  </a:lnTo>
                  <a:lnTo>
                    <a:pt x="593" y="84"/>
                  </a:lnTo>
                  <a:lnTo>
                    <a:pt x="595" y="82"/>
                  </a:lnTo>
                  <a:lnTo>
                    <a:pt x="597" y="81"/>
                  </a:lnTo>
                  <a:lnTo>
                    <a:pt x="599" y="77"/>
                  </a:lnTo>
                  <a:lnTo>
                    <a:pt x="603" y="75"/>
                  </a:lnTo>
                  <a:lnTo>
                    <a:pt x="603" y="73"/>
                  </a:lnTo>
                  <a:lnTo>
                    <a:pt x="605" y="71"/>
                  </a:lnTo>
                  <a:lnTo>
                    <a:pt x="607" y="69"/>
                  </a:lnTo>
                  <a:lnTo>
                    <a:pt x="609" y="69"/>
                  </a:lnTo>
                  <a:lnTo>
                    <a:pt x="609" y="65"/>
                  </a:lnTo>
                  <a:lnTo>
                    <a:pt x="611" y="63"/>
                  </a:lnTo>
                  <a:lnTo>
                    <a:pt x="611" y="59"/>
                  </a:lnTo>
                  <a:lnTo>
                    <a:pt x="611" y="56"/>
                  </a:lnTo>
                  <a:lnTo>
                    <a:pt x="611" y="52"/>
                  </a:lnTo>
                  <a:lnTo>
                    <a:pt x="609" y="50"/>
                  </a:lnTo>
                  <a:lnTo>
                    <a:pt x="609" y="46"/>
                  </a:lnTo>
                  <a:lnTo>
                    <a:pt x="609" y="42"/>
                  </a:lnTo>
                  <a:lnTo>
                    <a:pt x="609" y="38"/>
                  </a:lnTo>
                  <a:lnTo>
                    <a:pt x="609" y="34"/>
                  </a:lnTo>
                  <a:lnTo>
                    <a:pt x="607" y="33"/>
                  </a:lnTo>
                  <a:lnTo>
                    <a:pt x="607" y="31"/>
                  </a:lnTo>
                  <a:lnTo>
                    <a:pt x="607" y="27"/>
                  </a:lnTo>
                  <a:lnTo>
                    <a:pt x="607" y="23"/>
                  </a:lnTo>
                  <a:lnTo>
                    <a:pt x="607" y="19"/>
                  </a:lnTo>
                  <a:lnTo>
                    <a:pt x="605" y="17"/>
                  </a:lnTo>
                  <a:lnTo>
                    <a:pt x="605" y="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3" name="Freeform 60"/>
            <p:cNvSpPr>
              <a:spLocks/>
            </p:cNvSpPr>
            <p:nvPr/>
          </p:nvSpPr>
          <p:spPr bwMode="auto">
            <a:xfrm>
              <a:off x="889" y="960"/>
              <a:ext cx="726" cy="666"/>
            </a:xfrm>
            <a:custGeom>
              <a:avLst/>
              <a:gdLst/>
              <a:ahLst/>
              <a:cxnLst>
                <a:cxn ang="0">
                  <a:pos x="566" y="4"/>
                </a:cxn>
                <a:cxn ang="0">
                  <a:pos x="524" y="13"/>
                </a:cxn>
                <a:cxn ang="0">
                  <a:pos x="484" y="6"/>
                </a:cxn>
                <a:cxn ang="0">
                  <a:pos x="449" y="6"/>
                </a:cxn>
                <a:cxn ang="0">
                  <a:pos x="394" y="10"/>
                </a:cxn>
                <a:cxn ang="0">
                  <a:pos x="365" y="21"/>
                </a:cxn>
                <a:cxn ang="0">
                  <a:pos x="329" y="34"/>
                </a:cxn>
                <a:cxn ang="0">
                  <a:pos x="302" y="36"/>
                </a:cxn>
                <a:cxn ang="0">
                  <a:pos x="277" y="54"/>
                </a:cxn>
                <a:cxn ang="0">
                  <a:pos x="252" y="65"/>
                </a:cxn>
                <a:cxn ang="0">
                  <a:pos x="263" y="96"/>
                </a:cxn>
                <a:cxn ang="0">
                  <a:pos x="267" y="140"/>
                </a:cxn>
                <a:cxn ang="0">
                  <a:pos x="282" y="161"/>
                </a:cxn>
                <a:cxn ang="0">
                  <a:pos x="271" y="180"/>
                </a:cxn>
                <a:cxn ang="0">
                  <a:pos x="229" y="180"/>
                </a:cxn>
                <a:cxn ang="0">
                  <a:pos x="200" y="188"/>
                </a:cxn>
                <a:cxn ang="0">
                  <a:pos x="188" y="203"/>
                </a:cxn>
                <a:cxn ang="0">
                  <a:pos x="173" y="228"/>
                </a:cxn>
                <a:cxn ang="0">
                  <a:pos x="150" y="244"/>
                </a:cxn>
                <a:cxn ang="0">
                  <a:pos x="131" y="257"/>
                </a:cxn>
                <a:cxn ang="0">
                  <a:pos x="104" y="267"/>
                </a:cxn>
                <a:cxn ang="0">
                  <a:pos x="73" y="265"/>
                </a:cxn>
                <a:cxn ang="0">
                  <a:pos x="46" y="282"/>
                </a:cxn>
                <a:cxn ang="0">
                  <a:pos x="29" y="299"/>
                </a:cxn>
                <a:cxn ang="0">
                  <a:pos x="0" y="311"/>
                </a:cxn>
                <a:cxn ang="0">
                  <a:pos x="8" y="365"/>
                </a:cxn>
                <a:cxn ang="0">
                  <a:pos x="33" y="376"/>
                </a:cxn>
                <a:cxn ang="0">
                  <a:pos x="60" y="391"/>
                </a:cxn>
                <a:cxn ang="0">
                  <a:pos x="85" y="411"/>
                </a:cxn>
                <a:cxn ang="0">
                  <a:pos x="114" y="432"/>
                </a:cxn>
                <a:cxn ang="0">
                  <a:pos x="350" y="604"/>
                </a:cxn>
                <a:cxn ang="0">
                  <a:pos x="375" y="627"/>
                </a:cxn>
                <a:cxn ang="0">
                  <a:pos x="396" y="645"/>
                </a:cxn>
                <a:cxn ang="0">
                  <a:pos x="403" y="662"/>
                </a:cxn>
                <a:cxn ang="0">
                  <a:pos x="434" y="666"/>
                </a:cxn>
                <a:cxn ang="0">
                  <a:pos x="465" y="662"/>
                </a:cxn>
                <a:cxn ang="0">
                  <a:pos x="495" y="652"/>
                </a:cxn>
                <a:cxn ang="0">
                  <a:pos x="724" y="485"/>
                </a:cxn>
                <a:cxn ang="0">
                  <a:pos x="708" y="466"/>
                </a:cxn>
                <a:cxn ang="0">
                  <a:pos x="682" y="460"/>
                </a:cxn>
                <a:cxn ang="0">
                  <a:pos x="653" y="449"/>
                </a:cxn>
                <a:cxn ang="0">
                  <a:pos x="645" y="422"/>
                </a:cxn>
                <a:cxn ang="0">
                  <a:pos x="632" y="399"/>
                </a:cxn>
                <a:cxn ang="0">
                  <a:pos x="645" y="380"/>
                </a:cxn>
                <a:cxn ang="0">
                  <a:pos x="660" y="374"/>
                </a:cxn>
                <a:cxn ang="0">
                  <a:pos x="655" y="351"/>
                </a:cxn>
                <a:cxn ang="0">
                  <a:pos x="651" y="317"/>
                </a:cxn>
                <a:cxn ang="0">
                  <a:pos x="655" y="288"/>
                </a:cxn>
                <a:cxn ang="0">
                  <a:pos x="651" y="251"/>
                </a:cxn>
                <a:cxn ang="0">
                  <a:pos x="639" y="224"/>
                </a:cxn>
                <a:cxn ang="0">
                  <a:pos x="628" y="205"/>
                </a:cxn>
                <a:cxn ang="0">
                  <a:pos x="624" y="176"/>
                </a:cxn>
                <a:cxn ang="0">
                  <a:pos x="601" y="171"/>
                </a:cxn>
                <a:cxn ang="0">
                  <a:pos x="589" y="146"/>
                </a:cxn>
                <a:cxn ang="0">
                  <a:pos x="578" y="117"/>
                </a:cxn>
                <a:cxn ang="0">
                  <a:pos x="584" y="92"/>
                </a:cxn>
                <a:cxn ang="0">
                  <a:pos x="605" y="71"/>
                </a:cxn>
                <a:cxn ang="0">
                  <a:pos x="609" y="42"/>
                </a:cxn>
                <a:cxn ang="0">
                  <a:pos x="605" y="13"/>
                </a:cxn>
              </a:cxnLst>
              <a:rect l="0" t="0" r="r" b="b"/>
              <a:pathLst>
                <a:path w="726" h="666">
                  <a:moveTo>
                    <a:pt x="605" y="13"/>
                  </a:moveTo>
                  <a:lnTo>
                    <a:pt x="595" y="13"/>
                  </a:lnTo>
                  <a:lnTo>
                    <a:pt x="593" y="13"/>
                  </a:lnTo>
                  <a:lnTo>
                    <a:pt x="593" y="10"/>
                  </a:lnTo>
                  <a:lnTo>
                    <a:pt x="591" y="8"/>
                  </a:lnTo>
                  <a:lnTo>
                    <a:pt x="588" y="6"/>
                  </a:lnTo>
                  <a:lnTo>
                    <a:pt x="584" y="6"/>
                  </a:lnTo>
                  <a:lnTo>
                    <a:pt x="580" y="6"/>
                  </a:lnTo>
                  <a:lnTo>
                    <a:pt x="576" y="4"/>
                  </a:lnTo>
                  <a:lnTo>
                    <a:pt x="566" y="4"/>
                  </a:lnTo>
                  <a:lnTo>
                    <a:pt x="557" y="6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5" y="8"/>
                  </a:lnTo>
                  <a:lnTo>
                    <a:pt x="543" y="10"/>
                  </a:lnTo>
                  <a:lnTo>
                    <a:pt x="536" y="10"/>
                  </a:lnTo>
                  <a:lnTo>
                    <a:pt x="534" y="10"/>
                  </a:lnTo>
                  <a:lnTo>
                    <a:pt x="532" y="11"/>
                  </a:lnTo>
                  <a:lnTo>
                    <a:pt x="528" y="13"/>
                  </a:lnTo>
                  <a:lnTo>
                    <a:pt x="524" y="13"/>
                  </a:lnTo>
                  <a:lnTo>
                    <a:pt x="520" y="13"/>
                  </a:lnTo>
                  <a:lnTo>
                    <a:pt x="513" y="13"/>
                  </a:lnTo>
                  <a:lnTo>
                    <a:pt x="507" y="13"/>
                  </a:lnTo>
                  <a:lnTo>
                    <a:pt x="503" y="13"/>
                  </a:lnTo>
                  <a:lnTo>
                    <a:pt x="499" y="13"/>
                  </a:lnTo>
                  <a:lnTo>
                    <a:pt x="495" y="10"/>
                  </a:lnTo>
                  <a:lnTo>
                    <a:pt x="494" y="10"/>
                  </a:lnTo>
                  <a:lnTo>
                    <a:pt x="490" y="8"/>
                  </a:lnTo>
                  <a:lnTo>
                    <a:pt x="488" y="6"/>
                  </a:lnTo>
                  <a:lnTo>
                    <a:pt x="484" y="6"/>
                  </a:lnTo>
                  <a:lnTo>
                    <a:pt x="482" y="4"/>
                  </a:lnTo>
                  <a:lnTo>
                    <a:pt x="480" y="2"/>
                  </a:lnTo>
                  <a:lnTo>
                    <a:pt x="476" y="2"/>
                  </a:lnTo>
                  <a:lnTo>
                    <a:pt x="472" y="0"/>
                  </a:lnTo>
                  <a:lnTo>
                    <a:pt x="469" y="2"/>
                  </a:lnTo>
                  <a:lnTo>
                    <a:pt x="467" y="2"/>
                  </a:lnTo>
                  <a:lnTo>
                    <a:pt x="457" y="2"/>
                  </a:lnTo>
                  <a:lnTo>
                    <a:pt x="455" y="4"/>
                  </a:lnTo>
                  <a:lnTo>
                    <a:pt x="453" y="6"/>
                  </a:lnTo>
                  <a:lnTo>
                    <a:pt x="449" y="6"/>
                  </a:lnTo>
                  <a:lnTo>
                    <a:pt x="446" y="8"/>
                  </a:lnTo>
                  <a:lnTo>
                    <a:pt x="444" y="10"/>
                  </a:lnTo>
                  <a:lnTo>
                    <a:pt x="440" y="11"/>
                  </a:lnTo>
                  <a:lnTo>
                    <a:pt x="436" y="11"/>
                  </a:lnTo>
                  <a:lnTo>
                    <a:pt x="434" y="10"/>
                  </a:lnTo>
                  <a:lnTo>
                    <a:pt x="428" y="10"/>
                  </a:lnTo>
                  <a:lnTo>
                    <a:pt x="423" y="10"/>
                  </a:lnTo>
                  <a:lnTo>
                    <a:pt x="409" y="8"/>
                  </a:lnTo>
                  <a:lnTo>
                    <a:pt x="394" y="8"/>
                  </a:lnTo>
                  <a:lnTo>
                    <a:pt x="394" y="10"/>
                  </a:lnTo>
                  <a:lnTo>
                    <a:pt x="392" y="10"/>
                  </a:lnTo>
                  <a:lnTo>
                    <a:pt x="390" y="11"/>
                  </a:lnTo>
                  <a:lnTo>
                    <a:pt x="390" y="13"/>
                  </a:lnTo>
                  <a:lnTo>
                    <a:pt x="386" y="13"/>
                  </a:lnTo>
                  <a:lnTo>
                    <a:pt x="384" y="15"/>
                  </a:lnTo>
                  <a:lnTo>
                    <a:pt x="380" y="17"/>
                  </a:lnTo>
                  <a:lnTo>
                    <a:pt x="378" y="19"/>
                  </a:lnTo>
                  <a:lnTo>
                    <a:pt x="373" y="19"/>
                  </a:lnTo>
                  <a:lnTo>
                    <a:pt x="371" y="21"/>
                  </a:lnTo>
                  <a:lnTo>
                    <a:pt x="365" y="21"/>
                  </a:lnTo>
                  <a:lnTo>
                    <a:pt x="357" y="21"/>
                  </a:lnTo>
                  <a:lnTo>
                    <a:pt x="355" y="23"/>
                  </a:lnTo>
                  <a:lnTo>
                    <a:pt x="350" y="23"/>
                  </a:lnTo>
                  <a:lnTo>
                    <a:pt x="344" y="23"/>
                  </a:lnTo>
                  <a:lnTo>
                    <a:pt x="342" y="25"/>
                  </a:lnTo>
                  <a:lnTo>
                    <a:pt x="338" y="27"/>
                  </a:lnTo>
                  <a:lnTo>
                    <a:pt x="336" y="29"/>
                  </a:lnTo>
                  <a:lnTo>
                    <a:pt x="334" y="31"/>
                  </a:lnTo>
                  <a:lnTo>
                    <a:pt x="332" y="33"/>
                  </a:lnTo>
                  <a:lnTo>
                    <a:pt x="329" y="34"/>
                  </a:lnTo>
                  <a:lnTo>
                    <a:pt x="325" y="34"/>
                  </a:lnTo>
                  <a:lnTo>
                    <a:pt x="323" y="36"/>
                  </a:lnTo>
                  <a:lnTo>
                    <a:pt x="321" y="36"/>
                  </a:lnTo>
                  <a:lnTo>
                    <a:pt x="317" y="38"/>
                  </a:lnTo>
                  <a:lnTo>
                    <a:pt x="315" y="38"/>
                  </a:lnTo>
                  <a:lnTo>
                    <a:pt x="311" y="38"/>
                  </a:lnTo>
                  <a:lnTo>
                    <a:pt x="309" y="40"/>
                  </a:lnTo>
                  <a:lnTo>
                    <a:pt x="305" y="40"/>
                  </a:lnTo>
                  <a:lnTo>
                    <a:pt x="304" y="40"/>
                  </a:lnTo>
                  <a:lnTo>
                    <a:pt x="302" y="36"/>
                  </a:lnTo>
                  <a:lnTo>
                    <a:pt x="290" y="36"/>
                  </a:lnTo>
                  <a:lnTo>
                    <a:pt x="286" y="38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2" y="44"/>
                  </a:lnTo>
                  <a:lnTo>
                    <a:pt x="281" y="46"/>
                  </a:lnTo>
                  <a:lnTo>
                    <a:pt x="281" y="50"/>
                  </a:lnTo>
                  <a:lnTo>
                    <a:pt x="279" y="52"/>
                  </a:lnTo>
                  <a:lnTo>
                    <a:pt x="277" y="52"/>
                  </a:lnTo>
                  <a:lnTo>
                    <a:pt x="277" y="54"/>
                  </a:lnTo>
                  <a:lnTo>
                    <a:pt x="275" y="56"/>
                  </a:lnTo>
                  <a:lnTo>
                    <a:pt x="271" y="56"/>
                  </a:lnTo>
                  <a:lnTo>
                    <a:pt x="267" y="56"/>
                  </a:lnTo>
                  <a:lnTo>
                    <a:pt x="265" y="58"/>
                  </a:lnTo>
                  <a:lnTo>
                    <a:pt x="263" y="58"/>
                  </a:lnTo>
                  <a:lnTo>
                    <a:pt x="261" y="59"/>
                  </a:lnTo>
                  <a:lnTo>
                    <a:pt x="258" y="63"/>
                  </a:lnTo>
                  <a:lnTo>
                    <a:pt x="256" y="63"/>
                  </a:lnTo>
                  <a:lnTo>
                    <a:pt x="254" y="65"/>
                  </a:lnTo>
                  <a:lnTo>
                    <a:pt x="252" y="65"/>
                  </a:lnTo>
                  <a:lnTo>
                    <a:pt x="254" y="67"/>
                  </a:lnTo>
                  <a:lnTo>
                    <a:pt x="254" y="71"/>
                  </a:lnTo>
                  <a:lnTo>
                    <a:pt x="254" y="75"/>
                  </a:lnTo>
                  <a:lnTo>
                    <a:pt x="254" y="79"/>
                  </a:lnTo>
                  <a:lnTo>
                    <a:pt x="256" y="82"/>
                  </a:lnTo>
                  <a:lnTo>
                    <a:pt x="258" y="86"/>
                  </a:lnTo>
                  <a:lnTo>
                    <a:pt x="259" y="90"/>
                  </a:lnTo>
                  <a:lnTo>
                    <a:pt x="259" y="92"/>
                  </a:lnTo>
                  <a:lnTo>
                    <a:pt x="263" y="94"/>
                  </a:lnTo>
                  <a:lnTo>
                    <a:pt x="263" y="96"/>
                  </a:lnTo>
                  <a:lnTo>
                    <a:pt x="263" y="107"/>
                  </a:lnTo>
                  <a:lnTo>
                    <a:pt x="261" y="109"/>
                  </a:lnTo>
                  <a:lnTo>
                    <a:pt x="261" y="117"/>
                  </a:lnTo>
                  <a:lnTo>
                    <a:pt x="261" y="127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3" y="134"/>
                  </a:lnTo>
                  <a:lnTo>
                    <a:pt x="265" y="136"/>
                  </a:lnTo>
                  <a:lnTo>
                    <a:pt x="265" y="138"/>
                  </a:lnTo>
                  <a:lnTo>
                    <a:pt x="267" y="140"/>
                  </a:lnTo>
                  <a:lnTo>
                    <a:pt x="269" y="144"/>
                  </a:lnTo>
                  <a:lnTo>
                    <a:pt x="271" y="146"/>
                  </a:lnTo>
                  <a:lnTo>
                    <a:pt x="275" y="148"/>
                  </a:lnTo>
                  <a:lnTo>
                    <a:pt x="277" y="150"/>
                  </a:lnTo>
                  <a:lnTo>
                    <a:pt x="277" y="150"/>
                  </a:lnTo>
                  <a:lnTo>
                    <a:pt x="277" y="153"/>
                  </a:lnTo>
                  <a:lnTo>
                    <a:pt x="281" y="153"/>
                  </a:lnTo>
                  <a:lnTo>
                    <a:pt x="282" y="155"/>
                  </a:lnTo>
                  <a:lnTo>
                    <a:pt x="282" y="159"/>
                  </a:lnTo>
                  <a:lnTo>
                    <a:pt x="282" y="161"/>
                  </a:lnTo>
                  <a:lnTo>
                    <a:pt x="284" y="163"/>
                  </a:lnTo>
                  <a:lnTo>
                    <a:pt x="284" y="165"/>
                  </a:lnTo>
                  <a:lnTo>
                    <a:pt x="282" y="167"/>
                  </a:lnTo>
                  <a:lnTo>
                    <a:pt x="279" y="167"/>
                  </a:lnTo>
                  <a:lnTo>
                    <a:pt x="277" y="167"/>
                  </a:lnTo>
                  <a:lnTo>
                    <a:pt x="275" y="169"/>
                  </a:lnTo>
                  <a:lnTo>
                    <a:pt x="273" y="171"/>
                  </a:lnTo>
                  <a:lnTo>
                    <a:pt x="273" y="175"/>
                  </a:lnTo>
                  <a:lnTo>
                    <a:pt x="275" y="178"/>
                  </a:lnTo>
                  <a:lnTo>
                    <a:pt x="271" y="180"/>
                  </a:lnTo>
                  <a:lnTo>
                    <a:pt x="267" y="180"/>
                  </a:lnTo>
                  <a:lnTo>
                    <a:pt x="263" y="182"/>
                  </a:lnTo>
                  <a:lnTo>
                    <a:pt x="258" y="182"/>
                  </a:lnTo>
                  <a:lnTo>
                    <a:pt x="256" y="180"/>
                  </a:lnTo>
                  <a:lnTo>
                    <a:pt x="254" y="178"/>
                  </a:lnTo>
                  <a:lnTo>
                    <a:pt x="248" y="178"/>
                  </a:lnTo>
                  <a:lnTo>
                    <a:pt x="244" y="176"/>
                  </a:lnTo>
                  <a:lnTo>
                    <a:pt x="236" y="176"/>
                  </a:lnTo>
                  <a:lnTo>
                    <a:pt x="231" y="176"/>
                  </a:lnTo>
                  <a:lnTo>
                    <a:pt x="229" y="180"/>
                  </a:lnTo>
                  <a:lnTo>
                    <a:pt x="229" y="182"/>
                  </a:lnTo>
                  <a:lnTo>
                    <a:pt x="225" y="182"/>
                  </a:lnTo>
                  <a:lnTo>
                    <a:pt x="221" y="184"/>
                  </a:lnTo>
                  <a:lnTo>
                    <a:pt x="219" y="184"/>
                  </a:lnTo>
                  <a:lnTo>
                    <a:pt x="217" y="184"/>
                  </a:lnTo>
                  <a:lnTo>
                    <a:pt x="213" y="186"/>
                  </a:lnTo>
                  <a:lnTo>
                    <a:pt x="210" y="186"/>
                  </a:lnTo>
                  <a:lnTo>
                    <a:pt x="206" y="188"/>
                  </a:lnTo>
                  <a:lnTo>
                    <a:pt x="202" y="188"/>
                  </a:lnTo>
                  <a:lnTo>
                    <a:pt x="200" y="188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0" y="190"/>
                  </a:lnTo>
                  <a:lnTo>
                    <a:pt x="188" y="192"/>
                  </a:lnTo>
                  <a:lnTo>
                    <a:pt x="187" y="192"/>
                  </a:lnTo>
                  <a:lnTo>
                    <a:pt x="185" y="194"/>
                  </a:lnTo>
                  <a:lnTo>
                    <a:pt x="187" y="198"/>
                  </a:lnTo>
                  <a:lnTo>
                    <a:pt x="187" y="200"/>
                  </a:lnTo>
                  <a:lnTo>
                    <a:pt x="187" y="203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90" y="209"/>
                  </a:lnTo>
                  <a:lnTo>
                    <a:pt x="190" y="217"/>
                  </a:lnTo>
                  <a:lnTo>
                    <a:pt x="190" y="224"/>
                  </a:lnTo>
                  <a:lnTo>
                    <a:pt x="188" y="226"/>
                  </a:lnTo>
                  <a:lnTo>
                    <a:pt x="187" y="228"/>
                  </a:lnTo>
                  <a:lnTo>
                    <a:pt x="183" y="228"/>
                  </a:lnTo>
                  <a:lnTo>
                    <a:pt x="179" y="228"/>
                  </a:lnTo>
                  <a:lnTo>
                    <a:pt x="177" y="228"/>
                  </a:lnTo>
                  <a:lnTo>
                    <a:pt x="173" y="228"/>
                  </a:lnTo>
                  <a:lnTo>
                    <a:pt x="171" y="230"/>
                  </a:lnTo>
                  <a:lnTo>
                    <a:pt x="167" y="230"/>
                  </a:lnTo>
                  <a:lnTo>
                    <a:pt x="165" y="232"/>
                  </a:lnTo>
                  <a:lnTo>
                    <a:pt x="163" y="232"/>
                  </a:lnTo>
                  <a:lnTo>
                    <a:pt x="160" y="234"/>
                  </a:lnTo>
                  <a:lnTo>
                    <a:pt x="158" y="236"/>
                  </a:lnTo>
                  <a:lnTo>
                    <a:pt x="156" y="238"/>
                  </a:lnTo>
                  <a:lnTo>
                    <a:pt x="154" y="240"/>
                  </a:lnTo>
                  <a:lnTo>
                    <a:pt x="152" y="242"/>
                  </a:lnTo>
                  <a:lnTo>
                    <a:pt x="150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2" y="246"/>
                  </a:lnTo>
                  <a:lnTo>
                    <a:pt x="139" y="246"/>
                  </a:lnTo>
                  <a:lnTo>
                    <a:pt x="139" y="246"/>
                  </a:lnTo>
                  <a:lnTo>
                    <a:pt x="137" y="247"/>
                  </a:lnTo>
                  <a:lnTo>
                    <a:pt x="137" y="249"/>
                  </a:lnTo>
                  <a:lnTo>
                    <a:pt x="135" y="251"/>
                  </a:lnTo>
                  <a:lnTo>
                    <a:pt x="133" y="255"/>
                  </a:lnTo>
                  <a:lnTo>
                    <a:pt x="131" y="257"/>
                  </a:lnTo>
                  <a:lnTo>
                    <a:pt x="127" y="259"/>
                  </a:lnTo>
                  <a:lnTo>
                    <a:pt x="125" y="259"/>
                  </a:lnTo>
                  <a:lnTo>
                    <a:pt x="123" y="261"/>
                  </a:lnTo>
                  <a:lnTo>
                    <a:pt x="121" y="263"/>
                  </a:lnTo>
                  <a:lnTo>
                    <a:pt x="117" y="265"/>
                  </a:lnTo>
                  <a:lnTo>
                    <a:pt x="116" y="265"/>
                  </a:lnTo>
                  <a:lnTo>
                    <a:pt x="114" y="265"/>
                  </a:lnTo>
                  <a:lnTo>
                    <a:pt x="112" y="267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0" y="265"/>
                  </a:lnTo>
                  <a:lnTo>
                    <a:pt x="98" y="265"/>
                  </a:lnTo>
                  <a:lnTo>
                    <a:pt x="94" y="263"/>
                  </a:lnTo>
                  <a:lnTo>
                    <a:pt x="93" y="263"/>
                  </a:lnTo>
                  <a:lnTo>
                    <a:pt x="91" y="261"/>
                  </a:lnTo>
                  <a:lnTo>
                    <a:pt x="87" y="261"/>
                  </a:lnTo>
                  <a:lnTo>
                    <a:pt x="83" y="263"/>
                  </a:lnTo>
                  <a:lnTo>
                    <a:pt x="79" y="263"/>
                  </a:lnTo>
                  <a:lnTo>
                    <a:pt x="75" y="263"/>
                  </a:lnTo>
                  <a:lnTo>
                    <a:pt x="73" y="265"/>
                  </a:lnTo>
                  <a:lnTo>
                    <a:pt x="71" y="267"/>
                  </a:lnTo>
                  <a:lnTo>
                    <a:pt x="71" y="269"/>
                  </a:lnTo>
                  <a:lnTo>
                    <a:pt x="69" y="272"/>
                  </a:lnTo>
                  <a:lnTo>
                    <a:pt x="69" y="274"/>
                  </a:lnTo>
                  <a:lnTo>
                    <a:pt x="68" y="276"/>
                  </a:lnTo>
                  <a:lnTo>
                    <a:pt x="66" y="278"/>
                  </a:lnTo>
                  <a:lnTo>
                    <a:pt x="58" y="278"/>
                  </a:lnTo>
                  <a:lnTo>
                    <a:pt x="48" y="278"/>
                  </a:lnTo>
                  <a:lnTo>
                    <a:pt x="46" y="280"/>
                  </a:lnTo>
                  <a:lnTo>
                    <a:pt x="46" y="282"/>
                  </a:lnTo>
                  <a:lnTo>
                    <a:pt x="45" y="286"/>
                  </a:lnTo>
                  <a:lnTo>
                    <a:pt x="43" y="288"/>
                  </a:lnTo>
                  <a:lnTo>
                    <a:pt x="41" y="288"/>
                  </a:lnTo>
                  <a:lnTo>
                    <a:pt x="39" y="288"/>
                  </a:lnTo>
                  <a:lnTo>
                    <a:pt x="39" y="292"/>
                  </a:lnTo>
                  <a:lnTo>
                    <a:pt x="39" y="294"/>
                  </a:lnTo>
                  <a:lnTo>
                    <a:pt x="37" y="295"/>
                  </a:lnTo>
                  <a:lnTo>
                    <a:pt x="33" y="295"/>
                  </a:lnTo>
                  <a:lnTo>
                    <a:pt x="31" y="297"/>
                  </a:lnTo>
                  <a:lnTo>
                    <a:pt x="29" y="299"/>
                  </a:lnTo>
                  <a:lnTo>
                    <a:pt x="23" y="299"/>
                  </a:lnTo>
                  <a:lnTo>
                    <a:pt x="22" y="301"/>
                  </a:lnTo>
                  <a:lnTo>
                    <a:pt x="18" y="301"/>
                  </a:lnTo>
                  <a:lnTo>
                    <a:pt x="12" y="301"/>
                  </a:lnTo>
                  <a:lnTo>
                    <a:pt x="10" y="303"/>
                  </a:lnTo>
                  <a:lnTo>
                    <a:pt x="8" y="303"/>
                  </a:lnTo>
                  <a:lnTo>
                    <a:pt x="6" y="307"/>
                  </a:lnTo>
                  <a:lnTo>
                    <a:pt x="4" y="307"/>
                  </a:lnTo>
                  <a:lnTo>
                    <a:pt x="2" y="309"/>
                  </a:lnTo>
                  <a:lnTo>
                    <a:pt x="0" y="311"/>
                  </a:lnTo>
                  <a:lnTo>
                    <a:pt x="0" y="317"/>
                  </a:lnTo>
                  <a:lnTo>
                    <a:pt x="0" y="320"/>
                  </a:lnTo>
                  <a:lnTo>
                    <a:pt x="0" y="332"/>
                  </a:lnTo>
                  <a:lnTo>
                    <a:pt x="0" y="345"/>
                  </a:lnTo>
                  <a:lnTo>
                    <a:pt x="0" y="347"/>
                  </a:lnTo>
                  <a:lnTo>
                    <a:pt x="0" y="353"/>
                  </a:lnTo>
                  <a:lnTo>
                    <a:pt x="0" y="359"/>
                  </a:lnTo>
                  <a:lnTo>
                    <a:pt x="2" y="359"/>
                  </a:lnTo>
                  <a:lnTo>
                    <a:pt x="4" y="361"/>
                  </a:lnTo>
                  <a:lnTo>
                    <a:pt x="8" y="365"/>
                  </a:lnTo>
                  <a:lnTo>
                    <a:pt x="12" y="365"/>
                  </a:lnTo>
                  <a:lnTo>
                    <a:pt x="12" y="365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8" y="368"/>
                  </a:lnTo>
                  <a:lnTo>
                    <a:pt x="20" y="370"/>
                  </a:lnTo>
                  <a:lnTo>
                    <a:pt x="23" y="372"/>
                  </a:lnTo>
                  <a:lnTo>
                    <a:pt x="27" y="372"/>
                  </a:lnTo>
                  <a:lnTo>
                    <a:pt x="31" y="374"/>
                  </a:lnTo>
                  <a:lnTo>
                    <a:pt x="33" y="376"/>
                  </a:lnTo>
                  <a:lnTo>
                    <a:pt x="35" y="378"/>
                  </a:lnTo>
                  <a:lnTo>
                    <a:pt x="39" y="378"/>
                  </a:lnTo>
                  <a:lnTo>
                    <a:pt x="41" y="380"/>
                  </a:lnTo>
                  <a:lnTo>
                    <a:pt x="45" y="384"/>
                  </a:lnTo>
                  <a:lnTo>
                    <a:pt x="48" y="384"/>
                  </a:lnTo>
                  <a:lnTo>
                    <a:pt x="52" y="386"/>
                  </a:lnTo>
                  <a:lnTo>
                    <a:pt x="54" y="386"/>
                  </a:lnTo>
                  <a:lnTo>
                    <a:pt x="56" y="389"/>
                  </a:lnTo>
                  <a:lnTo>
                    <a:pt x="60" y="389"/>
                  </a:lnTo>
                  <a:lnTo>
                    <a:pt x="60" y="391"/>
                  </a:lnTo>
                  <a:lnTo>
                    <a:pt x="64" y="393"/>
                  </a:lnTo>
                  <a:lnTo>
                    <a:pt x="68" y="397"/>
                  </a:lnTo>
                  <a:lnTo>
                    <a:pt x="69" y="399"/>
                  </a:lnTo>
                  <a:lnTo>
                    <a:pt x="71" y="399"/>
                  </a:lnTo>
                  <a:lnTo>
                    <a:pt x="75" y="401"/>
                  </a:lnTo>
                  <a:lnTo>
                    <a:pt x="75" y="403"/>
                  </a:lnTo>
                  <a:lnTo>
                    <a:pt x="79" y="405"/>
                  </a:lnTo>
                  <a:lnTo>
                    <a:pt x="79" y="407"/>
                  </a:lnTo>
                  <a:lnTo>
                    <a:pt x="81" y="407"/>
                  </a:lnTo>
                  <a:lnTo>
                    <a:pt x="85" y="411"/>
                  </a:lnTo>
                  <a:lnTo>
                    <a:pt x="89" y="413"/>
                  </a:lnTo>
                  <a:lnTo>
                    <a:pt x="91" y="414"/>
                  </a:lnTo>
                  <a:lnTo>
                    <a:pt x="91" y="416"/>
                  </a:lnTo>
                  <a:lnTo>
                    <a:pt x="94" y="420"/>
                  </a:lnTo>
                  <a:lnTo>
                    <a:pt x="96" y="420"/>
                  </a:lnTo>
                  <a:lnTo>
                    <a:pt x="98" y="422"/>
                  </a:lnTo>
                  <a:lnTo>
                    <a:pt x="100" y="426"/>
                  </a:lnTo>
                  <a:lnTo>
                    <a:pt x="106" y="426"/>
                  </a:lnTo>
                  <a:lnTo>
                    <a:pt x="112" y="428"/>
                  </a:lnTo>
                  <a:lnTo>
                    <a:pt x="114" y="432"/>
                  </a:lnTo>
                  <a:lnTo>
                    <a:pt x="117" y="432"/>
                  </a:lnTo>
                  <a:lnTo>
                    <a:pt x="117" y="434"/>
                  </a:lnTo>
                  <a:lnTo>
                    <a:pt x="117" y="436"/>
                  </a:lnTo>
                  <a:lnTo>
                    <a:pt x="121" y="436"/>
                  </a:lnTo>
                  <a:lnTo>
                    <a:pt x="123" y="437"/>
                  </a:lnTo>
                  <a:lnTo>
                    <a:pt x="125" y="439"/>
                  </a:lnTo>
                  <a:lnTo>
                    <a:pt x="125" y="441"/>
                  </a:lnTo>
                  <a:lnTo>
                    <a:pt x="127" y="439"/>
                  </a:lnTo>
                  <a:lnTo>
                    <a:pt x="342" y="601"/>
                  </a:lnTo>
                  <a:lnTo>
                    <a:pt x="350" y="604"/>
                  </a:lnTo>
                  <a:lnTo>
                    <a:pt x="357" y="608"/>
                  </a:lnTo>
                  <a:lnTo>
                    <a:pt x="357" y="612"/>
                  </a:lnTo>
                  <a:lnTo>
                    <a:pt x="357" y="616"/>
                  </a:lnTo>
                  <a:lnTo>
                    <a:pt x="357" y="620"/>
                  </a:lnTo>
                  <a:lnTo>
                    <a:pt x="357" y="622"/>
                  </a:lnTo>
                  <a:lnTo>
                    <a:pt x="361" y="624"/>
                  </a:lnTo>
                  <a:lnTo>
                    <a:pt x="365" y="624"/>
                  </a:lnTo>
                  <a:lnTo>
                    <a:pt x="369" y="624"/>
                  </a:lnTo>
                  <a:lnTo>
                    <a:pt x="373" y="626"/>
                  </a:lnTo>
                  <a:lnTo>
                    <a:pt x="375" y="627"/>
                  </a:lnTo>
                  <a:lnTo>
                    <a:pt x="376" y="627"/>
                  </a:lnTo>
                  <a:lnTo>
                    <a:pt x="378" y="629"/>
                  </a:lnTo>
                  <a:lnTo>
                    <a:pt x="380" y="629"/>
                  </a:lnTo>
                  <a:lnTo>
                    <a:pt x="382" y="633"/>
                  </a:lnTo>
                  <a:lnTo>
                    <a:pt x="384" y="635"/>
                  </a:lnTo>
                  <a:lnTo>
                    <a:pt x="388" y="635"/>
                  </a:lnTo>
                  <a:lnTo>
                    <a:pt x="392" y="637"/>
                  </a:lnTo>
                  <a:lnTo>
                    <a:pt x="394" y="639"/>
                  </a:lnTo>
                  <a:lnTo>
                    <a:pt x="396" y="641"/>
                  </a:lnTo>
                  <a:lnTo>
                    <a:pt x="396" y="645"/>
                  </a:lnTo>
                  <a:lnTo>
                    <a:pt x="396" y="647"/>
                  </a:lnTo>
                  <a:lnTo>
                    <a:pt x="398" y="649"/>
                  </a:lnTo>
                  <a:lnTo>
                    <a:pt x="401" y="650"/>
                  </a:lnTo>
                  <a:lnTo>
                    <a:pt x="403" y="652"/>
                  </a:lnTo>
                  <a:lnTo>
                    <a:pt x="403" y="652"/>
                  </a:lnTo>
                  <a:lnTo>
                    <a:pt x="403" y="650"/>
                  </a:lnTo>
                  <a:lnTo>
                    <a:pt x="403" y="654"/>
                  </a:lnTo>
                  <a:lnTo>
                    <a:pt x="403" y="658"/>
                  </a:lnTo>
                  <a:lnTo>
                    <a:pt x="403" y="660"/>
                  </a:lnTo>
                  <a:lnTo>
                    <a:pt x="403" y="662"/>
                  </a:lnTo>
                  <a:lnTo>
                    <a:pt x="405" y="664"/>
                  </a:lnTo>
                  <a:lnTo>
                    <a:pt x="407" y="666"/>
                  </a:lnTo>
                  <a:lnTo>
                    <a:pt x="411" y="666"/>
                  </a:lnTo>
                  <a:lnTo>
                    <a:pt x="413" y="666"/>
                  </a:lnTo>
                  <a:lnTo>
                    <a:pt x="417" y="666"/>
                  </a:lnTo>
                  <a:lnTo>
                    <a:pt x="421" y="666"/>
                  </a:lnTo>
                  <a:lnTo>
                    <a:pt x="424" y="666"/>
                  </a:lnTo>
                  <a:lnTo>
                    <a:pt x="428" y="666"/>
                  </a:lnTo>
                  <a:lnTo>
                    <a:pt x="432" y="666"/>
                  </a:lnTo>
                  <a:lnTo>
                    <a:pt x="434" y="666"/>
                  </a:lnTo>
                  <a:lnTo>
                    <a:pt x="438" y="666"/>
                  </a:lnTo>
                  <a:lnTo>
                    <a:pt x="442" y="666"/>
                  </a:lnTo>
                  <a:lnTo>
                    <a:pt x="446" y="666"/>
                  </a:lnTo>
                  <a:lnTo>
                    <a:pt x="449" y="666"/>
                  </a:lnTo>
                  <a:lnTo>
                    <a:pt x="453" y="666"/>
                  </a:lnTo>
                  <a:lnTo>
                    <a:pt x="453" y="664"/>
                  </a:lnTo>
                  <a:lnTo>
                    <a:pt x="457" y="664"/>
                  </a:lnTo>
                  <a:lnTo>
                    <a:pt x="459" y="664"/>
                  </a:lnTo>
                  <a:lnTo>
                    <a:pt x="463" y="662"/>
                  </a:lnTo>
                  <a:lnTo>
                    <a:pt x="465" y="662"/>
                  </a:lnTo>
                  <a:lnTo>
                    <a:pt x="469" y="662"/>
                  </a:lnTo>
                  <a:lnTo>
                    <a:pt x="472" y="662"/>
                  </a:lnTo>
                  <a:lnTo>
                    <a:pt x="474" y="660"/>
                  </a:lnTo>
                  <a:lnTo>
                    <a:pt x="476" y="660"/>
                  </a:lnTo>
                  <a:lnTo>
                    <a:pt x="482" y="660"/>
                  </a:lnTo>
                  <a:lnTo>
                    <a:pt x="486" y="658"/>
                  </a:lnTo>
                  <a:lnTo>
                    <a:pt x="490" y="658"/>
                  </a:lnTo>
                  <a:lnTo>
                    <a:pt x="492" y="656"/>
                  </a:lnTo>
                  <a:lnTo>
                    <a:pt x="494" y="656"/>
                  </a:lnTo>
                  <a:lnTo>
                    <a:pt x="495" y="652"/>
                  </a:lnTo>
                  <a:lnTo>
                    <a:pt x="495" y="650"/>
                  </a:lnTo>
                  <a:lnTo>
                    <a:pt x="497" y="650"/>
                  </a:lnTo>
                  <a:lnTo>
                    <a:pt x="499" y="649"/>
                  </a:lnTo>
                  <a:lnTo>
                    <a:pt x="499" y="645"/>
                  </a:lnTo>
                  <a:lnTo>
                    <a:pt x="501" y="643"/>
                  </a:lnTo>
                  <a:lnTo>
                    <a:pt x="568" y="595"/>
                  </a:lnTo>
                  <a:lnTo>
                    <a:pt x="726" y="503"/>
                  </a:lnTo>
                  <a:lnTo>
                    <a:pt x="724" y="497"/>
                  </a:lnTo>
                  <a:lnTo>
                    <a:pt x="724" y="493"/>
                  </a:lnTo>
                  <a:lnTo>
                    <a:pt x="724" y="485"/>
                  </a:lnTo>
                  <a:lnTo>
                    <a:pt x="722" y="484"/>
                  </a:lnTo>
                  <a:lnTo>
                    <a:pt x="720" y="482"/>
                  </a:lnTo>
                  <a:lnTo>
                    <a:pt x="718" y="480"/>
                  </a:lnTo>
                  <a:lnTo>
                    <a:pt x="716" y="480"/>
                  </a:lnTo>
                  <a:lnTo>
                    <a:pt x="716" y="476"/>
                  </a:lnTo>
                  <a:lnTo>
                    <a:pt x="712" y="474"/>
                  </a:lnTo>
                  <a:lnTo>
                    <a:pt x="710" y="472"/>
                  </a:lnTo>
                  <a:lnTo>
                    <a:pt x="710" y="470"/>
                  </a:lnTo>
                  <a:lnTo>
                    <a:pt x="708" y="468"/>
                  </a:lnTo>
                  <a:lnTo>
                    <a:pt x="708" y="466"/>
                  </a:lnTo>
                  <a:lnTo>
                    <a:pt x="703" y="466"/>
                  </a:lnTo>
                  <a:lnTo>
                    <a:pt x="701" y="464"/>
                  </a:lnTo>
                  <a:lnTo>
                    <a:pt x="697" y="464"/>
                  </a:lnTo>
                  <a:lnTo>
                    <a:pt x="697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89" y="462"/>
                  </a:lnTo>
                  <a:lnTo>
                    <a:pt x="689" y="460"/>
                  </a:lnTo>
                  <a:lnTo>
                    <a:pt x="685" y="460"/>
                  </a:lnTo>
                  <a:lnTo>
                    <a:pt x="682" y="460"/>
                  </a:lnTo>
                  <a:lnTo>
                    <a:pt x="678" y="460"/>
                  </a:lnTo>
                  <a:lnTo>
                    <a:pt x="674" y="460"/>
                  </a:lnTo>
                  <a:lnTo>
                    <a:pt x="672" y="460"/>
                  </a:lnTo>
                  <a:lnTo>
                    <a:pt x="670" y="460"/>
                  </a:lnTo>
                  <a:lnTo>
                    <a:pt x="668" y="459"/>
                  </a:lnTo>
                  <a:lnTo>
                    <a:pt x="664" y="459"/>
                  </a:lnTo>
                  <a:lnTo>
                    <a:pt x="660" y="457"/>
                  </a:lnTo>
                  <a:lnTo>
                    <a:pt x="659" y="455"/>
                  </a:lnTo>
                  <a:lnTo>
                    <a:pt x="655" y="453"/>
                  </a:lnTo>
                  <a:lnTo>
                    <a:pt x="653" y="449"/>
                  </a:lnTo>
                  <a:lnTo>
                    <a:pt x="653" y="445"/>
                  </a:lnTo>
                  <a:lnTo>
                    <a:pt x="651" y="445"/>
                  </a:lnTo>
                  <a:lnTo>
                    <a:pt x="651" y="441"/>
                  </a:lnTo>
                  <a:lnTo>
                    <a:pt x="651" y="437"/>
                  </a:lnTo>
                  <a:lnTo>
                    <a:pt x="653" y="434"/>
                  </a:lnTo>
                  <a:lnTo>
                    <a:pt x="653" y="430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49" y="424"/>
                  </a:lnTo>
                  <a:lnTo>
                    <a:pt x="645" y="422"/>
                  </a:lnTo>
                  <a:lnTo>
                    <a:pt x="643" y="420"/>
                  </a:lnTo>
                  <a:lnTo>
                    <a:pt x="641" y="418"/>
                  </a:lnTo>
                  <a:lnTo>
                    <a:pt x="639" y="416"/>
                  </a:lnTo>
                  <a:lnTo>
                    <a:pt x="639" y="413"/>
                  </a:lnTo>
                  <a:lnTo>
                    <a:pt x="637" y="411"/>
                  </a:lnTo>
                  <a:lnTo>
                    <a:pt x="636" y="411"/>
                  </a:lnTo>
                  <a:lnTo>
                    <a:pt x="634" y="409"/>
                  </a:lnTo>
                  <a:lnTo>
                    <a:pt x="632" y="407"/>
                  </a:lnTo>
                  <a:lnTo>
                    <a:pt x="632" y="403"/>
                  </a:lnTo>
                  <a:lnTo>
                    <a:pt x="632" y="399"/>
                  </a:lnTo>
                  <a:lnTo>
                    <a:pt x="632" y="395"/>
                  </a:lnTo>
                  <a:lnTo>
                    <a:pt x="634" y="393"/>
                  </a:lnTo>
                  <a:lnTo>
                    <a:pt x="636" y="391"/>
                  </a:lnTo>
                  <a:lnTo>
                    <a:pt x="636" y="388"/>
                  </a:lnTo>
                  <a:lnTo>
                    <a:pt x="637" y="388"/>
                  </a:lnTo>
                  <a:lnTo>
                    <a:pt x="639" y="386"/>
                  </a:lnTo>
                  <a:lnTo>
                    <a:pt x="639" y="382"/>
                  </a:lnTo>
                  <a:lnTo>
                    <a:pt x="643" y="382"/>
                  </a:lnTo>
                  <a:lnTo>
                    <a:pt x="645" y="380"/>
                  </a:lnTo>
                  <a:lnTo>
                    <a:pt x="645" y="380"/>
                  </a:lnTo>
                  <a:lnTo>
                    <a:pt x="643" y="380"/>
                  </a:lnTo>
                  <a:lnTo>
                    <a:pt x="645" y="382"/>
                  </a:lnTo>
                  <a:lnTo>
                    <a:pt x="645" y="380"/>
                  </a:lnTo>
                  <a:lnTo>
                    <a:pt x="643" y="378"/>
                  </a:lnTo>
                  <a:lnTo>
                    <a:pt x="643" y="378"/>
                  </a:lnTo>
                  <a:lnTo>
                    <a:pt x="649" y="378"/>
                  </a:lnTo>
                  <a:lnTo>
                    <a:pt x="651" y="376"/>
                  </a:lnTo>
                  <a:lnTo>
                    <a:pt x="655" y="376"/>
                  </a:lnTo>
                  <a:lnTo>
                    <a:pt x="659" y="376"/>
                  </a:lnTo>
                  <a:lnTo>
                    <a:pt x="660" y="374"/>
                  </a:lnTo>
                  <a:lnTo>
                    <a:pt x="664" y="372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7" y="365"/>
                  </a:lnTo>
                  <a:lnTo>
                    <a:pt x="653" y="363"/>
                  </a:lnTo>
                  <a:lnTo>
                    <a:pt x="653" y="359"/>
                  </a:lnTo>
                  <a:lnTo>
                    <a:pt x="653" y="357"/>
                  </a:lnTo>
                  <a:lnTo>
                    <a:pt x="653" y="353"/>
                  </a:lnTo>
                  <a:lnTo>
                    <a:pt x="655" y="351"/>
                  </a:lnTo>
                  <a:lnTo>
                    <a:pt x="655" y="347"/>
                  </a:lnTo>
                  <a:lnTo>
                    <a:pt x="655" y="345"/>
                  </a:lnTo>
                  <a:lnTo>
                    <a:pt x="655" y="342"/>
                  </a:lnTo>
                  <a:lnTo>
                    <a:pt x="653" y="340"/>
                  </a:lnTo>
                  <a:lnTo>
                    <a:pt x="653" y="336"/>
                  </a:lnTo>
                  <a:lnTo>
                    <a:pt x="653" y="332"/>
                  </a:lnTo>
                  <a:lnTo>
                    <a:pt x="653" y="328"/>
                  </a:lnTo>
                  <a:lnTo>
                    <a:pt x="653" y="324"/>
                  </a:lnTo>
                  <a:lnTo>
                    <a:pt x="651" y="320"/>
                  </a:lnTo>
                  <a:lnTo>
                    <a:pt x="651" y="317"/>
                  </a:lnTo>
                  <a:lnTo>
                    <a:pt x="651" y="313"/>
                  </a:lnTo>
                  <a:lnTo>
                    <a:pt x="651" y="309"/>
                  </a:lnTo>
                  <a:lnTo>
                    <a:pt x="651" y="307"/>
                  </a:lnTo>
                  <a:lnTo>
                    <a:pt x="651" y="303"/>
                  </a:lnTo>
                  <a:lnTo>
                    <a:pt x="651" y="301"/>
                  </a:lnTo>
                  <a:lnTo>
                    <a:pt x="653" y="299"/>
                  </a:lnTo>
                  <a:lnTo>
                    <a:pt x="653" y="297"/>
                  </a:lnTo>
                  <a:lnTo>
                    <a:pt x="653" y="294"/>
                  </a:lnTo>
                  <a:lnTo>
                    <a:pt x="655" y="292"/>
                  </a:lnTo>
                  <a:lnTo>
                    <a:pt x="655" y="288"/>
                  </a:lnTo>
                  <a:lnTo>
                    <a:pt x="655" y="286"/>
                  </a:lnTo>
                  <a:lnTo>
                    <a:pt x="655" y="282"/>
                  </a:lnTo>
                  <a:lnTo>
                    <a:pt x="655" y="278"/>
                  </a:lnTo>
                  <a:lnTo>
                    <a:pt x="653" y="272"/>
                  </a:lnTo>
                  <a:lnTo>
                    <a:pt x="653" y="269"/>
                  </a:lnTo>
                  <a:lnTo>
                    <a:pt x="653" y="267"/>
                  </a:lnTo>
                  <a:lnTo>
                    <a:pt x="653" y="263"/>
                  </a:lnTo>
                  <a:lnTo>
                    <a:pt x="653" y="259"/>
                  </a:lnTo>
                  <a:lnTo>
                    <a:pt x="651" y="255"/>
                  </a:lnTo>
                  <a:lnTo>
                    <a:pt x="651" y="251"/>
                  </a:lnTo>
                  <a:lnTo>
                    <a:pt x="651" y="249"/>
                  </a:lnTo>
                  <a:lnTo>
                    <a:pt x="651" y="246"/>
                  </a:lnTo>
                  <a:lnTo>
                    <a:pt x="651" y="244"/>
                  </a:lnTo>
                  <a:lnTo>
                    <a:pt x="651" y="240"/>
                  </a:lnTo>
                  <a:lnTo>
                    <a:pt x="649" y="238"/>
                  </a:lnTo>
                  <a:lnTo>
                    <a:pt x="647" y="236"/>
                  </a:lnTo>
                  <a:lnTo>
                    <a:pt x="643" y="234"/>
                  </a:lnTo>
                  <a:lnTo>
                    <a:pt x="641" y="230"/>
                  </a:lnTo>
                  <a:lnTo>
                    <a:pt x="639" y="228"/>
                  </a:lnTo>
                  <a:lnTo>
                    <a:pt x="639" y="224"/>
                  </a:lnTo>
                  <a:lnTo>
                    <a:pt x="639" y="223"/>
                  </a:lnTo>
                  <a:lnTo>
                    <a:pt x="637" y="221"/>
                  </a:lnTo>
                  <a:lnTo>
                    <a:pt x="637" y="217"/>
                  </a:lnTo>
                  <a:lnTo>
                    <a:pt x="636" y="217"/>
                  </a:lnTo>
                  <a:lnTo>
                    <a:pt x="636" y="213"/>
                  </a:lnTo>
                  <a:lnTo>
                    <a:pt x="634" y="209"/>
                  </a:lnTo>
                  <a:lnTo>
                    <a:pt x="632" y="209"/>
                  </a:lnTo>
                  <a:lnTo>
                    <a:pt x="630" y="207"/>
                  </a:lnTo>
                  <a:lnTo>
                    <a:pt x="630" y="205"/>
                  </a:lnTo>
                  <a:lnTo>
                    <a:pt x="628" y="205"/>
                  </a:lnTo>
                  <a:lnTo>
                    <a:pt x="626" y="201"/>
                  </a:lnTo>
                  <a:lnTo>
                    <a:pt x="624" y="198"/>
                  </a:lnTo>
                  <a:lnTo>
                    <a:pt x="624" y="194"/>
                  </a:lnTo>
                  <a:lnTo>
                    <a:pt x="624" y="192"/>
                  </a:lnTo>
                  <a:lnTo>
                    <a:pt x="624" y="190"/>
                  </a:lnTo>
                  <a:lnTo>
                    <a:pt x="626" y="188"/>
                  </a:lnTo>
                  <a:lnTo>
                    <a:pt x="626" y="184"/>
                  </a:lnTo>
                  <a:lnTo>
                    <a:pt x="626" y="180"/>
                  </a:lnTo>
                  <a:lnTo>
                    <a:pt x="626" y="178"/>
                  </a:lnTo>
                  <a:lnTo>
                    <a:pt x="624" y="176"/>
                  </a:lnTo>
                  <a:lnTo>
                    <a:pt x="624" y="173"/>
                  </a:lnTo>
                  <a:lnTo>
                    <a:pt x="620" y="173"/>
                  </a:lnTo>
                  <a:lnTo>
                    <a:pt x="618" y="173"/>
                  </a:lnTo>
                  <a:lnTo>
                    <a:pt x="616" y="171"/>
                  </a:lnTo>
                  <a:lnTo>
                    <a:pt x="612" y="171"/>
                  </a:lnTo>
                  <a:lnTo>
                    <a:pt x="611" y="171"/>
                  </a:lnTo>
                  <a:lnTo>
                    <a:pt x="607" y="171"/>
                  </a:lnTo>
                  <a:lnTo>
                    <a:pt x="605" y="171"/>
                  </a:lnTo>
                  <a:lnTo>
                    <a:pt x="603" y="171"/>
                  </a:lnTo>
                  <a:lnTo>
                    <a:pt x="601" y="171"/>
                  </a:lnTo>
                  <a:lnTo>
                    <a:pt x="599" y="169"/>
                  </a:lnTo>
                  <a:lnTo>
                    <a:pt x="597" y="167"/>
                  </a:lnTo>
                  <a:lnTo>
                    <a:pt x="597" y="163"/>
                  </a:lnTo>
                  <a:lnTo>
                    <a:pt x="595" y="161"/>
                  </a:lnTo>
                  <a:lnTo>
                    <a:pt x="595" y="157"/>
                  </a:lnTo>
                  <a:lnTo>
                    <a:pt x="593" y="155"/>
                  </a:lnTo>
                  <a:lnTo>
                    <a:pt x="593" y="152"/>
                  </a:lnTo>
                  <a:lnTo>
                    <a:pt x="591" y="150"/>
                  </a:lnTo>
                  <a:lnTo>
                    <a:pt x="591" y="148"/>
                  </a:lnTo>
                  <a:lnTo>
                    <a:pt x="589" y="146"/>
                  </a:lnTo>
                  <a:lnTo>
                    <a:pt x="586" y="142"/>
                  </a:lnTo>
                  <a:lnTo>
                    <a:pt x="584" y="140"/>
                  </a:lnTo>
                  <a:lnTo>
                    <a:pt x="582" y="136"/>
                  </a:lnTo>
                  <a:lnTo>
                    <a:pt x="582" y="134"/>
                  </a:lnTo>
                  <a:lnTo>
                    <a:pt x="582" y="130"/>
                  </a:lnTo>
                  <a:lnTo>
                    <a:pt x="580" y="130"/>
                  </a:lnTo>
                  <a:lnTo>
                    <a:pt x="580" y="127"/>
                  </a:lnTo>
                  <a:lnTo>
                    <a:pt x="578" y="125"/>
                  </a:lnTo>
                  <a:lnTo>
                    <a:pt x="578" y="121"/>
                  </a:lnTo>
                  <a:lnTo>
                    <a:pt x="578" y="117"/>
                  </a:lnTo>
                  <a:lnTo>
                    <a:pt x="578" y="113"/>
                  </a:lnTo>
                  <a:lnTo>
                    <a:pt x="578" y="111"/>
                  </a:lnTo>
                  <a:lnTo>
                    <a:pt x="580" y="109"/>
                  </a:lnTo>
                  <a:lnTo>
                    <a:pt x="580" y="105"/>
                  </a:lnTo>
                  <a:lnTo>
                    <a:pt x="580" y="104"/>
                  </a:lnTo>
                  <a:lnTo>
                    <a:pt x="582" y="102"/>
                  </a:lnTo>
                  <a:lnTo>
                    <a:pt x="582" y="100"/>
                  </a:lnTo>
                  <a:lnTo>
                    <a:pt x="582" y="96"/>
                  </a:lnTo>
                  <a:lnTo>
                    <a:pt x="584" y="96"/>
                  </a:lnTo>
                  <a:lnTo>
                    <a:pt x="584" y="92"/>
                  </a:lnTo>
                  <a:lnTo>
                    <a:pt x="586" y="90"/>
                  </a:lnTo>
                  <a:lnTo>
                    <a:pt x="589" y="90"/>
                  </a:lnTo>
                  <a:lnTo>
                    <a:pt x="591" y="88"/>
                  </a:lnTo>
                  <a:lnTo>
                    <a:pt x="593" y="84"/>
                  </a:lnTo>
                  <a:lnTo>
                    <a:pt x="595" y="82"/>
                  </a:lnTo>
                  <a:lnTo>
                    <a:pt x="597" y="81"/>
                  </a:lnTo>
                  <a:lnTo>
                    <a:pt x="599" y="77"/>
                  </a:lnTo>
                  <a:lnTo>
                    <a:pt x="603" y="75"/>
                  </a:lnTo>
                  <a:lnTo>
                    <a:pt x="603" y="73"/>
                  </a:lnTo>
                  <a:lnTo>
                    <a:pt x="605" y="71"/>
                  </a:lnTo>
                  <a:lnTo>
                    <a:pt x="607" y="69"/>
                  </a:lnTo>
                  <a:lnTo>
                    <a:pt x="609" y="69"/>
                  </a:lnTo>
                  <a:lnTo>
                    <a:pt x="609" y="65"/>
                  </a:lnTo>
                  <a:lnTo>
                    <a:pt x="611" y="63"/>
                  </a:lnTo>
                  <a:lnTo>
                    <a:pt x="611" y="59"/>
                  </a:lnTo>
                  <a:lnTo>
                    <a:pt x="611" y="56"/>
                  </a:lnTo>
                  <a:lnTo>
                    <a:pt x="611" y="52"/>
                  </a:lnTo>
                  <a:lnTo>
                    <a:pt x="609" y="50"/>
                  </a:lnTo>
                  <a:lnTo>
                    <a:pt x="609" y="46"/>
                  </a:lnTo>
                  <a:lnTo>
                    <a:pt x="609" y="42"/>
                  </a:lnTo>
                  <a:lnTo>
                    <a:pt x="609" y="38"/>
                  </a:lnTo>
                  <a:lnTo>
                    <a:pt x="609" y="34"/>
                  </a:lnTo>
                  <a:lnTo>
                    <a:pt x="607" y="33"/>
                  </a:lnTo>
                  <a:lnTo>
                    <a:pt x="607" y="31"/>
                  </a:lnTo>
                  <a:lnTo>
                    <a:pt x="607" y="27"/>
                  </a:lnTo>
                  <a:lnTo>
                    <a:pt x="607" y="23"/>
                  </a:lnTo>
                  <a:lnTo>
                    <a:pt x="607" y="19"/>
                  </a:lnTo>
                  <a:lnTo>
                    <a:pt x="605" y="17"/>
                  </a:lnTo>
                  <a:lnTo>
                    <a:pt x="605" y="13"/>
                  </a:lnTo>
                  <a:lnTo>
                    <a:pt x="605" y="13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4" name="Freeform 61"/>
            <p:cNvSpPr>
              <a:spLocks/>
            </p:cNvSpPr>
            <p:nvPr/>
          </p:nvSpPr>
          <p:spPr bwMode="auto">
            <a:xfrm>
              <a:off x="703" y="996"/>
              <a:ext cx="472" cy="315"/>
            </a:xfrm>
            <a:custGeom>
              <a:avLst/>
              <a:gdLst/>
              <a:ahLst/>
              <a:cxnLst>
                <a:cxn ang="0">
                  <a:pos x="419" y="33"/>
                </a:cxn>
                <a:cxn ang="0">
                  <a:pos x="396" y="29"/>
                </a:cxn>
                <a:cxn ang="0">
                  <a:pos x="382" y="25"/>
                </a:cxn>
                <a:cxn ang="0">
                  <a:pos x="351" y="23"/>
                </a:cxn>
                <a:cxn ang="0">
                  <a:pos x="338" y="20"/>
                </a:cxn>
                <a:cxn ang="0">
                  <a:pos x="330" y="4"/>
                </a:cxn>
                <a:cxn ang="0">
                  <a:pos x="319" y="4"/>
                </a:cxn>
                <a:cxn ang="0">
                  <a:pos x="302" y="4"/>
                </a:cxn>
                <a:cxn ang="0">
                  <a:pos x="294" y="20"/>
                </a:cxn>
                <a:cxn ang="0">
                  <a:pos x="286" y="37"/>
                </a:cxn>
                <a:cxn ang="0">
                  <a:pos x="280" y="50"/>
                </a:cxn>
                <a:cxn ang="0">
                  <a:pos x="273" y="60"/>
                </a:cxn>
                <a:cxn ang="0">
                  <a:pos x="259" y="69"/>
                </a:cxn>
                <a:cxn ang="0">
                  <a:pos x="234" y="75"/>
                </a:cxn>
                <a:cxn ang="0">
                  <a:pos x="206" y="81"/>
                </a:cxn>
                <a:cxn ang="0">
                  <a:pos x="188" y="87"/>
                </a:cxn>
                <a:cxn ang="0">
                  <a:pos x="173" y="102"/>
                </a:cxn>
                <a:cxn ang="0">
                  <a:pos x="163" y="116"/>
                </a:cxn>
                <a:cxn ang="0">
                  <a:pos x="158" y="139"/>
                </a:cxn>
                <a:cxn ang="0">
                  <a:pos x="154" y="164"/>
                </a:cxn>
                <a:cxn ang="0">
                  <a:pos x="150" y="187"/>
                </a:cxn>
                <a:cxn ang="0">
                  <a:pos x="160" y="213"/>
                </a:cxn>
                <a:cxn ang="0">
                  <a:pos x="154" y="235"/>
                </a:cxn>
                <a:cxn ang="0">
                  <a:pos x="140" y="246"/>
                </a:cxn>
                <a:cxn ang="0">
                  <a:pos x="127" y="254"/>
                </a:cxn>
                <a:cxn ang="0">
                  <a:pos x="108" y="259"/>
                </a:cxn>
                <a:cxn ang="0">
                  <a:pos x="89" y="267"/>
                </a:cxn>
                <a:cxn ang="0">
                  <a:pos x="75" y="271"/>
                </a:cxn>
                <a:cxn ang="0">
                  <a:pos x="60" y="279"/>
                </a:cxn>
                <a:cxn ang="0">
                  <a:pos x="48" y="284"/>
                </a:cxn>
                <a:cxn ang="0">
                  <a:pos x="25" y="290"/>
                </a:cxn>
                <a:cxn ang="0">
                  <a:pos x="8" y="294"/>
                </a:cxn>
                <a:cxn ang="0">
                  <a:pos x="4" y="306"/>
                </a:cxn>
                <a:cxn ang="0">
                  <a:pos x="184" y="309"/>
                </a:cxn>
                <a:cxn ang="0">
                  <a:pos x="186" y="292"/>
                </a:cxn>
                <a:cxn ang="0">
                  <a:pos x="188" y="273"/>
                </a:cxn>
                <a:cxn ang="0">
                  <a:pos x="204" y="265"/>
                </a:cxn>
                <a:cxn ang="0">
                  <a:pos x="225" y="258"/>
                </a:cxn>
                <a:cxn ang="0">
                  <a:pos x="234" y="246"/>
                </a:cxn>
                <a:cxn ang="0">
                  <a:pos x="254" y="238"/>
                </a:cxn>
                <a:cxn ang="0">
                  <a:pos x="267" y="227"/>
                </a:cxn>
                <a:cxn ang="0">
                  <a:pos x="284" y="231"/>
                </a:cxn>
                <a:cxn ang="0">
                  <a:pos x="300" y="233"/>
                </a:cxn>
                <a:cxn ang="0">
                  <a:pos x="313" y="223"/>
                </a:cxn>
                <a:cxn ang="0">
                  <a:pos x="325" y="211"/>
                </a:cxn>
                <a:cxn ang="0">
                  <a:pos x="338" y="202"/>
                </a:cxn>
                <a:cxn ang="0">
                  <a:pos x="353" y="196"/>
                </a:cxn>
                <a:cxn ang="0">
                  <a:pos x="376" y="187"/>
                </a:cxn>
                <a:cxn ang="0">
                  <a:pos x="374" y="167"/>
                </a:cxn>
                <a:cxn ang="0">
                  <a:pos x="382" y="152"/>
                </a:cxn>
                <a:cxn ang="0">
                  <a:pos x="411" y="144"/>
                </a:cxn>
                <a:cxn ang="0">
                  <a:pos x="426" y="139"/>
                </a:cxn>
                <a:cxn ang="0">
                  <a:pos x="440" y="146"/>
                </a:cxn>
                <a:cxn ang="0">
                  <a:pos x="461" y="146"/>
                </a:cxn>
                <a:cxn ang="0">
                  <a:pos x="467" y="127"/>
                </a:cxn>
                <a:cxn ang="0">
                  <a:pos x="465" y="116"/>
                </a:cxn>
                <a:cxn ang="0">
                  <a:pos x="457" y="106"/>
                </a:cxn>
                <a:cxn ang="0">
                  <a:pos x="449" y="89"/>
                </a:cxn>
                <a:cxn ang="0">
                  <a:pos x="451" y="69"/>
                </a:cxn>
                <a:cxn ang="0">
                  <a:pos x="449" y="50"/>
                </a:cxn>
                <a:cxn ang="0">
                  <a:pos x="442" y="39"/>
                </a:cxn>
              </a:cxnLst>
              <a:rect l="0" t="0" r="r" b="b"/>
              <a:pathLst>
                <a:path w="472" h="315">
                  <a:moveTo>
                    <a:pt x="440" y="29"/>
                  </a:moveTo>
                  <a:lnTo>
                    <a:pt x="426" y="29"/>
                  </a:lnTo>
                  <a:lnTo>
                    <a:pt x="426" y="31"/>
                  </a:lnTo>
                  <a:lnTo>
                    <a:pt x="422" y="31"/>
                  </a:lnTo>
                  <a:lnTo>
                    <a:pt x="420" y="33"/>
                  </a:lnTo>
                  <a:lnTo>
                    <a:pt x="419" y="33"/>
                  </a:lnTo>
                  <a:lnTo>
                    <a:pt x="413" y="33"/>
                  </a:lnTo>
                  <a:lnTo>
                    <a:pt x="405" y="35"/>
                  </a:lnTo>
                  <a:lnTo>
                    <a:pt x="401" y="33"/>
                  </a:lnTo>
                  <a:lnTo>
                    <a:pt x="397" y="33"/>
                  </a:lnTo>
                  <a:lnTo>
                    <a:pt x="396" y="31"/>
                  </a:lnTo>
                  <a:lnTo>
                    <a:pt x="396" y="29"/>
                  </a:lnTo>
                  <a:lnTo>
                    <a:pt x="394" y="27"/>
                  </a:lnTo>
                  <a:lnTo>
                    <a:pt x="392" y="25"/>
                  </a:lnTo>
                  <a:lnTo>
                    <a:pt x="388" y="25"/>
                  </a:lnTo>
                  <a:lnTo>
                    <a:pt x="386" y="23"/>
                  </a:lnTo>
                  <a:lnTo>
                    <a:pt x="384" y="25"/>
                  </a:lnTo>
                  <a:lnTo>
                    <a:pt x="382" y="25"/>
                  </a:lnTo>
                  <a:lnTo>
                    <a:pt x="373" y="27"/>
                  </a:lnTo>
                  <a:lnTo>
                    <a:pt x="361" y="27"/>
                  </a:lnTo>
                  <a:lnTo>
                    <a:pt x="357" y="25"/>
                  </a:lnTo>
                  <a:lnTo>
                    <a:pt x="355" y="25"/>
                  </a:lnTo>
                  <a:lnTo>
                    <a:pt x="353" y="22"/>
                  </a:lnTo>
                  <a:lnTo>
                    <a:pt x="351" y="23"/>
                  </a:lnTo>
                  <a:lnTo>
                    <a:pt x="348" y="23"/>
                  </a:lnTo>
                  <a:lnTo>
                    <a:pt x="346" y="22"/>
                  </a:lnTo>
                  <a:lnTo>
                    <a:pt x="344" y="23"/>
                  </a:lnTo>
                  <a:lnTo>
                    <a:pt x="342" y="22"/>
                  </a:lnTo>
                  <a:lnTo>
                    <a:pt x="340" y="20"/>
                  </a:lnTo>
                  <a:lnTo>
                    <a:pt x="338" y="20"/>
                  </a:lnTo>
                  <a:lnTo>
                    <a:pt x="336" y="18"/>
                  </a:lnTo>
                  <a:lnTo>
                    <a:pt x="336" y="16"/>
                  </a:lnTo>
                  <a:lnTo>
                    <a:pt x="334" y="14"/>
                  </a:lnTo>
                  <a:lnTo>
                    <a:pt x="332" y="14"/>
                  </a:lnTo>
                  <a:lnTo>
                    <a:pt x="332" y="6"/>
                  </a:lnTo>
                  <a:lnTo>
                    <a:pt x="330" y="4"/>
                  </a:lnTo>
                  <a:lnTo>
                    <a:pt x="330" y="2"/>
                  </a:lnTo>
                  <a:lnTo>
                    <a:pt x="328" y="0"/>
                  </a:lnTo>
                  <a:lnTo>
                    <a:pt x="325" y="2"/>
                  </a:lnTo>
                  <a:lnTo>
                    <a:pt x="323" y="2"/>
                  </a:lnTo>
                  <a:lnTo>
                    <a:pt x="321" y="4"/>
                  </a:lnTo>
                  <a:lnTo>
                    <a:pt x="319" y="4"/>
                  </a:lnTo>
                  <a:lnTo>
                    <a:pt x="315" y="4"/>
                  </a:lnTo>
                  <a:lnTo>
                    <a:pt x="311" y="2"/>
                  </a:lnTo>
                  <a:lnTo>
                    <a:pt x="309" y="2"/>
                  </a:lnTo>
                  <a:lnTo>
                    <a:pt x="303" y="0"/>
                  </a:lnTo>
                  <a:lnTo>
                    <a:pt x="303" y="2"/>
                  </a:lnTo>
                  <a:lnTo>
                    <a:pt x="302" y="4"/>
                  </a:lnTo>
                  <a:lnTo>
                    <a:pt x="300" y="6"/>
                  </a:lnTo>
                  <a:lnTo>
                    <a:pt x="298" y="10"/>
                  </a:lnTo>
                  <a:lnTo>
                    <a:pt x="298" y="14"/>
                  </a:lnTo>
                  <a:lnTo>
                    <a:pt x="296" y="14"/>
                  </a:lnTo>
                  <a:lnTo>
                    <a:pt x="296" y="16"/>
                  </a:lnTo>
                  <a:lnTo>
                    <a:pt x="294" y="20"/>
                  </a:lnTo>
                  <a:lnTo>
                    <a:pt x="294" y="22"/>
                  </a:lnTo>
                  <a:lnTo>
                    <a:pt x="290" y="25"/>
                  </a:lnTo>
                  <a:lnTo>
                    <a:pt x="290" y="29"/>
                  </a:lnTo>
                  <a:lnTo>
                    <a:pt x="288" y="33"/>
                  </a:lnTo>
                  <a:lnTo>
                    <a:pt x="286" y="37"/>
                  </a:lnTo>
                  <a:lnTo>
                    <a:pt x="286" y="37"/>
                  </a:lnTo>
                  <a:lnTo>
                    <a:pt x="284" y="39"/>
                  </a:lnTo>
                  <a:lnTo>
                    <a:pt x="284" y="43"/>
                  </a:lnTo>
                  <a:lnTo>
                    <a:pt x="282" y="45"/>
                  </a:lnTo>
                  <a:lnTo>
                    <a:pt x="282" y="46"/>
                  </a:lnTo>
                  <a:lnTo>
                    <a:pt x="280" y="48"/>
                  </a:lnTo>
                  <a:lnTo>
                    <a:pt x="280" y="50"/>
                  </a:lnTo>
                  <a:lnTo>
                    <a:pt x="279" y="50"/>
                  </a:lnTo>
                  <a:lnTo>
                    <a:pt x="279" y="54"/>
                  </a:lnTo>
                  <a:lnTo>
                    <a:pt x="277" y="56"/>
                  </a:lnTo>
                  <a:lnTo>
                    <a:pt x="275" y="56"/>
                  </a:lnTo>
                  <a:lnTo>
                    <a:pt x="273" y="56"/>
                  </a:lnTo>
                  <a:lnTo>
                    <a:pt x="273" y="60"/>
                  </a:lnTo>
                  <a:lnTo>
                    <a:pt x="269" y="60"/>
                  </a:lnTo>
                  <a:lnTo>
                    <a:pt x="267" y="62"/>
                  </a:lnTo>
                  <a:lnTo>
                    <a:pt x="265" y="64"/>
                  </a:lnTo>
                  <a:lnTo>
                    <a:pt x="263" y="66"/>
                  </a:lnTo>
                  <a:lnTo>
                    <a:pt x="261" y="68"/>
                  </a:lnTo>
                  <a:lnTo>
                    <a:pt x="259" y="69"/>
                  </a:lnTo>
                  <a:lnTo>
                    <a:pt x="255" y="69"/>
                  </a:lnTo>
                  <a:lnTo>
                    <a:pt x="252" y="71"/>
                  </a:lnTo>
                  <a:lnTo>
                    <a:pt x="244" y="71"/>
                  </a:lnTo>
                  <a:lnTo>
                    <a:pt x="240" y="71"/>
                  </a:lnTo>
                  <a:lnTo>
                    <a:pt x="238" y="73"/>
                  </a:lnTo>
                  <a:lnTo>
                    <a:pt x="234" y="75"/>
                  </a:lnTo>
                  <a:lnTo>
                    <a:pt x="231" y="75"/>
                  </a:lnTo>
                  <a:lnTo>
                    <a:pt x="227" y="77"/>
                  </a:lnTo>
                  <a:lnTo>
                    <a:pt x="223" y="77"/>
                  </a:lnTo>
                  <a:lnTo>
                    <a:pt x="211" y="77"/>
                  </a:lnTo>
                  <a:lnTo>
                    <a:pt x="209" y="79"/>
                  </a:lnTo>
                  <a:lnTo>
                    <a:pt x="206" y="81"/>
                  </a:lnTo>
                  <a:lnTo>
                    <a:pt x="202" y="81"/>
                  </a:lnTo>
                  <a:lnTo>
                    <a:pt x="198" y="83"/>
                  </a:lnTo>
                  <a:lnTo>
                    <a:pt x="192" y="83"/>
                  </a:lnTo>
                  <a:lnTo>
                    <a:pt x="192" y="85"/>
                  </a:lnTo>
                  <a:lnTo>
                    <a:pt x="188" y="85"/>
                  </a:lnTo>
                  <a:lnTo>
                    <a:pt x="188" y="87"/>
                  </a:lnTo>
                  <a:lnTo>
                    <a:pt x="186" y="89"/>
                  </a:lnTo>
                  <a:lnTo>
                    <a:pt x="183" y="93"/>
                  </a:lnTo>
                  <a:lnTo>
                    <a:pt x="179" y="96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2"/>
                  </a:lnTo>
                  <a:lnTo>
                    <a:pt x="171" y="104"/>
                  </a:lnTo>
                  <a:lnTo>
                    <a:pt x="169" y="104"/>
                  </a:lnTo>
                  <a:lnTo>
                    <a:pt x="167" y="106"/>
                  </a:lnTo>
                  <a:lnTo>
                    <a:pt x="165" y="110"/>
                  </a:lnTo>
                  <a:lnTo>
                    <a:pt x="165" y="114"/>
                  </a:lnTo>
                  <a:lnTo>
                    <a:pt x="163" y="116"/>
                  </a:lnTo>
                  <a:lnTo>
                    <a:pt x="163" y="119"/>
                  </a:lnTo>
                  <a:lnTo>
                    <a:pt x="161" y="123"/>
                  </a:lnTo>
                  <a:lnTo>
                    <a:pt x="161" y="127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58" y="139"/>
                  </a:lnTo>
                  <a:lnTo>
                    <a:pt x="158" y="142"/>
                  </a:lnTo>
                  <a:lnTo>
                    <a:pt x="156" y="148"/>
                  </a:lnTo>
                  <a:lnTo>
                    <a:pt x="156" y="154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54" y="164"/>
                  </a:lnTo>
                  <a:lnTo>
                    <a:pt x="152" y="165"/>
                  </a:lnTo>
                  <a:lnTo>
                    <a:pt x="152" y="167"/>
                  </a:lnTo>
                  <a:lnTo>
                    <a:pt x="150" y="173"/>
                  </a:lnTo>
                  <a:lnTo>
                    <a:pt x="148" y="177"/>
                  </a:lnTo>
                  <a:lnTo>
                    <a:pt x="148" y="183"/>
                  </a:lnTo>
                  <a:lnTo>
                    <a:pt x="150" y="187"/>
                  </a:lnTo>
                  <a:lnTo>
                    <a:pt x="152" y="190"/>
                  </a:lnTo>
                  <a:lnTo>
                    <a:pt x="154" y="192"/>
                  </a:lnTo>
                  <a:lnTo>
                    <a:pt x="156" y="194"/>
                  </a:lnTo>
                  <a:lnTo>
                    <a:pt x="158" y="196"/>
                  </a:lnTo>
                  <a:lnTo>
                    <a:pt x="158" y="202"/>
                  </a:lnTo>
                  <a:lnTo>
                    <a:pt x="160" y="213"/>
                  </a:lnTo>
                  <a:lnTo>
                    <a:pt x="160" y="225"/>
                  </a:lnTo>
                  <a:lnTo>
                    <a:pt x="158" y="227"/>
                  </a:lnTo>
                  <a:lnTo>
                    <a:pt x="158" y="231"/>
                  </a:lnTo>
                  <a:lnTo>
                    <a:pt x="156" y="231"/>
                  </a:lnTo>
                  <a:lnTo>
                    <a:pt x="154" y="233"/>
                  </a:lnTo>
                  <a:lnTo>
                    <a:pt x="154" y="235"/>
                  </a:lnTo>
                  <a:lnTo>
                    <a:pt x="152" y="236"/>
                  </a:lnTo>
                  <a:lnTo>
                    <a:pt x="150" y="238"/>
                  </a:lnTo>
                  <a:lnTo>
                    <a:pt x="148" y="238"/>
                  </a:lnTo>
                  <a:lnTo>
                    <a:pt x="146" y="242"/>
                  </a:lnTo>
                  <a:lnTo>
                    <a:pt x="144" y="246"/>
                  </a:lnTo>
                  <a:lnTo>
                    <a:pt x="140" y="246"/>
                  </a:lnTo>
                  <a:lnTo>
                    <a:pt x="138" y="250"/>
                  </a:lnTo>
                  <a:lnTo>
                    <a:pt x="135" y="250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7" y="256"/>
                  </a:lnTo>
                  <a:lnTo>
                    <a:pt x="121" y="256"/>
                  </a:lnTo>
                  <a:lnTo>
                    <a:pt x="117" y="258"/>
                  </a:lnTo>
                  <a:lnTo>
                    <a:pt x="115" y="258"/>
                  </a:lnTo>
                  <a:lnTo>
                    <a:pt x="112" y="259"/>
                  </a:lnTo>
                  <a:lnTo>
                    <a:pt x="108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0" y="265"/>
                  </a:lnTo>
                  <a:lnTo>
                    <a:pt x="89" y="267"/>
                  </a:lnTo>
                  <a:lnTo>
                    <a:pt x="87" y="267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3" y="271"/>
                  </a:lnTo>
                  <a:lnTo>
                    <a:pt x="73" y="273"/>
                  </a:lnTo>
                  <a:lnTo>
                    <a:pt x="69" y="273"/>
                  </a:lnTo>
                  <a:lnTo>
                    <a:pt x="67" y="277"/>
                  </a:lnTo>
                  <a:lnTo>
                    <a:pt x="64" y="279"/>
                  </a:lnTo>
                  <a:lnTo>
                    <a:pt x="60" y="279"/>
                  </a:lnTo>
                  <a:lnTo>
                    <a:pt x="58" y="281"/>
                  </a:lnTo>
                  <a:lnTo>
                    <a:pt x="54" y="281"/>
                  </a:lnTo>
                  <a:lnTo>
                    <a:pt x="54" y="282"/>
                  </a:lnTo>
                  <a:lnTo>
                    <a:pt x="50" y="282"/>
                  </a:lnTo>
                  <a:lnTo>
                    <a:pt x="50" y="284"/>
                  </a:lnTo>
                  <a:lnTo>
                    <a:pt x="48" y="284"/>
                  </a:lnTo>
                  <a:lnTo>
                    <a:pt x="44" y="284"/>
                  </a:lnTo>
                  <a:lnTo>
                    <a:pt x="39" y="286"/>
                  </a:lnTo>
                  <a:lnTo>
                    <a:pt x="35" y="286"/>
                  </a:lnTo>
                  <a:lnTo>
                    <a:pt x="31" y="288"/>
                  </a:lnTo>
                  <a:lnTo>
                    <a:pt x="29" y="288"/>
                  </a:lnTo>
                  <a:lnTo>
                    <a:pt x="25" y="290"/>
                  </a:lnTo>
                  <a:lnTo>
                    <a:pt x="21" y="290"/>
                  </a:lnTo>
                  <a:lnTo>
                    <a:pt x="16" y="292"/>
                  </a:lnTo>
                  <a:lnTo>
                    <a:pt x="16" y="292"/>
                  </a:lnTo>
                  <a:lnTo>
                    <a:pt x="12" y="292"/>
                  </a:lnTo>
                  <a:lnTo>
                    <a:pt x="12" y="294"/>
                  </a:lnTo>
                  <a:lnTo>
                    <a:pt x="8" y="294"/>
                  </a:lnTo>
                  <a:lnTo>
                    <a:pt x="8" y="296"/>
                  </a:lnTo>
                  <a:lnTo>
                    <a:pt x="8" y="300"/>
                  </a:lnTo>
                  <a:lnTo>
                    <a:pt x="8" y="302"/>
                  </a:lnTo>
                  <a:lnTo>
                    <a:pt x="6" y="304"/>
                  </a:lnTo>
                  <a:lnTo>
                    <a:pt x="6" y="306"/>
                  </a:lnTo>
                  <a:lnTo>
                    <a:pt x="4" y="306"/>
                  </a:lnTo>
                  <a:lnTo>
                    <a:pt x="4" y="309"/>
                  </a:lnTo>
                  <a:lnTo>
                    <a:pt x="2" y="309"/>
                  </a:lnTo>
                  <a:lnTo>
                    <a:pt x="2" y="311"/>
                  </a:lnTo>
                  <a:lnTo>
                    <a:pt x="0" y="315"/>
                  </a:lnTo>
                  <a:lnTo>
                    <a:pt x="186" y="313"/>
                  </a:lnTo>
                  <a:lnTo>
                    <a:pt x="184" y="309"/>
                  </a:lnTo>
                  <a:lnTo>
                    <a:pt x="186" y="306"/>
                  </a:lnTo>
                  <a:lnTo>
                    <a:pt x="186" y="302"/>
                  </a:lnTo>
                  <a:lnTo>
                    <a:pt x="186" y="300"/>
                  </a:lnTo>
                  <a:lnTo>
                    <a:pt x="186" y="296"/>
                  </a:lnTo>
                  <a:lnTo>
                    <a:pt x="186" y="294"/>
                  </a:lnTo>
                  <a:lnTo>
                    <a:pt x="186" y="292"/>
                  </a:lnTo>
                  <a:lnTo>
                    <a:pt x="186" y="288"/>
                  </a:lnTo>
                  <a:lnTo>
                    <a:pt x="186" y="284"/>
                  </a:lnTo>
                  <a:lnTo>
                    <a:pt x="186" y="281"/>
                  </a:lnTo>
                  <a:lnTo>
                    <a:pt x="186" y="277"/>
                  </a:lnTo>
                  <a:lnTo>
                    <a:pt x="186" y="273"/>
                  </a:lnTo>
                  <a:lnTo>
                    <a:pt x="188" y="273"/>
                  </a:lnTo>
                  <a:lnTo>
                    <a:pt x="192" y="271"/>
                  </a:lnTo>
                  <a:lnTo>
                    <a:pt x="196" y="269"/>
                  </a:lnTo>
                  <a:lnTo>
                    <a:pt x="198" y="267"/>
                  </a:lnTo>
                  <a:lnTo>
                    <a:pt x="200" y="265"/>
                  </a:lnTo>
                  <a:lnTo>
                    <a:pt x="202" y="263"/>
                  </a:lnTo>
                  <a:lnTo>
                    <a:pt x="204" y="265"/>
                  </a:lnTo>
                  <a:lnTo>
                    <a:pt x="206" y="263"/>
                  </a:lnTo>
                  <a:lnTo>
                    <a:pt x="213" y="263"/>
                  </a:lnTo>
                  <a:lnTo>
                    <a:pt x="215" y="261"/>
                  </a:lnTo>
                  <a:lnTo>
                    <a:pt x="219" y="261"/>
                  </a:lnTo>
                  <a:lnTo>
                    <a:pt x="221" y="258"/>
                  </a:lnTo>
                  <a:lnTo>
                    <a:pt x="225" y="258"/>
                  </a:lnTo>
                  <a:lnTo>
                    <a:pt x="225" y="256"/>
                  </a:lnTo>
                  <a:lnTo>
                    <a:pt x="229" y="254"/>
                  </a:lnTo>
                  <a:lnTo>
                    <a:pt x="231" y="252"/>
                  </a:lnTo>
                  <a:lnTo>
                    <a:pt x="232" y="252"/>
                  </a:lnTo>
                  <a:lnTo>
                    <a:pt x="234" y="250"/>
                  </a:lnTo>
                  <a:lnTo>
                    <a:pt x="234" y="246"/>
                  </a:lnTo>
                  <a:lnTo>
                    <a:pt x="238" y="242"/>
                  </a:lnTo>
                  <a:lnTo>
                    <a:pt x="242" y="242"/>
                  </a:lnTo>
                  <a:lnTo>
                    <a:pt x="244" y="240"/>
                  </a:lnTo>
                  <a:lnTo>
                    <a:pt x="246" y="240"/>
                  </a:lnTo>
                  <a:lnTo>
                    <a:pt x="250" y="240"/>
                  </a:lnTo>
                  <a:lnTo>
                    <a:pt x="254" y="238"/>
                  </a:lnTo>
                  <a:lnTo>
                    <a:pt x="255" y="236"/>
                  </a:lnTo>
                  <a:lnTo>
                    <a:pt x="257" y="233"/>
                  </a:lnTo>
                  <a:lnTo>
                    <a:pt x="261" y="233"/>
                  </a:lnTo>
                  <a:lnTo>
                    <a:pt x="261" y="229"/>
                  </a:lnTo>
                  <a:lnTo>
                    <a:pt x="265" y="227"/>
                  </a:lnTo>
                  <a:lnTo>
                    <a:pt x="267" y="227"/>
                  </a:lnTo>
                  <a:lnTo>
                    <a:pt x="271" y="227"/>
                  </a:lnTo>
                  <a:lnTo>
                    <a:pt x="273" y="227"/>
                  </a:lnTo>
                  <a:lnTo>
                    <a:pt x="275" y="229"/>
                  </a:lnTo>
                  <a:lnTo>
                    <a:pt x="279" y="229"/>
                  </a:lnTo>
                  <a:lnTo>
                    <a:pt x="282" y="229"/>
                  </a:lnTo>
                  <a:lnTo>
                    <a:pt x="284" y="231"/>
                  </a:lnTo>
                  <a:lnTo>
                    <a:pt x="286" y="231"/>
                  </a:lnTo>
                  <a:lnTo>
                    <a:pt x="290" y="231"/>
                  </a:lnTo>
                  <a:lnTo>
                    <a:pt x="294" y="231"/>
                  </a:lnTo>
                  <a:lnTo>
                    <a:pt x="296" y="231"/>
                  </a:lnTo>
                  <a:lnTo>
                    <a:pt x="296" y="231"/>
                  </a:lnTo>
                  <a:lnTo>
                    <a:pt x="300" y="233"/>
                  </a:lnTo>
                  <a:lnTo>
                    <a:pt x="302" y="231"/>
                  </a:lnTo>
                  <a:lnTo>
                    <a:pt x="303" y="231"/>
                  </a:lnTo>
                  <a:lnTo>
                    <a:pt x="307" y="229"/>
                  </a:lnTo>
                  <a:lnTo>
                    <a:pt x="309" y="229"/>
                  </a:lnTo>
                  <a:lnTo>
                    <a:pt x="313" y="227"/>
                  </a:lnTo>
                  <a:lnTo>
                    <a:pt x="313" y="223"/>
                  </a:lnTo>
                  <a:lnTo>
                    <a:pt x="315" y="221"/>
                  </a:lnTo>
                  <a:lnTo>
                    <a:pt x="317" y="217"/>
                  </a:lnTo>
                  <a:lnTo>
                    <a:pt x="319" y="215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5" y="211"/>
                  </a:lnTo>
                  <a:lnTo>
                    <a:pt x="326" y="210"/>
                  </a:lnTo>
                  <a:lnTo>
                    <a:pt x="330" y="210"/>
                  </a:lnTo>
                  <a:lnTo>
                    <a:pt x="332" y="208"/>
                  </a:lnTo>
                  <a:lnTo>
                    <a:pt x="336" y="206"/>
                  </a:lnTo>
                  <a:lnTo>
                    <a:pt x="336" y="204"/>
                  </a:lnTo>
                  <a:lnTo>
                    <a:pt x="338" y="202"/>
                  </a:lnTo>
                  <a:lnTo>
                    <a:pt x="344" y="202"/>
                  </a:lnTo>
                  <a:lnTo>
                    <a:pt x="344" y="200"/>
                  </a:lnTo>
                  <a:lnTo>
                    <a:pt x="346" y="200"/>
                  </a:lnTo>
                  <a:lnTo>
                    <a:pt x="348" y="196"/>
                  </a:lnTo>
                  <a:lnTo>
                    <a:pt x="351" y="196"/>
                  </a:lnTo>
                  <a:lnTo>
                    <a:pt x="353" y="196"/>
                  </a:lnTo>
                  <a:lnTo>
                    <a:pt x="357" y="194"/>
                  </a:lnTo>
                  <a:lnTo>
                    <a:pt x="363" y="192"/>
                  </a:lnTo>
                  <a:lnTo>
                    <a:pt x="365" y="192"/>
                  </a:lnTo>
                  <a:lnTo>
                    <a:pt x="369" y="190"/>
                  </a:lnTo>
                  <a:lnTo>
                    <a:pt x="376" y="190"/>
                  </a:lnTo>
                  <a:lnTo>
                    <a:pt x="376" y="187"/>
                  </a:lnTo>
                  <a:lnTo>
                    <a:pt x="376" y="183"/>
                  </a:lnTo>
                  <a:lnTo>
                    <a:pt x="376" y="179"/>
                  </a:lnTo>
                  <a:lnTo>
                    <a:pt x="376" y="175"/>
                  </a:lnTo>
                  <a:lnTo>
                    <a:pt x="376" y="173"/>
                  </a:lnTo>
                  <a:lnTo>
                    <a:pt x="374" y="171"/>
                  </a:lnTo>
                  <a:lnTo>
                    <a:pt x="374" y="167"/>
                  </a:lnTo>
                  <a:lnTo>
                    <a:pt x="374" y="164"/>
                  </a:lnTo>
                  <a:lnTo>
                    <a:pt x="374" y="160"/>
                  </a:lnTo>
                  <a:lnTo>
                    <a:pt x="374" y="158"/>
                  </a:lnTo>
                  <a:lnTo>
                    <a:pt x="374" y="154"/>
                  </a:lnTo>
                  <a:lnTo>
                    <a:pt x="378" y="154"/>
                  </a:lnTo>
                  <a:lnTo>
                    <a:pt x="382" y="152"/>
                  </a:lnTo>
                  <a:lnTo>
                    <a:pt x="392" y="152"/>
                  </a:lnTo>
                  <a:lnTo>
                    <a:pt x="396" y="150"/>
                  </a:lnTo>
                  <a:lnTo>
                    <a:pt x="399" y="146"/>
                  </a:lnTo>
                  <a:lnTo>
                    <a:pt x="403" y="144"/>
                  </a:lnTo>
                  <a:lnTo>
                    <a:pt x="407" y="144"/>
                  </a:lnTo>
                  <a:lnTo>
                    <a:pt x="411" y="144"/>
                  </a:lnTo>
                  <a:lnTo>
                    <a:pt x="415" y="144"/>
                  </a:lnTo>
                  <a:lnTo>
                    <a:pt x="419" y="144"/>
                  </a:lnTo>
                  <a:lnTo>
                    <a:pt x="419" y="142"/>
                  </a:lnTo>
                  <a:lnTo>
                    <a:pt x="420" y="140"/>
                  </a:lnTo>
                  <a:lnTo>
                    <a:pt x="422" y="139"/>
                  </a:lnTo>
                  <a:lnTo>
                    <a:pt x="426" y="139"/>
                  </a:lnTo>
                  <a:lnTo>
                    <a:pt x="428" y="139"/>
                  </a:lnTo>
                  <a:lnTo>
                    <a:pt x="430" y="140"/>
                  </a:lnTo>
                  <a:lnTo>
                    <a:pt x="432" y="142"/>
                  </a:lnTo>
                  <a:lnTo>
                    <a:pt x="432" y="144"/>
                  </a:lnTo>
                  <a:lnTo>
                    <a:pt x="438" y="144"/>
                  </a:lnTo>
                  <a:lnTo>
                    <a:pt x="440" y="146"/>
                  </a:lnTo>
                  <a:lnTo>
                    <a:pt x="442" y="146"/>
                  </a:lnTo>
                  <a:lnTo>
                    <a:pt x="445" y="146"/>
                  </a:lnTo>
                  <a:lnTo>
                    <a:pt x="449" y="146"/>
                  </a:lnTo>
                  <a:lnTo>
                    <a:pt x="453" y="146"/>
                  </a:lnTo>
                  <a:lnTo>
                    <a:pt x="457" y="146"/>
                  </a:lnTo>
                  <a:lnTo>
                    <a:pt x="461" y="146"/>
                  </a:lnTo>
                  <a:lnTo>
                    <a:pt x="463" y="142"/>
                  </a:lnTo>
                  <a:lnTo>
                    <a:pt x="463" y="139"/>
                  </a:lnTo>
                  <a:lnTo>
                    <a:pt x="463" y="135"/>
                  </a:lnTo>
                  <a:lnTo>
                    <a:pt x="463" y="133"/>
                  </a:lnTo>
                  <a:lnTo>
                    <a:pt x="465" y="131"/>
                  </a:lnTo>
                  <a:lnTo>
                    <a:pt x="467" y="127"/>
                  </a:lnTo>
                  <a:lnTo>
                    <a:pt x="472" y="127"/>
                  </a:lnTo>
                  <a:lnTo>
                    <a:pt x="470" y="125"/>
                  </a:lnTo>
                  <a:lnTo>
                    <a:pt x="468" y="123"/>
                  </a:lnTo>
                  <a:lnTo>
                    <a:pt x="468" y="119"/>
                  </a:lnTo>
                  <a:lnTo>
                    <a:pt x="467" y="117"/>
                  </a:lnTo>
                  <a:lnTo>
                    <a:pt x="465" y="116"/>
                  </a:lnTo>
                  <a:lnTo>
                    <a:pt x="463" y="114"/>
                  </a:lnTo>
                  <a:lnTo>
                    <a:pt x="461" y="114"/>
                  </a:lnTo>
                  <a:lnTo>
                    <a:pt x="459" y="114"/>
                  </a:lnTo>
                  <a:lnTo>
                    <a:pt x="457" y="112"/>
                  </a:lnTo>
                  <a:lnTo>
                    <a:pt x="457" y="108"/>
                  </a:lnTo>
                  <a:lnTo>
                    <a:pt x="457" y="106"/>
                  </a:lnTo>
                  <a:lnTo>
                    <a:pt x="455" y="104"/>
                  </a:lnTo>
                  <a:lnTo>
                    <a:pt x="455" y="102"/>
                  </a:lnTo>
                  <a:lnTo>
                    <a:pt x="453" y="98"/>
                  </a:lnTo>
                  <a:lnTo>
                    <a:pt x="451" y="96"/>
                  </a:lnTo>
                  <a:lnTo>
                    <a:pt x="449" y="94"/>
                  </a:lnTo>
                  <a:lnTo>
                    <a:pt x="449" y="89"/>
                  </a:lnTo>
                  <a:lnTo>
                    <a:pt x="447" y="85"/>
                  </a:lnTo>
                  <a:lnTo>
                    <a:pt x="447" y="81"/>
                  </a:lnTo>
                  <a:lnTo>
                    <a:pt x="447" y="77"/>
                  </a:lnTo>
                  <a:lnTo>
                    <a:pt x="449" y="75"/>
                  </a:lnTo>
                  <a:lnTo>
                    <a:pt x="449" y="71"/>
                  </a:lnTo>
                  <a:lnTo>
                    <a:pt x="451" y="69"/>
                  </a:lnTo>
                  <a:lnTo>
                    <a:pt x="451" y="66"/>
                  </a:lnTo>
                  <a:lnTo>
                    <a:pt x="453" y="62"/>
                  </a:lnTo>
                  <a:lnTo>
                    <a:pt x="453" y="58"/>
                  </a:lnTo>
                  <a:lnTo>
                    <a:pt x="453" y="56"/>
                  </a:lnTo>
                  <a:lnTo>
                    <a:pt x="451" y="54"/>
                  </a:lnTo>
                  <a:lnTo>
                    <a:pt x="449" y="50"/>
                  </a:lnTo>
                  <a:lnTo>
                    <a:pt x="447" y="48"/>
                  </a:lnTo>
                  <a:lnTo>
                    <a:pt x="444" y="48"/>
                  </a:lnTo>
                  <a:lnTo>
                    <a:pt x="442" y="46"/>
                  </a:lnTo>
                  <a:lnTo>
                    <a:pt x="442" y="45"/>
                  </a:lnTo>
                  <a:lnTo>
                    <a:pt x="442" y="41"/>
                  </a:lnTo>
                  <a:lnTo>
                    <a:pt x="442" y="39"/>
                  </a:lnTo>
                  <a:lnTo>
                    <a:pt x="442" y="37"/>
                  </a:lnTo>
                  <a:lnTo>
                    <a:pt x="442" y="33"/>
                  </a:lnTo>
                  <a:lnTo>
                    <a:pt x="442" y="29"/>
                  </a:lnTo>
                  <a:lnTo>
                    <a:pt x="440" y="2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5" name="Freeform 62"/>
            <p:cNvSpPr>
              <a:spLocks/>
            </p:cNvSpPr>
            <p:nvPr/>
          </p:nvSpPr>
          <p:spPr bwMode="auto">
            <a:xfrm>
              <a:off x="703" y="996"/>
              <a:ext cx="472" cy="315"/>
            </a:xfrm>
            <a:custGeom>
              <a:avLst/>
              <a:gdLst/>
              <a:ahLst/>
              <a:cxnLst>
                <a:cxn ang="0">
                  <a:pos x="419" y="33"/>
                </a:cxn>
                <a:cxn ang="0">
                  <a:pos x="396" y="29"/>
                </a:cxn>
                <a:cxn ang="0">
                  <a:pos x="382" y="25"/>
                </a:cxn>
                <a:cxn ang="0">
                  <a:pos x="351" y="23"/>
                </a:cxn>
                <a:cxn ang="0">
                  <a:pos x="338" y="20"/>
                </a:cxn>
                <a:cxn ang="0">
                  <a:pos x="330" y="4"/>
                </a:cxn>
                <a:cxn ang="0">
                  <a:pos x="319" y="4"/>
                </a:cxn>
                <a:cxn ang="0">
                  <a:pos x="302" y="4"/>
                </a:cxn>
                <a:cxn ang="0">
                  <a:pos x="294" y="20"/>
                </a:cxn>
                <a:cxn ang="0">
                  <a:pos x="286" y="37"/>
                </a:cxn>
                <a:cxn ang="0">
                  <a:pos x="280" y="50"/>
                </a:cxn>
                <a:cxn ang="0">
                  <a:pos x="273" y="60"/>
                </a:cxn>
                <a:cxn ang="0">
                  <a:pos x="259" y="69"/>
                </a:cxn>
                <a:cxn ang="0">
                  <a:pos x="234" y="75"/>
                </a:cxn>
                <a:cxn ang="0">
                  <a:pos x="206" y="81"/>
                </a:cxn>
                <a:cxn ang="0">
                  <a:pos x="188" y="87"/>
                </a:cxn>
                <a:cxn ang="0">
                  <a:pos x="173" y="102"/>
                </a:cxn>
                <a:cxn ang="0">
                  <a:pos x="163" y="116"/>
                </a:cxn>
                <a:cxn ang="0">
                  <a:pos x="158" y="139"/>
                </a:cxn>
                <a:cxn ang="0">
                  <a:pos x="154" y="164"/>
                </a:cxn>
                <a:cxn ang="0">
                  <a:pos x="150" y="187"/>
                </a:cxn>
                <a:cxn ang="0">
                  <a:pos x="160" y="213"/>
                </a:cxn>
                <a:cxn ang="0">
                  <a:pos x="154" y="235"/>
                </a:cxn>
                <a:cxn ang="0">
                  <a:pos x="140" y="246"/>
                </a:cxn>
                <a:cxn ang="0">
                  <a:pos x="127" y="254"/>
                </a:cxn>
                <a:cxn ang="0">
                  <a:pos x="108" y="259"/>
                </a:cxn>
                <a:cxn ang="0">
                  <a:pos x="89" y="267"/>
                </a:cxn>
                <a:cxn ang="0">
                  <a:pos x="75" y="271"/>
                </a:cxn>
                <a:cxn ang="0">
                  <a:pos x="60" y="279"/>
                </a:cxn>
                <a:cxn ang="0">
                  <a:pos x="48" y="284"/>
                </a:cxn>
                <a:cxn ang="0">
                  <a:pos x="25" y="290"/>
                </a:cxn>
                <a:cxn ang="0">
                  <a:pos x="8" y="294"/>
                </a:cxn>
                <a:cxn ang="0">
                  <a:pos x="4" y="306"/>
                </a:cxn>
                <a:cxn ang="0">
                  <a:pos x="184" y="309"/>
                </a:cxn>
                <a:cxn ang="0">
                  <a:pos x="186" y="292"/>
                </a:cxn>
                <a:cxn ang="0">
                  <a:pos x="188" y="273"/>
                </a:cxn>
                <a:cxn ang="0">
                  <a:pos x="204" y="265"/>
                </a:cxn>
                <a:cxn ang="0">
                  <a:pos x="225" y="258"/>
                </a:cxn>
                <a:cxn ang="0">
                  <a:pos x="234" y="246"/>
                </a:cxn>
                <a:cxn ang="0">
                  <a:pos x="254" y="238"/>
                </a:cxn>
                <a:cxn ang="0">
                  <a:pos x="267" y="227"/>
                </a:cxn>
                <a:cxn ang="0">
                  <a:pos x="284" y="231"/>
                </a:cxn>
                <a:cxn ang="0">
                  <a:pos x="300" y="233"/>
                </a:cxn>
                <a:cxn ang="0">
                  <a:pos x="313" y="223"/>
                </a:cxn>
                <a:cxn ang="0">
                  <a:pos x="325" y="211"/>
                </a:cxn>
                <a:cxn ang="0">
                  <a:pos x="338" y="202"/>
                </a:cxn>
                <a:cxn ang="0">
                  <a:pos x="353" y="196"/>
                </a:cxn>
                <a:cxn ang="0">
                  <a:pos x="376" y="187"/>
                </a:cxn>
                <a:cxn ang="0">
                  <a:pos x="374" y="167"/>
                </a:cxn>
                <a:cxn ang="0">
                  <a:pos x="382" y="152"/>
                </a:cxn>
                <a:cxn ang="0">
                  <a:pos x="411" y="144"/>
                </a:cxn>
                <a:cxn ang="0">
                  <a:pos x="426" y="139"/>
                </a:cxn>
                <a:cxn ang="0">
                  <a:pos x="440" y="146"/>
                </a:cxn>
                <a:cxn ang="0">
                  <a:pos x="461" y="146"/>
                </a:cxn>
                <a:cxn ang="0">
                  <a:pos x="467" y="127"/>
                </a:cxn>
                <a:cxn ang="0">
                  <a:pos x="465" y="116"/>
                </a:cxn>
                <a:cxn ang="0">
                  <a:pos x="457" y="106"/>
                </a:cxn>
                <a:cxn ang="0">
                  <a:pos x="449" y="89"/>
                </a:cxn>
                <a:cxn ang="0">
                  <a:pos x="451" y="69"/>
                </a:cxn>
                <a:cxn ang="0">
                  <a:pos x="449" y="50"/>
                </a:cxn>
                <a:cxn ang="0">
                  <a:pos x="442" y="39"/>
                </a:cxn>
              </a:cxnLst>
              <a:rect l="0" t="0" r="r" b="b"/>
              <a:pathLst>
                <a:path w="472" h="315">
                  <a:moveTo>
                    <a:pt x="440" y="29"/>
                  </a:moveTo>
                  <a:lnTo>
                    <a:pt x="426" y="29"/>
                  </a:lnTo>
                  <a:lnTo>
                    <a:pt x="426" y="31"/>
                  </a:lnTo>
                  <a:lnTo>
                    <a:pt x="422" y="31"/>
                  </a:lnTo>
                  <a:lnTo>
                    <a:pt x="420" y="33"/>
                  </a:lnTo>
                  <a:lnTo>
                    <a:pt x="419" y="33"/>
                  </a:lnTo>
                  <a:lnTo>
                    <a:pt x="413" y="33"/>
                  </a:lnTo>
                  <a:lnTo>
                    <a:pt x="405" y="35"/>
                  </a:lnTo>
                  <a:lnTo>
                    <a:pt x="401" y="33"/>
                  </a:lnTo>
                  <a:lnTo>
                    <a:pt x="397" y="33"/>
                  </a:lnTo>
                  <a:lnTo>
                    <a:pt x="396" y="31"/>
                  </a:lnTo>
                  <a:lnTo>
                    <a:pt x="396" y="29"/>
                  </a:lnTo>
                  <a:lnTo>
                    <a:pt x="394" y="27"/>
                  </a:lnTo>
                  <a:lnTo>
                    <a:pt x="392" y="25"/>
                  </a:lnTo>
                  <a:lnTo>
                    <a:pt x="388" y="25"/>
                  </a:lnTo>
                  <a:lnTo>
                    <a:pt x="386" y="23"/>
                  </a:lnTo>
                  <a:lnTo>
                    <a:pt x="384" y="25"/>
                  </a:lnTo>
                  <a:lnTo>
                    <a:pt x="382" y="25"/>
                  </a:lnTo>
                  <a:lnTo>
                    <a:pt x="373" y="27"/>
                  </a:lnTo>
                  <a:lnTo>
                    <a:pt x="361" y="27"/>
                  </a:lnTo>
                  <a:lnTo>
                    <a:pt x="357" y="25"/>
                  </a:lnTo>
                  <a:lnTo>
                    <a:pt x="355" y="25"/>
                  </a:lnTo>
                  <a:lnTo>
                    <a:pt x="353" y="22"/>
                  </a:lnTo>
                  <a:lnTo>
                    <a:pt x="351" y="23"/>
                  </a:lnTo>
                  <a:lnTo>
                    <a:pt x="348" y="23"/>
                  </a:lnTo>
                  <a:lnTo>
                    <a:pt x="346" y="22"/>
                  </a:lnTo>
                  <a:lnTo>
                    <a:pt x="344" y="23"/>
                  </a:lnTo>
                  <a:lnTo>
                    <a:pt x="342" y="22"/>
                  </a:lnTo>
                  <a:lnTo>
                    <a:pt x="340" y="20"/>
                  </a:lnTo>
                  <a:lnTo>
                    <a:pt x="338" y="20"/>
                  </a:lnTo>
                  <a:lnTo>
                    <a:pt x="336" y="18"/>
                  </a:lnTo>
                  <a:lnTo>
                    <a:pt x="336" y="16"/>
                  </a:lnTo>
                  <a:lnTo>
                    <a:pt x="334" y="14"/>
                  </a:lnTo>
                  <a:lnTo>
                    <a:pt x="332" y="14"/>
                  </a:lnTo>
                  <a:lnTo>
                    <a:pt x="332" y="6"/>
                  </a:lnTo>
                  <a:lnTo>
                    <a:pt x="330" y="4"/>
                  </a:lnTo>
                  <a:lnTo>
                    <a:pt x="330" y="2"/>
                  </a:lnTo>
                  <a:lnTo>
                    <a:pt x="328" y="0"/>
                  </a:lnTo>
                  <a:lnTo>
                    <a:pt x="325" y="2"/>
                  </a:lnTo>
                  <a:lnTo>
                    <a:pt x="323" y="2"/>
                  </a:lnTo>
                  <a:lnTo>
                    <a:pt x="321" y="4"/>
                  </a:lnTo>
                  <a:lnTo>
                    <a:pt x="319" y="4"/>
                  </a:lnTo>
                  <a:lnTo>
                    <a:pt x="315" y="4"/>
                  </a:lnTo>
                  <a:lnTo>
                    <a:pt x="311" y="2"/>
                  </a:lnTo>
                  <a:lnTo>
                    <a:pt x="309" y="2"/>
                  </a:lnTo>
                  <a:lnTo>
                    <a:pt x="303" y="0"/>
                  </a:lnTo>
                  <a:lnTo>
                    <a:pt x="303" y="2"/>
                  </a:lnTo>
                  <a:lnTo>
                    <a:pt x="302" y="4"/>
                  </a:lnTo>
                  <a:lnTo>
                    <a:pt x="300" y="6"/>
                  </a:lnTo>
                  <a:lnTo>
                    <a:pt x="298" y="10"/>
                  </a:lnTo>
                  <a:lnTo>
                    <a:pt x="298" y="14"/>
                  </a:lnTo>
                  <a:lnTo>
                    <a:pt x="296" y="14"/>
                  </a:lnTo>
                  <a:lnTo>
                    <a:pt x="296" y="16"/>
                  </a:lnTo>
                  <a:lnTo>
                    <a:pt x="294" y="20"/>
                  </a:lnTo>
                  <a:lnTo>
                    <a:pt x="294" y="22"/>
                  </a:lnTo>
                  <a:lnTo>
                    <a:pt x="290" y="25"/>
                  </a:lnTo>
                  <a:lnTo>
                    <a:pt x="290" y="29"/>
                  </a:lnTo>
                  <a:lnTo>
                    <a:pt x="288" y="33"/>
                  </a:lnTo>
                  <a:lnTo>
                    <a:pt x="286" y="37"/>
                  </a:lnTo>
                  <a:lnTo>
                    <a:pt x="286" y="37"/>
                  </a:lnTo>
                  <a:lnTo>
                    <a:pt x="284" y="39"/>
                  </a:lnTo>
                  <a:lnTo>
                    <a:pt x="284" y="43"/>
                  </a:lnTo>
                  <a:lnTo>
                    <a:pt x="282" y="45"/>
                  </a:lnTo>
                  <a:lnTo>
                    <a:pt x="282" y="46"/>
                  </a:lnTo>
                  <a:lnTo>
                    <a:pt x="280" y="48"/>
                  </a:lnTo>
                  <a:lnTo>
                    <a:pt x="280" y="50"/>
                  </a:lnTo>
                  <a:lnTo>
                    <a:pt x="279" y="50"/>
                  </a:lnTo>
                  <a:lnTo>
                    <a:pt x="279" y="54"/>
                  </a:lnTo>
                  <a:lnTo>
                    <a:pt x="277" y="56"/>
                  </a:lnTo>
                  <a:lnTo>
                    <a:pt x="275" y="56"/>
                  </a:lnTo>
                  <a:lnTo>
                    <a:pt x="273" y="56"/>
                  </a:lnTo>
                  <a:lnTo>
                    <a:pt x="273" y="60"/>
                  </a:lnTo>
                  <a:lnTo>
                    <a:pt x="269" y="60"/>
                  </a:lnTo>
                  <a:lnTo>
                    <a:pt x="267" y="62"/>
                  </a:lnTo>
                  <a:lnTo>
                    <a:pt x="265" y="64"/>
                  </a:lnTo>
                  <a:lnTo>
                    <a:pt x="263" y="66"/>
                  </a:lnTo>
                  <a:lnTo>
                    <a:pt x="261" y="68"/>
                  </a:lnTo>
                  <a:lnTo>
                    <a:pt x="259" y="69"/>
                  </a:lnTo>
                  <a:lnTo>
                    <a:pt x="255" y="69"/>
                  </a:lnTo>
                  <a:lnTo>
                    <a:pt x="252" y="71"/>
                  </a:lnTo>
                  <a:lnTo>
                    <a:pt x="244" y="71"/>
                  </a:lnTo>
                  <a:lnTo>
                    <a:pt x="240" y="71"/>
                  </a:lnTo>
                  <a:lnTo>
                    <a:pt x="238" y="73"/>
                  </a:lnTo>
                  <a:lnTo>
                    <a:pt x="234" y="75"/>
                  </a:lnTo>
                  <a:lnTo>
                    <a:pt x="231" y="75"/>
                  </a:lnTo>
                  <a:lnTo>
                    <a:pt x="227" y="77"/>
                  </a:lnTo>
                  <a:lnTo>
                    <a:pt x="223" y="77"/>
                  </a:lnTo>
                  <a:lnTo>
                    <a:pt x="211" y="77"/>
                  </a:lnTo>
                  <a:lnTo>
                    <a:pt x="209" y="79"/>
                  </a:lnTo>
                  <a:lnTo>
                    <a:pt x="206" y="81"/>
                  </a:lnTo>
                  <a:lnTo>
                    <a:pt x="202" y="81"/>
                  </a:lnTo>
                  <a:lnTo>
                    <a:pt x="198" y="83"/>
                  </a:lnTo>
                  <a:lnTo>
                    <a:pt x="192" y="83"/>
                  </a:lnTo>
                  <a:lnTo>
                    <a:pt x="192" y="85"/>
                  </a:lnTo>
                  <a:lnTo>
                    <a:pt x="188" y="85"/>
                  </a:lnTo>
                  <a:lnTo>
                    <a:pt x="188" y="87"/>
                  </a:lnTo>
                  <a:lnTo>
                    <a:pt x="186" y="89"/>
                  </a:lnTo>
                  <a:lnTo>
                    <a:pt x="183" y="93"/>
                  </a:lnTo>
                  <a:lnTo>
                    <a:pt x="179" y="96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2"/>
                  </a:lnTo>
                  <a:lnTo>
                    <a:pt x="171" y="104"/>
                  </a:lnTo>
                  <a:lnTo>
                    <a:pt x="169" y="104"/>
                  </a:lnTo>
                  <a:lnTo>
                    <a:pt x="167" y="106"/>
                  </a:lnTo>
                  <a:lnTo>
                    <a:pt x="165" y="110"/>
                  </a:lnTo>
                  <a:lnTo>
                    <a:pt x="165" y="114"/>
                  </a:lnTo>
                  <a:lnTo>
                    <a:pt x="163" y="116"/>
                  </a:lnTo>
                  <a:lnTo>
                    <a:pt x="163" y="119"/>
                  </a:lnTo>
                  <a:lnTo>
                    <a:pt x="161" y="123"/>
                  </a:lnTo>
                  <a:lnTo>
                    <a:pt x="161" y="127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58" y="139"/>
                  </a:lnTo>
                  <a:lnTo>
                    <a:pt x="158" y="142"/>
                  </a:lnTo>
                  <a:lnTo>
                    <a:pt x="156" y="148"/>
                  </a:lnTo>
                  <a:lnTo>
                    <a:pt x="156" y="154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54" y="164"/>
                  </a:lnTo>
                  <a:lnTo>
                    <a:pt x="152" y="165"/>
                  </a:lnTo>
                  <a:lnTo>
                    <a:pt x="152" y="167"/>
                  </a:lnTo>
                  <a:lnTo>
                    <a:pt x="150" y="173"/>
                  </a:lnTo>
                  <a:lnTo>
                    <a:pt x="148" y="177"/>
                  </a:lnTo>
                  <a:lnTo>
                    <a:pt x="148" y="183"/>
                  </a:lnTo>
                  <a:lnTo>
                    <a:pt x="150" y="187"/>
                  </a:lnTo>
                  <a:lnTo>
                    <a:pt x="152" y="190"/>
                  </a:lnTo>
                  <a:lnTo>
                    <a:pt x="154" y="192"/>
                  </a:lnTo>
                  <a:lnTo>
                    <a:pt x="156" y="194"/>
                  </a:lnTo>
                  <a:lnTo>
                    <a:pt x="158" y="196"/>
                  </a:lnTo>
                  <a:lnTo>
                    <a:pt x="158" y="202"/>
                  </a:lnTo>
                  <a:lnTo>
                    <a:pt x="160" y="213"/>
                  </a:lnTo>
                  <a:lnTo>
                    <a:pt x="160" y="225"/>
                  </a:lnTo>
                  <a:lnTo>
                    <a:pt x="158" y="227"/>
                  </a:lnTo>
                  <a:lnTo>
                    <a:pt x="158" y="231"/>
                  </a:lnTo>
                  <a:lnTo>
                    <a:pt x="156" y="231"/>
                  </a:lnTo>
                  <a:lnTo>
                    <a:pt x="154" y="233"/>
                  </a:lnTo>
                  <a:lnTo>
                    <a:pt x="154" y="235"/>
                  </a:lnTo>
                  <a:lnTo>
                    <a:pt x="152" y="236"/>
                  </a:lnTo>
                  <a:lnTo>
                    <a:pt x="150" y="238"/>
                  </a:lnTo>
                  <a:lnTo>
                    <a:pt x="148" y="238"/>
                  </a:lnTo>
                  <a:lnTo>
                    <a:pt x="146" y="242"/>
                  </a:lnTo>
                  <a:lnTo>
                    <a:pt x="144" y="246"/>
                  </a:lnTo>
                  <a:lnTo>
                    <a:pt x="140" y="246"/>
                  </a:lnTo>
                  <a:lnTo>
                    <a:pt x="138" y="250"/>
                  </a:lnTo>
                  <a:lnTo>
                    <a:pt x="135" y="250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7" y="256"/>
                  </a:lnTo>
                  <a:lnTo>
                    <a:pt x="121" y="256"/>
                  </a:lnTo>
                  <a:lnTo>
                    <a:pt x="117" y="258"/>
                  </a:lnTo>
                  <a:lnTo>
                    <a:pt x="115" y="258"/>
                  </a:lnTo>
                  <a:lnTo>
                    <a:pt x="112" y="259"/>
                  </a:lnTo>
                  <a:lnTo>
                    <a:pt x="108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0" y="265"/>
                  </a:lnTo>
                  <a:lnTo>
                    <a:pt x="89" y="267"/>
                  </a:lnTo>
                  <a:lnTo>
                    <a:pt x="87" y="267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3" y="271"/>
                  </a:lnTo>
                  <a:lnTo>
                    <a:pt x="73" y="273"/>
                  </a:lnTo>
                  <a:lnTo>
                    <a:pt x="69" y="273"/>
                  </a:lnTo>
                  <a:lnTo>
                    <a:pt x="67" y="277"/>
                  </a:lnTo>
                  <a:lnTo>
                    <a:pt x="64" y="279"/>
                  </a:lnTo>
                  <a:lnTo>
                    <a:pt x="60" y="279"/>
                  </a:lnTo>
                  <a:lnTo>
                    <a:pt x="58" y="281"/>
                  </a:lnTo>
                  <a:lnTo>
                    <a:pt x="54" y="281"/>
                  </a:lnTo>
                  <a:lnTo>
                    <a:pt x="54" y="282"/>
                  </a:lnTo>
                  <a:lnTo>
                    <a:pt x="50" y="282"/>
                  </a:lnTo>
                  <a:lnTo>
                    <a:pt x="50" y="284"/>
                  </a:lnTo>
                  <a:lnTo>
                    <a:pt x="48" y="284"/>
                  </a:lnTo>
                  <a:lnTo>
                    <a:pt x="44" y="284"/>
                  </a:lnTo>
                  <a:lnTo>
                    <a:pt x="39" y="286"/>
                  </a:lnTo>
                  <a:lnTo>
                    <a:pt x="35" y="286"/>
                  </a:lnTo>
                  <a:lnTo>
                    <a:pt x="31" y="288"/>
                  </a:lnTo>
                  <a:lnTo>
                    <a:pt x="29" y="288"/>
                  </a:lnTo>
                  <a:lnTo>
                    <a:pt x="25" y="290"/>
                  </a:lnTo>
                  <a:lnTo>
                    <a:pt x="21" y="290"/>
                  </a:lnTo>
                  <a:lnTo>
                    <a:pt x="16" y="292"/>
                  </a:lnTo>
                  <a:lnTo>
                    <a:pt x="16" y="292"/>
                  </a:lnTo>
                  <a:lnTo>
                    <a:pt x="12" y="292"/>
                  </a:lnTo>
                  <a:lnTo>
                    <a:pt x="12" y="294"/>
                  </a:lnTo>
                  <a:lnTo>
                    <a:pt x="8" y="294"/>
                  </a:lnTo>
                  <a:lnTo>
                    <a:pt x="8" y="296"/>
                  </a:lnTo>
                  <a:lnTo>
                    <a:pt x="8" y="300"/>
                  </a:lnTo>
                  <a:lnTo>
                    <a:pt x="8" y="302"/>
                  </a:lnTo>
                  <a:lnTo>
                    <a:pt x="6" y="304"/>
                  </a:lnTo>
                  <a:lnTo>
                    <a:pt x="6" y="306"/>
                  </a:lnTo>
                  <a:lnTo>
                    <a:pt x="4" y="306"/>
                  </a:lnTo>
                  <a:lnTo>
                    <a:pt x="4" y="309"/>
                  </a:lnTo>
                  <a:lnTo>
                    <a:pt x="2" y="309"/>
                  </a:lnTo>
                  <a:lnTo>
                    <a:pt x="2" y="311"/>
                  </a:lnTo>
                  <a:lnTo>
                    <a:pt x="0" y="315"/>
                  </a:lnTo>
                  <a:lnTo>
                    <a:pt x="186" y="313"/>
                  </a:lnTo>
                  <a:lnTo>
                    <a:pt x="184" y="309"/>
                  </a:lnTo>
                  <a:lnTo>
                    <a:pt x="186" y="306"/>
                  </a:lnTo>
                  <a:lnTo>
                    <a:pt x="186" y="302"/>
                  </a:lnTo>
                  <a:lnTo>
                    <a:pt x="186" y="300"/>
                  </a:lnTo>
                  <a:lnTo>
                    <a:pt x="186" y="296"/>
                  </a:lnTo>
                  <a:lnTo>
                    <a:pt x="186" y="294"/>
                  </a:lnTo>
                  <a:lnTo>
                    <a:pt x="186" y="292"/>
                  </a:lnTo>
                  <a:lnTo>
                    <a:pt x="186" y="288"/>
                  </a:lnTo>
                  <a:lnTo>
                    <a:pt x="186" y="284"/>
                  </a:lnTo>
                  <a:lnTo>
                    <a:pt x="186" y="281"/>
                  </a:lnTo>
                  <a:lnTo>
                    <a:pt x="186" y="277"/>
                  </a:lnTo>
                  <a:lnTo>
                    <a:pt x="186" y="273"/>
                  </a:lnTo>
                  <a:lnTo>
                    <a:pt x="188" y="273"/>
                  </a:lnTo>
                  <a:lnTo>
                    <a:pt x="192" y="271"/>
                  </a:lnTo>
                  <a:lnTo>
                    <a:pt x="196" y="269"/>
                  </a:lnTo>
                  <a:lnTo>
                    <a:pt x="198" y="267"/>
                  </a:lnTo>
                  <a:lnTo>
                    <a:pt x="200" y="265"/>
                  </a:lnTo>
                  <a:lnTo>
                    <a:pt x="202" y="263"/>
                  </a:lnTo>
                  <a:lnTo>
                    <a:pt x="204" y="265"/>
                  </a:lnTo>
                  <a:lnTo>
                    <a:pt x="206" y="263"/>
                  </a:lnTo>
                  <a:lnTo>
                    <a:pt x="213" y="263"/>
                  </a:lnTo>
                  <a:lnTo>
                    <a:pt x="215" y="261"/>
                  </a:lnTo>
                  <a:lnTo>
                    <a:pt x="219" y="261"/>
                  </a:lnTo>
                  <a:lnTo>
                    <a:pt x="221" y="258"/>
                  </a:lnTo>
                  <a:lnTo>
                    <a:pt x="225" y="258"/>
                  </a:lnTo>
                  <a:lnTo>
                    <a:pt x="225" y="256"/>
                  </a:lnTo>
                  <a:lnTo>
                    <a:pt x="229" y="254"/>
                  </a:lnTo>
                  <a:lnTo>
                    <a:pt x="231" y="252"/>
                  </a:lnTo>
                  <a:lnTo>
                    <a:pt x="232" y="252"/>
                  </a:lnTo>
                  <a:lnTo>
                    <a:pt x="234" y="250"/>
                  </a:lnTo>
                  <a:lnTo>
                    <a:pt x="234" y="246"/>
                  </a:lnTo>
                  <a:lnTo>
                    <a:pt x="238" y="242"/>
                  </a:lnTo>
                  <a:lnTo>
                    <a:pt x="242" y="242"/>
                  </a:lnTo>
                  <a:lnTo>
                    <a:pt x="244" y="240"/>
                  </a:lnTo>
                  <a:lnTo>
                    <a:pt x="246" y="240"/>
                  </a:lnTo>
                  <a:lnTo>
                    <a:pt x="250" y="240"/>
                  </a:lnTo>
                  <a:lnTo>
                    <a:pt x="254" y="238"/>
                  </a:lnTo>
                  <a:lnTo>
                    <a:pt x="255" y="236"/>
                  </a:lnTo>
                  <a:lnTo>
                    <a:pt x="257" y="233"/>
                  </a:lnTo>
                  <a:lnTo>
                    <a:pt x="261" y="233"/>
                  </a:lnTo>
                  <a:lnTo>
                    <a:pt x="261" y="229"/>
                  </a:lnTo>
                  <a:lnTo>
                    <a:pt x="265" y="227"/>
                  </a:lnTo>
                  <a:lnTo>
                    <a:pt x="267" y="227"/>
                  </a:lnTo>
                  <a:lnTo>
                    <a:pt x="271" y="227"/>
                  </a:lnTo>
                  <a:lnTo>
                    <a:pt x="273" y="227"/>
                  </a:lnTo>
                  <a:lnTo>
                    <a:pt x="275" y="229"/>
                  </a:lnTo>
                  <a:lnTo>
                    <a:pt x="279" y="229"/>
                  </a:lnTo>
                  <a:lnTo>
                    <a:pt x="282" y="229"/>
                  </a:lnTo>
                  <a:lnTo>
                    <a:pt x="284" y="231"/>
                  </a:lnTo>
                  <a:lnTo>
                    <a:pt x="286" y="231"/>
                  </a:lnTo>
                  <a:lnTo>
                    <a:pt x="290" y="231"/>
                  </a:lnTo>
                  <a:lnTo>
                    <a:pt x="294" y="231"/>
                  </a:lnTo>
                  <a:lnTo>
                    <a:pt x="296" y="231"/>
                  </a:lnTo>
                  <a:lnTo>
                    <a:pt x="296" y="231"/>
                  </a:lnTo>
                  <a:lnTo>
                    <a:pt x="300" y="233"/>
                  </a:lnTo>
                  <a:lnTo>
                    <a:pt x="302" y="231"/>
                  </a:lnTo>
                  <a:lnTo>
                    <a:pt x="303" y="231"/>
                  </a:lnTo>
                  <a:lnTo>
                    <a:pt x="307" y="229"/>
                  </a:lnTo>
                  <a:lnTo>
                    <a:pt x="309" y="229"/>
                  </a:lnTo>
                  <a:lnTo>
                    <a:pt x="313" y="227"/>
                  </a:lnTo>
                  <a:lnTo>
                    <a:pt x="313" y="223"/>
                  </a:lnTo>
                  <a:lnTo>
                    <a:pt x="315" y="221"/>
                  </a:lnTo>
                  <a:lnTo>
                    <a:pt x="317" y="217"/>
                  </a:lnTo>
                  <a:lnTo>
                    <a:pt x="319" y="215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5" y="211"/>
                  </a:lnTo>
                  <a:lnTo>
                    <a:pt x="326" y="210"/>
                  </a:lnTo>
                  <a:lnTo>
                    <a:pt x="330" y="210"/>
                  </a:lnTo>
                  <a:lnTo>
                    <a:pt x="332" y="208"/>
                  </a:lnTo>
                  <a:lnTo>
                    <a:pt x="336" y="206"/>
                  </a:lnTo>
                  <a:lnTo>
                    <a:pt x="336" y="204"/>
                  </a:lnTo>
                  <a:lnTo>
                    <a:pt x="338" y="202"/>
                  </a:lnTo>
                  <a:lnTo>
                    <a:pt x="344" y="202"/>
                  </a:lnTo>
                  <a:lnTo>
                    <a:pt x="344" y="200"/>
                  </a:lnTo>
                  <a:lnTo>
                    <a:pt x="346" y="200"/>
                  </a:lnTo>
                  <a:lnTo>
                    <a:pt x="348" y="196"/>
                  </a:lnTo>
                  <a:lnTo>
                    <a:pt x="351" y="196"/>
                  </a:lnTo>
                  <a:lnTo>
                    <a:pt x="353" y="196"/>
                  </a:lnTo>
                  <a:lnTo>
                    <a:pt x="357" y="194"/>
                  </a:lnTo>
                  <a:lnTo>
                    <a:pt x="363" y="192"/>
                  </a:lnTo>
                  <a:lnTo>
                    <a:pt x="365" y="192"/>
                  </a:lnTo>
                  <a:lnTo>
                    <a:pt x="369" y="190"/>
                  </a:lnTo>
                  <a:lnTo>
                    <a:pt x="376" y="190"/>
                  </a:lnTo>
                  <a:lnTo>
                    <a:pt x="376" y="187"/>
                  </a:lnTo>
                  <a:lnTo>
                    <a:pt x="376" y="183"/>
                  </a:lnTo>
                  <a:lnTo>
                    <a:pt x="376" y="179"/>
                  </a:lnTo>
                  <a:lnTo>
                    <a:pt x="376" y="175"/>
                  </a:lnTo>
                  <a:lnTo>
                    <a:pt x="376" y="173"/>
                  </a:lnTo>
                  <a:lnTo>
                    <a:pt x="374" y="171"/>
                  </a:lnTo>
                  <a:lnTo>
                    <a:pt x="374" y="167"/>
                  </a:lnTo>
                  <a:lnTo>
                    <a:pt x="374" y="164"/>
                  </a:lnTo>
                  <a:lnTo>
                    <a:pt x="374" y="160"/>
                  </a:lnTo>
                  <a:lnTo>
                    <a:pt x="374" y="158"/>
                  </a:lnTo>
                  <a:lnTo>
                    <a:pt x="374" y="154"/>
                  </a:lnTo>
                  <a:lnTo>
                    <a:pt x="378" y="154"/>
                  </a:lnTo>
                  <a:lnTo>
                    <a:pt x="382" y="152"/>
                  </a:lnTo>
                  <a:lnTo>
                    <a:pt x="392" y="152"/>
                  </a:lnTo>
                  <a:lnTo>
                    <a:pt x="396" y="150"/>
                  </a:lnTo>
                  <a:lnTo>
                    <a:pt x="399" y="146"/>
                  </a:lnTo>
                  <a:lnTo>
                    <a:pt x="403" y="144"/>
                  </a:lnTo>
                  <a:lnTo>
                    <a:pt x="407" y="144"/>
                  </a:lnTo>
                  <a:lnTo>
                    <a:pt x="411" y="144"/>
                  </a:lnTo>
                  <a:lnTo>
                    <a:pt x="415" y="144"/>
                  </a:lnTo>
                  <a:lnTo>
                    <a:pt x="419" y="144"/>
                  </a:lnTo>
                  <a:lnTo>
                    <a:pt x="419" y="142"/>
                  </a:lnTo>
                  <a:lnTo>
                    <a:pt x="420" y="140"/>
                  </a:lnTo>
                  <a:lnTo>
                    <a:pt x="422" y="139"/>
                  </a:lnTo>
                  <a:lnTo>
                    <a:pt x="426" y="139"/>
                  </a:lnTo>
                  <a:lnTo>
                    <a:pt x="428" y="139"/>
                  </a:lnTo>
                  <a:lnTo>
                    <a:pt x="430" y="140"/>
                  </a:lnTo>
                  <a:lnTo>
                    <a:pt x="432" y="142"/>
                  </a:lnTo>
                  <a:lnTo>
                    <a:pt x="432" y="144"/>
                  </a:lnTo>
                  <a:lnTo>
                    <a:pt x="438" y="144"/>
                  </a:lnTo>
                  <a:lnTo>
                    <a:pt x="440" y="146"/>
                  </a:lnTo>
                  <a:lnTo>
                    <a:pt x="442" y="146"/>
                  </a:lnTo>
                  <a:lnTo>
                    <a:pt x="445" y="146"/>
                  </a:lnTo>
                  <a:lnTo>
                    <a:pt x="449" y="146"/>
                  </a:lnTo>
                  <a:lnTo>
                    <a:pt x="453" y="146"/>
                  </a:lnTo>
                  <a:lnTo>
                    <a:pt x="457" y="146"/>
                  </a:lnTo>
                  <a:lnTo>
                    <a:pt x="461" y="146"/>
                  </a:lnTo>
                  <a:lnTo>
                    <a:pt x="463" y="142"/>
                  </a:lnTo>
                  <a:lnTo>
                    <a:pt x="463" y="139"/>
                  </a:lnTo>
                  <a:lnTo>
                    <a:pt x="463" y="135"/>
                  </a:lnTo>
                  <a:lnTo>
                    <a:pt x="463" y="133"/>
                  </a:lnTo>
                  <a:lnTo>
                    <a:pt x="465" y="131"/>
                  </a:lnTo>
                  <a:lnTo>
                    <a:pt x="467" y="127"/>
                  </a:lnTo>
                  <a:lnTo>
                    <a:pt x="472" y="127"/>
                  </a:lnTo>
                  <a:lnTo>
                    <a:pt x="470" y="125"/>
                  </a:lnTo>
                  <a:lnTo>
                    <a:pt x="468" y="123"/>
                  </a:lnTo>
                  <a:lnTo>
                    <a:pt x="468" y="119"/>
                  </a:lnTo>
                  <a:lnTo>
                    <a:pt x="467" y="117"/>
                  </a:lnTo>
                  <a:lnTo>
                    <a:pt x="465" y="116"/>
                  </a:lnTo>
                  <a:lnTo>
                    <a:pt x="463" y="114"/>
                  </a:lnTo>
                  <a:lnTo>
                    <a:pt x="461" y="114"/>
                  </a:lnTo>
                  <a:lnTo>
                    <a:pt x="459" y="114"/>
                  </a:lnTo>
                  <a:lnTo>
                    <a:pt x="457" y="112"/>
                  </a:lnTo>
                  <a:lnTo>
                    <a:pt x="457" y="108"/>
                  </a:lnTo>
                  <a:lnTo>
                    <a:pt x="457" y="106"/>
                  </a:lnTo>
                  <a:lnTo>
                    <a:pt x="455" y="104"/>
                  </a:lnTo>
                  <a:lnTo>
                    <a:pt x="455" y="102"/>
                  </a:lnTo>
                  <a:lnTo>
                    <a:pt x="453" y="98"/>
                  </a:lnTo>
                  <a:lnTo>
                    <a:pt x="451" y="96"/>
                  </a:lnTo>
                  <a:lnTo>
                    <a:pt x="449" y="94"/>
                  </a:lnTo>
                  <a:lnTo>
                    <a:pt x="449" y="89"/>
                  </a:lnTo>
                  <a:lnTo>
                    <a:pt x="447" y="85"/>
                  </a:lnTo>
                  <a:lnTo>
                    <a:pt x="447" y="81"/>
                  </a:lnTo>
                  <a:lnTo>
                    <a:pt x="447" y="77"/>
                  </a:lnTo>
                  <a:lnTo>
                    <a:pt x="449" y="75"/>
                  </a:lnTo>
                  <a:lnTo>
                    <a:pt x="449" y="71"/>
                  </a:lnTo>
                  <a:lnTo>
                    <a:pt x="451" y="69"/>
                  </a:lnTo>
                  <a:lnTo>
                    <a:pt x="451" y="66"/>
                  </a:lnTo>
                  <a:lnTo>
                    <a:pt x="453" y="62"/>
                  </a:lnTo>
                  <a:lnTo>
                    <a:pt x="453" y="58"/>
                  </a:lnTo>
                  <a:lnTo>
                    <a:pt x="453" y="56"/>
                  </a:lnTo>
                  <a:lnTo>
                    <a:pt x="451" y="54"/>
                  </a:lnTo>
                  <a:lnTo>
                    <a:pt x="449" y="50"/>
                  </a:lnTo>
                  <a:lnTo>
                    <a:pt x="447" y="48"/>
                  </a:lnTo>
                  <a:lnTo>
                    <a:pt x="444" y="48"/>
                  </a:lnTo>
                  <a:lnTo>
                    <a:pt x="442" y="46"/>
                  </a:lnTo>
                  <a:lnTo>
                    <a:pt x="442" y="45"/>
                  </a:lnTo>
                  <a:lnTo>
                    <a:pt x="442" y="41"/>
                  </a:lnTo>
                  <a:lnTo>
                    <a:pt x="442" y="39"/>
                  </a:lnTo>
                  <a:lnTo>
                    <a:pt x="442" y="37"/>
                  </a:lnTo>
                  <a:lnTo>
                    <a:pt x="442" y="33"/>
                  </a:lnTo>
                  <a:lnTo>
                    <a:pt x="442" y="29"/>
                  </a:lnTo>
                  <a:lnTo>
                    <a:pt x="440" y="29"/>
                  </a:lnTo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6" name="Freeform 63"/>
            <p:cNvSpPr>
              <a:spLocks/>
            </p:cNvSpPr>
            <p:nvPr/>
          </p:nvSpPr>
          <p:spPr bwMode="auto">
            <a:xfrm>
              <a:off x="2127" y="3357"/>
              <a:ext cx="88" cy="80"/>
            </a:xfrm>
            <a:custGeom>
              <a:avLst/>
              <a:gdLst/>
              <a:ahLst/>
              <a:cxnLst>
                <a:cxn ang="0">
                  <a:pos x="15" y="80"/>
                </a:cxn>
                <a:cxn ang="0">
                  <a:pos x="25" y="80"/>
                </a:cxn>
                <a:cxn ang="0">
                  <a:pos x="31" y="80"/>
                </a:cxn>
                <a:cxn ang="0">
                  <a:pos x="35" y="80"/>
                </a:cxn>
                <a:cxn ang="0">
                  <a:pos x="38" y="80"/>
                </a:cxn>
                <a:cxn ang="0">
                  <a:pos x="40" y="80"/>
                </a:cxn>
                <a:cxn ang="0">
                  <a:pos x="46" y="78"/>
                </a:cxn>
                <a:cxn ang="0">
                  <a:pos x="54" y="76"/>
                </a:cxn>
                <a:cxn ang="0">
                  <a:pos x="65" y="71"/>
                </a:cxn>
                <a:cxn ang="0">
                  <a:pos x="69" y="67"/>
                </a:cxn>
                <a:cxn ang="0">
                  <a:pos x="75" y="61"/>
                </a:cxn>
                <a:cxn ang="0">
                  <a:pos x="81" y="55"/>
                </a:cxn>
                <a:cxn ang="0">
                  <a:pos x="83" y="53"/>
                </a:cxn>
                <a:cxn ang="0">
                  <a:pos x="86" y="48"/>
                </a:cxn>
                <a:cxn ang="0">
                  <a:pos x="88" y="44"/>
                </a:cxn>
                <a:cxn ang="0">
                  <a:pos x="88" y="40"/>
                </a:cxn>
                <a:cxn ang="0">
                  <a:pos x="88" y="36"/>
                </a:cxn>
                <a:cxn ang="0">
                  <a:pos x="88" y="34"/>
                </a:cxn>
                <a:cxn ang="0">
                  <a:pos x="88" y="28"/>
                </a:cxn>
                <a:cxn ang="0">
                  <a:pos x="86" y="21"/>
                </a:cxn>
                <a:cxn ang="0">
                  <a:pos x="84" y="15"/>
                </a:cxn>
                <a:cxn ang="0">
                  <a:pos x="83" y="11"/>
                </a:cxn>
                <a:cxn ang="0">
                  <a:pos x="83" y="9"/>
                </a:cxn>
                <a:cxn ang="0">
                  <a:pos x="73" y="3"/>
                </a:cxn>
                <a:cxn ang="0">
                  <a:pos x="67" y="3"/>
                </a:cxn>
                <a:cxn ang="0">
                  <a:pos x="61" y="3"/>
                </a:cxn>
                <a:cxn ang="0">
                  <a:pos x="56" y="2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1" y="3"/>
                </a:cxn>
                <a:cxn ang="0">
                  <a:pos x="25" y="7"/>
                </a:cxn>
                <a:cxn ang="0">
                  <a:pos x="23" y="9"/>
                </a:cxn>
                <a:cxn ang="0">
                  <a:pos x="21" y="15"/>
                </a:cxn>
                <a:cxn ang="0">
                  <a:pos x="19" y="21"/>
                </a:cxn>
                <a:cxn ang="0">
                  <a:pos x="15" y="27"/>
                </a:cxn>
                <a:cxn ang="0">
                  <a:pos x="12" y="30"/>
                </a:cxn>
                <a:cxn ang="0">
                  <a:pos x="8" y="34"/>
                </a:cxn>
                <a:cxn ang="0">
                  <a:pos x="4" y="38"/>
                </a:cxn>
                <a:cxn ang="0">
                  <a:pos x="0" y="42"/>
                </a:cxn>
                <a:cxn ang="0">
                  <a:pos x="0" y="46"/>
                </a:cxn>
                <a:cxn ang="0">
                  <a:pos x="0" y="50"/>
                </a:cxn>
                <a:cxn ang="0">
                  <a:pos x="0" y="53"/>
                </a:cxn>
                <a:cxn ang="0">
                  <a:pos x="0" y="59"/>
                </a:cxn>
                <a:cxn ang="0">
                  <a:pos x="0" y="65"/>
                </a:cxn>
                <a:cxn ang="0">
                  <a:pos x="0" y="67"/>
                </a:cxn>
                <a:cxn ang="0">
                  <a:pos x="2" y="73"/>
                </a:cxn>
                <a:cxn ang="0">
                  <a:pos x="8" y="80"/>
                </a:cxn>
              </a:cxnLst>
              <a:rect l="0" t="0" r="r" b="b"/>
              <a:pathLst>
                <a:path w="88" h="80">
                  <a:moveTo>
                    <a:pt x="10" y="80"/>
                  </a:moveTo>
                  <a:lnTo>
                    <a:pt x="12" y="80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21" y="80"/>
                  </a:lnTo>
                  <a:lnTo>
                    <a:pt x="25" y="80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3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2" y="80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6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0" y="76"/>
                  </a:lnTo>
                  <a:lnTo>
                    <a:pt x="54" y="76"/>
                  </a:lnTo>
                  <a:lnTo>
                    <a:pt x="58" y="74"/>
                  </a:lnTo>
                  <a:lnTo>
                    <a:pt x="59" y="74"/>
                  </a:lnTo>
                  <a:lnTo>
                    <a:pt x="61" y="73"/>
                  </a:lnTo>
                  <a:lnTo>
                    <a:pt x="65" y="71"/>
                  </a:lnTo>
                  <a:lnTo>
                    <a:pt x="67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3" y="65"/>
                  </a:lnTo>
                  <a:lnTo>
                    <a:pt x="75" y="61"/>
                  </a:lnTo>
                  <a:lnTo>
                    <a:pt x="77" y="59"/>
                  </a:lnTo>
                  <a:lnTo>
                    <a:pt x="77" y="57"/>
                  </a:lnTo>
                  <a:lnTo>
                    <a:pt x="79" y="57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4" y="51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8" y="46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5"/>
                  </a:lnTo>
                  <a:lnTo>
                    <a:pt x="88" y="23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1" y="7"/>
                  </a:lnTo>
                  <a:lnTo>
                    <a:pt x="79" y="5"/>
                  </a:lnTo>
                  <a:lnTo>
                    <a:pt x="77" y="3"/>
                  </a:lnTo>
                  <a:lnTo>
                    <a:pt x="73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69" y="3"/>
                  </a:lnTo>
                  <a:lnTo>
                    <a:pt x="67" y="3"/>
                  </a:lnTo>
                  <a:lnTo>
                    <a:pt x="65" y="3"/>
                  </a:lnTo>
                  <a:lnTo>
                    <a:pt x="63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59" y="3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1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3"/>
                  </a:lnTo>
                  <a:lnTo>
                    <a:pt x="21" y="15"/>
                  </a:lnTo>
                  <a:lnTo>
                    <a:pt x="21" y="17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21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5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3"/>
                  </a:lnTo>
                  <a:lnTo>
                    <a:pt x="2" y="74"/>
                  </a:lnTo>
                  <a:lnTo>
                    <a:pt x="4" y="76"/>
                  </a:lnTo>
                  <a:lnTo>
                    <a:pt x="6" y="78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10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7" name="Freeform 64"/>
            <p:cNvSpPr>
              <a:spLocks/>
            </p:cNvSpPr>
            <p:nvPr/>
          </p:nvSpPr>
          <p:spPr bwMode="auto">
            <a:xfrm>
              <a:off x="2127" y="3357"/>
              <a:ext cx="88" cy="80"/>
            </a:xfrm>
            <a:custGeom>
              <a:avLst/>
              <a:gdLst/>
              <a:ahLst/>
              <a:cxnLst>
                <a:cxn ang="0">
                  <a:pos x="15" y="80"/>
                </a:cxn>
                <a:cxn ang="0">
                  <a:pos x="25" y="80"/>
                </a:cxn>
                <a:cxn ang="0">
                  <a:pos x="31" y="80"/>
                </a:cxn>
                <a:cxn ang="0">
                  <a:pos x="35" y="80"/>
                </a:cxn>
                <a:cxn ang="0">
                  <a:pos x="38" y="80"/>
                </a:cxn>
                <a:cxn ang="0">
                  <a:pos x="40" y="80"/>
                </a:cxn>
                <a:cxn ang="0">
                  <a:pos x="46" y="78"/>
                </a:cxn>
                <a:cxn ang="0">
                  <a:pos x="54" y="76"/>
                </a:cxn>
                <a:cxn ang="0">
                  <a:pos x="65" y="71"/>
                </a:cxn>
                <a:cxn ang="0">
                  <a:pos x="69" y="67"/>
                </a:cxn>
                <a:cxn ang="0">
                  <a:pos x="75" y="61"/>
                </a:cxn>
                <a:cxn ang="0">
                  <a:pos x="81" y="55"/>
                </a:cxn>
                <a:cxn ang="0">
                  <a:pos x="83" y="53"/>
                </a:cxn>
                <a:cxn ang="0">
                  <a:pos x="86" y="48"/>
                </a:cxn>
                <a:cxn ang="0">
                  <a:pos x="88" y="44"/>
                </a:cxn>
                <a:cxn ang="0">
                  <a:pos x="88" y="40"/>
                </a:cxn>
                <a:cxn ang="0">
                  <a:pos x="88" y="36"/>
                </a:cxn>
                <a:cxn ang="0">
                  <a:pos x="88" y="34"/>
                </a:cxn>
                <a:cxn ang="0">
                  <a:pos x="88" y="28"/>
                </a:cxn>
                <a:cxn ang="0">
                  <a:pos x="86" y="21"/>
                </a:cxn>
                <a:cxn ang="0">
                  <a:pos x="84" y="15"/>
                </a:cxn>
                <a:cxn ang="0">
                  <a:pos x="83" y="11"/>
                </a:cxn>
                <a:cxn ang="0">
                  <a:pos x="83" y="9"/>
                </a:cxn>
                <a:cxn ang="0">
                  <a:pos x="73" y="3"/>
                </a:cxn>
                <a:cxn ang="0">
                  <a:pos x="67" y="3"/>
                </a:cxn>
                <a:cxn ang="0">
                  <a:pos x="61" y="3"/>
                </a:cxn>
                <a:cxn ang="0">
                  <a:pos x="56" y="2"/>
                </a:cxn>
                <a:cxn ang="0">
                  <a:pos x="50" y="0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8" y="0"/>
                </a:cxn>
                <a:cxn ang="0">
                  <a:pos x="31" y="3"/>
                </a:cxn>
                <a:cxn ang="0">
                  <a:pos x="25" y="7"/>
                </a:cxn>
                <a:cxn ang="0">
                  <a:pos x="23" y="9"/>
                </a:cxn>
                <a:cxn ang="0">
                  <a:pos x="21" y="15"/>
                </a:cxn>
                <a:cxn ang="0">
                  <a:pos x="19" y="21"/>
                </a:cxn>
                <a:cxn ang="0">
                  <a:pos x="15" y="27"/>
                </a:cxn>
                <a:cxn ang="0">
                  <a:pos x="12" y="30"/>
                </a:cxn>
                <a:cxn ang="0">
                  <a:pos x="8" y="34"/>
                </a:cxn>
                <a:cxn ang="0">
                  <a:pos x="4" y="38"/>
                </a:cxn>
                <a:cxn ang="0">
                  <a:pos x="0" y="42"/>
                </a:cxn>
                <a:cxn ang="0">
                  <a:pos x="0" y="46"/>
                </a:cxn>
                <a:cxn ang="0">
                  <a:pos x="0" y="50"/>
                </a:cxn>
                <a:cxn ang="0">
                  <a:pos x="0" y="53"/>
                </a:cxn>
                <a:cxn ang="0">
                  <a:pos x="0" y="59"/>
                </a:cxn>
                <a:cxn ang="0">
                  <a:pos x="0" y="65"/>
                </a:cxn>
                <a:cxn ang="0">
                  <a:pos x="0" y="67"/>
                </a:cxn>
                <a:cxn ang="0">
                  <a:pos x="2" y="73"/>
                </a:cxn>
                <a:cxn ang="0">
                  <a:pos x="8" y="80"/>
                </a:cxn>
              </a:cxnLst>
              <a:rect l="0" t="0" r="r" b="b"/>
              <a:pathLst>
                <a:path w="88" h="80">
                  <a:moveTo>
                    <a:pt x="10" y="80"/>
                  </a:moveTo>
                  <a:lnTo>
                    <a:pt x="12" y="80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21" y="80"/>
                  </a:lnTo>
                  <a:lnTo>
                    <a:pt x="25" y="80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31" y="80"/>
                  </a:lnTo>
                  <a:lnTo>
                    <a:pt x="31" y="80"/>
                  </a:lnTo>
                  <a:lnTo>
                    <a:pt x="33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2" y="80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6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0" y="76"/>
                  </a:lnTo>
                  <a:lnTo>
                    <a:pt x="54" y="76"/>
                  </a:lnTo>
                  <a:lnTo>
                    <a:pt x="58" y="74"/>
                  </a:lnTo>
                  <a:lnTo>
                    <a:pt x="59" y="74"/>
                  </a:lnTo>
                  <a:lnTo>
                    <a:pt x="61" y="73"/>
                  </a:lnTo>
                  <a:lnTo>
                    <a:pt x="65" y="71"/>
                  </a:lnTo>
                  <a:lnTo>
                    <a:pt x="67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3" y="65"/>
                  </a:lnTo>
                  <a:lnTo>
                    <a:pt x="75" y="61"/>
                  </a:lnTo>
                  <a:lnTo>
                    <a:pt x="77" y="59"/>
                  </a:lnTo>
                  <a:lnTo>
                    <a:pt x="77" y="57"/>
                  </a:lnTo>
                  <a:lnTo>
                    <a:pt x="79" y="57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4" y="51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8" y="46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28"/>
                  </a:lnTo>
                  <a:lnTo>
                    <a:pt x="88" y="25"/>
                  </a:lnTo>
                  <a:lnTo>
                    <a:pt x="88" y="23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1" y="7"/>
                  </a:lnTo>
                  <a:lnTo>
                    <a:pt x="79" y="5"/>
                  </a:lnTo>
                  <a:lnTo>
                    <a:pt x="77" y="3"/>
                  </a:lnTo>
                  <a:lnTo>
                    <a:pt x="73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69" y="3"/>
                  </a:lnTo>
                  <a:lnTo>
                    <a:pt x="67" y="3"/>
                  </a:lnTo>
                  <a:lnTo>
                    <a:pt x="65" y="3"/>
                  </a:lnTo>
                  <a:lnTo>
                    <a:pt x="63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59" y="3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6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1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7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3"/>
                  </a:lnTo>
                  <a:lnTo>
                    <a:pt x="21" y="15"/>
                  </a:lnTo>
                  <a:lnTo>
                    <a:pt x="21" y="17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21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5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30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8" y="32"/>
                  </a:lnTo>
                  <a:lnTo>
                    <a:pt x="8" y="34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3"/>
                  </a:lnTo>
                  <a:lnTo>
                    <a:pt x="0" y="5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9"/>
                  </a:lnTo>
                  <a:lnTo>
                    <a:pt x="0" y="61"/>
                  </a:lnTo>
                  <a:lnTo>
                    <a:pt x="0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3"/>
                  </a:lnTo>
                  <a:lnTo>
                    <a:pt x="2" y="74"/>
                  </a:lnTo>
                  <a:lnTo>
                    <a:pt x="4" y="76"/>
                  </a:lnTo>
                  <a:lnTo>
                    <a:pt x="6" y="78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10" y="8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8" name="Freeform 65"/>
            <p:cNvSpPr>
              <a:spLocks/>
            </p:cNvSpPr>
            <p:nvPr/>
          </p:nvSpPr>
          <p:spPr bwMode="auto">
            <a:xfrm>
              <a:off x="563" y="1309"/>
              <a:ext cx="330" cy="242"/>
            </a:xfrm>
            <a:custGeom>
              <a:avLst/>
              <a:gdLst/>
              <a:ahLst/>
              <a:cxnLst>
                <a:cxn ang="0">
                  <a:pos x="323" y="21"/>
                </a:cxn>
                <a:cxn ang="0">
                  <a:pos x="321" y="42"/>
                </a:cxn>
                <a:cxn ang="0">
                  <a:pos x="317" y="50"/>
                </a:cxn>
                <a:cxn ang="0">
                  <a:pos x="303" y="54"/>
                </a:cxn>
                <a:cxn ang="0">
                  <a:pos x="273" y="58"/>
                </a:cxn>
                <a:cxn ang="0">
                  <a:pos x="242" y="62"/>
                </a:cxn>
                <a:cxn ang="0">
                  <a:pos x="207" y="62"/>
                </a:cxn>
                <a:cxn ang="0">
                  <a:pos x="211" y="81"/>
                </a:cxn>
                <a:cxn ang="0">
                  <a:pos x="213" y="113"/>
                </a:cxn>
                <a:cxn ang="0">
                  <a:pos x="213" y="148"/>
                </a:cxn>
                <a:cxn ang="0">
                  <a:pos x="202" y="150"/>
                </a:cxn>
                <a:cxn ang="0">
                  <a:pos x="186" y="156"/>
                </a:cxn>
                <a:cxn ang="0">
                  <a:pos x="173" y="163"/>
                </a:cxn>
                <a:cxn ang="0">
                  <a:pos x="163" y="169"/>
                </a:cxn>
                <a:cxn ang="0">
                  <a:pos x="156" y="184"/>
                </a:cxn>
                <a:cxn ang="0">
                  <a:pos x="154" y="211"/>
                </a:cxn>
                <a:cxn ang="0">
                  <a:pos x="148" y="223"/>
                </a:cxn>
                <a:cxn ang="0">
                  <a:pos x="133" y="227"/>
                </a:cxn>
                <a:cxn ang="0">
                  <a:pos x="92" y="227"/>
                </a:cxn>
                <a:cxn ang="0">
                  <a:pos x="52" y="227"/>
                </a:cxn>
                <a:cxn ang="0">
                  <a:pos x="27" y="229"/>
                </a:cxn>
                <a:cxn ang="0">
                  <a:pos x="6" y="229"/>
                </a:cxn>
                <a:cxn ang="0">
                  <a:pos x="6" y="236"/>
                </a:cxn>
                <a:cxn ang="0">
                  <a:pos x="0" y="242"/>
                </a:cxn>
                <a:cxn ang="0">
                  <a:pos x="2" y="213"/>
                </a:cxn>
                <a:cxn ang="0">
                  <a:pos x="12" y="179"/>
                </a:cxn>
                <a:cxn ang="0">
                  <a:pos x="23" y="159"/>
                </a:cxn>
                <a:cxn ang="0">
                  <a:pos x="35" y="150"/>
                </a:cxn>
                <a:cxn ang="0">
                  <a:pos x="62" y="127"/>
                </a:cxn>
                <a:cxn ang="0">
                  <a:pos x="75" y="110"/>
                </a:cxn>
                <a:cxn ang="0">
                  <a:pos x="83" y="92"/>
                </a:cxn>
                <a:cxn ang="0">
                  <a:pos x="88" y="81"/>
                </a:cxn>
                <a:cxn ang="0">
                  <a:pos x="98" y="54"/>
                </a:cxn>
                <a:cxn ang="0">
                  <a:pos x="125" y="25"/>
                </a:cxn>
                <a:cxn ang="0">
                  <a:pos x="142" y="2"/>
                </a:cxn>
                <a:cxn ang="0">
                  <a:pos x="328" y="6"/>
                </a:cxn>
                <a:cxn ang="0">
                  <a:pos x="326" y="10"/>
                </a:cxn>
              </a:cxnLst>
              <a:rect l="0" t="0" r="r" b="b"/>
              <a:pathLst>
                <a:path w="330" h="242">
                  <a:moveTo>
                    <a:pt x="326" y="10"/>
                  </a:moveTo>
                  <a:lnTo>
                    <a:pt x="323" y="21"/>
                  </a:lnTo>
                  <a:lnTo>
                    <a:pt x="321" y="31"/>
                  </a:lnTo>
                  <a:lnTo>
                    <a:pt x="321" y="42"/>
                  </a:lnTo>
                  <a:lnTo>
                    <a:pt x="321" y="52"/>
                  </a:lnTo>
                  <a:lnTo>
                    <a:pt x="317" y="50"/>
                  </a:lnTo>
                  <a:lnTo>
                    <a:pt x="313" y="52"/>
                  </a:lnTo>
                  <a:lnTo>
                    <a:pt x="303" y="54"/>
                  </a:lnTo>
                  <a:lnTo>
                    <a:pt x="288" y="56"/>
                  </a:lnTo>
                  <a:lnTo>
                    <a:pt x="273" y="58"/>
                  </a:lnTo>
                  <a:lnTo>
                    <a:pt x="257" y="62"/>
                  </a:lnTo>
                  <a:lnTo>
                    <a:pt x="242" y="62"/>
                  </a:lnTo>
                  <a:lnTo>
                    <a:pt x="225" y="62"/>
                  </a:lnTo>
                  <a:lnTo>
                    <a:pt x="207" y="62"/>
                  </a:lnTo>
                  <a:lnTo>
                    <a:pt x="209" y="71"/>
                  </a:lnTo>
                  <a:lnTo>
                    <a:pt x="211" y="81"/>
                  </a:lnTo>
                  <a:lnTo>
                    <a:pt x="213" y="96"/>
                  </a:lnTo>
                  <a:lnTo>
                    <a:pt x="213" y="113"/>
                  </a:lnTo>
                  <a:lnTo>
                    <a:pt x="215" y="133"/>
                  </a:lnTo>
                  <a:lnTo>
                    <a:pt x="213" y="148"/>
                  </a:lnTo>
                  <a:lnTo>
                    <a:pt x="209" y="148"/>
                  </a:lnTo>
                  <a:lnTo>
                    <a:pt x="202" y="150"/>
                  </a:lnTo>
                  <a:lnTo>
                    <a:pt x="194" y="154"/>
                  </a:lnTo>
                  <a:lnTo>
                    <a:pt x="186" y="156"/>
                  </a:lnTo>
                  <a:lnTo>
                    <a:pt x="179" y="161"/>
                  </a:lnTo>
                  <a:lnTo>
                    <a:pt x="173" y="163"/>
                  </a:lnTo>
                  <a:lnTo>
                    <a:pt x="167" y="167"/>
                  </a:lnTo>
                  <a:lnTo>
                    <a:pt x="163" y="169"/>
                  </a:lnTo>
                  <a:lnTo>
                    <a:pt x="159" y="175"/>
                  </a:lnTo>
                  <a:lnTo>
                    <a:pt x="156" y="184"/>
                  </a:lnTo>
                  <a:lnTo>
                    <a:pt x="154" y="194"/>
                  </a:lnTo>
                  <a:lnTo>
                    <a:pt x="154" y="211"/>
                  </a:lnTo>
                  <a:lnTo>
                    <a:pt x="152" y="217"/>
                  </a:lnTo>
                  <a:lnTo>
                    <a:pt x="148" y="223"/>
                  </a:lnTo>
                  <a:lnTo>
                    <a:pt x="140" y="225"/>
                  </a:lnTo>
                  <a:lnTo>
                    <a:pt x="133" y="227"/>
                  </a:lnTo>
                  <a:lnTo>
                    <a:pt x="113" y="227"/>
                  </a:lnTo>
                  <a:lnTo>
                    <a:pt x="92" y="227"/>
                  </a:lnTo>
                  <a:lnTo>
                    <a:pt x="71" y="227"/>
                  </a:lnTo>
                  <a:lnTo>
                    <a:pt x="52" y="227"/>
                  </a:lnTo>
                  <a:lnTo>
                    <a:pt x="41" y="229"/>
                  </a:lnTo>
                  <a:lnTo>
                    <a:pt x="27" y="229"/>
                  </a:lnTo>
                  <a:lnTo>
                    <a:pt x="16" y="229"/>
                  </a:lnTo>
                  <a:lnTo>
                    <a:pt x="6" y="229"/>
                  </a:lnTo>
                  <a:lnTo>
                    <a:pt x="6" y="232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0" y="242"/>
                  </a:lnTo>
                  <a:lnTo>
                    <a:pt x="2" y="227"/>
                  </a:lnTo>
                  <a:lnTo>
                    <a:pt x="2" y="213"/>
                  </a:lnTo>
                  <a:lnTo>
                    <a:pt x="6" y="196"/>
                  </a:lnTo>
                  <a:lnTo>
                    <a:pt x="12" y="179"/>
                  </a:lnTo>
                  <a:lnTo>
                    <a:pt x="17" y="169"/>
                  </a:lnTo>
                  <a:lnTo>
                    <a:pt x="23" y="159"/>
                  </a:lnTo>
                  <a:lnTo>
                    <a:pt x="29" y="154"/>
                  </a:lnTo>
                  <a:lnTo>
                    <a:pt x="35" y="150"/>
                  </a:lnTo>
                  <a:lnTo>
                    <a:pt x="48" y="138"/>
                  </a:lnTo>
                  <a:lnTo>
                    <a:pt x="62" y="127"/>
                  </a:lnTo>
                  <a:lnTo>
                    <a:pt x="67" y="119"/>
                  </a:lnTo>
                  <a:lnTo>
                    <a:pt x="75" y="110"/>
                  </a:lnTo>
                  <a:lnTo>
                    <a:pt x="81" y="102"/>
                  </a:lnTo>
                  <a:lnTo>
                    <a:pt x="83" y="92"/>
                  </a:lnTo>
                  <a:lnTo>
                    <a:pt x="85" y="87"/>
                  </a:lnTo>
                  <a:lnTo>
                    <a:pt x="88" y="81"/>
                  </a:lnTo>
                  <a:lnTo>
                    <a:pt x="92" y="67"/>
                  </a:lnTo>
                  <a:lnTo>
                    <a:pt x="98" y="54"/>
                  </a:lnTo>
                  <a:lnTo>
                    <a:pt x="110" y="39"/>
                  </a:lnTo>
                  <a:lnTo>
                    <a:pt x="125" y="25"/>
                  </a:lnTo>
                  <a:lnTo>
                    <a:pt x="135" y="14"/>
                  </a:lnTo>
                  <a:lnTo>
                    <a:pt x="142" y="2"/>
                  </a:lnTo>
                  <a:lnTo>
                    <a:pt x="326" y="0"/>
                  </a:lnTo>
                  <a:lnTo>
                    <a:pt x="328" y="6"/>
                  </a:lnTo>
                  <a:lnTo>
                    <a:pt x="330" y="8"/>
                  </a:lnTo>
                  <a:lnTo>
                    <a:pt x="326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79" name="Freeform 66"/>
            <p:cNvSpPr>
              <a:spLocks/>
            </p:cNvSpPr>
            <p:nvPr/>
          </p:nvSpPr>
          <p:spPr bwMode="auto">
            <a:xfrm>
              <a:off x="563" y="1309"/>
              <a:ext cx="330" cy="242"/>
            </a:xfrm>
            <a:custGeom>
              <a:avLst/>
              <a:gdLst/>
              <a:ahLst/>
              <a:cxnLst>
                <a:cxn ang="0">
                  <a:pos x="323" y="21"/>
                </a:cxn>
                <a:cxn ang="0">
                  <a:pos x="321" y="42"/>
                </a:cxn>
                <a:cxn ang="0">
                  <a:pos x="317" y="50"/>
                </a:cxn>
                <a:cxn ang="0">
                  <a:pos x="303" y="54"/>
                </a:cxn>
                <a:cxn ang="0">
                  <a:pos x="273" y="58"/>
                </a:cxn>
                <a:cxn ang="0">
                  <a:pos x="242" y="62"/>
                </a:cxn>
                <a:cxn ang="0">
                  <a:pos x="207" y="62"/>
                </a:cxn>
                <a:cxn ang="0">
                  <a:pos x="211" y="81"/>
                </a:cxn>
                <a:cxn ang="0">
                  <a:pos x="213" y="113"/>
                </a:cxn>
                <a:cxn ang="0">
                  <a:pos x="213" y="148"/>
                </a:cxn>
                <a:cxn ang="0">
                  <a:pos x="202" y="150"/>
                </a:cxn>
                <a:cxn ang="0">
                  <a:pos x="186" y="156"/>
                </a:cxn>
                <a:cxn ang="0">
                  <a:pos x="173" y="163"/>
                </a:cxn>
                <a:cxn ang="0">
                  <a:pos x="163" y="169"/>
                </a:cxn>
                <a:cxn ang="0">
                  <a:pos x="156" y="184"/>
                </a:cxn>
                <a:cxn ang="0">
                  <a:pos x="154" y="211"/>
                </a:cxn>
                <a:cxn ang="0">
                  <a:pos x="148" y="223"/>
                </a:cxn>
                <a:cxn ang="0">
                  <a:pos x="133" y="227"/>
                </a:cxn>
                <a:cxn ang="0">
                  <a:pos x="92" y="227"/>
                </a:cxn>
                <a:cxn ang="0">
                  <a:pos x="52" y="227"/>
                </a:cxn>
                <a:cxn ang="0">
                  <a:pos x="27" y="229"/>
                </a:cxn>
                <a:cxn ang="0">
                  <a:pos x="6" y="229"/>
                </a:cxn>
                <a:cxn ang="0">
                  <a:pos x="6" y="236"/>
                </a:cxn>
                <a:cxn ang="0">
                  <a:pos x="0" y="242"/>
                </a:cxn>
                <a:cxn ang="0">
                  <a:pos x="2" y="213"/>
                </a:cxn>
                <a:cxn ang="0">
                  <a:pos x="12" y="179"/>
                </a:cxn>
                <a:cxn ang="0">
                  <a:pos x="23" y="159"/>
                </a:cxn>
                <a:cxn ang="0">
                  <a:pos x="35" y="150"/>
                </a:cxn>
                <a:cxn ang="0">
                  <a:pos x="62" y="127"/>
                </a:cxn>
                <a:cxn ang="0">
                  <a:pos x="75" y="110"/>
                </a:cxn>
                <a:cxn ang="0">
                  <a:pos x="83" y="92"/>
                </a:cxn>
                <a:cxn ang="0">
                  <a:pos x="88" y="81"/>
                </a:cxn>
                <a:cxn ang="0">
                  <a:pos x="98" y="54"/>
                </a:cxn>
                <a:cxn ang="0">
                  <a:pos x="125" y="25"/>
                </a:cxn>
                <a:cxn ang="0">
                  <a:pos x="142" y="2"/>
                </a:cxn>
                <a:cxn ang="0">
                  <a:pos x="328" y="6"/>
                </a:cxn>
                <a:cxn ang="0">
                  <a:pos x="326" y="10"/>
                </a:cxn>
              </a:cxnLst>
              <a:rect l="0" t="0" r="r" b="b"/>
              <a:pathLst>
                <a:path w="330" h="242">
                  <a:moveTo>
                    <a:pt x="326" y="10"/>
                  </a:moveTo>
                  <a:lnTo>
                    <a:pt x="323" y="21"/>
                  </a:lnTo>
                  <a:lnTo>
                    <a:pt x="321" y="31"/>
                  </a:lnTo>
                  <a:lnTo>
                    <a:pt x="321" y="42"/>
                  </a:lnTo>
                  <a:lnTo>
                    <a:pt x="321" y="52"/>
                  </a:lnTo>
                  <a:lnTo>
                    <a:pt x="317" y="50"/>
                  </a:lnTo>
                  <a:lnTo>
                    <a:pt x="313" y="52"/>
                  </a:lnTo>
                  <a:lnTo>
                    <a:pt x="303" y="54"/>
                  </a:lnTo>
                  <a:lnTo>
                    <a:pt x="288" y="56"/>
                  </a:lnTo>
                  <a:lnTo>
                    <a:pt x="273" y="58"/>
                  </a:lnTo>
                  <a:lnTo>
                    <a:pt x="257" y="62"/>
                  </a:lnTo>
                  <a:lnTo>
                    <a:pt x="242" y="62"/>
                  </a:lnTo>
                  <a:lnTo>
                    <a:pt x="225" y="62"/>
                  </a:lnTo>
                  <a:lnTo>
                    <a:pt x="207" y="62"/>
                  </a:lnTo>
                  <a:lnTo>
                    <a:pt x="209" y="71"/>
                  </a:lnTo>
                  <a:lnTo>
                    <a:pt x="211" y="81"/>
                  </a:lnTo>
                  <a:lnTo>
                    <a:pt x="213" y="96"/>
                  </a:lnTo>
                  <a:lnTo>
                    <a:pt x="213" y="113"/>
                  </a:lnTo>
                  <a:lnTo>
                    <a:pt x="215" y="133"/>
                  </a:lnTo>
                  <a:lnTo>
                    <a:pt x="213" y="148"/>
                  </a:lnTo>
                  <a:lnTo>
                    <a:pt x="209" y="148"/>
                  </a:lnTo>
                  <a:lnTo>
                    <a:pt x="202" y="150"/>
                  </a:lnTo>
                  <a:lnTo>
                    <a:pt x="194" y="154"/>
                  </a:lnTo>
                  <a:lnTo>
                    <a:pt x="186" y="156"/>
                  </a:lnTo>
                  <a:lnTo>
                    <a:pt x="179" y="161"/>
                  </a:lnTo>
                  <a:lnTo>
                    <a:pt x="173" y="163"/>
                  </a:lnTo>
                  <a:lnTo>
                    <a:pt x="167" y="167"/>
                  </a:lnTo>
                  <a:lnTo>
                    <a:pt x="163" y="169"/>
                  </a:lnTo>
                  <a:lnTo>
                    <a:pt x="159" y="175"/>
                  </a:lnTo>
                  <a:lnTo>
                    <a:pt x="156" y="184"/>
                  </a:lnTo>
                  <a:lnTo>
                    <a:pt x="154" y="194"/>
                  </a:lnTo>
                  <a:lnTo>
                    <a:pt x="154" y="211"/>
                  </a:lnTo>
                  <a:lnTo>
                    <a:pt x="152" y="217"/>
                  </a:lnTo>
                  <a:lnTo>
                    <a:pt x="148" y="223"/>
                  </a:lnTo>
                  <a:lnTo>
                    <a:pt x="140" y="225"/>
                  </a:lnTo>
                  <a:lnTo>
                    <a:pt x="133" y="227"/>
                  </a:lnTo>
                  <a:lnTo>
                    <a:pt x="113" y="227"/>
                  </a:lnTo>
                  <a:lnTo>
                    <a:pt x="92" y="227"/>
                  </a:lnTo>
                  <a:lnTo>
                    <a:pt x="71" y="227"/>
                  </a:lnTo>
                  <a:lnTo>
                    <a:pt x="52" y="227"/>
                  </a:lnTo>
                  <a:lnTo>
                    <a:pt x="41" y="229"/>
                  </a:lnTo>
                  <a:lnTo>
                    <a:pt x="27" y="229"/>
                  </a:lnTo>
                  <a:lnTo>
                    <a:pt x="16" y="229"/>
                  </a:lnTo>
                  <a:lnTo>
                    <a:pt x="6" y="229"/>
                  </a:lnTo>
                  <a:lnTo>
                    <a:pt x="6" y="232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0" y="242"/>
                  </a:lnTo>
                  <a:lnTo>
                    <a:pt x="2" y="227"/>
                  </a:lnTo>
                  <a:lnTo>
                    <a:pt x="2" y="213"/>
                  </a:lnTo>
                  <a:lnTo>
                    <a:pt x="6" y="196"/>
                  </a:lnTo>
                  <a:lnTo>
                    <a:pt x="12" y="179"/>
                  </a:lnTo>
                  <a:lnTo>
                    <a:pt x="17" y="169"/>
                  </a:lnTo>
                  <a:lnTo>
                    <a:pt x="23" y="159"/>
                  </a:lnTo>
                  <a:lnTo>
                    <a:pt x="29" y="154"/>
                  </a:lnTo>
                  <a:lnTo>
                    <a:pt x="35" y="150"/>
                  </a:lnTo>
                  <a:lnTo>
                    <a:pt x="48" y="138"/>
                  </a:lnTo>
                  <a:lnTo>
                    <a:pt x="62" y="127"/>
                  </a:lnTo>
                  <a:lnTo>
                    <a:pt x="67" y="119"/>
                  </a:lnTo>
                  <a:lnTo>
                    <a:pt x="75" y="110"/>
                  </a:lnTo>
                  <a:lnTo>
                    <a:pt x="81" y="102"/>
                  </a:lnTo>
                  <a:lnTo>
                    <a:pt x="83" y="92"/>
                  </a:lnTo>
                  <a:lnTo>
                    <a:pt x="85" y="87"/>
                  </a:lnTo>
                  <a:lnTo>
                    <a:pt x="88" y="81"/>
                  </a:lnTo>
                  <a:lnTo>
                    <a:pt x="92" y="67"/>
                  </a:lnTo>
                  <a:lnTo>
                    <a:pt x="98" y="54"/>
                  </a:lnTo>
                  <a:lnTo>
                    <a:pt x="110" y="39"/>
                  </a:lnTo>
                  <a:lnTo>
                    <a:pt x="125" y="25"/>
                  </a:lnTo>
                  <a:lnTo>
                    <a:pt x="135" y="14"/>
                  </a:lnTo>
                  <a:lnTo>
                    <a:pt x="142" y="2"/>
                  </a:lnTo>
                  <a:lnTo>
                    <a:pt x="326" y="0"/>
                  </a:lnTo>
                  <a:lnTo>
                    <a:pt x="328" y="6"/>
                  </a:lnTo>
                  <a:lnTo>
                    <a:pt x="330" y="8"/>
                  </a:lnTo>
                  <a:lnTo>
                    <a:pt x="326" y="10"/>
                  </a:lnTo>
                </a:path>
              </a:pathLst>
            </a:custGeom>
            <a:solidFill>
              <a:srgbClr val="FF0000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0" name="Freeform 67"/>
            <p:cNvSpPr>
              <a:spLocks/>
            </p:cNvSpPr>
            <p:nvPr/>
          </p:nvSpPr>
          <p:spPr bwMode="auto">
            <a:xfrm>
              <a:off x="565" y="1319"/>
              <a:ext cx="453" cy="464"/>
            </a:xfrm>
            <a:custGeom>
              <a:avLst/>
              <a:gdLst/>
              <a:ahLst/>
              <a:cxnLst>
                <a:cxn ang="0">
                  <a:pos x="403" y="384"/>
                </a:cxn>
                <a:cxn ang="0">
                  <a:pos x="261" y="426"/>
                </a:cxn>
                <a:cxn ang="0">
                  <a:pos x="246" y="422"/>
                </a:cxn>
                <a:cxn ang="0">
                  <a:pos x="238" y="430"/>
                </a:cxn>
                <a:cxn ang="0">
                  <a:pos x="227" y="432"/>
                </a:cxn>
                <a:cxn ang="0">
                  <a:pos x="217" y="420"/>
                </a:cxn>
                <a:cxn ang="0">
                  <a:pos x="205" y="422"/>
                </a:cxn>
                <a:cxn ang="0">
                  <a:pos x="198" y="430"/>
                </a:cxn>
                <a:cxn ang="0">
                  <a:pos x="194" y="439"/>
                </a:cxn>
                <a:cxn ang="0">
                  <a:pos x="186" y="453"/>
                </a:cxn>
                <a:cxn ang="0">
                  <a:pos x="165" y="464"/>
                </a:cxn>
                <a:cxn ang="0">
                  <a:pos x="157" y="451"/>
                </a:cxn>
                <a:cxn ang="0">
                  <a:pos x="148" y="433"/>
                </a:cxn>
                <a:cxn ang="0">
                  <a:pos x="134" y="420"/>
                </a:cxn>
                <a:cxn ang="0">
                  <a:pos x="121" y="409"/>
                </a:cxn>
                <a:cxn ang="0">
                  <a:pos x="110" y="395"/>
                </a:cxn>
                <a:cxn ang="0">
                  <a:pos x="92" y="393"/>
                </a:cxn>
                <a:cxn ang="0">
                  <a:pos x="62" y="393"/>
                </a:cxn>
                <a:cxn ang="0">
                  <a:pos x="42" y="393"/>
                </a:cxn>
                <a:cxn ang="0">
                  <a:pos x="29" y="391"/>
                </a:cxn>
                <a:cxn ang="0">
                  <a:pos x="19" y="395"/>
                </a:cxn>
                <a:cxn ang="0">
                  <a:pos x="10" y="401"/>
                </a:cxn>
                <a:cxn ang="0">
                  <a:pos x="2" y="407"/>
                </a:cxn>
                <a:cxn ang="0">
                  <a:pos x="10" y="395"/>
                </a:cxn>
                <a:cxn ang="0">
                  <a:pos x="14" y="380"/>
                </a:cxn>
                <a:cxn ang="0">
                  <a:pos x="21" y="357"/>
                </a:cxn>
                <a:cxn ang="0">
                  <a:pos x="23" y="341"/>
                </a:cxn>
                <a:cxn ang="0">
                  <a:pos x="27" y="330"/>
                </a:cxn>
                <a:cxn ang="0">
                  <a:pos x="21" y="320"/>
                </a:cxn>
                <a:cxn ang="0">
                  <a:pos x="14" y="313"/>
                </a:cxn>
                <a:cxn ang="0">
                  <a:pos x="12" y="303"/>
                </a:cxn>
                <a:cxn ang="0">
                  <a:pos x="17" y="291"/>
                </a:cxn>
                <a:cxn ang="0">
                  <a:pos x="17" y="278"/>
                </a:cxn>
                <a:cxn ang="0">
                  <a:pos x="17" y="265"/>
                </a:cxn>
                <a:cxn ang="0">
                  <a:pos x="15" y="261"/>
                </a:cxn>
                <a:cxn ang="0">
                  <a:pos x="15" y="259"/>
                </a:cxn>
                <a:cxn ang="0">
                  <a:pos x="12" y="253"/>
                </a:cxn>
                <a:cxn ang="0">
                  <a:pos x="10" y="251"/>
                </a:cxn>
                <a:cxn ang="0">
                  <a:pos x="6" y="247"/>
                </a:cxn>
                <a:cxn ang="0">
                  <a:pos x="6" y="245"/>
                </a:cxn>
                <a:cxn ang="0">
                  <a:pos x="6" y="242"/>
                </a:cxn>
                <a:cxn ang="0">
                  <a:pos x="6" y="242"/>
                </a:cxn>
                <a:cxn ang="0">
                  <a:pos x="2" y="240"/>
                </a:cxn>
                <a:cxn ang="0">
                  <a:pos x="2" y="236"/>
                </a:cxn>
                <a:cxn ang="0">
                  <a:pos x="0" y="234"/>
                </a:cxn>
                <a:cxn ang="0">
                  <a:pos x="0" y="232"/>
                </a:cxn>
                <a:cxn ang="0">
                  <a:pos x="2" y="230"/>
                </a:cxn>
                <a:cxn ang="0">
                  <a:pos x="4" y="228"/>
                </a:cxn>
                <a:cxn ang="0">
                  <a:pos x="6" y="226"/>
                </a:cxn>
                <a:cxn ang="0">
                  <a:pos x="6" y="222"/>
                </a:cxn>
                <a:cxn ang="0">
                  <a:pos x="6" y="220"/>
                </a:cxn>
                <a:cxn ang="0">
                  <a:pos x="152" y="201"/>
                </a:cxn>
                <a:cxn ang="0">
                  <a:pos x="207" y="138"/>
                </a:cxn>
                <a:cxn ang="0">
                  <a:pos x="209" y="67"/>
                </a:cxn>
                <a:cxn ang="0">
                  <a:pos x="319" y="44"/>
                </a:cxn>
              </a:cxnLst>
              <a:rect l="0" t="0" r="r" b="b"/>
              <a:pathLst>
                <a:path w="453" h="464">
                  <a:moveTo>
                    <a:pt x="324" y="0"/>
                  </a:moveTo>
                  <a:lnTo>
                    <a:pt x="393" y="38"/>
                  </a:lnTo>
                  <a:lnTo>
                    <a:pt x="453" y="86"/>
                  </a:lnTo>
                  <a:lnTo>
                    <a:pt x="393" y="86"/>
                  </a:lnTo>
                  <a:lnTo>
                    <a:pt x="403" y="384"/>
                  </a:lnTo>
                  <a:lnTo>
                    <a:pt x="415" y="397"/>
                  </a:lnTo>
                  <a:lnTo>
                    <a:pt x="405" y="437"/>
                  </a:lnTo>
                  <a:lnTo>
                    <a:pt x="273" y="437"/>
                  </a:lnTo>
                  <a:lnTo>
                    <a:pt x="265" y="428"/>
                  </a:lnTo>
                  <a:lnTo>
                    <a:pt x="261" y="426"/>
                  </a:lnTo>
                  <a:lnTo>
                    <a:pt x="257" y="426"/>
                  </a:lnTo>
                  <a:lnTo>
                    <a:pt x="253" y="426"/>
                  </a:lnTo>
                  <a:lnTo>
                    <a:pt x="251" y="424"/>
                  </a:lnTo>
                  <a:lnTo>
                    <a:pt x="250" y="422"/>
                  </a:lnTo>
                  <a:lnTo>
                    <a:pt x="246" y="422"/>
                  </a:lnTo>
                  <a:lnTo>
                    <a:pt x="242" y="424"/>
                  </a:lnTo>
                  <a:lnTo>
                    <a:pt x="242" y="426"/>
                  </a:lnTo>
                  <a:lnTo>
                    <a:pt x="240" y="426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6" y="432"/>
                  </a:lnTo>
                  <a:lnTo>
                    <a:pt x="234" y="432"/>
                  </a:lnTo>
                  <a:lnTo>
                    <a:pt x="230" y="435"/>
                  </a:lnTo>
                  <a:lnTo>
                    <a:pt x="228" y="435"/>
                  </a:lnTo>
                  <a:lnTo>
                    <a:pt x="227" y="432"/>
                  </a:lnTo>
                  <a:lnTo>
                    <a:pt x="223" y="430"/>
                  </a:lnTo>
                  <a:lnTo>
                    <a:pt x="223" y="428"/>
                  </a:lnTo>
                  <a:lnTo>
                    <a:pt x="223" y="426"/>
                  </a:lnTo>
                  <a:lnTo>
                    <a:pt x="219" y="422"/>
                  </a:lnTo>
                  <a:lnTo>
                    <a:pt x="217" y="420"/>
                  </a:lnTo>
                  <a:lnTo>
                    <a:pt x="215" y="420"/>
                  </a:lnTo>
                  <a:lnTo>
                    <a:pt x="211" y="420"/>
                  </a:lnTo>
                  <a:lnTo>
                    <a:pt x="209" y="420"/>
                  </a:lnTo>
                  <a:lnTo>
                    <a:pt x="205" y="420"/>
                  </a:lnTo>
                  <a:lnTo>
                    <a:pt x="205" y="422"/>
                  </a:lnTo>
                  <a:lnTo>
                    <a:pt x="204" y="422"/>
                  </a:lnTo>
                  <a:lnTo>
                    <a:pt x="200" y="424"/>
                  </a:lnTo>
                  <a:lnTo>
                    <a:pt x="200" y="426"/>
                  </a:lnTo>
                  <a:lnTo>
                    <a:pt x="198" y="426"/>
                  </a:lnTo>
                  <a:lnTo>
                    <a:pt x="198" y="430"/>
                  </a:lnTo>
                  <a:lnTo>
                    <a:pt x="196" y="430"/>
                  </a:lnTo>
                  <a:lnTo>
                    <a:pt x="196" y="432"/>
                  </a:lnTo>
                  <a:lnTo>
                    <a:pt x="196" y="433"/>
                  </a:lnTo>
                  <a:lnTo>
                    <a:pt x="194" y="437"/>
                  </a:lnTo>
                  <a:lnTo>
                    <a:pt x="194" y="439"/>
                  </a:lnTo>
                  <a:lnTo>
                    <a:pt x="194" y="441"/>
                  </a:lnTo>
                  <a:lnTo>
                    <a:pt x="192" y="443"/>
                  </a:lnTo>
                  <a:lnTo>
                    <a:pt x="190" y="447"/>
                  </a:lnTo>
                  <a:lnTo>
                    <a:pt x="188" y="451"/>
                  </a:lnTo>
                  <a:lnTo>
                    <a:pt x="186" y="453"/>
                  </a:lnTo>
                  <a:lnTo>
                    <a:pt x="184" y="455"/>
                  </a:lnTo>
                  <a:lnTo>
                    <a:pt x="182" y="455"/>
                  </a:lnTo>
                  <a:lnTo>
                    <a:pt x="173" y="460"/>
                  </a:lnTo>
                  <a:lnTo>
                    <a:pt x="169" y="462"/>
                  </a:lnTo>
                  <a:lnTo>
                    <a:pt x="165" y="464"/>
                  </a:lnTo>
                  <a:lnTo>
                    <a:pt x="163" y="464"/>
                  </a:lnTo>
                  <a:lnTo>
                    <a:pt x="161" y="458"/>
                  </a:lnTo>
                  <a:lnTo>
                    <a:pt x="159" y="455"/>
                  </a:lnTo>
                  <a:lnTo>
                    <a:pt x="159" y="453"/>
                  </a:lnTo>
                  <a:lnTo>
                    <a:pt x="157" y="451"/>
                  </a:lnTo>
                  <a:lnTo>
                    <a:pt x="157" y="445"/>
                  </a:lnTo>
                  <a:lnTo>
                    <a:pt x="154" y="443"/>
                  </a:lnTo>
                  <a:lnTo>
                    <a:pt x="152" y="439"/>
                  </a:lnTo>
                  <a:lnTo>
                    <a:pt x="152" y="437"/>
                  </a:lnTo>
                  <a:lnTo>
                    <a:pt x="148" y="433"/>
                  </a:lnTo>
                  <a:lnTo>
                    <a:pt x="146" y="432"/>
                  </a:lnTo>
                  <a:lnTo>
                    <a:pt x="142" y="428"/>
                  </a:lnTo>
                  <a:lnTo>
                    <a:pt x="140" y="426"/>
                  </a:lnTo>
                  <a:lnTo>
                    <a:pt x="136" y="422"/>
                  </a:lnTo>
                  <a:lnTo>
                    <a:pt x="134" y="420"/>
                  </a:lnTo>
                  <a:lnTo>
                    <a:pt x="131" y="416"/>
                  </a:lnTo>
                  <a:lnTo>
                    <a:pt x="129" y="414"/>
                  </a:lnTo>
                  <a:lnTo>
                    <a:pt x="127" y="412"/>
                  </a:lnTo>
                  <a:lnTo>
                    <a:pt x="123" y="409"/>
                  </a:lnTo>
                  <a:lnTo>
                    <a:pt x="121" y="409"/>
                  </a:lnTo>
                  <a:lnTo>
                    <a:pt x="117" y="405"/>
                  </a:lnTo>
                  <a:lnTo>
                    <a:pt x="115" y="399"/>
                  </a:lnTo>
                  <a:lnTo>
                    <a:pt x="113" y="397"/>
                  </a:lnTo>
                  <a:lnTo>
                    <a:pt x="111" y="395"/>
                  </a:lnTo>
                  <a:lnTo>
                    <a:pt x="110" y="395"/>
                  </a:lnTo>
                  <a:lnTo>
                    <a:pt x="108" y="393"/>
                  </a:lnTo>
                  <a:lnTo>
                    <a:pt x="106" y="393"/>
                  </a:lnTo>
                  <a:lnTo>
                    <a:pt x="104" y="393"/>
                  </a:lnTo>
                  <a:lnTo>
                    <a:pt x="100" y="393"/>
                  </a:lnTo>
                  <a:lnTo>
                    <a:pt x="92" y="393"/>
                  </a:lnTo>
                  <a:lnTo>
                    <a:pt x="88" y="393"/>
                  </a:lnTo>
                  <a:lnTo>
                    <a:pt x="86" y="393"/>
                  </a:lnTo>
                  <a:lnTo>
                    <a:pt x="79" y="393"/>
                  </a:lnTo>
                  <a:lnTo>
                    <a:pt x="67" y="393"/>
                  </a:lnTo>
                  <a:lnTo>
                    <a:pt x="62" y="393"/>
                  </a:lnTo>
                  <a:lnTo>
                    <a:pt x="60" y="393"/>
                  </a:lnTo>
                  <a:lnTo>
                    <a:pt x="54" y="393"/>
                  </a:lnTo>
                  <a:lnTo>
                    <a:pt x="50" y="393"/>
                  </a:lnTo>
                  <a:lnTo>
                    <a:pt x="46" y="393"/>
                  </a:lnTo>
                  <a:lnTo>
                    <a:pt x="42" y="393"/>
                  </a:lnTo>
                  <a:lnTo>
                    <a:pt x="39" y="393"/>
                  </a:lnTo>
                  <a:lnTo>
                    <a:pt x="37" y="391"/>
                  </a:lnTo>
                  <a:lnTo>
                    <a:pt x="33" y="391"/>
                  </a:lnTo>
                  <a:lnTo>
                    <a:pt x="31" y="391"/>
                  </a:lnTo>
                  <a:lnTo>
                    <a:pt x="29" y="391"/>
                  </a:lnTo>
                  <a:lnTo>
                    <a:pt x="27" y="391"/>
                  </a:lnTo>
                  <a:lnTo>
                    <a:pt x="25" y="393"/>
                  </a:lnTo>
                  <a:lnTo>
                    <a:pt x="23" y="393"/>
                  </a:lnTo>
                  <a:lnTo>
                    <a:pt x="21" y="393"/>
                  </a:lnTo>
                  <a:lnTo>
                    <a:pt x="19" y="395"/>
                  </a:lnTo>
                  <a:lnTo>
                    <a:pt x="17" y="395"/>
                  </a:lnTo>
                  <a:lnTo>
                    <a:pt x="15" y="395"/>
                  </a:lnTo>
                  <a:lnTo>
                    <a:pt x="15" y="399"/>
                  </a:lnTo>
                  <a:lnTo>
                    <a:pt x="14" y="401"/>
                  </a:lnTo>
                  <a:lnTo>
                    <a:pt x="10" y="401"/>
                  </a:lnTo>
                  <a:lnTo>
                    <a:pt x="8" y="405"/>
                  </a:lnTo>
                  <a:lnTo>
                    <a:pt x="6" y="405"/>
                  </a:lnTo>
                  <a:lnTo>
                    <a:pt x="4" y="407"/>
                  </a:lnTo>
                  <a:lnTo>
                    <a:pt x="2" y="409"/>
                  </a:lnTo>
                  <a:lnTo>
                    <a:pt x="2" y="407"/>
                  </a:lnTo>
                  <a:lnTo>
                    <a:pt x="6" y="407"/>
                  </a:lnTo>
                  <a:lnTo>
                    <a:pt x="10" y="403"/>
                  </a:lnTo>
                  <a:lnTo>
                    <a:pt x="10" y="401"/>
                  </a:lnTo>
                  <a:lnTo>
                    <a:pt x="10" y="397"/>
                  </a:lnTo>
                  <a:lnTo>
                    <a:pt x="10" y="395"/>
                  </a:lnTo>
                  <a:lnTo>
                    <a:pt x="10" y="389"/>
                  </a:lnTo>
                  <a:lnTo>
                    <a:pt x="10" y="387"/>
                  </a:lnTo>
                  <a:lnTo>
                    <a:pt x="10" y="385"/>
                  </a:lnTo>
                  <a:lnTo>
                    <a:pt x="12" y="384"/>
                  </a:lnTo>
                  <a:lnTo>
                    <a:pt x="14" y="380"/>
                  </a:lnTo>
                  <a:lnTo>
                    <a:pt x="14" y="378"/>
                  </a:lnTo>
                  <a:lnTo>
                    <a:pt x="15" y="372"/>
                  </a:lnTo>
                  <a:lnTo>
                    <a:pt x="17" y="366"/>
                  </a:lnTo>
                  <a:lnTo>
                    <a:pt x="21" y="362"/>
                  </a:lnTo>
                  <a:lnTo>
                    <a:pt x="21" y="357"/>
                  </a:lnTo>
                  <a:lnTo>
                    <a:pt x="23" y="353"/>
                  </a:lnTo>
                  <a:lnTo>
                    <a:pt x="23" y="349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23" y="341"/>
                  </a:lnTo>
                  <a:lnTo>
                    <a:pt x="25" y="339"/>
                  </a:lnTo>
                  <a:lnTo>
                    <a:pt x="27" y="336"/>
                  </a:lnTo>
                  <a:lnTo>
                    <a:pt x="27" y="334"/>
                  </a:lnTo>
                  <a:lnTo>
                    <a:pt x="29" y="330"/>
                  </a:lnTo>
                  <a:lnTo>
                    <a:pt x="27" y="330"/>
                  </a:lnTo>
                  <a:lnTo>
                    <a:pt x="27" y="326"/>
                  </a:lnTo>
                  <a:lnTo>
                    <a:pt x="25" y="324"/>
                  </a:lnTo>
                  <a:lnTo>
                    <a:pt x="23" y="324"/>
                  </a:lnTo>
                  <a:lnTo>
                    <a:pt x="21" y="322"/>
                  </a:lnTo>
                  <a:lnTo>
                    <a:pt x="21" y="320"/>
                  </a:lnTo>
                  <a:lnTo>
                    <a:pt x="19" y="320"/>
                  </a:lnTo>
                  <a:lnTo>
                    <a:pt x="17" y="318"/>
                  </a:lnTo>
                  <a:lnTo>
                    <a:pt x="17" y="316"/>
                  </a:lnTo>
                  <a:lnTo>
                    <a:pt x="15" y="314"/>
                  </a:lnTo>
                  <a:lnTo>
                    <a:pt x="14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7"/>
                  </a:lnTo>
                  <a:lnTo>
                    <a:pt x="10" y="305"/>
                  </a:lnTo>
                  <a:lnTo>
                    <a:pt x="12" y="303"/>
                  </a:lnTo>
                  <a:lnTo>
                    <a:pt x="14" y="301"/>
                  </a:lnTo>
                  <a:lnTo>
                    <a:pt x="14" y="297"/>
                  </a:lnTo>
                  <a:lnTo>
                    <a:pt x="15" y="295"/>
                  </a:lnTo>
                  <a:lnTo>
                    <a:pt x="17" y="293"/>
                  </a:lnTo>
                  <a:lnTo>
                    <a:pt x="17" y="291"/>
                  </a:lnTo>
                  <a:lnTo>
                    <a:pt x="19" y="290"/>
                  </a:lnTo>
                  <a:lnTo>
                    <a:pt x="19" y="286"/>
                  </a:lnTo>
                  <a:lnTo>
                    <a:pt x="19" y="282"/>
                  </a:lnTo>
                  <a:lnTo>
                    <a:pt x="19" y="280"/>
                  </a:lnTo>
                  <a:lnTo>
                    <a:pt x="17" y="278"/>
                  </a:lnTo>
                  <a:lnTo>
                    <a:pt x="17" y="276"/>
                  </a:lnTo>
                  <a:lnTo>
                    <a:pt x="17" y="272"/>
                  </a:lnTo>
                  <a:lnTo>
                    <a:pt x="17" y="270"/>
                  </a:lnTo>
                  <a:lnTo>
                    <a:pt x="17" y="267"/>
                  </a:lnTo>
                  <a:lnTo>
                    <a:pt x="17" y="265"/>
                  </a:lnTo>
                  <a:lnTo>
                    <a:pt x="17" y="263"/>
                  </a:lnTo>
                  <a:lnTo>
                    <a:pt x="17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5"/>
                  </a:lnTo>
                  <a:lnTo>
                    <a:pt x="14" y="255"/>
                  </a:lnTo>
                  <a:lnTo>
                    <a:pt x="12" y="253"/>
                  </a:lnTo>
                  <a:lnTo>
                    <a:pt x="12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49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8" y="245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6" y="243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2" y="238"/>
                  </a:lnTo>
                  <a:lnTo>
                    <a:pt x="2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32"/>
                  </a:lnTo>
                  <a:lnTo>
                    <a:pt x="2" y="230"/>
                  </a:lnTo>
                  <a:lnTo>
                    <a:pt x="2" y="230"/>
                  </a:lnTo>
                  <a:lnTo>
                    <a:pt x="4" y="230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6" y="226"/>
                  </a:lnTo>
                  <a:lnTo>
                    <a:pt x="6" y="224"/>
                  </a:lnTo>
                  <a:lnTo>
                    <a:pt x="6" y="224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6" y="219"/>
                  </a:lnTo>
                  <a:lnTo>
                    <a:pt x="69" y="217"/>
                  </a:lnTo>
                  <a:lnTo>
                    <a:pt x="133" y="217"/>
                  </a:lnTo>
                  <a:lnTo>
                    <a:pt x="146" y="213"/>
                  </a:lnTo>
                  <a:lnTo>
                    <a:pt x="152" y="201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9" y="161"/>
                  </a:lnTo>
                  <a:lnTo>
                    <a:pt x="190" y="144"/>
                  </a:lnTo>
                  <a:lnTo>
                    <a:pt x="207" y="138"/>
                  </a:lnTo>
                  <a:lnTo>
                    <a:pt x="211" y="138"/>
                  </a:lnTo>
                  <a:lnTo>
                    <a:pt x="213" y="126"/>
                  </a:lnTo>
                  <a:lnTo>
                    <a:pt x="211" y="96"/>
                  </a:lnTo>
                  <a:lnTo>
                    <a:pt x="209" y="69"/>
                  </a:lnTo>
                  <a:lnTo>
                    <a:pt x="209" y="67"/>
                  </a:lnTo>
                  <a:lnTo>
                    <a:pt x="205" y="52"/>
                  </a:lnTo>
                  <a:lnTo>
                    <a:pt x="246" y="52"/>
                  </a:lnTo>
                  <a:lnTo>
                    <a:pt x="275" y="48"/>
                  </a:lnTo>
                  <a:lnTo>
                    <a:pt x="317" y="40"/>
                  </a:lnTo>
                  <a:lnTo>
                    <a:pt x="319" y="44"/>
                  </a:lnTo>
                  <a:lnTo>
                    <a:pt x="319" y="27"/>
                  </a:lnTo>
                  <a:lnTo>
                    <a:pt x="319" y="21"/>
                  </a:lnTo>
                  <a:lnTo>
                    <a:pt x="3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1" name="Freeform 68"/>
            <p:cNvSpPr>
              <a:spLocks/>
            </p:cNvSpPr>
            <p:nvPr/>
          </p:nvSpPr>
          <p:spPr bwMode="auto">
            <a:xfrm>
              <a:off x="565" y="1319"/>
              <a:ext cx="453" cy="464"/>
            </a:xfrm>
            <a:custGeom>
              <a:avLst/>
              <a:gdLst/>
              <a:ahLst/>
              <a:cxnLst>
                <a:cxn ang="0">
                  <a:pos x="403" y="384"/>
                </a:cxn>
                <a:cxn ang="0">
                  <a:pos x="261" y="426"/>
                </a:cxn>
                <a:cxn ang="0">
                  <a:pos x="246" y="422"/>
                </a:cxn>
                <a:cxn ang="0">
                  <a:pos x="238" y="430"/>
                </a:cxn>
                <a:cxn ang="0">
                  <a:pos x="227" y="432"/>
                </a:cxn>
                <a:cxn ang="0">
                  <a:pos x="217" y="420"/>
                </a:cxn>
                <a:cxn ang="0">
                  <a:pos x="205" y="422"/>
                </a:cxn>
                <a:cxn ang="0">
                  <a:pos x="198" y="430"/>
                </a:cxn>
                <a:cxn ang="0">
                  <a:pos x="194" y="439"/>
                </a:cxn>
                <a:cxn ang="0">
                  <a:pos x="186" y="453"/>
                </a:cxn>
                <a:cxn ang="0">
                  <a:pos x="165" y="464"/>
                </a:cxn>
                <a:cxn ang="0">
                  <a:pos x="157" y="451"/>
                </a:cxn>
                <a:cxn ang="0">
                  <a:pos x="148" y="433"/>
                </a:cxn>
                <a:cxn ang="0">
                  <a:pos x="134" y="420"/>
                </a:cxn>
                <a:cxn ang="0">
                  <a:pos x="121" y="409"/>
                </a:cxn>
                <a:cxn ang="0">
                  <a:pos x="110" y="395"/>
                </a:cxn>
                <a:cxn ang="0">
                  <a:pos x="92" y="393"/>
                </a:cxn>
                <a:cxn ang="0">
                  <a:pos x="62" y="393"/>
                </a:cxn>
                <a:cxn ang="0">
                  <a:pos x="42" y="393"/>
                </a:cxn>
                <a:cxn ang="0">
                  <a:pos x="29" y="391"/>
                </a:cxn>
                <a:cxn ang="0">
                  <a:pos x="19" y="395"/>
                </a:cxn>
                <a:cxn ang="0">
                  <a:pos x="10" y="401"/>
                </a:cxn>
                <a:cxn ang="0">
                  <a:pos x="2" y="407"/>
                </a:cxn>
                <a:cxn ang="0">
                  <a:pos x="10" y="395"/>
                </a:cxn>
                <a:cxn ang="0">
                  <a:pos x="14" y="380"/>
                </a:cxn>
                <a:cxn ang="0">
                  <a:pos x="21" y="357"/>
                </a:cxn>
                <a:cxn ang="0">
                  <a:pos x="23" y="341"/>
                </a:cxn>
                <a:cxn ang="0">
                  <a:pos x="27" y="330"/>
                </a:cxn>
                <a:cxn ang="0">
                  <a:pos x="21" y="320"/>
                </a:cxn>
                <a:cxn ang="0">
                  <a:pos x="14" y="313"/>
                </a:cxn>
                <a:cxn ang="0">
                  <a:pos x="12" y="303"/>
                </a:cxn>
                <a:cxn ang="0">
                  <a:pos x="17" y="291"/>
                </a:cxn>
                <a:cxn ang="0">
                  <a:pos x="17" y="278"/>
                </a:cxn>
                <a:cxn ang="0">
                  <a:pos x="17" y="265"/>
                </a:cxn>
                <a:cxn ang="0">
                  <a:pos x="15" y="261"/>
                </a:cxn>
                <a:cxn ang="0">
                  <a:pos x="15" y="259"/>
                </a:cxn>
                <a:cxn ang="0">
                  <a:pos x="12" y="253"/>
                </a:cxn>
                <a:cxn ang="0">
                  <a:pos x="10" y="251"/>
                </a:cxn>
                <a:cxn ang="0">
                  <a:pos x="6" y="247"/>
                </a:cxn>
                <a:cxn ang="0">
                  <a:pos x="6" y="245"/>
                </a:cxn>
                <a:cxn ang="0">
                  <a:pos x="6" y="242"/>
                </a:cxn>
                <a:cxn ang="0">
                  <a:pos x="6" y="242"/>
                </a:cxn>
                <a:cxn ang="0">
                  <a:pos x="2" y="240"/>
                </a:cxn>
                <a:cxn ang="0">
                  <a:pos x="2" y="236"/>
                </a:cxn>
                <a:cxn ang="0">
                  <a:pos x="0" y="234"/>
                </a:cxn>
                <a:cxn ang="0">
                  <a:pos x="0" y="232"/>
                </a:cxn>
                <a:cxn ang="0">
                  <a:pos x="2" y="230"/>
                </a:cxn>
                <a:cxn ang="0">
                  <a:pos x="4" y="228"/>
                </a:cxn>
                <a:cxn ang="0">
                  <a:pos x="6" y="226"/>
                </a:cxn>
                <a:cxn ang="0">
                  <a:pos x="6" y="222"/>
                </a:cxn>
                <a:cxn ang="0">
                  <a:pos x="6" y="220"/>
                </a:cxn>
                <a:cxn ang="0">
                  <a:pos x="152" y="201"/>
                </a:cxn>
                <a:cxn ang="0">
                  <a:pos x="207" y="138"/>
                </a:cxn>
                <a:cxn ang="0">
                  <a:pos x="209" y="67"/>
                </a:cxn>
                <a:cxn ang="0">
                  <a:pos x="319" y="44"/>
                </a:cxn>
              </a:cxnLst>
              <a:rect l="0" t="0" r="r" b="b"/>
              <a:pathLst>
                <a:path w="453" h="464">
                  <a:moveTo>
                    <a:pt x="324" y="0"/>
                  </a:moveTo>
                  <a:lnTo>
                    <a:pt x="393" y="38"/>
                  </a:lnTo>
                  <a:lnTo>
                    <a:pt x="453" y="86"/>
                  </a:lnTo>
                  <a:lnTo>
                    <a:pt x="393" y="86"/>
                  </a:lnTo>
                  <a:lnTo>
                    <a:pt x="403" y="384"/>
                  </a:lnTo>
                  <a:lnTo>
                    <a:pt x="415" y="397"/>
                  </a:lnTo>
                  <a:lnTo>
                    <a:pt x="405" y="437"/>
                  </a:lnTo>
                  <a:lnTo>
                    <a:pt x="273" y="437"/>
                  </a:lnTo>
                  <a:lnTo>
                    <a:pt x="265" y="428"/>
                  </a:lnTo>
                  <a:lnTo>
                    <a:pt x="261" y="426"/>
                  </a:lnTo>
                  <a:lnTo>
                    <a:pt x="257" y="426"/>
                  </a:lnTo>
                  <a:lnTo>
                    <a:pt x="253" y="426"/>
                  </a:lnTo>
                  <a:lnTo>
                    <a:pt x="251" y="424"/>
                  </a:lnTo>
                  <a:lnTo>
                    <a:pt x="250" y="422"/>
                  </a:lnTo>
                  <a:lnTo>
                    <a:pt x="246" y="422"/>
                  </a:lnTo>
                  <a:lnTo>
                    <a:pt x="242" y="424"/>
                  </a:lnTo>
                  <a:lnTo>
                    <a:pt x="242" y="426"/>
                  </a:lnTo>
                  <a:lnTo>
                    <a:pt x="240" y="426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6" y="432"/>
                  </a:lnTo>
                  <a:lnTo>
                    <a:pt x="234" y="432"/>
                  </a:lnTo>
                  <a:lnTo>
                    <a:pt x="230" y="435"/>
                  </a:lnTo>
                  <a:lnTo>
                    <a:pt x="228" y="435"/>
                  </a:lnTo>
                  <a:lnTo>
                    <a:pt x="227" y="432"/>
                  </a:lnTo>
                  <a:lnTo>
                    <a:pt x="223" y="430"/>
                  </a:lnTo>
                  <a:lnTo>
                    <a:pt x="223" y="428"/>
                  </a:lnTo>
                  <a:lnTo>
                    <a:pt x="223" y="426"/>
                  </a:lnTo>
                  <a:lnTo>
                    <a:pt x="219" y="422"/>
                  </a:lnTo>
                  <a:lnTo>
                    <a:pt x="217" y="420"/>
                  </a:lnTo>
                  <a:lnTo>
                    <a:pt x="215" y="420"/>
                  </a:lnTo>
                  <a:lnTo>
                    <a:pt x="211" y="420"/>
                  </a:lnTo>
                  <a:lnTo>
                    <a:pt x="209" y="420"/>
                  </a:lnTo>
                  <a:lnTo>
                    <a:pt x="205" y="420"/>
                  </a:lnTo>
                  <a:lnTo>
                    <a:pt x="205" y="422"/>
                  </a:lnTo>
                  <a:lnTo>
                    <a:pt x="204" y="422"/>
                  </a:lnTo>
                  <a:lnTo>
                    <a:pt x="200" y="424"/>
                  </a:lnTo>
                  <a:lnTo>
                    <a:pt x="200" y="426"/>
                  </a:lnTo>
                  <a:lnTo>
                    <a:pt x="198" y="426"/>
                  </a:lnTo>
                  <a:lnTo>
                    <a:pt x="198" y="430"/>
                  </a:lnTo>
                  <a:lnTo>
                    <a:pt x="196" y="430"/>
                  </a:lnTo>
                  <a:lnTo>
                    <a:pt x="196" y="432"/>
                  </a:lnTo>
                  <a:lnTo>
                    <a:pt x="196" y="433"/>
                  </a:lnTo>
                  <a:lnTo>
                    <a:pt x="194" y="437"/>
                  </a:lnTo>
                  <a:lnTo>
                    <a:pt x="194" y="439"/>
                  </a:lnTo>
                  <a:lnTo>
                    <a:pt x="194" y="441"/>
                  </a:lnTo>
                  <a:lnTo>
                    <a:pt x="192" y="443"/>
                  </a:lnTo>
                  <a:lnTo>
                    <a:pt x="190" y="447"/>
                  </a:lnTo>
                  <a:lnTo>
                    <a:pt x="188" y="451"/>
                  </a:lnTo>
                  <a:lnTo>
                    <a:pt x="186" y="453"/>
                  </a:lnTo>
                  <a:lnTo>
                    <a:pt x="184" y="455"/>
                  </a:lnTo>
                  <a:lnTo>
                    <a:pt x="182" y="455"/>
                  </a:lnTo>
                  <a:lnTo>
                    <a:pt x="173" y="460"/>
                  </a:lnTo>
                  <a:lnTo>
                    <a:pt x="169" y="462"/>
                  </a:lnTo>
                  <a:lnTo>
                    <a:pt x="165" y="464"/>
                  </a:lnTo>
                  <a:lnTo>
                    <a:pt x="163" y="464"/>
                  </a:lnTo>
                  <a:lnTo>
                    <a:pt x="161" y="458"/>
                  </a:lnTo>
                  <a:lnTo>
                    <a:pt x="159" y="455"/>
                  </a:lnTo>
                  <a:lnTo>
                    <a:pt x="159" y="453"/>
                  </a:lnTo>
                  <a:lnTo>
                    <a:pt x="157" y="451"/>
                  </a:lnTo>
                  <a:lnTo>
                    <a:pt x="157" y="445"/>
                  </a:lnTo>
                  <a:lnTo>
                    <a:pt x="154" y="443"/>
                  </a:lnTo>
                  <a:lnTo>
                    <a:pt x="152" y="439"/>
                  </a:lnTo>
                  <a:lnTo>
                    <a:pt x="152" y="437"/>
                  </a:lnTo>
                  <a:lnTo>
                    <a:pt x="148" y="433"/>
                  </a:lnTo>
                  <a:lnTo>
                    <a:pt x="146" y="432"/>
                  </a:lnTo>
                  <a:lnTo>
                    <a:pt x="142" y="428"/>
                  </a:lnTo>
                  <a:lnTo>
                    <a:pt x="140" y="426"/>
                  </a:lnTo>
                  <a:lnTo>
                    <a:pt x="136" y="422"/>
                  </a:lnTo>
                  <a:lnTo>
                    <a:pt x="134" y="420"/>
                  </a:lnTo>
                  <a:lnTo>
                    <a:pt x="131" y="416"/>
                  </a:lnTo>
                  <a:lnTo>
                    <a:pt x="129" y="414"/>
                  </a:lnTo>
                  <a:lnTo>
                    <a:pt x="127" y="412"/>
                  </a:lnTo>
                  <a:lnTo>
                    <a:pt x="123" y="409"/>
                  </a:lnTo>
                  <a:lnTo>
                    <a:pt x="121" y="409"/>
                  </a:lnTo>
                  <a:lnTo>
                    <a:pt x="117" y="405"/>
                  </a:lnTo>
                  <a:lnTo>
                    <a:pt x="115" y="399"/>
                  </a:lnTo>
                  <a:lnTo>
                    <a:pt x="113" y="397"/>
                  </a:lnTo>
                  <a:lnTo>
                    <a:pt x="111" y="395"/>
                  </a:lnTo>
                  <a:lnTo>
                    <a:pt x="110" y="395"/>
                  </a:lnTo>
                  <a:lnTo>
                    <a:pt x="108" y="393"/>
                  </a:lnTo>
                  <a:lnTo>
                    <a:pt x="106" y="393"/>
                  </a:lnTo>
                  <a:lnTo>
                    <a:pt x="104" y="393"/>
                  </a:lnTo>
                  <a:lnTo>
                    <a:pt x="100" y="393"/>
                  </a:lnTo>
                  <a:lnTo>
                    <a:pt x="92" y="393"/>
                  </a:lnTo>
                  <a:lnTo>
                    <a:pt x="88" y="393"/>
                  </a:lnTo>
                  <a:lnTo>
                    <a:pt x="86" y="393"/>
                  </a:lnTo>
                  <a:lnTo>
                    <a:pt x="79" y="393"/>
                  </a:lnTo>
                  <a:lnTo>
                    <a:pt x="67" y="393"/>
                  </a:lnTo>
                  <a:lnTo>
                    <a:pt x="62" y="393"/>
                  </a:lnTo>
                  <a:lnTo>
                    <a:pt x="60" y="393"/>
                  </a:lnTo>
                  <a:lnTo>
                    <a:pt x="54" y="393"/>
                  </a:lnTo>
                  <a:lnTo>
                    <a:pt x="50" y="393"/>
                  </a:lnTo>
                  <a:lnTo>
                    <a:pt x="46" y="393"/>
                  </a:lnTo>
                  <a:lnTo>
                    <a:pt x="42" y="393"/>
                  </a:lnTo>
                  <a:lnTo>
                    <a:pt x="39" y="393"/>
                  </a:lnTo>
                  <a:lnTo>
                    <a:pt x="37" y="391"/>
                  </a:lnTo>
                  <a:lnTo>
                    <a:pt x="33" y="391"/>
                  </a:lnTo>
                  <a:lnTo>
                    <a:pt x="31" y="391"/>
                  </a:lnTo>
                  <a:lnTo>
                    <a:pt x="29" y="391"/>
                  </a:lnTo>
                  <a:lnTo>
                    <a:pt x="27" y="391"/>
                  </a:lnTo>
                  <a:lnTo>
                    <a:pt x="25" y="393"/>
                  </a:lnTo>
                  <a:lnTo>
                    <a:pt x="23" y="393"/>
                  </a:lnTo>
                  <a:lnTo>
                    <a:pt x="21" y="393"/>
                  </a:lnTo>
                  <a:lnTo>
                    <a:pt x="19" y="395"/>
                  </a:lnTo>
                  <a:lnTo>
                    <a:pt x="17" y="395"/>
                  </a:lnTo>
                  <a:lnTo>
                    <a:pt x="15" y="395"/>
                  </a:lnTo>
                  <a:lnTo>
                    <a:pt x="15" y="399"/>
                  </a:lnTo>
                  <a:lnTo>
                    <a:pt x="14" y="401"/>
                  </a:lnTo>
                  <a:lnTo>
                    <a:pt x="10" y="401"/>
                  </a:lnTo>
                  <a:lnTo>
                    <a:pt x="8" y="405"/>
                  </a:lnTo>
                  <a:lnTo>
                    <a:pt x="6" y="405"/>
                  </a:lnTo>
                  <a:lnTo>
                    <a:pt x="4" y="407"/>
                  </a:lnTo>
                  <a:lnTo>
                    <a:pt x="2" y="409"/>
                  </a:lnTo>
                  <a:lnTo>
                    <a:pt x="2" y="407"/>
                  </a:lnTo>
                  <a:lnTo>
                    <a:pt x="6" y="407"/>
                  </a:lnTo>
                  <a:lnTo>
                    <a:pt x="10" y="403"/>
                  </a:lnTo>
                  <a:lnTo>
                    <a:pt x="10" y="401"/>
                  </a:lnTo>
                  <a:lnTo>
                    <a:pt x="10" y="397"/>
                  </a:lnTo>
                  <a:lnTo>
                    <a:pt x="10" y="395"/>
                  </a:lnTo>
                  <a:lnTo>
                    <a:pt x="10" y="389"/>
                  </a:lnTo>
                  <a:lnTo>
                    <a:pt x="10" y="387"/>
                  </a:lnTo>
                  <a:lnTo>
                    <a:pt x="10" y="385"/>
                  </a:lnTo>
                  <a:lnTo>
                    <a:pt x="12" y="384"/>
                  </a:lnTo>
                  <a:lnTo>
                    <a:pt x="14" y="380"/>
                  </a:lnTo>
                  <a:lnTo>
                    <a:pt x="14" y="378"/>
                  </a:lnTo>
                  <a:lnTo>
                    <a:pt x="15" y="372"/>
                  </a:lnTo>
                  <a:lnTo>
                    <a:pt x="17" y="366"/>
                  </a:lnTo>
                  <a:lnTo>
                    <a:pt x="21" y="362"/>
                  </a:lnTo>
                  <a:lnTo>
                    <a:pt x="21" y="357"/>
                  </a:lnTo>
                  <a:lnTo>
                    <a:pt x="23" y="353"/>
                  </a:lnTo>
                  <a:lnTo>
                    <a:pt x="23" y="349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23" y="341"/>
                  </a:lnTo>
                  <a:lnTo>
                    <a:pt x="25" y="339"/>
                  </a:lnTo>
                  <a:lnTo>
                    <a:pt x="27" y="336"/>
                  </a:lnTo>
                  <a:lnTo>
                    <a:pt x="27" y="334"/>
                  </a:lnTo>
                  <a:lnTo>
                    <a:pt x="29" y="330"/>
                  </a:lnTo>
                  <a:lnTo>
                    <a:pt x="27" y="330"/>
                  </a:lnTo>
                  <a:lnTo>
                    <a:pt x="27" y="326"/>
                  </a:lnTo>
                  <a:lnTo>
                    <a:pt x="25" y="324"/>
                  </a:lnTo>
                  <a:lnTo>
                    <a:pt x="23" y="324"/>
                  </a:lnTo>
                  <a:lnTo>
                    <a:pt x="21" y="322"/>
                  </a:lnTo>
                  <a:lnTo>
                    <a:pt x="21" y="320"/>
                  </a:lnTo>
                  <a:lnTo>
                    <a:pt x="19" y="320"/>
                  </a:lnTo>
                  <a:lnTo>
                    <a:pt x="17" y="318"/>
                  </a:lnTo>
                  <a:lnTo>
                    <a:pt x="17" y="316"/>
                  </a:lnTo>
                  <a:lnTo>
                    <a:pt x="15" y="314"/>
                  </a:lnTo>
                  <a:lnTo>
                    <a:pt x="14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7"/>
                  </a:lnTo>
                  <a:lnTo>
                    <a:pt x="10" y="305"/>
                  </a:lnTo>
                  <a:lnTo>
                    <a:pt x="12" y="303"/>
                  </a:lnTo>
                  <a:lnTo>
                    <a:pt x="14" y="301"/>
                  </a:lnTo>
                  <a:lnTo>
                    <a:pt x="14" y="297"/>
                  </a:lnTo>
                  <a:lnTo>
                    <a:pt x="15" y="295"/>
                  </a:lnTo>
                  <a:lnTo>
                    <a:pt x="17" y="293"/>
                  </a:lnTo>
                  <a:lnTo>
                    <a:pt x="17" y="291"/>
                  </a:lnTo>
                  <a:lnTo>
                    <a:pt x="19" y="290"/>
                  </a:lnTo>
                  <a:lnTo>
                    <a:pt x="19" y="286"/>
                  </a:lnTo>
                  <a:lnTo>
                    <a:pt x="19" y="282"/>
                  </a:lnTo>
                  <a:lnTo>
                    <a:pt x="19" y="280"/>
                  </a:lnTo>
                  <a:lnTo>
                    <a:pt x="17" y="278"/>
                  </a:lnTo>
                  <a:lnTo>
                    <a:pt x="17" y="276"/>
                  </a:lnTo>
                  <a:lnTo>
                    <a:pt x="17" y="272"/>
                  </a:lnTo>
                  <a:lnTo>
                    <a:pt x="17" y="270"/>
                  </a:lnTo>
                  <a:lnTo>
                    <a:pt x="17" y="267"/>
                  </a:lnTo>
                  <a:lnTo>
                    <a:pt x="17" y="265"/>
                  </a:lnTo>
                  <a:lnTo>
                    <a:pt x="17" y="263"/>
                  </a:lnTo>
                  <a:lnTo>
                    <a:pt x="17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5" y="259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5"/>
                  </a:lnTo>
                  <a:lnTo>
                    <a:pt x="14" y="255"/>
                  </a:lnTo>
                  <a:lnTo>
                    <a:pt x="12" y="253"/>
                  </a:lnTo>
                  <a:lnTo>
                    <a:pt x="12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51"/>
                  </a:lnTo>
                  <a:lnTo>
                    <a:pt x="10" y="249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8" y="249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7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8" y="245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6" y="243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6" y="242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2" y="238"/>
                  </a:lnTo>
                  <a:lnTo>
                    <a:pt x="2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2" y="232"/>
                  </a:lnTo>
                  <a:lnTo>
                    <a:pt x="2" y="230"/>
                  </a:lnTo>
                  <a:lnTo>
                    <a:pt x="2" y="230"/>
                  </a:lnTo>
                  <a:lnTo>
                    <a:pt x="4" y="230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4" y="228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4" y="226"/>
                  </a:lnTo>
                  <a:lnTo>
                    <a:pt x="6" y="226"/>
                  </a:lnTo>
                  <a:lnTo>
                    <a:pt x="6" y="224"/>
                  </a:lnTo>
                  <a:lnTo>
                    <a:pt x="6" y="224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2"/>
                  </a:lnTo>
                  <a:lnTo>
                    <a:pt x="6" y="220"/>
                  </a:lnTo>
                  <a:lnTo>
                    <a:pt x="6" y="220"/>
                  </a:lnTo>
                  <a:lnTo>
                    <a:pt x="6" y="219"/>
                  </a:lnTo>
                  <a:lnTo>
                    <a:pt x="69" y="217"/>
                  </a:lnTo>
                  <a:lnTo>
                    <a:pt x="133" y="217"/>
                  </a:lnTo>
                  <a:lnTo>
                    <a:pt x="146" y="213"/>
                  </a:lnTo>
                  <a:lnTo>
                    <a:pt x="152" y="201"/>
                  </a:lnTo>
                  <a:lnTo>
                    <a:pt x="152" y="178"/>
                  </a:lnTo>
                  <a:lnTo>
                    <a:pt x="152" y="178"/>
                  </a:lnTo>
                  <a:lnTo>
                    <a:pt x="159" y="161"/>
                  </a:lnTo>
                  <a:lnTo>
                    <a:pt x="190" y="144"/>
                  </a:lnTo>
                  <a:lnTo>
                    <a:pt x="207" y="138"/>
                  </a:lnTo>
                  <a:lnTo>
                    <a:pt x="211" y="138"/>
                  </a:lnTo>
                  <a:lnTo>
                    <a:pt x="213" y="126"/>
                  </a:lnTo>
                  <a:lnTo>
                    <a:pt x="211" y="96"/>
                  </a:lnTo>
                  <a:lnTo>
                    <a:pt x="209" y="69"/>
                  </a:lnTo>
                  <a:lnTo>
                    <a:pt x="209" y="67"/>
                  </a:lnTo>
                  <a:lnTo>
                    <a:pt x="205" y="52"/>
                  </a:lnTo>
                  <a:lnTo>
                    <a:pt x="246" y="52"/>
                  </a:lnTo>
                  <a:lnTo>
                    <a:pt x="275" y="48"/>
                  </a:lnTo>
                  <a:lnTo>
                    <a:pt x="317" y="40"/>
                  </a:lnTo>
                  <a:lnTo>
                    <a:pt x="319" y="44"/>
                  </a:lnTo>
                  <a:lnTo>
                    <a:pt x="319" y="27"/>
                  </a:lnTo>
                  <a:lnTo>
                    <a:pt x="319" y="21"/>
                  </a:lnTo>
                  <a:lnTo>
                    <a:pt x="324" y="0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 dirty="0">
                <a:solidFill>
                  <a:srgbClr val="000066"/>
                </a:solidFill>
              </a:endParaRPr>
            </a:p>
          </p:txBody>
        </p:sp>
        <p:sp>
          <p:nvSpPr>
            <p:cNvPr id="82" name="Freeform 69"/>
            <p:cNvSpPr>
              <a:spLocks/>
            </p:cNvSpPr>
            <p:nvPr/>
          </p:nvSpPr>
          <p:spPr bwMode="auto">
            <a:xfrm>
              <a:off x="531" y="1710"/>
              <a:ext cx="222" cy="161"/>
            </a:xfrm>
            <a:custGeom>
              <a:avLst/>
              <a:gdLst/>
              <a:ahLst/>
              <a:cxnLst>
                <a:cxn ang="0">
                  <a:pos x="193" y="85"/>
                </a:cxn>
                <a:cxn ang="0">
                  <a:pos x="199" y="94"/>
                </a:cxn>
                <a:cxn ang="0">
                  <a:pos x="203" y="106"/>
                </a:cxn>
                <a:cxn ang="0">
                  <a:pos x="201" y="119"/>
                </a:cxn>
                <a:cxn ang="0">
                  <a:pos x="211" y="127"/>
                </a:cxn>
                <a:cxn ang="0">
                  <a:pos x="220" y="135"/>
                </a:cxn>
                <a:cxn ang="0">
                  <a:pos x="222" y="148"/>
                </a:cxn>
                <a:cxn ang="0">
                  <a:pos x="220" y="161"/>
                </a:cxn>
                <a:cxn ang="0">
                  <a:pos x="205" y="161"/>
                </a:cxn>
                <a:cxn ang="0">
                  <a:pos x="193" y="161"/>
                </a:cxn>
                <a:cxn ang="0">
                  <a:pos x="178" y="160"/>
                </a:cxn>
                <a:cxn ang="0">
                  <a:pos x="167" y="158"/>
                </a:cxn>
                <a:cxn ang="0">
                  <a:pos x="157" y="158"/>
                </a:cxn>
                <a:cxn ang="0">
                  <a:pos x="144" y="152"/>
                </a:cxn>
                <a:cxn ang="0">
                  <a:pos x="132" y="148"/>
                </a:cxn>
                <a:cxn ang="0">
                  <a:pos x="117" y="146"/>
                </a:cxn>
                <a:cxn ang="0">
                  <a:pos x="103" y="146"/>
                </a:cxn>
                <a:cxn ang="0">
                  <a:pos x="94" y="150"/>
                </a:cxn>
                <a:cxn ang="0">
                  <a:pos x="78" y="152"/>
                </a:cxn>
                <a:cxn ang="0">
                  <a:pos x="65" y="154"/>
                </a:cxn>
                <a:cxn ang="0">
                  <a:pos x="51" y="156"/>
                </a:cxn>
                <a:cxn ang="0">
                  <a:pos x="34" y="158"/>
                </a:cxn>
                <a:cxn ang="0">
                  <a:pos x="32" y="148"/>
                </a:cxn>
                <a:cxn ang="0">
                  <a:pos x="34" y="135"/>
                </a:cxn>
                <a:cxn ang="0">
                  <a:pos x="44" y="127"/>
                </a:cxn>
                <a:cxn ang="0">
                  <a:pos x="53" y="123"/>
                </a:cxn>
                <a:cxn ang="0">
                  <a:pos x="69" y="123"/>
                </a:cxn>
                <a:cxn ang="0">
                  <a:pos x="80" y="117"/>
                </a:cxn>
                <a:cxn ang="0">
                  <a:pos x="86" y="112"/>
                </a:cxn>
                <a:cxn ang="0">
                  <a:pos x="99" y="115"/>
                </a:cxn>
                <a:cxn ang="0">
                  <a:pos x="113" y="117"/>
                </a:cxn>
                <a:cxn ang="0">
                  <a:pos x="122" y="123"/>
                </a:cxn>
                <a:cxn ang="0">
                  <a:pos x="134" y="125"/>
                </a:cxn>
                <a:cxn ang="0">
                  <a:pos x="147" y="121"/>
                </a:cxn>
                <a:cxn ang="0">
                  <a:pos x="155" y="112"/>
                </a:cxn>
                <a:cxn ang="0">
                  <a:pos x="142" y="112"/>
                </a:cxn>
                <a:cxn ang="0">
                  <a:pos x="130" y="112"/>
                </a:cxn>
                <a:cxn ang="0">
                  <a:pos x="122" y="106"/>
                </a:cxn>
                <a:cxn ang="0">
                  <a:pos x="113" y="104"/>
                </a:cxn>
                <a:cxn ang="0">
                  <a:pos x="103" y="100"/>
                </a:cxn>
                <a:cxn ang="0">
                  <a:pos x="92" y="96"/>
                </a:cxn>
                <a:cxn ang="0">
                  <a:pos x="82" y="94"/>
                </a:cxn>
                <a:cxn ang="0">
                  <a:pos x="71" y="96"/>
                </a:cxn>
                <a:cxn ang="0">
                  <a:pos x="61" y="104"/>
                </a:cxn>
                <a:cxn ang="0">
                  <a:pos x="49" y="104"/>
                </a:cxn>
                <a:cxn ang="0">
                  <a:pos x="34" y="100"/>
                </a:cxn>
                <a:cxn ang="0">
                  <a:pos x="26" y="96"/>
                </a:cxn>
                <a:cxn ang="0">
                  <a:pos x="23" y="83"/>
                </a:cxn>
                <a:cxn ang="0">
                  <a:pos x="15" y="65"/>
                </a:cxn>
                <a:cxn ang="0">
                  <a:pos x="5" y="60"/>
                </a:cxn>
                <a:cxn ang="0">
                  <a:pos x="5" y="54"/>
                </a:cxn>
                <a:cxn ang="0">
                  <a:pos x="19" y="42"/>
                </a:cxn>
                <a:cxn ang="0">
                  <a:pos x="26" y="35"/>
                </a:cxn>
                <a:cxn ang="0">
                  <a:pos x="32" y="27"/>
                </a:cxn>
                <a:cxn ang="0">
                  <a:pos x="38" y="16"/>
                </a:cxn>
                <a:cxn ang="0">
                  <a:pos x="49" y="10"/>
                </a:cxn>
                <a:cxn ang="0">
                  <a:pos x="57" y="2"/>
                </a:cxn>
                <a:cxn ang="0">
                  <a:pos x="69" y="2"/>
                </a:cxn>
                <a:cxn ang="0">
                  <a:pos x="188" y="50"/>
                </a:cxn>
              </a:cxnLst>
              <a:rect l="0" t="0" r="r" b="b"/>
              <a:pathLst>
                <a:path w="222" h="161">
                  <a:moveTo>
                    <a:pt x="197" y="71"/>
                  </a:moveTo>
                  <a:lnTo>
                    <a:pt x="195" y="75"/>
                  </a:lnTo>
                  <a:lnTo>
                    <a:pt x="195" y="77"/>
                  </a:lnTo>
                  <a:lnTo>
                    <a:pt x="195" y="83"/>
                  </a:lnTo>
                  <a:lnTo>
                    <a:pt x="193" y="83"/>
                  </a:lnTo>
                  <a:lnTo>
                    <a:pt x="193" y="85"/>
                  </a:lnTo>
                  <a:lnTo>
                    <a:pt x="195" y="89"/>
                  </a:lnTo>
                  <a:lnTo>
                    <a:pt x="195" y="90"/>
                  </a:lnTo>
                  <a:lnTo>
                    <a:pt x="195" y="92"/>
                  </a:lnTo>
                  <a:lnTo>
                    <a:pt x="195" y="94"/>
                  </a:lnTo>
                  <a:lnTo>
                    <a:pt x="197" y="94"/>
                  </a:lnTo>
                  <a:lnTo>
                    <a:pt x="199" y="94"/>
                  </a:lnTo>
                  <a:lnTo>
                    <a:pt x="201" y="94"/>
                  </a:lnTo>
                  <a:lnTo>
                    <a:pt x="201" y="98"/>
                  </a:lnTo>
                  <a:lnTo>
                    <a:pt x="203" y="100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8"/>
                  </a:lnTo>
                  <a:lnTo>
                    <a:pt x="203" y="110"/>
                  </a:lnTo>
                  <a:lnTo>
                    <a:pt x="201" y="112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3" y="123"/>
                  </a:lnTo>
                  <a:lnTo>
                    <a:pt x="205" y="125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4" y="129"/>
                  </a:lnTo>
                  <a:lnTo>
                    <a:pt x="216" y="131"/>
                  </a:lnTo>
                  <a:lnTo>
                    <a:pt x="218" y="133"/>
                  </a:lnTo>
                  <a:lnTo>
                    <a:pt x="218" y="135"/>
                  </a:lnTo>
                  <a:lnTo>
                    <a:pt x="220" y="135"/>
                  </a:lnTo>
                  <a:lnTo>
                    <a:pt x="220" y="138"/>
                  </a:lnTo>
                  <a:lnTo>
                    <a:pt x="220" y="140"/>
                  </a:lnTo>
                  <a:lnTo>
                    <a:pt x="220" y="142"/>
                  </a:lnTo>
                  <a:lnTo>
                    <a:pt x="220" y="144"/>
                  </a:lnTo>
                  <a:lnTo>
                    <a:pt x="222" y="146"/>
                  </a:lnTo>
                  <a:lnTo>
                    <a:pt x="222" y="148"/>
                  </a:lnTo>
                  <a:lnTo>
                    <a:pt x="222" y="150"/>
                  </a:lnTo>
                  <a:lnTo>
                    <a:pt x="222" y="152"/>
                  </a:lnTo>
                  <a:lnTo>
                    <a:pt x="222" y="156"/>
                  </a:lnTo>
                  <a:lnTo>
                    <a:pt x="222" y="160"/>
                  </a:lnTo>
                  <a:lnTo>
                    <a:pt x="222" y="161"/>
                  </a:lnTo>
                  <a:lnTo>
                    <a:pt x="220" y="161"/>
                  </a:lnTo>
                  <a:lnTo>
                    <a:pt x="218" y="161"/>
                  </a:lnTo>
                  <a:lnTo>
                    <a:pt x="216" y="161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09" y="161"/>
                  </a:lnTo>
                  <a:lnTo>
                    <a:pt x="205" y="161"/>
                  </a:lnTo>
                  <a:lnTo>
                    <a:pt x="203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5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191" y="160"/>
                  </a:lnTo>
                  <a:lnTo>
                    <a:pt x="190" y="160"/>
                  </a:lnTo>
                  <a:lnTo>
                    <a:pt x="188" y="161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78" y="160"/>
                  </a:lnTo>
                  <a:lnTo>
                    <a:pt x="176" y="158"/>
                  </a:lnTo>
                  <a:lnTo>
                    <a:pt x="174" y="158"/>
                  </a:lnTo>
                  <a:lnTo>
                    <a:pt x="172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67" y="158"/>
                  </a:lnTo>
                  <a:lnTo>
                    <a:pt x="165" y="160"/>
                  </a:lnTo>
                  <a:lnTo>
                    <a:pt x="163" y="160"/>
                  </a:lnTo>
                  <a:lnTo>
                    <a:pt x="161" y="160"/>
                  </a:lnTo>
                  <a:lnTo>
                    <a:pt x="161" y="158"/>
                  </a:lnTo>
                  <a:lnTo>
                    <a:pt x="157" y="158"/>
                  </a:lnTo>
                  <a:lnTo>
                    <a:pt x="157" y="158"/>
                  </a:lnTo>
                  <a:lnTo>
                    <a:pt x="155" y="156"/>
                  </a:lnTo>
                  <a:lnTo>
                    <a:pt x="153" y="156"/>
                  </a:lnTo>
                  <a:lnTo>
                    <a:pt x="149" y="156"/>
                  </a:lnTo>
                  <a:lnTo>
                    <a:pt x="149" y="154"/>
                  </a:lnTo>
                  <a:lnTo>
                    <a:pt x="145" y="154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40" y="150"/>
                  </a:lnTo>
                  <a:lnTo>
                    <a:pt x="138" y="150"/>
                  </a:lnTo>
                  <a:lnTo>
                    <a:pt x="136" y="150"/>
                  </a:lnTo>
                  <a:lnTo>
                    <a:pt x="132" y="150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4" y="146"/>
                  </a:lnTo>
                  <a:lnTo>
                    <a:pt x="122" y="146"/>
                  </a:lnTo>
                  <a:lnTo>
                    <a:pt x="120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7" y="148"/>
                  </a:lnTo>
                  <a:lnTo>
                    <a:pt x="94" y="148"/>
                  </a:lnTo>
                  <a:lnTo>
                    <a:pt x="94" y="150"/>
                  </a:lnTo>
                  <a:lnTo>
                    <a:pt x="92" y="150"/>
                  </a:lnTo>
                  <a:lnTo>
                    <a:pt x="90" y="150"/>
                  </a:lnTo>
                  <a:lnTo>
                    <a:pt x="86" y="150"/>
                  </a:lnTo>
                  <a:lnTo>
                    <a:pt x="84" y="152"/>
                  </a:lnTo>
                  <a:lnTo>
                    <a:pt x="82" y="152"/>
                  </a:lnTo>
                  <a:lnTo>
                    <a:pt x="78" y="152"/>
                  </a:lnTo>
                  <a:lnTo>
                    <a:pt x="76" y="154"/>
                  </a:lnTo>
                  <a:lnTo>
                    <a:pt x="74" y="154"/>
                  </a:lnTo>
                  <a:lnTo>
                    <a:pt x="73" y="154"/>
                  </a:lnTo>
                  <a:lnTo>
                    <a:pt x="71" y="154"/>
                  </a:lnTo>
                  <a:lnTo>
                    <a:pt x="67" y="154"/>
                  </a:lnTo>
                  <a:lnTo>
                    <a:pt x="65" y="154"/>
                  </a:lnTo>
                  <a:lnTo>
                    <a:pt x="63" y="154"/>
                  </a:lnTo>
                  <a:lnTo>
                    <a:pt x="61" y="154"/>
                  </a:lnTo>
                  <a:lnTo>
                    <a:pt x="57" y="154"/>
                  </a:lnTo>
                  <a:lnTo>
                    <a:pt x="55" y="154"/>
                  </a:lnTo>
                  <a:lnTo>
                    <a:pt x="53" y="154"/>
                  </a:lnTo>
                  <a:lnTo>
                    <a:pt x="51" y="156"/>
                  </a:lnTo>
                  <a:lnTo>
                    <a:pt x="49" y="156"/>
                  </a:lnTo>
                  <a:lnTo>
                    <a:pt x="48" y="156"/>
                  </a:lnTo>
                  <a:lnTo>
                    <a:pt x="46" y="156"/>
                  </a:lnTo>
                  <a:lnTo>
                    <a:pt x="44" y="156"/>
                  </a:lnTo>
                  <a:lnTo>
                    <a:pt x="38" y="156"/>
                  </a:lnTo>
                  <a:lnTo>
                    <a:pt x="34" y="158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2" y="156"/>
                  </a:lnTo>
                  <a:lnTo>
                    <a:pt x="32" y="154"/>
                  </a:lnTo>
                  <a:lnTo>
                    <a:pt x="32" y="150"/>
                  </a:lnTo>
                  <a:lnTo>
                    <a:pt x="32" y="148"/>
                  </a:lnTo>
                  <a:lnTo>
                    <a:pt x="32" y="146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4" y="140"/>
                  </a:lnTo>
                  <a:lnTo>
                    <a:pt x="34" y="136"/>
                  </a:lnTo>
                  <a:lnTo>
                    <a:pt x="34" y="135"/>
                  </a:lnTo>
                  <a:lnTo>
                    <a:pt x="34" y="129"/>
                  </a:lnTo>
                  <a:lnTo>
                    <a:pt x="36" y="129"/>
                  </a:lnTo>
                  <a:lnTo>
                    <a:pt x="38" y="129"/>
                  </a:lnTo>
                  <a:lnTo>
                    <a:pt x="40" y="129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7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9" y="125"/>
                  </a:lnTo>
                  <a:lnTo>
                    <a:pt x="51" y="125"/>
                  </a:lnTo>
                  <a:lnTo>
                    <a:pt x="53" y="123"/>
                  </a:lnTo>
                  <a:lnTo>
                    <a:pt x="55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9" y="123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2" y="115"/>
                  </a:lnTo>
                  <a:lnTo>
                    <a:pt x="82" y="113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2"/>
                  </a:lnTo>
                  <a:lnTo>
                    <a:pt x="86" y="112"/>
                  </a:lnTo>
                  <a:lnTo>
                    <a:pt x="88" y="110"/>
                  </a:lnTo>
                  <a:lnTo>
                    <a:pt x="92" y="112"/>
                  </a:lnTo>
                  <a:lnTo>
                    <a:pt x="96" y="112"/>
                  </a:lnTo>
                  <a:lnTo>
                    <a:pt x="97" y="112"/>
                  </a:lnTo>
                  <a:lnTo>
                    <a:pt x="99" y="113"/>
                  </a:lnTo>
                  <a:lnTo>
                    <a:pt x="99" y="115"/>
                  </a:lnTo>
                  <a:lnTo>
                    <a:pt x="103" y="115"/>
                  </a:lnTo>
                  <a:lnTo>
                    <a:pt x="107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13" y="115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21"/>
                  </a:lnTo>
                  <a:lnTo>
                    <a:pt x="117" y="121"/>
                  </a:lnTo>
                  <a:lnTo>
                    <a:pt x="119" y="121"/>
                  </a:lnTo>
                  <a:lnTo>
                    <a:pt x="120" y="121"/>
                  </a:lnTo>
                  <a:lnTo>
                    <a:pt x="122" y="123"/>
                  </a:lnTo>
                  <a:lnTo>
                    <a:pt x="124" y="123"/>
                  </a:lnTo>
                  <a:lnTo>
                    <a:pt x="124" y="125"/>
                  </a:lnTo>
                  <a:lnTo>
                    <a:pt x="128" y="125"/>
                  </a:lnTo>
                  <a:lnTo>
                    <a:pt x="130" y="125"/>
                  </a:lnTo>
                  <a:lnTo>
                    <a:pt x="132" y="127"/>
                  </a:lnTo>
                  <a:lnTo>
                    <a:pt x="134" y="125"/>
                  </a:lnTo>
                  <a:lnTo>
                    <a:pt x="138" y="125"/>
                  </a:lnTo>
                  <a:lnTo>
                    <a:pt x="138" y="125"/>
                  </a:lnTo>
                  <a:lnTo>
                    <a:pt x="140" y="123"/>
                  </a:lnTo>
                  <a:lnTo>
                    <a:pt x="144" y="123"/>
                  </a:lnTo>
                  <a:lnTo>
                    <a:pt x="145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17"/>
                  </a:lnTo>
                  <a:lnTo>
                    <a:pt x="151" y="115"/>
                  </a:lnTo>
                  <a:lnTo>
                    <a:pt x="153" y="115"/>
                  </a:lnTo>
                  <a:lnTo>
                    <a:pt x="153" y="113"/>
                  </a:lnTo>
                  <a:lnTo>
                    <a:pt x="155" y="112"/>
                  </a:lnTo>
                  <a:lnTo>
                    <a:pt x="153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5" y="112"/>
                  </a:lnTo>
                  <a:lnTo>
                    <a:pt x="144" y="112"/>
                  </a:lnTo>
                  <a:lnTo>
                    <a:pt x="142" y="112"/>
                  </a:lnTo>
                  <a:lnTo>
                    <a:pt x="140" y="112"/>
                  </a:lnTo>
                  <a:lnTo>
                    <a:pt x="138" y="113"/>
                  </a:lnTo>
                  <a:lnTo>
                    <a:pt x="134" y="113"/>
                  </a:lnTo>
                  <a:lnTo>
                    <a:pt x="132" y="113"/>
                  </a:lnTo>
                  <a:lnTo>
                    <a:pt x="132" y="113"/>
                  </a:lnTo>
                  <a:lnTo>
                    <a:pt x="130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0"/>
                  </a:lnTo>
                  <a:lnTo>
                    <a:pt x="126" y="110"/>
                  </a:lnTo>
                  <a:lnTo>
                    <a:pt x="124" y="108"/>
                  </a:lnTo>
                  <a:lnTo>
                    <a:pt x="122" y="106"/>
                  </a:lnTo>
                  <a:lnTo>
                    <a:pt x="120" y="108"/>
                  </a:lnTo>
                  <a:lnTo>
                    <a:pt x="119" y="106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5" y="104"/>
                  </a:lnTo>
                  <a:lnTo>
                    <a:pt x="113" y="104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09" y="100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1" y="98"/>
                  </a:lnTo>
                  <a:lnTo>
                    <a:pt x="99" y="98"/>
                  </a:lnTo>
                  <a:lnTo>
                    <a:pt x="97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2" y="94"/>
                  </a:lnTo>
                  <a:lnTo>
                    <a:pt x="80" y="94"/>
                  </a:lnTo>
                  <a:lnTo>
                    <a:pt x="78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71" y="98"/>
                  </a:lnTo>
                  <a:lnTo>
                    <a:pt x="71" y="100"/>
                  </a:lnTo>
                  <a:lnTo>
                    <a:pt x="67" y="100"/>
                  </a:lnTo>
                  <a:lnTo>
                    <a:pt x="65" y="104"/>
                  </a:lnTo>
                  <a:lnTo>
                    <a:pt x="63" y="104"/>
                  </a:lnTo>
                  <a:lnTo>
                    <a:pt x="61" y="104"/>
                  </a:lnTo>
                  <a:lnTo>
                    <a:pt x="59" y="104"/>
                  </a:lnTo>
                  <a:lnTo>
                    <a:pt x="57" y="104"/>
                  </a:lnTo>
                  <a:lnTo>
                    <a:pt x="55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49" y="104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2" y="104"/>
                  </a:lnTo>
                  <a:lnTo>
                    <a:pt x="40" y="102"/>
                  </a:lnTo>
                  <a:lnTo>
                    <a:pt x="38" y="102"/>
                  </a:lnTo>
                  <a:lnTo>
                    <a:pt x="34" y="100"/>
                  </a:lnTo>
                  <a:lnTo>
                    <a:pt x="32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0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3" y="79"/>
                  </a:lnTo>
                  <a:lnTo>
                    <a:pt x="21" y="77"/>
                  </a:lnTo>
                  <a:lnTo>
                    <a:pt x="21" y="73"/>
                  </a:lnTo>
                  <a:lnTo>
                    <a:pt x="17" y="71"/>
                  </a:lnTo>
                  <a:lnTo>
                    <a:pt x="17" y="67"/>
                  </a:lnTo>
                  <a:lnTo>
                    <a:pt x="15" y="65"/>
                  </a:lnTo>
                  <a:lnTo>
                    <a:pt x="13" y="65"/>
                  </a:lnTo>
                  <a:lnTo>
                    <a:pt x="11" y="64"/>
                  </a:lnTo>
                  <a:lnTo>
                    <a:pt x="11" y="62"/>
                  </a:lnTo>
                  <a:lnTo>
                    <a:pt x="9" y="62"/>
                  </a:lnTo>
                  <a:lnTo>
                    <a:pt x="7" y="62"/>
                  </a:lnTo>
                  <a:lnTo>
                    <a:pt x="5" y="60"/>
                  </a:lnTo>
                  <a:lnTo>
                    <a:pt x="3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2" y="54"/>
                  </a:lnTo>
                  <a:lnTo>
                    <a:pt x="5" y="54"/>
                  </a:lnTo>
                  <a:lnTo>
                    <a:pt x="7" y="54"/>
                  </a:lnTo>
                  <a:lnTo>
                    <a:pt x="11" y="54"/>
                  </a:lnTo>
                  <a:lnTo>
                    <a:pt x="13" y="50"/>
                  </a:lnTo>
                  <a:lnTo>
                    <a:pt x="15" y="48"/>
                  </a:lnTo>
                  <a:lnTo>
                    <a:pt x="17" y="46"/>
                  </a:lnTo>
                  <a:lnTo>
                    <a:pt x="19" y="42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8" y="33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30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4" y="19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8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3" y="4"/>
                  </a:lnTo>
                  <a:lnTo>
                    <a:pt x="55" y="4"/>
                  </a:lnTo>
                  <a:lnTo>
                    <a:pt x="57" y="2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140" y="2"/>
                  </a:lnTo>
                  <a:lnTo>
                    <a:pt x="163" y="21"/>
                  </a:lnTo>
                  <a:lnTo>
                    <a:pt x="188" y="50"/>
                  </a:lnTo>
                  <a:lnTo>
                    <a:pt x="197" y="7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3" name="Freeform 70"/>
            <p:cNvSpPr>
              <a:spLocks/>
            </p:cNvSpPr>
            <p:nvPr/>
          </p:nvSpPr>
          <p:spPr bwMode="auto">
            <a:xfrm>
              <a:off x="531" y="1710"/>
              <a:ext cx="222" cy="161"/>
            </a:xfrm>
            <a:custGeom>
              <a:avLst/>
              <a:gdLst/>
              <a:ahLst/>
              <a:cxnLst>
                <a:cxn ang="0">
                  <a:pos x="193" y="85"/>
                </a:cxn>
                <a:cxn ang="0">
                  <a:pos x="199" y="94"/>
                </a:cxn>
                <a:cxn ang="0">
                  <a:pos x="203" y="106"/>
                </a:cxn>
                <a:cxn ang="0">
                  <a:pos x="201" y="119"/>
                </a:cxn>
                <a:cxn ang="0">
                  <a:pos x="211" y="127"/>
                </a:cxn>
                <a:cxn ang="0">
                  <a:pos x="220" y="135"/>
                </a:cxn>
                <a:cxn ang="0">
                  <a:pos x="222" y="148"/>
                </a:cxn>
                <a:cxn ang="0">
                  <a:pos x="220" y="161"/>
                </a:cxn>
                <a:cxn ang="0">
                  <a:pos x="205" y="161"/>
                </a:cxn>
                <a:cxn ang="0">
                  <a:pos x="193" y="161"/>
                </a:cxn>
                <a:cxn ang="0">
                  <a:pos x="178" y="160"/>
                </a:cxn>
                <a:cxn ang="0">
                  <a:pos x="167" y="158"/>
                </a:cxn>
                <a:cxn ang="0">
                  <a:pos x="157" y="158"/>
                </a:cxn>
                <a:cxn ang="0">
                  <a:pos x="144" y="152"/>
                </a:cxn>
                <a:cxn ang="0">
                  <a:pos x="132" y="148"/>
                </a:cxn>
                <a:cxn ang="0">
                  <a:pos x="117" y="146"/>
                </a:cxn>
                <a:cxn ang="0">
                  <a:pos x="103" y="146"/>
                </a:cxn>
                <a:cxn ang="0">
                  <a:pos x="94" y="150"/>
                </a:cxn>
                <a:cxn ang="0">
                  <a:pos x="78" y="152"/>
                </a:cxn>
                <a:cxn ang="0">
                  <a:pos x="65" y="154"/>
                </a:cxn>
                <a:cxn ang="0">
                  <a:pos x="51" y="156"/>
                </a:cxn>
                <a:cxn ang="0">
                  <a:pos x="34" y="158"/>
                </a:cxn>
                <a:cxn ang="0">
                  <a:pos x="32" y="148"/>
                </a:cxn>
                <a:cxn ang="0">
                  <a:pos x="34" y="135"/>
                </a:cxn>
                <a:cxn ang="0">
                  <a:pos x="44" y="127"/>
                </a:cxn>
                <a:cxn ang="0">
                  <a:pos x="53" y="123"/>
                </a:cxn>
                <a:cxn ang="0">
                  <a:pos x="69" y="123"/>
                </a:cxn>
                <a:cxn ang="0">
                  <a:pos x="80" y="117"/>
                </a:cxn>
                <a:cxn ang="0">
                  <a:pos x="86" y="112"/>
                </a:cxn>
                <a:cxn ang="0">
                  <a:pos x="99" y="115"/>
                </a:cxn>
                <a:cxn ang="0">
                  <a:pos x="113" y="117"/>
                </a:cxn>
                <a:cxn ang="0">
                  <a:pos x="122" y="123"/>
                </a:cxn>
                <a:cxn ang="0">
                  <a:pos x="134" y="125"/>
                </a:cxn>
                <a:cxn ang="0">
                  <a:pos x="147" y="121"/>
                </a:cxn>
                <a:cxn ang="0">
                  <a:pos x="155" y="112"/>
                </a:cxn>
                <a:cxn ang="0">
                  <a:pos x="142" y="112"/>
                </a:cxn>
                <a:cxn ang="0">
                  <a:pos x="130" y="112"/>
                </a:cxn>
                <a:cxn ang="0">
                  <a:pos x="122" y="106"/>
                </a:cxn>
                <a:cxn ang="0">
                  <a:pos x="113" y="104"/>
                </a:cxn>
                <a:cxn ang="0">
                  <a:pos x="103" y="100"/>
                </a:cxn>
                <a:cxn ang="0">
                  <a:pos x="92" y="96"/>
                </a:cxn>
                <a:cxn ang="0">
                  <a:pos x="82" y="94"/>
                </a:cxn>
                <a:cxn ang="0">
                  <a:pos x="71" y="96"/>
                </a:cxn>
                <a:cxn ang="0">
                  <a:pos x="61" y="104"/>
                </a:cxn>
                <a:cxn ang="0">
                  <a:pos x="49" y="104"/>
                </a:cxn>
                <a:cxn ang="0">
                  <a:pos x="34" y="100"/>
                </a:cxn>
                <a:cxn ang="0">
                  <a:pos x="26" y="96"/>
                </a:cxn>
                <a:cxn ang="0">
                  <a:pos x="23" y="83"/>
                </a:cxn>
                <a:cxn ang="0">
                  <a:pos x="15" y="65"/>
                </a:cxn>
                <a:cxn ang="0">
                  <a:pos x="5" y="60"/>
                </a:cxn>
                <a:cxn ang="0">
                  <a:pos x="5" y="54"/>
                </a:cxn>
                <a:cxn ang="0">
                  <a:pos x="19" y="42"/>
                </a:cxn>
                <a:cxn ang="0">
                  <a:pos x="26" y="35"/>
                </a:cxn>
                <a:cxn ang="0">
                  <a:pos x="32" y="27"/>
                </a:cxn>
                <a:cxn ang="0">
                  <a:pos x="38" y="16"/>
                </a:cxn>
                <a:cxn ang="0">
                  <a:pos x="49" y="10"/>
                </a:cxn>
                <a:cxn ang="0">
                  <a:pos x="57" y="2"/>
                </a:cxn>
                <a:cxn ang="0">
                  <a:pos x="69" y="2"/>
                </a:cxn>
                <a:cxn ang="0">
                  <a:pos x="188" y="50"/>
                </a:cxn>
              </a:cxnLst>
              <a:rect l="0" t="0" r="r" b="b"/>
              <a:pathLst>
                <a:path w="222" h="161">
                  <a:moveTo>
                    <a:pt x="197" y="71"/>
                  </a:moveTo>
                  <a:lnTo>
                    <a:pt x="195" y="75"/>
                  </a:lnTo>
                  <a:lnTo>
                    <a:pt x="195" y="77"/>
                  </a:lnTo>
                  <a:lnTo>
                    <a:pt x="195" y="83"/>
                  </a:lnTo>
                  <a:lnTo>
                    <a:pt x="193" y="83"/>
                  </a:lnTo>
                  <a:lnTo>
                    <a:pt x="193" y="85"/>
                  </a:lnTo>
                  <a:lnTo>
                    <a:pt x="195" y="89"/>
                  </a:lnTo>
                  <a:lnTo>
                    <a:pt x="195" y="90"/>
                  </a:lnTo>
                  <a:lnTo>
                    <a:pt x="195" y="92"/>
                  </a:lnTo>
                  <a:lnTo>
                    <a:pt x="195" y="94"/>
                  </a:lnTo>
                  <a:lnTo>
                    <a:pt x="197" y="94"/>
                  </a:lnTo>
                  <a:lnTo>
                    <a:pt x="199" y="94"/>
                  </a:lnTo>
                  <a:lnTo>
                    <a:pt x="201" y="94"/>
                  </a:lnTo>
                  <a:lnTo>
                    <a:pt x="201" y="98"/>
                  </a:lnTo>
                  <a:lnTo>
                    <a:pt x="203" y="100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8"/>
                  </a:lnTo>
                  <a:lnTo>
                    <a:pt x="203" y="110"/>
                  </a:lnTo>
                  <a:lnTo>
                    <a:pt x="201" y="112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3" y="123"/>
                  </a:lnTo>
                  <a:lnTo>
                    <a:pt x="205" y="125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4" y="129"/>
                  </a:lnTo>
                  <a:lnTo>
                    <a:pt x="216" y="131"/>
                  </a:lnTo>
                  <a:lnTo>
                    <a:pt x="218" y="133"/>
                  </a:lnTo>
                  <a:lnTo>
                    <a:pt x="218" y="135"/>
                  </a:lnTo>
                  <a:lnTo>
                    <a:pt x="220" y="135"/>
                  </a:lnTo>
                  <a:lnTo>
                    <a:pt x="220" y="138"/>
                  </a:lnTo>
                  <a:lnTo>
                    <a:pt x="220" y="140"/>
                  </a:lnTo>
                  <a:lnTo>
                    <a:pt x="220" y="142"/>
                  </a:lnTo>
                  <a:lnTo>
                    <a:pt x="220" y="144"/>
                  </a:lnTo>
                  <a:lnTo>
                    <a:pt x="222" y="146"/>
                  </a:lnTo>
                  <a:lnTo>
                    <a:pt x="222" y="148"/>
                  </a:lnTo>
                  <a:lnTo>
                    <a:pt x="222" y="150"/>
                  </a:lnTo>
                  <a:lnTo>
                    <a:pt x="222" y="152"/>
                  </a:lnTo>
                  <a:lnTo>
                    <a:pt x="222" y="156"/>
                  </a:lnTo>
                  <a:lnTo>
                    <a:pt x="222" y="160"/>
                  </a:lnTo>
                  <a:lnTo>
                    <a:pt x="222" y="161"/>
                  </a:lnTo>
                  <a:lnTo>
                    <a:pt x="220" y="161"/>
                  </a:lnTo>
                  <a:lnTo>
                    <a:pt x="218" y="161"/>
                  </a:lnTo>
                  <a:lnTo>
                    <a:pt x="216" y="161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09" y="161"/>
                  </a:lnTo>
                  <a:lnTo>
                    <a:pt x="205" y="161"/>
                  </a:lnTo>
                  <a:lnTo>
                    <a:pt x="203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5" y="161"/>
                  </a:lnTo>
                  <a:lnTo>
                    <a:pt x="193" y="161"/>
                  </a:lnTo>
                  <a:lnTo>
                    <a:pt x="193" y="161"/>
                  </a:lnTo>
                  <a:lnTo>
                    <a:pt x="191" y="160"/>
                  </a:lnTo>
                  <a:lnTo>
                    <a:pt x="190" y="160"/>
                  </a:lnTo>
                  <a:lnTo>
                    <a:pt x="188" y="161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78" y="160"/>
                  </a:lnTo>
                  <a:lnTo>
                    <a:pt x="176" y="158"/>
                  </a:lnTo>
                  <a:lnTo>
                    <a:pt x="174" y="158"/>
                  </a:lnTo>
                  <a:lnTo>
                    <a:pt x="172" y="158"/>
                  </a:lnTo>
                  <a:lnTo>
                    <a:pt x="168" y="158"/>
                  </a:lnTo>
                  <a:lnTo>
                    <a:pt x="168" y="158"/>
                  </a:lnTo>
                  <a:lnTo>
                    <a:pt x="167" y="158"/>
                  </a:lnTo>
                  <a:lnTo>
                    <a:pt x="165" y="160"/>
                  </a:lnTo>
                  <a:lnTo>
                    <a:pt x="163" y="160"/>
                  </a:lnTo>
                  <a:lnTo>
                    <a:pt x="161" y="160"/>
                  </a:lnTo>
                  <a:lnTo>
                    <a:pt x="161" y="158"/>
                  </a:lnTo>
                  <a:lnTo>
                    <a:pt x="157" y="158"/>
                  </a:lnTo>
                  <a:lnTo>
                    <a:pt x="157" y="158"/>
                  </a:lnTo>
                  <a:lnTo>
                    <a:pt x="155" y="156"/>
                  </a:lnTo>
                  <a:lnTo>
                    <a:pt x="153" y="156"/>
                  </a:lnTo>
                  <a:lnTo>
                    <a:pt x="149" y="156"/>
                  </a:lnTo>
                  <a:lnTo>
                    <a:pt x="149" y="154"/>
                  </a:lnTo>
                  <a:lnTo>
                    <a:pt x="145" y="154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140" y="150"/>
                  </a:lnTo>
                  <a:lnTo>
                    <a:pt x="138" y="150"/>
                  </a:lnTo>
                  <a:lnTo>
                    <a:pt x="136" y="150"/>
                  </a:lnTo>
                  <a:lnTo>
                    <a:pt x="132" y="150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4" y="146"/>
                  </a:lnTo>
                  <a:lnTo>
                    <a:pt x="122" y="146"/>
                  </a:lnTo>
                  <a:lnTo>
                    <a:pt x="120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3" y="146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7" y="148"/>
                  </a:lnTo>
                  <a:lnTo>
                    <a:pt x="94" y="148"/>
                  </a:lnTo>
                  <a:lnTo>
                    <a:pt x="94" y="150"/>
                  </a:lnTo>
                  <a:lnTo>
                    <a:pt x="92" y="150"/>
                  </a:lnTo>
                  <a:lnTo>
                    <a:pt x="90" y="150"/>
                  </a:lnTo>
                  <a:lnTo>
                    <a:pt x="86" y="150"/>
                  </a:lnTo>
                  <a:lnTo>
                    <a:pt x="84" y="152"/>
                  </a:lnTo>
                  <a:lnTo>
                    <a:pt x="82" y="152"/>
                  </a:lnTo>
                  <a:lnTo>
                    <a:pt x="78" y="152"/>
                  </a:lnTo>
                  <a:lnTo>
                    <a:pt x="76" y="154"/>
                  </a:lnTo>
                  <a:lnTo>
                    <a:pt x="74" y="154"/>
                  </a:lnTo>
                  <a:lnTo>
                    <a:pt x="73" y="154"/>
                  </a:lnTo>
                  <a:lnTo>
                    <a:pt x="71" y="154"/>
                  </a:lnTo>
                  <a:lnTo>
                    <a:pt x="67" y="154"/>
                  </a:lnTo>
                  <a:lnTo>
                    <a:pt x="65" y="154"/>
                  </a:lnTo>
                  <a:lnTo>
                    <a:pt x="63" y="154"/>
                  </a:lnTo>
                  <a:lnTo>
                    <a:pt x="61" y="154"/>
                  </a:lnTo>
                  <a:lnTo>
                    <a:pt x="57" y="154"/>
                  </a:lnTo>
                  <a:lnTo>
                    <a:pt x="55" y="154"/>
                  </a:lnTo>
                  <a:lnTo>
                    <a:pt x="53" y="154"/>
                  </a:lnTo>
                  <a:lnTo>
                    <a:pt x="51" y="156"/>
                  </a:lnTo>
                  <a:lnTo>
                    <a:pt x="49" y="156"/>
                  </a:lnTo>
                  <a:lnTo>
                    <a:pt x="48" y="156"/>
                  </a:lnTo>
                  <a:lnTo>
                    <a:pt x="46" y="156"/>
                  </a:lnTo>
                  <a:lnTo>
                    <a:pt x="44" y="156"/>
                  </a:lnTo>
                  <a:lnTo>
                    <a:pt x="38" y="156"/>
                  </a:lnTo>
                  <a:lnTo>
                    <a:pt x="34" y="158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2" y="156"/>
                  </a:lnTo>
                  <a:lnTo>
                    <a:pt x="32" y="154"/>
                  </a:lnTo>
                  <a:lnTo>
                    <a:pt x="32" y="150"/>
                  </a:lnTo>
                  <a:lnTo>
                    <a:pt x="32" y="148"/>
                  </a:lnTo>
                  <a:lnTo>
                    <a:pt x="32" y="146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4" y="140"/>
                  </a:lnTo>
                  <a:lnTo>
                    <a:pt x="34" y="136"/>
                  </a:lnTo>
                  <a:lnTo>
                    <a:pt x="34" y="135"/>
                  </a:lnTo>
                  <a:lnTo>
                    <a:pt x="34" y="129"/>
                  </a:lnTo>
                  <a:lnTo>
                    <a:pt x="36" y="129"/>
                  </a:lnTo>
                  <a:lnTo>
                    <a:pt x="38" y="129"/>
                  </a:lnTo>
                  <a:lnTo>
                    <a:pt x="40" y="129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7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9" y="125"/>
                  </a:lnTo>
                  <a:lnTo>
                    <a:pt x="51" y="125"/>
                  </a:lnTo>
                  <a:lnTo>
                    <a:pt x="53" y="123"/>
                  </a:lnTo>
                  <a:lnTo>
                    <a:pt x="55" y="123"/>
                  </a:lnTo>
                  <a:lnTo>
                    <a:pt x="59" y="123"/>
                  </a:lnTo>
                  <a:lnTo>
                    <a:pt x="61" y="123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9" y="123"/>
                  </a:lnTo>
                  <a:lnTo>
                    <a:pt x="73" y="121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2" y="115"/>
                  </a:lnTo>
                  <a:lnTo>
                    <a:pt x="82" y="113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84" y="112"/>
                  </a:lnTo>
                  <a:lnTo>
                    <a:pt x="86" y="112"/>
                  </a:lnTo>
                  <a:lnTo>
                    <a:pt x="88" y="110"/>
                  </a:lnTo>
                  <a:lnTo>
                    <a:pt x="92" y="112"/>
                  </a:lnTo>
                  <a:lnTo>
                    <a:pt x="96" y="112"/>
                  </a:lnTo>
                  <a:lnTo>
                    <a:pt x="97" y="112"/>
                  </a:lnTo>
                  <a:lnTo>
                    <a:pt x="99" y="113"/>
                  </a:lnTo>
                  <a:lnTo>
                    <a:pt x="99" y="115"/>
                  </a:lnTo>
                  <a:lnTo>
                    <a:pt x="103" y="115"/>
                  </a:lnTo>
                  <a:lnTo>
                    <a:pt x="107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13" y="115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21"/>
                  </a:lnTo>
                  <a:lnTo>
                    <a:pt x="117" y="121"/>
                  </a:lnTo>
                  <a:lnTo>
                    <a:pt x="119" y="121"/>
                  </a:lnTo>
                  <a:lnTo>
                    <a:pt x="120" y="121"/>
                  </a:lnTo>
                  <a:lnTo>
                    <a:pt x="122" y="123"/>
                  </a:lnTo>
                  <a:lnTo>
                    <a:pt x="124" y="123"/>
                  </a:lnTo>
                  <a:lnTo>
                    <a:pt x="124" y="125"/>
                  </a:lnTo>
                  <a:lnTo>
                    <a:pt x="128" y="125"/>
                  </a:lnTo>
                  <a:lnTo>
                    <a:pt x="130" y="125"/>
                  </a:lnTo>
                  <a:lnTo>
                    <a:pt x="132" y="127"/>
                  </a:lnTo>
                  <a:lnTo>
                    <a:pt x="134" y="125"/>
                  </a:lnTo>
                  <a:lnTo>
                    <a:pt x="138" y="125"/>
                  </a:lnTo>
                  <a:lnTo>
                    <a:pt x="138" y="125"/>
                  </a:lnTo>
                  <a:lnTo>
                    <a:pt x="140" y="123"/>
                  </a:lnTo>
                  <a:lnTo>
                    <a:pt x="144" y="123"/>
                  </a:lnTo>
                  <a:lnTo>
                    <a:pt x="145" y="121"/>
                  </a:lnTo>
                  <a:lnTo>
                    <a:pt x="147" y="121"/>
                  </a:lnTo>
                  <a:lnTo>
                    <a:pt x="149" y="121"/>
                  </a:lnTo>
                  <a:lnTo>
                    <a:pt x="149" y="117"/>
                  </a:lnTo>
                  <a:lnTo>
                    <a:pt x="151" y="115"/>
                  </a:lnTo>
                  <a:lnTo>
                    <a:pt x="153" y="115"/>
                  </a:lnTo>
                  <a:lnTo>
                    <a:pt x="153" y="113"/>
                  </a:lnTo>
                  <a:lnTo>
                    <a:pt x="155" y="112"/>
                  </a:lnTo>
                  <a:lnTo>
                    <a:pt x="153" y="112"/>
                  </a:lnTo>
                  <a:lnTo>
                    <a:pt x="151" y="112"/>
                  </a:lnTo>
                  <a:lnTo>
                    <a:pt x="149" y="112"/>
                  </a:lnTo>
                  <a:lnTo>
                    <a:pt x="145" y="112"/>
                  </a:lnTo>
                  <a:lnTo>
                    <a:pt x="144" y="112"/>
                  </a:lnTo>
                  <a:lnTo>
                    <a:pt x="142" y="112"/>
                  </a:lnTo>
                  <a:lnTo>
                    <a:pt x="140" y="112"/>
                  </a:lnTo>
                  <a:lnTo>
                    <a:pt x="138" y="113"/>
                  </a:lnTo>
                  <a:lnTo>
                    <a:pt x="134" y="113"/>
                  </a:lnTo>
                  <a:lnTo>
                    <a:pt x="132" y="113"/>
                  </a:lnTo>
                  <a:lnTo>
                    <a:pt x="132" y="113"/>
                  </a:lnTo>
                  <a:lnTo>
                    <a:pt x="130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0"/>
                  </a:lnTo>
                  <a:lnTo>
                    <a:pt x="126" y="110"/>
                  </a:lnTo>
                  <a:lnTo>
                    <a:pt x="124" y="108"/>
                  </a:lnTo>
                  <a:lnTo>
                    <a:pt x="122" y="106"/>
                  </a:lnTo>
                  <a:lnTo>
                    <a:pt x="120" y="108"/>
                  </a:lnTo>
                  <a:lnTo>
                    <a:pt x="119" y="106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5" y="104"/>
                  </a:lnTo>
                  <a:lnTo>
                    <a:pt x="113" y="104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09" y="100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1" y="98"/>
                  </a:lnTo>
                  <a:lnTo>
                    <a:pt x="99" y="98"/>
                  </a:lnTo>
                  <a:lnTo>
                    <a:pt x="97" y="98"/>
                  </a:lnTo>
                  <a:lnTo>
                    <a:pt x="96" y="96"/>
                  </a:lnTo>
                  <a:lnTo>
                    <a:pt x="94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6" y="94"/>
                  </a:lnTo>
                  <a:lnTo>
                    <a:pt x="84" y="94"/>
                  </a:lnTo>
                  <a:lnTo>
                    <a:pt x="82" y="94"/>
                  </a:lnTo>
                  <a:lnTo>
                    <a:pt x="80" y="94"/>
                  </a:lnTo>
                  <a:lnTo>
                    <a:pt x="78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71" y="98"/>
                  </a:lnTo>
                  <a:lnTo>
                    <a:pt x="71" y="100"/>
                  </a:lnTo>
                  <a:lnTo>
                    <a:pt x="67" y="100"/>
                  </a:lnTo>
                  <a:lnTo>
                    <a:pt x="65" y="104"/>
                  </a:lnTo>
                  <a:lnTo>
                    <a:pt x="63" y="104"/>
                  </a:lnTo>
                  <a:lnTo>
                    <a:pt x="61" y="104"/>
                  </a:lnTo>
                  <a:lnTo>
                    <a:pt x="59" y="104"/>
                  </a:lnTo>
                  <a:lnTo>
                    <a:pt x="57" y="104"/>
                  </a:lnTo>
                  <a:lnTo>
                    <a:pt x="55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49" y="104"/>
                  </a:lnTo>
                  <a:lnTo>
                    <a:pt x="46" y="104"/>
                  </a:lnTo>
                  <a:lnTo>
                    <a:pt x="44" y="104"/>
                  </a:lnTo>
                  <a:lnTo>
                    <a:pt x="42" y="104"/>
                  </a:lnTo>
                  <a:lnTo>
                    <a:pt x="40" y="102"/>
                  </a:lnTo>
                  <a:lnTo>
                    <a:pt x="38" y="102"/>
                  </a:lnTo>
                  <a:lnTo>
                    <a:pt x="34" y="100"/>
                  </a:lnTo>
                  <a:lnTo>
                    <a:pt x="32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0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3" y="79"/>
                  </a:lnTo>
                  <a:lnTo>
                    <a:pt x="21" y="77"/>
                  </a:lnTo>
                  <a:lnTo>
                    <a:pt x="21" y="73"/>
                  </a:lnTo>
                  <a:lnTo>
                    <a:pt x="17" y="71"/>
                  </a:lnTo>
                  <a:lnTo>
                    <a:pt x="17" y="67"/>
                  </a:lnTo>
                  <a:lnTo>
                    <a:pt x="15" y="65"/>
                  </a:lnTo>
                  <a:lnTo>
                    <a:pt x="13" y="65"/>
                  </a:lnTo>
                  <a:lnTo>
                    <a:pt x="11" y="64"/>
                  </a:lnTo>
                  <a:lnTo>
                    <a:pt x="11" y="62"/>
                  </a:lnTo>
                  <a:lnTo>
                    <a:pt x="9" y="62"/>
                  </a:lnTo>
                  <a:lnTo>
                    <a:pt x="7" y="62"/>
                  </a:lnTo>
                  <a:lnTo>
                    <a:pt x="5" y="60"/>
                  </a:lnTo>
                  <a:lnTo>
                    <a:pt x="3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2" y="54"/>
                  </a:lnTo>
                  <a:lnTo>
                    <a:pt x="5" y="54"/>
                  </a:lnTo>
                  <a:lnTo>
                    <a:pt x="7" y="54"/>
                  </a:lnTo>
                  <a:lnTo>
                    <a:pt x="11" y="54"/>
                  </a:lnTo>
                  <a:lnTo>
                    <a:pt x="13" y="50"/>
                  </a:lnTo>
                  <a:lnTo>
                    <a:pt x="15" y="48"/>
                  </a:lnTo>
                  <a:lnTo>
                    <a:pt x="17" y="46"/>
                  </a:lnTo>
                  <a:lnTo>
                    <a:pt x="19" y="42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8" y="33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30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4" y="19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8" y="10"/>
                  </a:lnTo>
                  <a:lnTo>
                    <a:pt x="49" y="10"/>
                  </a:lnTo>
                  <a:lnTo>
                    <a:pt x="49" y="8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3" y="4"/>
                  </a:lnTo>
                  <a:lnTo>
                    <a:pt x="55" y="4"/>
                  </a:lnTo>
                  <a:lnTo>
                    <a:pt x="57" y="2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140" y="2"/>
                  </a:lnTo>
                  <a:lnTo>
                    <a:pt x="163" y="21"/>
                  </a:lnTo>
                  <a:lnTo>
                    <a:pt x="188" y="50"/>
                  </a:lnTo>
                  <a:lnTo>
                    <a:pt x="197" y="71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4" name="Freeform 71"/>
            <p:cNvSpPr>
              <a:spLocks/>
            </p:cNvSpPr>
            <p:nvPr/>
          </p:nvSpPr>
          <p:spPr bwMode="auto">
            <a:xfrm>
              <a:off x="557" y="1804"/>
              <a:ext cx="129" cy="3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21"/>
                </a:cxn>
                <a:cxn ang="0">
                  <a:pos x="4" y="27"/>
                </a:cxn>
                <a:cxn ang="0">
                  <a:pos x="6" y="35"/>
                </a:cxn>
                <a:cxn ang="0">
                  <a:pos x="12" y="37"/>
                </a:cxn>
                <a:cxn ang="0">
                  <a:pos x="18" y="31"/>
                </a:cxn>
                <a:cxn ang="0">
                  <a:pos x="22" y="29"/>
                </a:cxn>
                <a:cxn ang="0">
                  <a:pos x="25" y="29"/>
                </a:cxn>
                <a:cxn ang="0">
                  <a:pos x="35" y="29"/>
                </a:cxn>
                <a:cxn ang="0">
                  <a:pos x="41" y="27"/>
                </a:cxn>
                <a:cxn ang="0">
                  <a:pos x="45" y="27"/>
                </a:cxn>
                <a:cxn ang="0">
                  <a:pos x="50" y="27"/>
                </a:cxn>
                <a:cxn ang="0">
                  <a:pos x="56" y="23"/>
                </a:cxn>
                <a:cxn ang="0">
                  <a:pos x="56" y="18"/>
                </a:cxn>
                <a:cxn ang="0">
                  <a:pos x="60" y="16"/>
                </a:cxn>
                <a:cxn ang="0">
                  <a:pos x="66" y="16"/>
                </a:cxn>
                <a:cxn ang="0">
                  <a:pos x="70" y="19"/>
                </a:cxn>
                <a:cxn ang="0">
                  <a:pos x="77" y="21"/>
                </a:cxn>
                <a:cxn ang="0">
                  <a:pos x="81" y="19"/>
                </a:cxn>
                <a:cxn ang="0">
                  <a:pos x="87" y="21"/>
                </a:cxn>
                <a:cxn ang="0">
                  <a:pos x="93" y="25"/>
                </a:cxn>
                <a:cxn ang="0">
                  <a:pos x="96" y="29"/>
                </a:cxn>
                <a:cxn ang="0">
                  <a:pos x="106" y="33"/>
                </a:cxn>
                <a:cxn ang="0">
                  <a:pos x="114" y="29"/>
                </a:cxn>
                <a:cxn ang="0">
                  <a:pos x="118" y="27"/>
                </a:cxn>
                <a:cxn ang="0">
                  <a:pos x="123" y="25"/>
                </a:cxn>
                <a:cxn ang="0">
                  <a:pos x="127" y="21"/>
                </a:cxn>
                <a:cxn ang="0">
                  <a:pos x="125" y="18"/>
                </a:cxn>
                <a:cxn ang="0">
                  <a:pos x="121" y="18"/>
                </a:cxn>
                <a:cxn ang="0">
                  <a:pos x="116" y="19"/>
                </a:cxn>
                <a:cxn ang="0">
                  <a:pos x="112" y="19"/>
                </a:cxn>
                <a:cxn ang="0">
                  <a:pos x="106" y="18"/>
                </a:cxn>
                <a:cxn ang="0">
                  <a:pos x="102" y="16"/>
                </a:cxn>
                <a:cxn ang="0">
                  <a:pos x="96" y="12"/>
                </a:cxn>
                <a:cxn ang="0">
                  <a:pos x="89" y="10"/>
                </a:cxn>
                <a:cxn ang="0">
                  <a:pos x="85" y="8"/>
                </a:cxn>
                <a:cxn ang="0">
                  <a:pos x="79" y="6"/>
                </a:cxn>
                <a:cxn ang="0">
                  <a:pos x="73" y="2"/>
                </a:cxn>
                <a:cxn ang="0">
                  <a:pos x="68" y="2"/>
                </a:cxn>
                <a:cxn ang="0">
                  <a:pos x="62" y="0"/>
                </a:cxn>
                <a:cxn ang="0">
                  <a:pos x="58" y="0"/>
                </a:cxn>
                <a:cxn ang="0">
                  <a:pos x="50" y="0"/>
                </a:cxn>
                <a:cxn ang="0">
                  <a:pos x="45" y="2"/>
                </a:cxn>
                <a:cxn ang="0">
                  <a:pos x="37" y="8"/>
                </a:cxn>
                <a:cxn ang="0">
                  <a:pos x="31" y="12"/>
                </a:cxn>
                <a:cxn ang="0">
                  <a:pos x="23" y="10"/>
                </a:cxn>
                <a:cxn ang="0">
                  <a:pos x="20" y="10"/>
                </a:cxn>
                <a:cxn ang="0">
                  <a:pos x="12" y="8"/>
                </a:cxn>
                <a:cxn ang="0">
                  <a:pos x="6" y="6"/>
                </a:cxn>
                <a:cxn ang="0">
                  <a:pos x="2" y="6"/>
                </a:cxn>
              </a:cxnLst>
              <a:rect l="0" t="0" r="r" b="b"/>
              <a:pathLst>
                <a:path w="129" h="39">
                  <a:moveTo>
                    <a:pt x="0" y="6"/>
                  </a:move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5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2" y="39"/>
                  </a:lnTo>
                  <a:lnTo>
                    <a:pt x="12" y="37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6" y="33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7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19"/>
                  </a:lnTo>
                  <a:lnTo>
                    <a:pt x="56" y="18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3"/>
                  </a:lnTo>
                  <a:lnTo>
                    <a:pt x="89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8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8" y="31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4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5" y="21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8"/>
                  </a:lnTo>
                  <a:lnTo>
                    <a:pt x="127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9" y="18"/>
                  </a:lnTo>
                  <a:lnTo>
                    <a:pt x="118" y="18"/>
                  </a:lnTo>
                  <a:lnTo>
                    <a:pt x="116" y="19"/>
                  </a:lnTo>
                  <a:lnTo>
                    <a:pt x="116" y="19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0" y="19"/>
                  </a:lnTo>
                  <a:lnTo>
                    <a:pt x="108" y="19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2" y="16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96" y="12"/>
                  </a:lnTo>
                  <a:lnTo>
                    <a:pt x="94" y="12"/>
                  </a:lnTo>
                  <a:lnTo>
                    <a:pt x="93" y="10"/>
                  </a:lnTo>
                  <a:lnTo>
                    <a:pt x="91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7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3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7" y="8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9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5" name="Freeform 72"/>
            <p:cNvSpPr>
              <a:spLocks/>
            </p:cNvSpPr>
            <p:nvPr/>
          </p:nvSpPr>
          <p:spPr bwMode="auto">
            <a:xfrm>
              <a:off x="557" y="1804"/>
              <a:ext cx="129" cy="39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" y="21"/>
                </a:cxn>
                <a:cxn ang="0">
                  <a:pos x="4" y="27"/>
                </a:cxn>
                <a:cxn ang="0">
                  <a:pos x="6" y="35"/>
                </a:cxn>
                <a:cxn ang="0">
                  <a:pos x="12" y="37"/>
                </a:cxn>
                <a:cxn ang="0">
                  <a:pos x="18" y="31"/>
                </a:cxn>
                <a:cxn ang="0">
                  <a:pos x="22" y="29"/>
                </a:cxn>
                <a:cxn ang="0">
                  <a:pos x="25" y="29"/>
                </a:cxn>
                <a:cxn ang="0">
                  <a:pos x="35" y="29"/>
                </a:cxn>
                <a:cxn ang="0">
                  <a:pos x="41" y="27"/>
                </a:cxn>
                <a:cxn ang="0">
                  <a:pos x="45" y="27"/>
                </a:cxn>
                <a:cxn ang="0">
                  <a:pos x="50" y="27"/>
                </a:cxn>
                <a:cxn ang="0">
                  <a:pos x="56" y="23"/>
                </a:cxn>
                <a:cxn ang="0">
                  <a:pos x="56" y="18"/>
                </a:cxn>
                <a:cxn ang="0">
                  <a:pos x="60" y="16"/>
                </a:cxn>
                <a:cxn ang="0">
                  <a:pos x="66" y="16"/>
                </a:cxn>
                <a:cxn ang="0">
                  <a:pos x="70" y="19"/>
                </a:cxn>
                <a:cxn ang="0">
                  <a:pos x="77" y="21"/>
                </a:cxn>
                <a:cxn ang="0">
                  <a:pos x="81" y="19"/>
                </a:cxn>
                <a:cxn ang="0">
                  <a:pos x="87" y="21"/>
                </a:cxn>
                <a:cxn ang="0">
                  <a:pos x="93" y="25"/>
                </a:cxn>
                <a:cxn ang="0">
                  <a:pos x="96" y="29"/>
                </a:cxn>
                <a:cxn ang="0">
                  <a:pos x="106" y="33"/>
                </a:cxn>
                <a:cxn ang="0">
                  <a:pos x="114" y="29"/>
                </a:cxn>
                <a:cxn ang="0">
                  <a:pos x="118" y="27"/>
                </a:cxn>
                <a:cxn ang="0">
                  <a:pos x="123" y="25"/>
                </a:cxn>
                <a:cxn ang="0">
                  <a:pos x="127" y="21"/>
                </a:cxn>
                <a:cxn ang="0">
                  <a:pos x="125" y="18"/>
                </a:cxn>
                <a:cxn ang="0">
                  <a:pos x="121" y="18"/>
                </a:cxn>
                <a:cxn ang="0">
                  <a:pos x="116" y="19"/>
                </a:cxn>
                <a:cxn ang="0">
                  <a:pos x="112" y="19"/>
                </a:cxn>
                <a:cxn ang="0">
                  <a:pos x="106" y="18"/>
                </a:cxn>
                <a:cxn ang="0">
                  <a:pos x="102" y="16"/>
                </a:cxn>
                <a:cxn ang="0">
                  <a:pos x="96" y="12"/>
                </a:cxn>
                <a:cxn ang="0">
                  <a:pos x="89" y="10"/>
                </a:cxn>
                <a:cxn ang="0">
                  <a:pos x="85" y="8"/>
                </a:cxn>
                <a:cxn ang="0">
                  <a:pos x="79" y="6"/>
                </a:cxn>
                <a:cxn ang="0">
                  <a:pos x="73" y="2"/>
                </a:cxn>
                <a:cxn ang="0">
                  <a:pos x="68" y="2"/>
                </a:cxn>
                <a:cxn ang="0">
                  <a:pos x="62" y="0"/>
                </a:cxn>
                <a:cxn ang="0">
                  <a:pos x="58" y="0"/>
                </a:cxn>
                <a:cxn ang="0">
                  <a:pos x="50" y="0"/>
                </a:cxn>
                <a:cxn ang="0">
                  <a:pos x="45" y="2"/>
                </a:cxn>
                <a:cxn ang="0">
                  <a:pos x="37" y="8"/>
                </a:cxn>
                <a:cxn ang="0">
                  <a:pos x="31" y="12"/>
                </a:cxn>
                <a:cxn ang="0">
                  <a:pos x="23" y="10"/>
                </a:cxn>
                <a:cxn ang="0">
                  <a:pos x="20" y="10"/>
                </a:cxn>
                <a:cxn ang="0">
                  <a:pos x="12" y="8"/>
                </a:cxn>
                <a:cxn ang="0">
                  <a:pos x="6" y="6"/>
                </a:cxn>
                <a:cxn ang="0">
                  <a:pos x="2" y="6"/>
                </a:cxn>
              </a:cxnLst>
              <a:rect l="0" t="0" r="r" b="b"/>
              <a:pathLst>
                <a:path w="129" h="39">
                  <a:moveTo>
                    <a:pt x="0" y="6"/>
                  </a:moveTo>
                  <a:lnTo>
                    <a:pt x="0" y="8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5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2" y="39"/>
                  </a:lnTo>
                  <a:lnTo>
                    <a:pt x="12" y="37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6" y="33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5" y="29"/>
                  </a:lnTo>
                  <a:lnTo>
                    <a:pt x="35" y="27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7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19"/>
                  </a:lnTo>
                  <a:lnTo>
                    <a:pt x="56" y="18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2" y="16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3"/>
                  </a:lnTo>
                  <a:lnTo>
                    <a:pt x="89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8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8" y="31"/>
                  </a:lnTo>
                  <a:lnTo>
                    <a:pt x="110" y="31"/>
                  </a:lnTo>
                  <a:lnTo>
                    <a:pt x="112" y="31"/>
                  </a:lnTo>
                  <a:lnTo>
                    <a:pt x="114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5" y="21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8"/>
                  </a:lnTo>
                  <a:lnTo>
                    <a:pt x="127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9" y="18"/>
                  </a:lnTo>
                  <a:lnTo>
                    <a:pt x="118" y="18"/>
                  </a:lnTo>
                  <a:lnTo>
                    <a:pt x="116" y="19"/>
                  </a:lnTo>
                  <a:lnTo>
                    <a:pt x="116" y="19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0" y="19"/>
                  </a:lnTo>
                  <a:lnTo>
                    <a:pt x="108" y="19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2" y="16"/>
                  </a:lnTo>
                  <a:lnTo>
                    <a:pt x="100" y="14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96" y="12"/>
                  </a:lnTo>
                  <a:lnTo>
                    <a:pt x="94" y="12"/>
                  </a:lnTo>
                  <a:lnTo>
                    <a:pt x="93" y="10"/>
                  </a:lnTo>
                  <a:lnTo>
                    <a:pt x="91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7" y="10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3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0" y="2"/>
                  </a:lnTo>
                  <a:lnTo>
                    <a:pt x="68" y="2"/>
                  </a:lnTo>
                  <a:lnTo>
                    <a:pt x="66" y="2"/>
                  </a:lnTo>
                  <a:lnTo>
                    <a:pt x="64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7" y="8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9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18" y="10"/>
                  </a:lnTo>
                  <a:lnTo>
                    <a:pt x="14" y="10"/>
                  </a:lnTo>
                  <a:lnTo>
                    <a:pt x="12" y="8"/>
                  </a:lnTo>
                  <a:lnTo>
                    <a:pt x="10" y="8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6" name="Freeform 73"/>
            <p:cNvSpPr>
              <a:spLocks/>
            </p:cNvSpPr>
            <p:nvPr/>
          </p:nvSpPr>
          <p:spPr bwMode="auto">
            <a:xfrm>
              <a:off x="563" y="1856"/>
              <a:ext cx="117" cy="67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8" y="25"/>
                </a:cxn>
                <a:cxn ang="0">
                  <a:pos x="14" y="31"/>
                </a:cxn>
                <a:cxn ang="0">
                  <a:pos x="19" y="33"/>
                </a:cxn>
                <a:cxn ang="0">
                  <a:pos x="29" y="35"/>
                </a:cxn>
                <a:cxn ang="0">
                  <a:pos x="37" y="38"/>
                </a:cxn>
                <a:cxn ang="0">
                  <a:pos x="41" y="42"/>
                </a:cxn>
                <a:cxn ang="0">
                  <a:pos x="42" y="48"/>
                </a:cxn>
                <a:cxn ang="0">
                  <a:pos x="44" y="54"/>
                </a:cxn>
                <a:cxn ang="0">
                  <a:pos x="50" y="56"/>
                </a:cxn>
                <a:cxn ang="0">
                  <a:pos x="52" y="60"/>
                </a:cxn>
                <a:cxn ang="0">
                  <a:pos x="56" y="61"/>
                </a:cxn>
                <a:cxn ang="0">
                  <a:pos x="60" y="65"/>
                </a:cxn>
                <a:cxn ang="0">
                  <a:pos x="64" y="67"/>
                </a:cxn>
                <a:cxn ang="0">
                  <a:pos x="65" y="60"/>
                </a:cxn>
                <a:cxn ang="0">
                  <a:pos x="69" y="50"/>
                </a:cxn>
                <a:cxn ang="0">
                  <a:pos x="73" y="44"/>
                </a:cxn>
                <a:cxn ang="0">
                  <a:pos x="77" y="42"/>
                </a:cxn>
                <a:cxn ang="0">
                  <a:pos x="85" y="42"/>
                </a:cxn>
                <a:cxn ang="0">
                  <a:pos x="90" y="40"/>
                </a:cxn>
                <a:cxn ang="0">
                  <a:pos x="96" y="40"/>
                </a:cxn>
                <a:cxn ang="0">
                  <a:pos x="104" y="40"/>
                </a:cxn>
                <a:cxn ang="0">
                  <a:pos x="110" y="38"/>
                </a:cxn>
                <a:cxn ang="0">
                  <a:pos x="112" y="33"/>
                </a:cxn>
                <a:cxn ang="0">
                  <a:pos x="108" y="31"/>
                </a:cxn>
                <a:cxn ang="0">
                  <a:pos x="104" y="25"/>
                </a:cxn>
                <a:cxn ang="0">
                  <a:pos x="108" y="19"/>
                </a:cxn>
                <a:cxn ang="0">
                  <a:pos x="113" y="17"/>
                </a:cxn>
                <a:cxn ang="0">
                  <a:pos x="117" y="15"/>
                </a:cxn>
                <a:cxn ang="0">
                  <a:pos x="117" y="10"/>
                </a:cxn>
                <a:cxn ang="0">
                  <a:pos x="112" y="8"/>
                </a:cxn>
                <a:cxn ang="0">
                  <a:pos x="110" y="4"/>
                </a:cxn>
                <a:cxn ang="0">
                  <a:pos x="106" y="4"/>
                </a:cxn>
                <a:cxn ang="0">
                  <a:pos x="100" y="2"/>
                </a:cxn>
                <a:cxn ang="0">
                  <a:pos x="92" y="2"/>
                </a:cxn>
                <a:cxn ang="0">
                  <a:pos x="87" y="0"/>
                </a:cxn>
                <a:cxn ang="0">
                  <a:pos x="81" y="0"/>
                </a:cxn>
                <a:cxn ang="0">
                  <a:pos x="73" y="0"/>
                </a:cxn>
                <a:cxn ang="0">
                  <a:pos x="67" y="0"/>
                </a:cxn>
                <a:cxn ang="0">
                  <a:pos x="64" y="2"/>
                </a:cxn>
                <a:cxn ang="0">
                  <a:pos x="60" y="4"/>
                </a:cxn>
                <a:cxn ang="0">
                  <a:pos x="56" y="6"/>
                </a:cxn>
                <a:cxn ang="0">
                  <a:pos x="50" y="8"/>
                </a:cxn>
                <a:cxn ang="0">
                  <a:pos x="42" y="8"/>
                </a:cxn>
                <a:cxn ang="0">
                  <a:pos x="35" y="8"/>
                </a:cxn>
                <a:cxn ang="0">
                  <a:pos x="27" y="8"/>
                </a:cxn>
                <a:cxn ang="0">
                  <a:pos x="21" y="8"/>
                </a:cxn>
                <a:cxn ang="0">
                  <a:pos x="14" y="10"/>
                </a:cxn>
                <a:cxn ang="0">
                  <a:pos x="8" y="10"/>
                </a:cxn>
                <a:cxn ang="0">
                  <a:pos x="4" y="12"/>
                </a:cxn>
                <a:cxn ang="0">
                  <a:pos x="0" y="14"/>
                </a:cxn>
              </a:cxnLst>
              <a:rect l="0" t="0" r="r" b="b"/>
              <a:pathLst>
                <a:path w="117" h="67">
                  <a:moveTo>
                    <a:pt x="0" y="14"/>
                  </a:moveTo>
                  <a:lnTo>
                    <a:pt x="0" y="17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6" y="23"/>
                  </a:lnTo>
                  <a:lnTo>
                    <a:pt x="8" y="25"/>
                  </a:lnTo>
                  <a:lnTo>
                    <a:pt x="10" y="27"/>
                  </a:lnTo>
                  <a:lnTo>
                    <a:pt x="12" y="27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3" y="33"/>
                  </a:lnTo>
                  <a:lnTo>
                    <a:pt x="25" y="33"/>
                  </a:lnTo>
                  <a:lnTo>
                    <a:pt x="29" y="35"/>
                  </a:lnTo>
                  <a:lnTo>
                    <a:pt x="31" y="37"/>
                  </a:lnTo>
                  <a:lnTo>
                    <a:pt x="35" y="37"/>
                  </a:lnTo>
                  <a:lnTo>
                    <a:pt x="37" y="38"/>
                  </a:lnTo>
                  <a:lnTo>
                    <a:pt x="39" y="40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4" y="54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4" y="61"/>
                  </a:lnTo>
                  <a:lnTo>
                    <a:pt x="56" y="61"/>
                  </a:lnTo>
                  <a:lnTo>
                    <a:pt x="58" y="63"/>
                  </a:lnTo>
                  <a:lnTo>
                    <a:pt x="60" y="63"/>
                  </a:lnTo>
                  <a:lnTo>
                    <a:pt x="60" y="65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4" y="67"/>
                  </a:lnTo>
                  <a:lnTo>
                    <a:pt x="64" y="63"/>
                  </a:lnTo>
                  <a:lnTo>
                    <a:pt x="64" y="61"/>
                  </a:lnTo>
                  <a:lnTo>
                    <a:pt x="65" y="60"/>
                  </a:lnTo>
                  <a:lnTo>
                    <a:pt x="67" y="56"/>
                  </a:lnTo>
                  <a:lnTo>
                    <a:pt x="69" y="54"/>
                  </a:lnTo>
                  <a:lnTo>
                    <a:pt x="69" y="50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5" y="42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5" y="42"/>
                  </a:lnTo>
                  <a:lnTo>
                    <a:pt x="85" y="40"/>
                  </a:lnTo>
                  <a:lnTo>
                    <a:pt x="87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10" y="38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08" y="31"/>
                  </a:lnTo>
                  <a:lnTo>
                    <a:pt x="108" y="27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4" y="23"/>
                  </a:lnTo>
                  <a:lnTo>
                    <a:pt x="106" y="21"/>
                  </a:lnTo>
                  <a:lnTo>
                    <a:pt x="108" y="19"/>
                  </a:lnTo>
                  <a:lnTo>
                    <a:pt x="110" y="19"/>
                  </a:lnTo>
                  <a:lnTo>
                    <a:pt x="112" y="17"/>
                  </a:lnTo>
                  <a:lnTo>
                    <a:pt x="113" y="17"/>
                  </a:lnTo>
                  <a:lnTo>
                    <a:pt x="113" y="15"/>
                  </a:lnTo>
                  <a:lnTo>
                    <a:pt x="115" y="15"/>
                  </a:lnTo>
                  <a:lnTo>
                    <a:pt x="117" y="15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7" y="10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2" y="6"/>
                  </a:lnTo>
                  <a:lnTo>
                    <a:pt x="110" y="6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2" y="4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0"/>
                  </a:lnTo>
                  <a:lnTo>
                    <a:pt x="85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50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39" y="8"/>
                  </a:lnTo>
                  <a:lnTo>
                    <a:pt x="35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7" name="Freeform 74"/>
            <p:cNvSpPr>
              <a:spLocks/>
            </p:cNvSpPr>
            <p:nvPr/>
          </p:nvSpPr>
          <p:spPr bwMode="auto">
            <a:xfrm>
              <a:off x="563" y="1856"/>
              <a:ext cx="117" cy="67"/>
            </a:xfrm>
            <a:custGeom>
              <a:avLst/>
              <a:gdLst/>
              <a:ahLst/>
              <a:cxnLst>
                <a:cxn ang="0">
                  <a:pos x="2" y="19"/>
                </a:cxn>
                <a:cxn ang="0">
                  <a:pos x="8" y="25"/>
                </a:cxn>
                <a:cxn ang="0">
                  <a:pos x="14" y="31"/>
                </a:cxn>
                <a:cxn ang="0">
                  <a:pos x="19" y="33"/>
                </a:cxn>
                <a:cxn ang="0">
                  <a:pos x="29" y="35"/>
                </a:cxn>
                <a:cxn ang="0">
                  <a:pos x="37" y="38"/>
                </a:cxn>
                <a:cxn ang="0">
                  <a:pos x="41" y="42"/>
                </a:cxn>
                <a:cxn ang="0">
                  <a:pos x="42" y="48"/>
                </a:cxn>
                <a:cxn ang="0">
                  <a:pos x="44" y="54"/>
                </a:cxn>
                <a:cxn ang="0">
                  <a:pos x="50" y="56"/>
                </a:cxn>
                <a:cxn ang="0">
                  <a:pos x="52" y="60"/>
                </a:cxn>
                <a:cxn ang="0">
                  <a:pos x="56" y="61"/>
                </a:cxn>
                <a:cxn ang="0">
                  <a:pos x="60" y="65"/>
                </a:cxn>
                <a:cxn ang="0">
                  <a:pos x="64" y="67"/>
                </a:cxn>
                <a:cxn ang="0">
                  <a:pos x="65" y="60"/>
                </a:cxn>
                <a:cxn ang="0">
                  <a:pos x="69" y="50"/>
                </a:cxn>
                <a:cxn ang="0">
                  <a:pos x="73" y="44"/>
                </a:cxn>
                <a:cxn ang="0">
                  <a:pos x="77" y="42"/>
                </a:cxn>
                <a:cxn ang="0">
                  <a:pos x="85" y="42"/>
                </a:cxn>
                <a:cxn ang="0">
                  <a:pos x="90" y="40"/>
                </a:cxn>
                <a:cxn ang="0">
                  <a:pos x="96" y="40"/>
                </a:cxn>
                <a:cxn ang="0">
                  <a:pos x="104" y="40"/>
                </a:cxn>
                <a:cxn ang="0">
                  <a:pos x="110" y="38"/>
                </a:cxn>
                <a:cxn ang="0">
                  <a:pos x="112" y="33"/>
                </a:cxn>
                <a:cxn ang="0">
                  <a:pos x="108" y="31"/>
                </a:cxn>
                <a:cxn ang="0">
                  <a:pos x="104" y="25"/>
                </a:cxn>
                <a:cxn ang="0">
                  <a:pos x="108" y="19"/>
                </a:cxn>
                <a:cxn ang="0">
                  <a:pos x="113" y="17"/>
                </a:cxn>
                <a:cxn ang="0">
                  <a:pos x="117" y="15"/>
                </a:cxn>
                <a:cxn ang="0">
                  <a:pos x="117" y="10"/>
                </a:cxn>
                <a:cxn ang="0">
                  <a:pos x="112" y="8"/>
                </a:cxn>
                <a:cxn ang="0">
                  <a:pos x="110" y="4"/>
                </a:cxn>
                <a:cxn ang="0">
                  <a:pos x="106" y="4"/>
                </a:cxn>
                <a:cxn ang="0">
                  <a:pos x="100" y="2"/>
                </a:cxn>
                <a:cxn ang="0">
                  <a:pos x="92" y="2"/>
                </a:cxn>
                <a:cxn ang="0">
                  <a:pos x="87" y="0"/>
                </a:cxn>
                <a:cxn ang="0">
                  <a:pos x="81" y="0"/>
                </a:cxn>
                <a:cxn ang="0">
                  <a:pos x="73" y="0"/>
                </a:cxn>
                <a:cxn ang="0">
                  <a:pos x="67" y="0"/>
                </a:cxn>
                <a:cxn ang="0">
                  <a:pos x="64" y="2"/>
                </a:cxn>
                <a:cxn ang="0">
                  <a:pos x="60" y="4"/>
                </a:cxn>
                <a:cxn ang="0">
                  <a:pos x="56" y="6"/>
                </a:cxn>
                <a:cxn ang="0">
                  <a:pos x="50" y="8"/>
                </a:cxn>
                <a:cxn ang="0">
                  <a:pos x="42" y="8"/>
                </a:cxn>
                <a:cxn ang="0">
                  <a:pos x="35" y="8"/>
                </a:cxn>
                <a:cxn ang="0">
                  <a:pos x="27" y="8"/>
                </a:cxn>
                <a:cxn ang="0">
                  <a:pos x="21" y="8"/>
                </a:cxn>
                <a:cxn ang="0">
                  <a:pos x="14" y="10"/>
                </a:cxn>
                <a:cxn ang="0">
                  <a:pos x="8" y="10"/>
                </a:cxn>
                <a:cxn ang="0">
                  <a:pos x="4" y="12"/>
                </a:cxn>
                <a:cxn ang="0">
                  <a:pos x="0" y="14"/>
                </a:cxn>
              </a:cxnLst>
              <a:rect l="0" t="0" r="r" b="b"/>
              <a:pathLst>
                <a:path w="117" h="67">
                  <a:moveTo>
                    <a:pt x="0" y="14"/>
                  </a:moveTo>
                  <a:lnTo>
                    <a:pt x="0" y="17"/>
                  </a:lnTo>
                  <a:lnTo>
                    <a:pt x="2" y="19"/>
                  </a:lnTo>
                  <a:lnTo>
                    <a:pt x="4" y="21"/>
                  </a:lnTo>
                  <a:lnTo>
                    <a:pt x="6" y="23"/>
                  </a:lnTo>
                  <a:lnTo>
                    <a:pt x="8" y="25"/>
                  </a:lnTo>
                  <a:lnTo>
                    <a:pt x="10" y="27"/>
                  </a:lnTo>
                  <a:lnTo>
                    <a:pt x="12" y="27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3" y="33"/>
                  </a:lnTo>
                  <a:lnTo>
                    <a:pt x="25" y="33"/>
                  </a:lnTo>
                  <a:lnTo>
                    <a:pt x="29" y="35"/>
                  </a:lnTo>
                  <a:lnTo>
                    <a:pt x="31" y="37"/>
                  </a:lnTo>
                  <a:lnTo>
                    <a:pt x="35" y="37"/>
                  </a:lnTo>
                  <a:lnTo>
                    <a:pt x="37" y="38"/>
                  </a:lnTo>
                  <a:lnTo>
                    <a:pt x="39" y="40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4" y="54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4" y="60"/>
                  </a:lnTo>
                  <a:lnTo>
                    <a:pt x="54" y="61"/>
                  </a:lnTo>
                  <a:lnTo>
                    <a:pt x="56" y="61"/>
                  </a:lnTo>
                  <a:lnTo>
                    <a:pt x="58" y="63"/>
                  </a:lnTo>
                  <a:lnTo>
                    <a:pt x="60" y="63"/>
                  </a:lnTo>
                  <a:lnTo>
                    <a:pt x="60" y="65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4" y="67"/>
                  </a:lnTo>
                  <a:lnTo>
                    <a:pt x="64" y="63"/>
                  </a:lnTo>
                  <a:lnTo>
                    <a:pt x="64" y="61"/>
                  </a:lnTo>
                  <a:lnTo>
                    <a:pt x="65" y="60"/>
                  </a:lnTo>
                  <a:lnTo>
                    <a:pt x="67" y="56"/>
                  </a:lnTo>
                  <a:lnTo>
                    <a:pt x="69" y="54"/>
                  </a:lnTo>
                  <a:lnTo>
                    <a:pt x="69" y="50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5" y="42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5" y="42"/>
                  </a:lnTo>
                  <a:lnTo>
                    <a:pt x="85" y="40"/>
                  </a:lnTo>
                  <a:lnTo>
                    <a:pt x="87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10" y="38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08" y="31"/>
                  </a:lnTo>
                  <a:lnTo>
                    <a:pt x="108" y="27"/>
                  </a:lnTo>
                  <a:lnTo>
                    <a:pt x="106" y="27"/>
                  </a:lnTo>
                  <a:lnTo>
                    <a:pt x="104" y="25"/>
                  </a:lnTo>
                  <a:lnTo>
                    <a:pt x="104" y="23"/>
                  </a:lnTo>
                  <a:lnTo>
                    <a:pt x="106" y="21"/>
                  </a:lnTo>
                  <a:lnTo>
                    <a:pt x="108" y="19"/>
                  </a:lnTo>
                  <a:lnTo>
                    <a:pt x="110" y="19"/>
                  </a:lnTo>
                  <a:lnTo>
                    <a:pt x="112" y="17"/>
                  </a:lnTo>
                  <a:lnTo>
                    <a:pt x="113" y="17"/>
                  </a:lnTo>
                  <a:lnTo>
                    <a:pt x="113" y="15"/>
                  </a:lnTo>
                  <a:lnTo>
                    <a:pt x="115" y="15"/>
                  </a:lnTo>
                  <a:lnTo>
                    <a:pt x="117" y="15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7" y="10"/>
                  </a:lnTo>
                  <a:lnTo>
                    <a:pt x="113" y="10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2" y="6"/>
                  </a:lnTo>
                  <a:lnTo>
                    <a:pt x="110" y="6"/>
                  </a:lnTo>
                  <a:lnTo>
                    <a:pt x="110" y="4"/>
                  </a:lnTo>
                  <a:lnTo>
                    <a:pt x="108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2" y="4"/>
                  </a:lnTo>
                  <a:lnTo>
                    <a:pt x="102" y="2"/>
                  </a:lnTo>
                  <a:lnTo>
                    <a:pt x="100" y="2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0"/>
                  </a:lnTo>
                  <a:lnTo>
                    <a:pt x="85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4" y="2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4" y="6"/>
                  </a:lnTo>
                  <a:lnTo>
                    <a:pt x="52" y="6"/>
                  </a:lnTo>
                  <a:lnTo>
                    <a:pt x="50" y="8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39" y="8"/>
                  </a:lnTo>
                  <a:lnTo>
                    <a:pt x="35" y="8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5" y="8"/>
                  </a:lnTo>
                  <a:lnTo>
                    <a:pt x="23" y="8"/>
                  </a:lnTo>
                  <a:lnTo>
                    <a:pt x="21" y="8"/>
                  </a:lnTo>
                  <a:lnTo>
                    <a:pt x="19" y="10"/>
                  </a:lnTo>
                  <a:lnTo>
                    <a:pt x="17" y="10"/>
                  </a:lnTo>
                  <a:lnTo>
                    <a:pt x="14" y="10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4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8" name="Freeform 75"/>
            <p:cNvSpPr>
              <a:spLocks/>
            </p:cNvSpPr>
            <p:nvPr/>
          </p:nvSpPr>
          <p:spPr bwMode="auto">
            <a:xfrm>
              <a:off x="625" y="1860"/>
              <a:ext cx="261" cy="213"/>
            </a:xfrm>
            <a:custGeom>
              <a:avLst/>
              <a:gdLst/>
              <a:ahLst/>
              <a:cxnLst>
                <a:cxn ang="0">
                  <a:pos x="2" y="79"/>
                </a:cxn>
                <a:cxn ang="0">
                  <a:pos x="11" y="88"/>
                </a:cxn>
                <a:cxn ang="0">
                  <a:pos x="30" y="102"/>
                </a:cxn>
                <a:cxn ang="0">
                  <a:pos x="44" y="111"/>
                </a:cxn>
                <a:cxn ang="0">
                  <a:pos x="53" y="119"/>
                </a:cxn>
                <a:cxn ang="0">
                  <a:pos x="61" y="136"/>
                </a:cxn>
                <a:cxn ang="0">
                  <a:pos x="69" y="138"/>
                </a:cxn>
                <a:cxn ang="0">
                  <a:pos x="74" y="117"/>
                </a:cxn>
                <a:cxn ang="0">
                  <a:pos x="88" y="105"/>
                </a:cxn>
                <a:cxn ang="0">
                  <a:pos x="105" y="102"/>
                </a:cxn>
                <a:cxn ang="0">
                  <a:pos x="119" y="98"/>
                </a:cxn>
                <a:cxn ang="0">
                  <a:pos x="134" y="102"/>
                </a:cxn>
                <a:cxn ang="0">
                  <a:pos x="144" y="113"/>
                </a:cxn>
                <a:cxn ang="0">
                  <a:pos x="147" y="125"/>
                </a:cxn>
                <a:cxn ang="0">
                  <a:pos x="151" y="136"/>
                </a:cxn>
                <a:cxn ang="0">
                  <a:pos x="151" y="150"/>
                </a:cxn>
                <a:cxn ang="0">
                  <a:pos x="151" y="163"/>
                </a:cxn>
                <a:cxn ang="0">
                  <a:pos x="163" y="159"/>
                </a:cxn>
                <a:cxn ang="0">
                  <a:pos x="174" y="153"/>
                </a:cxn>
                <a:cxn ang="0">
                  <a:pos x="188" y="157"/>
                </a:cxn>
                <a:cxn ang="0">
                  <a:pos x="190" y="173"/>
                </a:cxn>
                <a:cxn ang="0">
                  <a:pos x="190" y="190"/>
                </a:cxn>
                <a:cxn ang="0">
                  <a:pos x="195" y="201"/>
                </a:cxn>
                <a:cxn ang="0">
                  <a:pos x="207" y="211"/>
                </a:cxn>
                <a:cxn ang="0">
                  <a:pos x="215" y="199"/>
                </a:cxn>
                <a:cxn ang="0">
                  <a:pos x="218" y="184"/>
                </a:cxn>
                <a:cxn ang="0">
                  <a:pos x="234" y="190"/>
                </a:cxn>
                <a:cxn ang="0">
                  <a:pos x="241" y="182"/>
                </a:cxn>
                <a:cxn ang="0">
                  <a:pos x="247" y="171"/>
                </a:cxn>
                <a:cxn ang="0">
                  <a:pos x="241" y="161"/>
                </a:cxn>
                <a:cxn ang="0">
                  <a:pos x="243" y="152"/>
                </a:cxn>
                <a:cxn ang="0">
                  <a:pos x="259" y="155"/>
                </a:cxn>
                <a:cxn ang="0">
                  <a:pos x="259" y="144"/>
                </a:cxn>
                <a:cxn ang="0">
                  <a:pos x="249" y="128"/>
                </a:cxn>
                <a:cxn ang="0">
                  <a:pos x="251" y="111"/>
                </a:cxn>
                <a:cxn ang="0">
                  <a:pos x="253" y="94"/>
                </a:cxn>
                <a:cxn ang="0">
                  <a:pos x="241" y="81"/>
                </a:cxn>
                <a:cxn ang="0">
                  <a:pos x="236" y="71"/>
                </a:cxn>
                <a:cxn ang="0">
                  <a:pos x="228" y="63"/>
                </a:cxn>
                <a:cxn ang="0">
                  <a:pos x="228" y="54"/>
                </a:cxn>
                <a:cxn ang="0">
                  <a:pos x="234" y="40"/>
                </a:cxn>
                <a:cxn ang="0">
                  <a:pos x="230" y="29"/>
                </a:cxn>
                <a:cxn ang="0">
                  <a:pos x="220" y="19"/>
                </a:cxn>
                <a:cxn ang="0">
                  <a:pos x="213" y="10"/>
                </a:cxn>
                <a:cxn ang="0">
                  <a:pos x="201" y="0"/>
                </a:cxn>
                <a:cxn ang="0">
                  <a:pos x="197" y="11"/>
                </a:cxn>
                <a:cxn ang="0">
                  <a:pos x="178" y="13"/>
                </a:cxn>
                <a:cxn ang="0">
                  <a:pos x="167" y="15"/>
                </a:cxn>
                <a:cxn ang="0">
                  <a:pos x="155" y="29"/>
                </a:cxn>
                <a:cxn ang="0">
                  <a:pos x="145" y="23"/>
                </a:cxn>
                <a:cxn ang="0">
                  <a:pos x="132" y="19"/>
                </a:cxn>
                <a:cxn ang="0">
                  <a:pos x="128" y="10"/>
                </a:cxn>
                <a:cxn ang="0">
                  <a:pos x="117" y="11"/>
                </a:cxn>
                <a:cxn ang="0">
                  <a:pos x="101" y="10"/>
                </a:cxn>
                <a:cxn ang="0">
                  <a:pos x="86" y="11"/>
                </a:cxn>
                <a:cxn ang="0">
                  <a:pos x="71" y="8"/>
                </a:cxn>
                <a:cxn ang="0">
                  <a:pos x="57" y="6"/>
                </a:cxn>
                <a:cxn ang="0">
                  <a:pos x="51" y="11"/>
                </a:cxn>
                <a:cxn ang="0">
                  <a:pos x="44" y="21"/>
                </a:cxn>
                <a:cxn ang="0">
                  <a:pos x="44" y="38"/>
                </a:cxn>
                <a:cxn ang="0">
                  <a:pos x="26" y="38"/>
                </a:cxn>
                <a:cxn ang="0">
                  <a:pos x="13" y="40"/>
                </a:cxn>
                <a:cxn ang="0">
                  <a:pos x="3" y="56"/>
                </a:cxn>
              </a:cxnLst>
              <a:rect l="0" t="0" r="r" b="b"/>
              <a:pathLst>
                <a:path w="261" h="213">
                  <a:moveTo>
                    <a:pt x="0" y="63"/>
                  </a:moveTo>
                  <a:lnTo>
                    <a:pt x="0" y="67"/>
                  </a:lnTo>
                  <a:lnTo>
                    <a:pt x="0" y="69"/>
                  </a:lnTo>
                  <a:lnTo>
                    <a:pt x="0" y="73"/>
                  </a:lnTo>
                  <a:lnTo>
                    <a:pt x="0" y="75"/>
                  </a:lnTo>
                  <a:lnTo>
                    <a:pt x="2" y="77"/>
                  </a:lnTo>
                  <a:lnTo>
                    <a:pt x="2" y="79"/>
                  </a:lnTo>
                  <a:lnTo>
                    <a:pt x="3" y="79"/>
                  </a:lnTo>
                  <a:lnTo>
                    <a:pt x="5" y="81"/>
                  </a:lnTo>
                  <a:lnTo>
                    <a:pt x="5" y="82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8"/>
                  </a:lnTo>
                  <a:lnTo>
                    <a:pt x="13" y="88"/>
                  </a:lnTo>
                  <a:lnTo>
                    <a:pt x="17" y="92"/>
                  </a:lnTo>
                  <a:lnTo>
                    <a:pt x="21" y="96"/>
                  </a:lnTo>
                  <a:lnTo>
                    <a:pt x="23" y="96"/>
                  </a:lnTo>
                  <a:lnTo>
                    <a:pt x="25" y="98"/>
                  </a:lnTo>
                  <a:lnTo>
                    <a:pt x="28" y="98"/>
                  </a:lnTo>
                  <a:lnTo>
                    <a:pt x="30" y="102"/>
                  </a:lnTo>
                  <a:lnTo>
                    <a:pt x="34" y="105"/>
                  </a:lnTo>
                  <a:lnTo>
                    <a:pt x="34" y="109"/>
                  </a:lnTo>
                  <a:lnTo>
                    <a:pt x="36" y="111"/>
                  </a:lnTo>
                  <a:lnTo>
                    <a:pt x="38" y="111"/>
                  </a:lnTo>
                  <a:lnTo>
                    <a:pt x="40" y="111"/>
                  </a:lnTo>
                  <a:lnTo>
                    <a:pt x="42" y="111"/>
                  </a:lnTo>
                  <a:lnTo>
                    <a:pt x="44" y="111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6" y="115"/>
                  </a:lnTo>
                  <a:lnTo>
                    <a:pt x="48" y="117"/>
                  </a:lnTo>
                  <a:lnTo>
                    <a:pt x="50" y="117"/>
                  </a:lnTo>
                  <a:lnTo>
                    <a:pt x="51" y="119"/>
                  </a:lnTo>
                  <a:lnTo>
                    <a:pt x="53" y="119"/>
                  </a:lnTo>
                  <a:lnTo>
                    <a:pt x="55" y="121"/>
                  </a:lnTo>
                  <a:lnTo>
                    <a:pt x="55" y="123"/>
                  </a:lnTo>
                  <a:lnTo>
                    <a:pt x="55" y="127"/>
                  </a:lnTo>
                  <a:lnTo>
                    <a:pt x="57" y="128"/>
                  </a:lnTo>
                  <a:lnTo>
                    <a:pt x="59" y="130"/>
                  </a:lnTo>
                  <a:lnTo>
                    <a:pt x="59" y="134"/>
                  </a:lnTo>
                  <a:lnTo>
                    <a:pt x="61" y="136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71" y="134"/>
                  </a:lnTo>
                  <a:lnTo>
                    <a:pt x="73" y="134"/>
                  </a:lnTo>
                  <a:lnTo>
                    <a:pt x="73" y="130"/>
                  </a:lnTo>
                  <a:lnTo>
                    <a:pt x="74" y="128"/>
                  </a:lnTo>
                  <a:lnTo>
                    <a:pt x="74" y="121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5"/>
                  </a:lnTo>
                  <a:lnTo>
                    <a:pt x="76" y="113"/>
                  </a:lnTo>
                  <a:lnTo>
                    <a:pt x="78" y="111"/>
                  </a:lnTo>
                  <a:lnTo>
                    <a:pt x="80" y="109"/>
                  </a:lnTo>
                  <a:lnTo>
                    <a:pt x="84" y="107"/>
                  </a:lnTo>
                  <a:lnTo>
                    <a:pt x="86" y="105"/>
                  </a:lnTo>
                  <a:lnTo>
                    <a:pt x="88" y="105"/>
                  </a:lnTo>
                  <a:lnTo>
                    <a:pt x="90" y="104"/>
                  </a:lnTo>
                  <a:lnTo>
                    <a:pt x="96" y="104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101" y="102"/>
                  </a:lnTo>
                  <a:lnTo>
                    <a:pt x="103" y="102"/>
                  </a:lnTo>
                  <a:lnTo>
                    <a:pt x="105" y="102"/>
                  </a:lnTo>
                  <a:lnTo>
                    <a:pt x="107" y="100"/>
                  </a:lnTo>
                  <a:lnTo>
                    <a:pt x="109" y="100"/>
                  </a:lnTo>
                  <a:lnTo>
                    <a:pt x="111" y="98"/>
                  </a:lnTo>
                  <a:lnTo>
                    <a:pt x="113" y="98"/>
                  </a:lnTo>
                  <a:lnTo>
                    <a:pt x="115" y="98"/>
                  </a:lnTo>
                  <a:lnTo>
                    <a:pt x="117" y="98"/>
                  </a:lnTo>
                  <a:lnTo>
                    <a:pt x="119" y="98"/>
                  </a:lnTo>
                  <a:lnTo>
                    <a:pt x="122" y="98"/>
                  </a:lnTo>
                  <a:lnTo>
                    <a:pt x="124" y="98"/>
                  </a:lnTo>
                  <a:lnTo>
                    <a:pt x="124" y="100"/>
                  </a:lnTo>
                  <a:lnTo>
                    <a:pt x="128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6" y="104"/>
                  </a:lnTo>
                  <a:lnTo>
                    <a:pt x="138" y="105"/>
                  </a:lnTo>
                  <a:lnTo>
                    <a:pt x="140" y="105"/>
                  </a:lnTo>
                  <a:lnTo>
                    <a:pt x="140" y="107"/>
                  </a:lnTo>
                  <a:lnTo>
                    <a:pt x="140" y="109"/>
                  </a:lnTo>
                  <a:lnTo>
                    <a:pt x="142" y="111"/>
                  </a:lnTo>
                  <a:lnTo>
                    <a:pt x="144" y="113"/>
                  </a:lnTo>
                  <a:lnTo>
                    <a:pt x="144" y="115"/>
                  </a:lnTo>
                  <a:lnTo>
                    <a:pt x="144" y="117"/>
                  </a:lnTo>
                  <a:lnTo>
                    <a:pt x="145" y="119"/>
                  </a:lnTo>
                  <a:lnTo>
                    <a:pt x="145" y="119"/>
                  </a:lnTo>
                  <a:lnTo>
                    <a:pt x="145" y="121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9" y="125"/>
                  </a:lnTo>
                  <a:lnTo>
                    <a:pt x="151" y="127"/>
                  </a:lnTo>
                  <a:lnTo>
                    <a:pt x="151" y="128"/>
                  </a:lnTo>
                  <a:lnTo>
                    <a:pt x="151" y="130"/>
                  </a:lnTo>
                  <a:lnTo>
                    <a:pt x="151" y="132"/>
                  </a:lnTo>
                  <a:lnTo>
                    <a:pt x="151" y="134"/>
                  </a:lnTo>
                  <a:lnTo>
                    <a:pt x="151" y="136"/>
                  </a:lnTo>
                  <a:lnTo>
                    <a:pt x="151" y="138"/>
                  </a:lnTo>
                  <a:lnTo>
                    <a:pt x="151" y="140"/>
                  </a:lnTo>
                  <a:lnTo>
                    <a:pt x="151" y="142"/>
                  </a:lnTo>
                  <a:lnTo>
                    <a:pt x="151" y="144"/>
                  </a:lnTo>
                  <a:lnTo>
                    <a:pt x="151" y="14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51" y="152"/>
                  </a:lnTo>
                  <a:lnTo>
                    <a:pt x="151" y="155"/>
                  </a:lnTo>
                  <a:lnTo>
                    <a:pt x="151" y="157"/>
                  </a:lnTo>
                  <a:lnTo>
                    <a:pt x="151" y="159"/>
                  </a:lnTo>
                  <a:lnTo>
                    <a:pt x="151" y="161"/>
                  </a:lnTo>
                  <a:lnTo>
                    <a:pt x="149" y="163"/>
                  </a:lnTo>
                  <a:lnTo>
                    <a:pt x="151" y="163"/>
                  </a:lnTo>
                  <a:lnTo>
                    <a:pt x="155" y="163"/>
                  </a:lnTo>
                  <a:lnTo>
                    <a:pt x="155" y="163"/>
                  </a:lnTo>
                  <a:lnTo>
                    <a:pt x="157" y="163"/>
                  </a:lnTo>
                  <a:lnTo>
                    <a:pt x="159" y="163"/>
                  </a:lnTo>
                  <a:lnTo>
                    <a:pt x="161" y="163"/>
                  </a:lnTo>
                  <a:lnTo>
                    <a:pt x="161" y="161"/>
                  </a:lnTo>
                  <a:lnTo>
                    <a:pt x="163" y="159"/>
                  </a:lnTo>
                  <a:lnTo>
                    <a:pt x="165" y="157"/>
                  </a:lnTo>
                  <a:lnTo>
                    <a:pt x="167" y="157"/>
                  </a:lnTo>
                  <a:lnTo>
                    <a:pt x="168" y="155"/>
                  </a:lnTo>
                  <a:lnTo>
                    <a:pt x="168" y="153"/>
                  </a:lnTo>
                  <a:lnTo>
                    <a:pt x="172" y="153"/>
                  </a:lnTo>
                  <a:lnTo>
                    <a:pt x="172" y="153"/>
                  </a:lnTo>
                  <a:lnTo>
                    <a:pt x="174" y="153"/>
                  </a:lnTo>
                  <a:lnTo>
                    <a:pt x="178" y="155"/>
                  </a:lnTo>
                  <a:lnTo>
                    <a:pt x="180" y="155"/>
                  </a:lnTo>
                  <a:lnTo>
                    <a:pt x="182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6" y="155"/>
                  </a:lnTo>
                  <a:lnTo>
                    <a:pt x="188" y="157"/>
                  </a:lnTo>
                  <a:lnTo>
                    <a:pt x="188" y="159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8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90" y="186"/>
                  </a:lnTo>
                  <a:lnTo>
                    <a:pt x="190" y="190"/>
                  </a:lnTo>
                  <a:lnTo>
                    <a:pt x="190" y="192"/>
                  </a:lnTo>
                  <a:lnTo>
                    <a:pt x="188" y="194"/>
                  </a:lnTo>
                  <a:lnTo>
                    <a:pt x="188" y="196"/>
                  </a:lnTo>
                  <a:lnTo>
                    <a:pt x="188" y="199"/>
                  </a:lnTo>
                  <a:lnTo>
                    <a:pt x="191" y="199"/>
                  </a:lnTo>
                  <a:lnTo>
                    <a:pt x="193" y="199"/>
                  </a:lnTo>
                  <a:lnTo>
                    <a:pt x="195" y="201"/>
                  </a:lnTo>
                  <a:lnTo>
                    <a:pt x="197" y="203"/>
                  </a:lnTo>
                  <a:lnTo>
                    <a:pt x="201" y="205"/>
                  </a:lnTo>
                  <a:lnTo>
                    <a:pt x="203" y="207"/>
                  </a:lnTo>
                  <a:lnTo>
                    <a:pt x="203" y="207"/>
                  </a:lnTo>
                  <a:lnTo>
                    <a:pt x="205" y="211"/>
                  </a:lnTo>
                  <a:lnTo>
                    <a:pt x="207" y="213"/>
                  </a:lnTo>
                  <a:lnTo>
                    <a:pt x="207" y="211"/>
                  </a:lnTo>
                  <a:lnTo>
                    <a:pt x="209" y="209"/>
                  </a:lnTo>
                  <a:lnTo>
                    <a:pt x="211" y="207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213" y="203"/>
                  </a:lnTo>
                  <a:lnTo>
                    <a:pt x="213" y="201"/>
                  </a:lnTo>
                  <a:lnTo>
                    <a:pt x="215" y="199"/>
                  </a:lnTo>
                  <a:lnTo>
                    <a:pt x="215" y="198"/>
                  </a:lnTo>
                  <a:lnTo>
                    <a:pt x="215" y="196"/>
                  </a:lnTo>
                  <a:lnTo>
                    <a:pt x="216" y="194"/>
                  </a:lnTo>
                  <a:lnTo>
                    <a:pt x="216" y="192"/>
                  </a:lnTo>
                  <a:lnTo>
                    <a:pt x="216" y="190"/>
                  </a:lnTo>
                  <a:lnTo>
                    <a:pt x="218" y="188"/>
                  </a:lnTo>
                  <a:lnTo>
                    <a:pt x="218" y="184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4" y="184"/>
                  </a:lnTo>
                  <a:lnTo>
                    <a:pt x="228" y="186"/>
                  </a:lnTo>
                  <a:lnTo>
                    <a:pt x="230" y="186"/>
                  </a:lnTo>
                  <a:lnTo>
                    <a:pt x="232" y="188"/>
                  </a:lnTo>
                  <a:lnTo>
                    <a:pt x="234" y="190"/>
                  </a:lnTo>
                  <a:lnTo>
                    <a:pt x="236" y="190"/>
                  </a:lnTo>
                  <a:lnTo>
                    <a:pt x="239" y="190"/>
                  </a:lnTo>
                  <a:lnTo>
                    <a:pt x="241" y="190"/>
                  </a:lnTo>
                  <a:lnTo>
                    <a:pt x="241" y="188"/>
                  </a:lnTo>
                  <a:lnTo>
                    <a:pt x="241" y="186"/>
                  </a:lnTo>
                  <a:lnTo>
                    <a:pt x="241" y="184"/>
                  </a:lnTo>
                  <a:lnTo>
                    <a:pt x="241" y="182"/>
                  </a:lnTo>
                  <a:lnTo>
                    <a:pt x="241" y="180"/>
                  </a:lnTo>
                  <a:lnTo>
                    <a:pt x="243" y="178"/>
                  </a:lnTo>
                  <a:lnTo>
                    <a:pt x="243" y="176"/>
                  </a:lnTo>
                  <a:lnTo>
                    <a:pt x="243" y="175"/>
                  </a:lnTo>
                  <a:lnTo>
                    <a:pt x="245" y="175"/>
                  </a:lnTo>
                  <a:lnTo>
                    <a:pt x="245" y="173"/>
                  </a:lnTo>
                  <a:lnTo>
                    <a:pt x="247" y="171"/>
                  </a:lnTo>
                  <a:lnTo>
                    <a:pt x="247" y="169"/>
                  </a:lnTo>
                  <a:lnTo>
                    <a:pt x="249" y="169"/>
                  </a:lnTo>
                  <a:lnTo>
                    <a:pt x="249" y="167"/>
                  </a:lnTo>
                  <a:lnTo>
                    <a:pt x="247" y="165"/>
                  </a:lnTo>
                  <a:lnTo>
                    <a:pt x="245" y="163"/>
                  </a:lnTo>
                  <a:lnTo>
                    <a:pt x="243" y="163"/>
                  </a:lnTo>
                  <a:lnTo>
                    <a:pt x="241" y="161"/>
                  </a:lnTo>
                  <a:lnTo>
                    <a:pt x="241" y="159"/>
                  </a:lnTo>
                  <a:lnTo>
                    <a:pt x="239" y="157"/>
                  </a:lnTo>
                  <a:lnTo>
                    <a:pt x="238" y="157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9" y="155"/>
                  </a:lnTo>
                  <a:lnTo>
                    <a:pt x="243" y="152"/>
                  </a:lnTo>
                  <a:lnTo>
                    <a:pt x="245" y="152"/>
                  </a:lnTo>
                  <a:lnTo>
                    <a:pt x="247" y="153"/>
                  </a:lnTo>
                  <a:lnTo>
                    <a:pt x="251" y="155"/>
                  </a:lnTo>
                  <a:lnTo>
                    <a:pt x="255" y="155"/>
                  </a:lnTo>
                  <a:lnTo>
                    <a:pt x="255" y="155"/>
                  </a:lnTo>
                  <a:lnTo>
                    <a:pt x="257" y="155"/>
                  </a:lnTo>
                  <a:lnTo>
                    <a:pt x="259" y="155"/>
                  </a:lnTo>
                  <a:lnTo>
                    <a:pt x="261" y="155"/>
                  </a:lnTo>
                  <a:lnTo>
                    <a:pt x="261" y="152"/>
                  </a:lnTo>
                  <a:lnTo>
                    <a:pt x="261" y="150"/>
                  </a:lnTo>
                  <a:lnTo>
                    <a:pt x="259" y="150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7" y="140"/>
                  </a:lnTo>
                  <a:lnTo>
                    <a:pt x="255" y="138"/>
                  </a:lnTo>
                  <a:lnTo>
                    <a:pt x="253" y="134"/>
                  </a:lnTo>
                  <a:lnTo>
                    <a:pt x="251" y="134"/>
                  </a:lnTo>
                  <a:lnTo>
                    <a:pt x="251" y="134"/>
                  </a:lnTo>
                  <a:lnTo>
                    <a:pt x="249" y="132"/>
                  </a:lnTo>
                  <a:lnTo>
                    <a:pt x="249" y="128"/>
                  </a:lnTo>
                  <a:lnTo>
                    <a:pt x="249" y="125"/>
                  </a:lnTo>
                  <a:lnTo>
                    <a:pt x="249" y="123"/>
                  </a:lnTo>
                  <a:lnTo>
                    <a:pt x="249" y="119"/>
                  </a:lnTo>
                  <a:lnTo>
                    <a:pt x="249" y="117"/>
                  </a:lnTo>
                  <a:lnTo>
                    <a:pt x="251" y="115"/>
                  </a:lnTo>
                  <a:lnTo>
                    <a:pt x="251" y="113"/>
                  </a:lnTo>
                  <a:lnTo>
                    <a:pt x="251" y="111"/>
                  </a:lnTo>
                  <a:lnTo>
                    <a:pt x="251" y="107"/>
                  </a:lnTo>
                  <a:lnTo>
                    <a:pt x="251" y="105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1" y="98"/>
                  </a:lnTo>
                  <a:lnTo>
                    <a:pt x="253" y="96"/>
                  </a:lnTo>
                  <a:lnTo>
                    <a:pt x="253" y="94"/>
                  </a:lnTo>
                  <a:lnTo>
                    <a:pt x="251" y="92"/>
                  </a:lnTo>
                  <a:lnTo>
                    <a:pt x="251" y="90"/>
                  </a:lnTo>
                  <a:lnTo>
                    <a:pt x="247" y="90"/>
                  </a:lnTo>
                  <a:lnTo>
                    <a:pt x="245" y="88"/>
                  </a:lnTo>
                  <a:lnTo>
                    <a:pt x="243" y="84"/>
                  </a:lnTo>
                  <a:lnTo>
                    <a:pt x="241" y="82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77"/>
                  </a:lnTo>
                  <a:lnTo>
                    <a:pt x="241" y="75"/>
                  </a:lnTo>
                  <a:lnTo>
                    <a:pt x="239" y="73"/>
                  </a:lnTo>
                  <a:lnTo>
                    <a:pt x="238" y="73"/>
                  </a:lnTo>
                  <a:lnTo>
                    <a:pt x="236" y="73"/>
                  </a:lnTo>
                  <a:lnTo>
                    <a:pt x="236" y="71"/>
                  </a:lnTo>
                  <a:lnTo>
                    <a:pt x="236" y="69"/>
                  </a:lnTo>
                  <a:lnTo>
                    <a:pt x="236" y="67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1"/>
                  </a:lnTo>
                  <a:lnTo>
                    <a:pt x="230" y="61"/>
                  </a:lnTo>
                  <a:lnTo>
                    <a:pt x="228" y="63"/>
                  </a:lnTo>
                  <a:lnTo>
                    <a:pt x="228" y="63"/>
                  </a:lnTo>
                  <a:lnTo>
                    <a:pt x="226" y="63"/>
                  </a:lnTo>
                  <a:lnTo>
                    <a:pt x="226" y="61"/>
                  </a:lnTo>
                  <a:lnTo>
                    <a:pt x="228" y="61"/>
                  </a:lnTo>
                  <a:lnTo>
                    <a:pt x="228" y="57"/>
                  </a:lnTo>
                  <a:lnTo>
                    <a:pt x="228" y="56"/>
                  </a:lnTo>
                  <a:lnTo>
                    <a:pt x="228" y="54"/>
                  </a:lnTo>
                  <a:lnTo>
                    <a:pt x="230" y="52"/>
                  </a:lnTo>
                  <a:lnTo>
                    <a:pt x="232" y="50"/>
                  </a:lnTo>
                  <a:lnTo>
                    <a:pt x="232" y="46"/>
                  </a:lnTo>
                  <a:lnTo>
                    <a:pt x="234" y="46"/>
                  </a:lnTo>
                  <a:lnTo>
                    <a:pt x="234" y="44"/>
                  </a:lnTo>
                  <a:lnTo>
                    <a:pt x="234" y="42"/>
                  </a:lnTo>
                  <a:lnTo>
                    <a:pt x="234" y="40"/>
                  </a:lnTo>
                  <a:lnTo>
                    <a:pt x="234" y="38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2" y="34"/>
                  </a:lnTo>
                  <a:lnTo>
                    <a:pt x="232" y="33"/>
                  </a:lnTo>
                  <a:lnTo>
                    <a:pt x="230" y="31"/>
                  </a:lnTo>
                  <a:lnTo>
                    <a:pt x="230" y="29"/>
                  </a:lnTo>
                  <a:lnTo>
                    <a:pt x="228" y="29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4" y="25"/>
                  </a:lnTo>
                  <a:lnTo>
                    <a:pt x="222" y="23"/>
                  </a:lnTo>
                  <a:lnTo>
                    <a:pt x="222" y="21"/>
                  </a:lnTo>
                  <a:lnTo>
                    <a:pt x="220" y="19"/>
                  </a:lnTo>
                  <a:lnTo>
                    <a:pt x="218" y="19"/>
                  </a:lnTo>
                  <a:lnTo>
                    <a:pt x="218" y="17"/>
                  </a:lnTo>
                  <a:lnTo>
                    <a:pt x="216" y="15"/>
                  </a:lnTo>
                  <a:lnTo>
                    <a:pt x="216" y="15"/>
                  </a:lnTo>
                  <a:lnTo>
                    <a:pt x="215" y="13"/>
                  </a:lnTo>
                  <a:lnTo>
                    <a:pt x="213" y="11"/>
                  </a:lnTo>
                  <a:lnTo>
                    <a:pt x="213" y="10"/>
                  </a:lnTo>
                  <a:lnTo>
                    <a:pt x="211" y="8"/>
                  </a:lnTo>
                  <a:lnTo>
                    <a:pt x="211" y="6"/>
                  </a:lnTo>
                  <a:lnTo>
                    <a:pt x="207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3" y="2"/>
                  </a:lnTo>
                  <a:lnTo>
                    <a:pt x="201" y="0"/>
                  </a:lnTo>
                  <a:lnTo>
                    <a:pt x="199" y="0"/>
                  </a:lnTo>
                  <a:lnTo>
                    <a:pt x="197" y="0"/>
                  </a:lnTo>
                  <a:lnTo>
                    <a:pt x="197" y="4"/>
                  </a:lnTo>
                  <a:lnTo>
                    <a:pt x="197" y="8"/>
                  </a:lnTo>
                  <a:lnTo>
                    <a:pt x="199" y="10"/>
                  </a:lnTo>
                  <a:lnTo>
                    <a:pt x="199" y="11"/>
                  </a:lnTo>
                  <a:lnTo>
                    <a:pt x="197" y="11"/>
                  </a:lnTo>
                  <a:lnTo>
                    <a:pt x="195" y="11"/>
                  </a:lnTo>
                  <a:lnTo>
                    <a:pt x="193" y="11"/>
                  </a:lnTo>
                  <a:lnTo>
                    <a:pt x="191" y="13"/>
                  </a:lnTo>
                  <a:lnTo>
                    <a:pt x="190" y="13"/>
                  </a:lnTo>
                  <a:lnTo>
                    <a:pt x="184" y="13"/>
                  </a:lnTo>
                  <a:lnTo>
                    <a:pt x="180" y="13"/>
                  </a:lnTo>
                  <a:lnTo>
                    <a:pt x="178" y="13"/>
                  </a:lnTo>
                  <a:lnTo>
                    <a:pt x="176" y="13"/>
                  </a:lnTo>
                  <a:lnTo>
                    <a:pt x="174" y="13"/>
                  </a:lnTo>
                  <a:lnTo>
                    <a:pt x="172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68" y="15"/>
                  </a:lnTo>
                  <a:lnTo>
                    <a:pt x="167" y="15"/>
                  </a:lnTo>
                  <a:lnTo>
                    <a:pt x="167" y="17"/>
                  </a:lnTo>
                  <a:lnTo>
                    <a:pt x="165" y="17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59" y="23"/>
                  </a:lnTo>
                  <a:lnTo>
                    <a:pt x="157" y="27"/>
                  </a:lnTo>
                  <a:lnTo>
                    <a:pt x="155" y="29"/>
                  </a:lnTo>
                  <a:lnTo>
                    <a:pt x="153" y="31"/>
                  </a:lnTo>
                  <a:lnTo>
                    <a:pt x="151" y="29"/>
                  </a:lnTo>
                  <a:lnTo>
                    <a:pt x="149" y="29"/>
                  </a:lnTo>
                  <a:lnTo>
                    <a:pt x="147" y="27"/>
                  </a:lnTo>
                  <a:lnTo>
                    <a:pt x="147" y="25"/>
                  </a:lnTo>
                  <a:lnTo>
                    <a:pt x="145" y="25"/>
                  </a:lnTo>
                  <a:lnTo>
                    <a:pt x="145" y="23"/>
                  </a:lnTo>
                  <a:lnTo>
                    <a:pt x="145" y="21"/>
                  </a:lnTo>
                  <a:lnTo>
                    <a:pt x="144" y="19"/>
                  </a:lnTo>
                  <a:lnTo>
                    <a:pt x="144" y="17"/>
                  </a:lnTo>
                  <a:lnTo>
                    <a:pt x="140" y="15"/>
                  </a:lnTo>
                  <a:lnTo>
                    <a:pt x="138" y="15"/>
                  </a:lnTo>
                  <a:lnTo>
                    <a:pt x="136" y="15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2" y="15"/>
                  </a:lnTo>
                  <a:lnTo>
                    <a:pt x="130" y="15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28" y="11"/>
                  </a:lnTo>
                  <a:lnTo>
                    <a:pt x="128" y="10"/>
                  </a:lnTo>
                  <a:lnTo>
                    <a:pt x="126" y="10"/>
                  </a:lnTo>
                  <a:lnTo>
                    <a:pt x="128" y="11"/>
                  </a:lnTo>
                  <a:lnTo>
                    <a:pt x="124" y="11"/>
                  </a:lnTo>
                  <a:lnTo>
                    <a:pt x="122" y="11"/>
                  </a:lnTo>
                  <a:lnTo>
                    <a:pt x="120" y="11"/>
                  </a:lnTo>
                  <a:lnTo>
                    <a:pt x="119" y="11"/>
                  </a:lnTo>
                  <a:lnTo>
                    <a:pt x="117" y="11"/>
                  </a:lnTo>
                  <a:lnTo>
                    <a:pt x="115" y="11"/>
                  </a:lnTo>
                  <a:lnTo>
                    <a:pt x="113" y="11"/>
                  </a:lnTo>
                  <a:lnTo>
                    <a:pt x="111" y="11"/>
                  </a:lnTo>
                  <a:lnTo>
                    <a:pt x="109" y="11"/>
                  </a:lnTo>
                  <a:lnTo>
                    <a:pt x="107" y="11"/>
                  </a:lnTo>
                  <a:lnTo>
                    <a:pt x="105" y="11"/>
                  </a:lnTo>
                  <a:lnTo>
                    <a:pt x="101" y="10"/>
                  </a:lnTo>
                  <a:lnTo>
                    <a:pt x="99" y="10"/>
                  </a:lnTo>
                  <a:lnTo>
                    <a:pt x="97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0" y="11"/>
                  </a:lnTo>
                  <a:lnTo>
                    <a:pt x="86" y="11"/>
                  </a:lnTo>
                  <a:lnTo>
                    <a:pt x="84" y="11"/>
                  </a:lnTo>
                  <a:lnTo>
                    <a:pt x="82" y="11"/>
                  </a:lnTo>
                  <a:lnTo>
                    <a:pt x="80" y="11"/>
                  </a:lnTo>
                  <a:lnTo>
                    <a:pt x="78" y="10"/>
                  </a:lnTo>
                  <a:lnTo>
                    <a:pt x="74" y="10"/>
                  </a:lnTo>
                  <a:lnTo>
                    <a:pt x="73" y="10"/>
                  </a:lnTo>
                  <a:lnTo>
                    <a:pt x="71" y="8"/>
                  </a:lnTo>
                  <a:lnTo>
                    <a:pt x="69" y="8"/>
                  </a:lnTo>
                  <a:lnTo>
                    <a:pt x="67" y="8"/>
                  </a:lnTo>
                  <a:lnTo>
                    <a:pt x="63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5" y="6"/>
                  </a:lnTo>
                  <a:lnTo>
                    <a:pt x="55" y="10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48" y="13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4" y="21"/>
                  </a:lnTo>
                  <a:lnTo>
                    <a:pt x="44" y="23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50" y="33"/>
                  </a:lnTo>
                  <a:lnTo>
                    <a:pt x="48" y="34"/>
                  </a:lnTo>
                  <a:lnTo>
                    <a:pt x="46" y="36"/>
                  </a:lnTo>
                  <a:lnTo>
                    <a:pt x="44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3" y="38"/>
                  </a:lnTo>
                  <a:lnTo>
                    <a:pt x="21" y="38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7" y="46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3" y="52"/>
                  </a:lnTo>
                  <a:lnTo>
                    <a:pt x="3" y="56"/>
                  </a:lnTo>
                  <a:lnTo>
                    <a:pt x="3" y="57"/>
                  </a:lnTo>
                  <a:lnTo>
                    <a:pt x="2" y="57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89" name="Freeform 76"/>
            <p:cNvSpPr>
              <a:spLocks/>
            </p:cNvSpPr>
            <p:nvPr/>
          </p:nvSpPr>
          <p:spPr bwMode="auto">
            <a:xfrm>
              <a:off x="625" y="1860"/>
              <a:ext cx="261" cy="213"/>
            </a:xfrm>
            <a:custGeom>
              <a:avLst/>
              <a:gdLst/>
              <a:ahLst/>
              <a:cxnLst>
                <a:cxn ang="0">
                  <a:pos x="2" y="79"/>
                </a:cxn>
                <a:cxn ang="0">
                  <a:pos x="11" y="88"/>
                </a:cxn>
                <a:cxn ang="0">
                  <a:pos x="30" y="102"/>
                </a:cxn>
                <a:cxn ang="0">
                  <a:pos x="44" y="111"/>
                </a:cxn>
                <a:cxn ang="0">
                  <a:pos x="53" y="119"/>
                </a:cxn>
                <a:cxn ang="0">
                  <a:pos x="61" y="136"/>
                </a:cxn>
                <a:cxn ang="0">
                  <a:pos x="69" y="138"/>
                </a:cxn>
                <a:cxn ang="0">
                  <a:pos x="74" y="117"/>
                </a:cxn>
                <a:cxn ang="0">
                  <a:pos x="88" y="105"/>
                </a:cxn>
                <a:cxn ang="0">
                  <a:pos x="105" y="102"/>
                </a:cxn>
                <a:cxn ang="0">
                  <a:pos x="119" y="98"/>
                </a:cxn>
                <a:cxn ang="0">
                  <a:pos x="134" y="102"/>
                </a:cxn>
                <a:cxn ang="0">
                  <a:pos x="144" y="113"/>
                </a:cxn>
                <a:cxn ang="0">
                  <a:pos x="147" y="125"/>
                </a:cxn>
                <a:cxn ang="0">
                  <a:pos x="151" y="136"/>
                </a:cxn>
                <a:cxn ang="0">
                  <a:pos x="151" y="150"/>
                </a:cxn>
                <a:cxn ang="0">
                  <a:pos x="151" y="163"/>
                </a:cxn>
                <a:cxn ang="0">
                  <a:pos x="163" y="159"/>
                </a:cxn>
                <a:cxn ang="0">
                  <a:pos x="174" y="153"/>
                </a:cxn>
                <a:cxn ang="0">
                  <a:pos x="188" y="157"/>
                </a:cxn>
                <a:cxn ang="0">
                  <a:pos x="190" y="173"/>
                </a:cxn>
                <a:cxn ang="0">
                  <a:pos x="190" y="190"/>
                </a:cxn>
                <a:cxn ang="0">
                  <a:pos x="195" y="201"/>
                </a:cxn>
                <a:cxn ang="0">
                  <a:pos x="207" y="211"/>
                </a:cxn>
                <a:cxn ang="0">
                  <a:pos x="215" y="199"/>
                </a:cxn>
                <a:cxn ang="0">
                  <a:pos x="218" y="184"/>
                </a:cxn>
                <a:cxn ang="0">
                  <a:pos x="234" y="190"/>
                </a:cxn>
                <a:cxn ang="0">
                  <a:pos x="241" y="182"/>
                </a:cxn>
                <a:cxn ang="0">
                  <a:pos x="247" y="171"/>
                </a:cxn>
                <a:cxn ang="0">
                  <a:pos x="241" y="161"/>
                </a:cxn>
                <a:cxn ang="0">
                  <a:pos x="243" y="152"/>
                </a:cxn>
                <a:cxn ang="0">
                  <a:pos x="259" y="155"/>
                </a:cxn>
                <a:cxn ang="0">
                  <a:pos x="259" y="144"/>
                </a:cxn>
                <a:cxn ang="0">
                  <a:pos x="249" y="128"/>
                </a:cxn>
                <a:cxn ang="0">
                  <a:pos x="251" y="111"/>
                </a:cxn>
                <a:cxn ang="0">
                  <a:pos x="253" y="94"/>
                </a:cxn>
                <a:cxn ang="0">
                  <a:pos x="241" y="81"/>
                </a:cxn>
                <a:cxn ang="0">
                  <a:pos x="236" y="71"/>
                </a:cxn>
                <a:cxn ang="0">
                  <a:pos x="228" y="63"/>
                </a:cxn>
                <a:cxn ang="0">
                  <a:pos x="228" y="54"/>
                </a:cxn>
                <a:cxn ang="0">
                  <a:pos x="234" y="40"/>
                </a:cxn>
                <a:cxn ang="0">
                  <a:pos x="230" y="29"/>
                </a:cxn>
                <a:cxn ang="0">
                  <a:pos x="220" y="19"/>
                </a:cxn>
                <a:cxn ang="0">
                  <a:pos x="213" y="10"/>
                </a:cxn>
                <a:cxn ang="0">
                  <a:pos x="201" y="0"/>
                </a:cxn>
                <a:cxn ang="0">
                  <a:pos x="197" y="11"/>
                </a:cxn>
                <a:cxn ang="0">
                  <a:pos x="178" y="13"/>
                </a:cxn>
                <a:cxn ang="0">
                  <a:pos x="167" y="15"/>
                </a:cxn>
                <a:cxn ang="0">
                  <a:pos x="155" y="29"/>
                </a:cxn>
                <a:cxn ang="0">
                  <a:pos x="145" y="23"/>
                </a:cxn>
                <a:cxn ang="0">
                  <a:pos x="132" y="19"/>
                </a:cxn>
                <a:cxn ang="0">
                  <a:pos x="128" y="10"/>
                </a:cxn>
                <a:cxn ang="0">
                  <a:pos x="117" y="11"/>
                </a:cxn>
                <a:cxn ang="0">
                  <a:pos x="101" y="10"/>
                </a:cxn>
                <a:cxn ang="0">
                  <a:pos x="86" y="11"/>
                </a:cxn>
                <a:cxn ang="0">
                  <a:pos x="71" y="8"/>
                </a:cxn>
                <a:cxn ang="0">
                  <a:pos x="57" y="6"/>
                </a:cxn>
                <a:cxn ang="0">
                  <a:pos x="51" y="11"/>
                </a:cxn>
                <a:cxn ang="0">
                  <a:pos x="44" y="21"/>
                </a:cxn>
                <a:cxn ang="0">
                  <a:pos x="44" y="38"/>
                </a:cxn>
                <a:cxn ang="0">
                  <a:pos x="26" y="38"/>
                </a:cxn>
                <a:cxn ang="0">
                  <a:pos x="13" y="40"/>
                </a:cxn>
                <a:cxn ang="0">
                  <a:pos x="3" y="56"/>
                </a:cxn>
              </a:cxnLst>
              <a:rect l="0" t="0" r="r" b="b"/>
              <a:pathLst>
                <a:path w="261" h="213">
                  <a:moveTo>
                    <a:pt x="0" y="63"/>
                  </a:moveTo>
                  <a:lnTo>
                    <a:pt x="0" y="67"/>
                  </a:lnTo>
                  <a:lnTo>
                    <a:pt x="0" y="69"/>
                  </a:lnTo>
                  <a:lnTo>
                    <a:pt x="0" y="73"/>
                  </a:lnTo>
                  <a:lnTo>
                    <a:pt x="0" y="75"/>
                  </a:lnTo>
                  <a:lnTo>
                    <a:pt x="2" y="77"/>
                  </a:lnTo>
                  <a:lnTo>
                    <a:pt x="2" y="79"/>
                  </a:lnTo>
                  <a:lnTo>
                    <a:pt x="3" y="79"/>
                  </a:lnTo>
                  <a:lnTo>
                    <a:pt x="5" y="81"/>
                  </a:lnTo>
                  <a:lnTo>
                    <a:pt x="5" y="82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8"/>
                  </a:lnTo>
                  <a:lnTo>
                    <a:pt x="13" y="88"/>
                  </a:lnTo>
                  <a:lnTo>
                    <a:pt x="17" y="92"/>
                  </a:lnTo>
                  <a:lnTo>
                    <a:pt x="21" y="96"/>
                  </a:lnTo>
                  <a:lnTo>
                    <a:pt x="23" y="96"/>
                  </a:lnTo>
                  <a:lnTo>
                    <a:pt x="25" y="98"/>
                  </a:lnTo>
                  <a:lnTo>
                    <a:pt x="28" y="98"/>
                  </a:lnTo>
                  <a:lnTo>
                    <a:pt x="30" y="102"/>
                  </a:lnTo>
                  <a:lnTo>
                    <a:pt x="34" y="105"/>
                  </a:lnTo>
                  <a:lnTo>
                    <a:pt x="34" y="109"/>
                  </a:lnTo>
                  <a:lnTo>
                    <a:pt x="36" y="111"/>
                  </a:lnTo>
                  <a:lnTo>
                    <a:pt x="38" y="111"/>
                  </a:lnTo>
                  <a:lnTo>
                    <a:pt x="40" y="111"/>
                  </a:lnTo>
                  <a:lnTo>
                    <a:pt x="42" y="111"/>
                  </a:lnTo>
                  <a:lnTo>
                    <a:pt x="44" y="111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6" y="115"/>
                  </a:lnTo>
                  <a:lnTo>
                    <a:pt x="48" y="117"/>
                  </a:lnTo>
                  <a:lnTo>
                    <a:pt x="50" y="117"/>
                  </a:lnTo>
                  <a:lnTo>
                    <a:pt x="51" y="119"/>
                  </a:lnTo>
                  <a:lnTo>
                    <a:pt x="53" y="119"/>
                  </a:lnTo>
                  <a:lnTo>
                    <a:pt x="55" y="121"/>
                  </a:lnTo>
                  <a:lnTo>
                    <a:pt x="55" y="123"/>
                  </a:lnTo>
                  <a:lnTo>
                    <a:pt x="55" y="127"/>
                  </a:lnTo>
                  <a:lnTo>
                    <a:pt x="57" y="128"/>
                  </a:lnTo>
                  <a:lnTo>
                    <a:pt x="59" y="130"/>
                  </a:lnTo>
                  <a:lnTo>
                    <a:pt x="59" y="134"/>
                  </a:lnTo>
                  <a:lnTo>
                    <a:pt x="61" y="136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69" y="138"/>
                  </a:lnTo>
                  <a:lnTo>
                    <a:pt x="71" y="134"/>
                  </a:lnTo>
                  <a:lnTo>
                    <a:pt x="73" y="134"/>
                  </a:lnTo>
                  <a:lnTo>
                    <a:pt x="73" y="130"/>
                  </a:lnTo>
                  <a:lnTo>
                    <a:pt x="74" y="128"/>
                  </a:lnTo>
                  <a:lnTo>
                    <a:pt x="74" y="121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5"/>
                  </a:lnTo>
                  <a:lnTo>
                    <a:pt x="76" y="113"/>
                  </a:lnTo>
                  <a:lnTo>
                    <a:pt x="78" y="111"/>
                  </a:lnTo>
                  <a:lnTo>
                    <a:pt x="80" y="109"/>
                  </a:lnTo>
                  <a:lnTo>
                    <a:pt x="84" y="107"/>
                  </a:lnTo>
                  <a:lnTo>
                    <a:pt x="86" y="105"/>
                  </a:lnTo>
                  <a:lnTo>
                    <a:pt x="88" y="105"/>
                  </a:lnTo>
                  <a:lnTo>
                    <a:pt x="90" y="104"/>
                  </a:lnTo>
                  <a:lnTo>
                    <a:pt x="96" y="104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101" y="102"/>
                  </a:lnTo>
                  <a:lnTo>
                    <a:pt x="103" y="102"/>
                  </a:lnTo>
                  <a:lnTo>
                    <a:pt x="105" y="102"/>
                  </a:lnTo>
                  <a:lnTo>
                    <a:pt x="107" y="100"/>
                  </a:lnTo>
                  <a:lnTo>
                    <a:pt x="109" y="100"/>
                  </a:lnTo>
                  <a:lnTo>
                    <a:pt x="111" y="98"/>
                  </a:lnTo>
                  <a:lnTo>
                    <a:pt x="113" y="98"/>
                  </a:lnTo>
                  <a:lnTo>
                    <a:pt x="115" y="98"/>
                  </a:lnTo>
                  <a:lnTo>
                    <a:pt x="117" y="98"/>
                  </a:lnTo>
                  <a:lnTo>
                    <a:pt x="119" y="98"/>
                  </a:lnTo>
                  <a:lnTo>
                    <a:pt x="122" y="98"/>
                  </a:lnTo>
                  <a:lnTo>
                    <a:pt x="124" y="98"/>
                  </a:lnTo>
                  <a:lnTo>
                    <a:pt x="124" y="100"/>
                  </a:lnTo>
                  <a:lnTo>
                    <a:pt x="128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4" y="102"/>
                  </a:lnTo>
                  <a:lnTo>
                    <a:pt x="136" y="104"/>
                  </a:lnTo>
                  <a:lnTo>
                    <a:pt x="138" y="105"/>
                  </a:lnTo>
                  <a:lnTo>
                    <a:pt x="140" y="105"/>
                  </a:lnTo>
                  <a:lnTo>
                    <a:pt x="140" y="107"/>
                  </a:lnTo>
                  <a:lnTo>
                    <a:pt x="140" y="109"/>
                  </a:lnTo>
                  <a:lnTo>
                    <a:pt x="142" y="111"/>
                  </a:lnTo>
                  <a:lnTo>
                    <a:pt x="144" y="113"/>
                  </a:lnTo>
                  <a:lnTo>
                    <a:pt x="144" y="115"/>
                  </a:lnTo>
                  <a:lnTo>
                    <a:pt x="144" y="117"/>
                  </a:lnTo>
                  <a:lnTo>
                    <a:pt x="145" y="119"/>
                  </a:lnTo>
                  <a:lnTo>
                    <a:pt x="145" y="119"/>
                  </a:lnTo>
                  <a:lnTo>
                    <a:pt x="145" y="121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9" y="125"/>
                  </a:lnTo>
                  <a:lnTo>
                    <a:pt x="151" y="127"/>
                  </a:lnTo>
                  <a:lnTo>
                    <a:pt x="151" y="128"/>
                  </a:lnTo>
                  <a:lnTo>
                    <a:pt x="151" y="130"/>
                  </a:lnTo>
                  <a:lnTo>
                    <a:pt x="151" y="132"/>
                  </a:lnTo>
                  <a:lnTo>
                    <a:pt x="151" y="134"/>
                  </a:lnTo>
                  <a:lnTo>
                    <a:pt x="151" y="136"/>
                  </a:lnTo>
                  <a:lnTo>
                    <a:pt x="151" y="138"/>
                  </a:lnTo>
                  <a:lnTo>
                    <a:pt x="151" y="140"/>
                  </a:lnTo>
                  <a:lnTo>
                    <a:pt x="151" y="142"/>
                  </a:lnTo>
                  <a:lnTo>
                    <a:pt x="151" y="144"/>
                  </a:lnTo>
                  <a:lnTo>
                    <a:pt x="151" y="14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51" y="152"/>
                  </a:lnTo>
                  <a:lnTo>
                    <a:pt x="151" y="155"/>
                  </a:lnTo>
                  <a:lnTo>
                    <a:pt x="151" y="157"/>
                  </a:lnTo>
                  <a:lnTo>
                    <a:pt x="151" y="159"/>
                  </a:lnTo>
                  <a:lnTo>
                    <a:pt x="151" y="161"/>
                  </a:lnTo>
                  <a:lnTo>
                    <a:pt x="149" y="163"/>
                  </a:lnTo>
                  <a:lnTo>
                    <a:pt x="151" y="163"/>
                  </a:lnTo>
                  <a:lnTo>
                    <a:pt x="155" y="163"/>
                  </a:lnTo>
                  <a:lnTo>
                    <a:pt x="155" y="163"/>
                  </a:lnTo>
                  <a:lnTo>
                    <a:pt x="157" y="163"/>
                  </a:lnTo>
                  <a:lnTo>
                    <a:pt x="159" y="163"/>
                  </a:lnTo>
                  <a:lnTo>
                    <a:pt x="161" y="163"/>
                  </a:lnTo>
                  <a:lnTo>
                    <a:pt x="161" y="161"/>
                  </a:lnTo>
                  <a:lnTo>
                    <a:pt x="163" y="159"/>
                  </a:lnTo>
                  <a:lnTo>
                    <a:pt x="165" y="157"/>
                  </a:lnTo>
                  <a:lnTo>
                    <a:pt x="167" y="157"/>
                  </a:lnTo>
                  <a:lnTo>
                    <a:pt x="168" y="155"/>
                  </a:lnTo>
                  <a:lnTo>
                    <a:pt x="168" y="153"/>
                  </a:lnTo>
                  <a:lnTo>
                    <a:pt x="172" y="153"/>
                  </a:lnTo>
                  <a:lnTo>
                    <a:pt x="172" y="153"/>
                  </a:lnTo>
                  <a:lnTo>
                    <a:pt x="174" y="153"/>
                  </a:lnTo>
                  <a:lnTo>
                    <a:pt x="178" y="155"/>
                  </a:lnTo>
                  <a:lnTo>
                    <a:pt x="180" y="155"/>
                  </a:lnTo>
                  <a:lnTo>
                    <a:pt x="182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6" y="155"/>
                  </a:lnTo>
                  <a:lnTo>
                    <a:pt x="188" y="157"/>
                  </a:lnTo>
                  <a:lnTo>
                    <a:pt x="188" y="159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8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90" y="186"/>
                  </a:lnTo>
                  <a:lnTo>
                    <a:pt x="190" y="190"/>
                  </a:lnTo>
                  <a:lnTo>
                    <a:pt x="190" y="192"/>
                  </a:lnTo>
                  <a:lnTo>
                    <a:pt x="188" y="194"/>
                  </a:lnTo>
                  <a:lnTo>
                    <a:pt x="188" y="196"/>
                  </a:lnTo>
                  <a:lnTo>
                    <a:pt x="188" y="199"/>
                  </a:lnTo>
                  <a:lnTo>
                    <a:pt x="191" y="199"/>
                  </a:lnTo>
                  <a:lnTo>
                    <a:pt x="193" y="199"/>
                  </a:lnTo>
                  <a:lnTo>
                    <a:pt x="195" y="201"/>
                  </a:lnTo>
                  <a:lnTo>
                    <a:pt x="197" y="203"/>
                  </a:lnTo>
                  <a:lnTo>
                    <a:pt x="201" y="205"/>
                  </a:lnTo>
                  <a:lnTo>
                    <a:pt x="203" y="207"/>
                  </a:lnTo>
                  <a:lnTo>
                    <a:pt x="203" y="207"/>
                  </a:lnTo>
                  <a:lnTo>
                    <a:pt x="205" y="211"/>
                  </a:lnTo>
                  <a:lnTo>
                    <a:pt x="207" y="213"/>
                  </a:lnTo>
                  <a:lnTo>
                    <a:pt x="207" y="211"/>
                  </a:lnTo>
                  <a:lnTo>
                    <a:pt x="209" y="209"/>
                  </a:lnTo>
                  <a:lnTo>
                    <a:pt x="211" y="207"/>
                  </a:lnTo>
                  <a:lnTo>
                    <a:pt x="211" y="205"/>
                  </a:lnTo>
                  <a:lnTo>
                    <a:pt x="211" y="205"/>
                  </a:lnTo>
                  <a:lnTo>
                    <a:pt x="213" y="203"/>
                  </a:lnTo>
                  <a:lnTo>
                    <a:pt x="213" y="201"/>
                  </a:lnTo>
                  <a:lnTo>
                    <a:pt x="215" y="199"/>
                  </a:lnTo>
                  <a:lnTo>
                    <a:pt x="215" y="198"/>
                  </a:lnTo>
                  <a:lnTo>
                    <a:pt x="215" y="196"/>
                  </a:lnTo>
                  <a:lnTo>
                    <a:pt x="216" y="194"/>
                  </a:lnTo>
                  <a:lnTo>
                    <a:pt x="216" y="192"/>
                  </a:lnTo>
                  <a:lnTo>
                    <a:pt x="216" y="190"/>
                  </a:lnTo>
                  <a:lnTo>
                    <a:pt x="218" y="188"/>
                  </a:lnTo>
                  <a:lnTo>
                    <a:pt x="218" y="184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4" y="184"/>
                  </a:lnTo>
                  <a:lnTo>
                    <a:pt x="228" y="186"/>
                  </a:lnTo>
                  <a:lnTo>
                    <a:pt x="230" y="186"/>
                  </a:lnTo>
                  <a:lnTo>
                    <a:pt x="232" y="188"/>
                  </a:lnTo>
                  <a:lnTo>
                    <a:pt x="234" y="190"/>
                  </a:lnTo>
                  <a:lnTo>
                    <a:pt x="236" y="190"/>
                  </a:lnTo>
                  <a:lnTo>
                    <a:pt x="239" y="190"/>
                  </a:lnTo>
                  <a:lnTo>
                    <a:pt x="241" y="190"/>
                  </a:lnTo>
                  <a:lnTo>
                    <a:pt x="241" y="188"/>
                  </a:lnTo>
                  <a:lnTo>
                    <a:pt x="241" y="186"/>
                  </a:lnTo>
                  <a:lnTo>
                    <a:pt x="241" y="184"/>
                  </a:lnTo>
                  <a:lnTo>
                    <a:pt x="241" y="182"/>
                  </a:lnTo>
                  <a:lnTo>
                    <a:pt x="241" y="180"/>
                  </a:lnTo>
                  <a:lnTo>
                    <a:pt x="243" y="178"/>
                  </a:lnTo>
                  <a:lnTo>
                    <a:pt x="243" y="176"/>
                  </a:lnTo>
                  <a:lnTo>
                    <a:pt x="243" y="175"/>
                  </a:lnTo>
                  <a:lnTo>
                    <a:pt x="245" y="175"/>
                  </a:lnTo>
                  <a:lnTo>
                    <a:pt x="245" y="173"/>
                  </a:lnTo>
                  <a:lnTo>
                    <a:pt x="247" y="171"/>
                  </a:lnTo>
                  <a:lnTo>
                    <a:pt x="247" y="169"/>
                  </a:lnTo>
                  <a:lnTo>
                    <a:pt x="249" y="169"/>
                  </a:lnTo>
                  <a:lnTo>
                    <a:pt x="249" y="167"/>
                  </a:lnTo>
                  <a:lnTo>
                    <a:pt x="247" y="165"/>
                  </a:lnTo>
                  <a:lnTo>
                    <a:pt x="245" y="163"/>
                  </a:lnTo>
                  <a:lnTo>
                    <a:pt x="243" y="163"/>
                  </a:lnTo>
                  <a:lnTo>
                    <a:pt x="241" y="161"/>
                  </a:lnTo>
                  <a:lnTo>
                    <a:pt x="241" y="159"/>
                  </a:lnTo>
                  <a:lnTo>
                    <a:pt x="239" y="157"/>
                  </a:lnTo>
                  <a:lnTo>
                    <a:pt x="238" y="157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9" y="155"/>
                  </a:lnTo>
                  <a:lnTo>
                    <a:pt x="243" y="152"/>
                  </a:lnTo>
                  <a:lnTo>
                    <a:pt x="245" y="152"/>
                  </a:lnTo>
                  <a:lnTo>
                    <a:pt x="247" y="153"/>
                  </a:lnTo>
                  <a:lnTo>
                    <a:pt x="251" y="155"/>
                  </a:lnTo>
                  <a:lnTo>
                    <a:pt x="255" y="155"/>
                  </a:lnTo>
                  <a:lnTo>
                    <a:pt x="255" y="155"/>
                  </a:lnTo>
                  <a:lnTo>
                    <a:pt x="257" y="155"/>
                  </a:lnTo>
                  <a:lnTo>
                    <a:pt x="259" y="155"/>
                  </a:lnTo>
                  <a:lnTo>
                    <a:pt x="261" y="155"/>
                  </a:lnTo>
                  <a:lnTo>
                    <a:pt x="261" y="152"/>
                  </a:lnTo>
                  <a:lnTo>
                    <a:pt x="261" y="150"/>
                  </a:lnTo>
                  <a:lnTo>
                    <a:pt x="259" y="150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7" y="140"/>
                  </a:lnTo>
                  <a:lnTo>
                    <a:pt x="255" y="138"/>
                  </a:lnTo>
                  <a:lnTo>
                    <a:pt x="253" y="134"/>
                  </a:lnTo>
                  <a:lnTo>
                    <a:pt x="251" y="134"/>
                  </a:lnTo>
                  <a:lnTo>
                    <a:pt x="251" y="134"/>
                  </a:lnTo>
                  <a:lnTo>
                    <a:pt x="249" y="132"/>
                  </a:lnTo>
                  <a:lnTo>
                    <a:pt x="249" y="128"/>
                  </a:lnTo>
                  <a:lnTo>
                    <a:pt x="249" y="125"/>
                  </a:lnTo>
                  <a:lnTo>
                    <a:pt x="249" y="123"/>
                  </a:lnTo>
                  <a:lnTo>
                    <a:pt x="249" y="119"/>
                  </a:lnTo>
                  <a:lnTo>
                    <a:pt x="249" y="117"/>
                  </a:lnTo>
                  <a:lnTo>
                    <a:pt x="251" y="115"/>
                  </a:lnTo>
                  <a:lnTo>
                    <a:pt x="251" y="113"/>
                  </a:lnTo>
                  <a:lnTo>
                    <a:pt x="251" y="111"/>
                  </a:lnTo>
                  <a:lnTo>
                    <a:pt x="251" y="107"/>
                  </a:lnTo>
                  <a:lnTo>
                    <a:pt x="251" y="105"/>
                  </a:lnTo>
                  <a:lnTo>
                    <a:pt x="251" y="104"/>
                  </a:lnTo>
                  <a:lnTo>
                    <a:pt x="251" y="102"/>
                  </a:lnTo>
                  <a:lnTo>
                    <a:pt x="251" y="98"/>
                  </a:lnTo>
                  <a:lnTo>
                    <a:pt x="253" y="96"/>
                  </a:lnTo>
                  <a:lnTo>
                    <a:pt x="253" y="94"/>
                  </a:lnTo>
                  <a:lnTo>
                    <a:pt x="251" y="92"/>
                  </a:lnTo>
                  <a:lnTo>
                    <a:pt x="251" y="90"/>
                  </a:lnTo>
                  <a:lnTo>
                    <a:pt x="247" y="90"/>
                  </a:lnTo>
                  <a:lnTo>
                    <a:pt x="245" y="88"/>
                  </a:lnTo>
                  <a:lnTo>
                    <a:pt x="243" y="84"/>
                  </a:lnTo>
                  <a:lnTo>
                    <a:pt x="241" y="82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77"/>
                  </a:lnTo>
                  <a:lnTo>
                    <a:pt x="241" y="75"/>
                  </a:lnTo>
                  <a:lnTo>
                    <a:pt x="239" y="73"/>
                  </a:lnTo>
                  <a:lnTo>
                    <a:pt x="238" y="73"/>
                  </a:lnTo>
                  <a:lnTo>
                    <a:pt x="236" y="73"/>
                  </a:lnTo>
                  <a:lnTo>
                    <a:pt x="236" y="71"/>
                  </a:lnTo>
                  <a:lnTo>
                    <a:pt x="236" y="69"/>
                  </a:lnTo>
                  <a:lnTo>
                    <a:pt x="236" y="67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1"/>
                  </a:lnTo>
                  <a:lnTo>
                    <a:pt x="230" y="61"/>
                  </a:lnTo>
                  <a:lnTo>
                    <a:pt x="228" y="63"/>
                  </a:lnTo>
                  <a:lnTo>
                    <a:pt x="228" y="63"/>
                  </a:lnTo>
                  <a:lnTo>
                    <a:pt x="226" y="63"/>
                  </a:lnTo>
                  <a:lnTo>
                    <a:pt x="226" y="61"/>
                  </a:lnTo>
                  <a:lnTo>
                    <a:pt x="228" y="61"/>
                  </a:lnTo>
                  <a:lnTo>
                    <a:pt x="228" y="57"/>
                  </a:lnTo>
                  <a:lnTo>
                    <a:pt x="228" y="56"/>
                  </a:lnTo>
                  <a:lnTo>
                    <a:pt x="228" y="54"/>
                  </a:lnTo>
                  <a:lnTo>
                    <a:pt x="230" y="52"/>
                  </a:lnTo>
                  <a:lnTo>
                    <a:pt x="232" y="50"/>
                  </a:lnTo>
                  <a:lnTo>
                    <a:pt x="232" y="46"/>
                  </a:lnTo>
                  <a:lnTo>
                    <a:pt x="234" y="46"/>
                  </a:lnTo>
                  <a:lnTo>
                    <a:pt x="234" y="44"/>
                  </a:lnTo>
                  <a:lnTo>
                    <a:pt x="234" y="42"/>
                  </a:lnTo>
                  <a:lnTo>
                    <a:pt x="234" y="40"/>
                  </a:lnTo>
                  <a:lnTo>
                    <a:pt x="234" y="38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2" y="34"/>
                  </a:lnTo>
                  <a:lnTo>
                    <a:pt x="232" y="33"/>
                  </a:lnTo>
                  <a:lnTo>
                    <a:pt x="230" y="31"/>
                  </a:lnTo>
                  <a:lnTo>
                    <a:pt x="230" y="29"/>
                  </a:lnTo>
                  <a:lnTo>
                    <a:pt x="228" y="29"/>
                  </a:lnTo>
                  <a:lnTo>
                    <a:pt x="226" y="27"/>
                  </a:lnTo>
                  <a:lnTo>
                    <a:pt x="226" y="27"/>
                  </a:lnTo>
                  <a:lnTo>
                    <a:pt x="224" y="25"/>
                  </a:lnTo>
                  <a:lnTo>
                    <a:pt x="222" y="23"/>
                  </a:lnTo>
                  <a:lnTo>
                    <a:pt x="222" y="21"/>
                  </a:lnTo>
                  <a:lnTo>
                    <a:pt x="220" y="19"/>
                  </a:lnTo>
                  <a:lnTo>
                    <a:pt x="218" y="19"/>
                  </a:lnTo>
                  <a:lnTo>
                    <a:pt x="218" y="17"/>
                  </a:lnTo>
                  <a:lnTo>
                    <a:pt x="216" y="15"/>
                  </a:lnTo>
                  <a:lnTo>
                    <a:pt x="216" y="15"/>
                  </a:lnTo>
                  <a:lnTo>
                    <a:pt x="215" y="13"/>
                  </a:lnTo>
                  <a:lnTo>
                    <a:pt x="213" y="11"/>
                  </a:lnTo>
                  <a:lnTo>
                    <a:pt x="213" y="10"/>
                  </a:lnTo>
                  <a:lnTo>
                    <a:pt x="211" y="8"/>
                  </a:lnTo>
                  <a:lnTo>
                    <a:pt x="211" y="6"/>
                  </a:lnTo>
                  <a:lnTo>
                    <a:pt x="207" y="6"/>
                  </a:lnTo>
                  <a:lnTo>
                    <a:pt x="207" y="4"/>
                  </a:lnTo>
                  <a:lnTo>
                    <a:pt x="205" y="2"/>
                  </a:lnTo>
                  <a:lnTo>
                    <a:pt x="203" y="2"/>
                  </a:lnTo>
                  <a:lnTo>
                    <a:pt x="201" y="0"/>
                  </a:lnTo>
                  <a:lnTo>
                    <a:pt x="199" y="0"/>
                  </a:lnTo>
                  <a:lnTo>
                    <a:pt x="197" y="0"/>
                  </a:lnTo>
                  <a:lnTo>
                    <a:pt x="197" y="4"/>
                  </a:lnTo>
                  <a:lnTo>
                    <a:pt x="197" y="8"/>
                  </a:lnTo>
                  <a:lnTo>
                    <a:pt x="199" y="10"/>
                  </a:lnTo>
                  <a:lnTo>
                    <a:pt x="199" y="11"/>
                  </a:lnTo>
                  <a:lnTo>
                    <a:pt x="197" y="11"/>
                  </a:lnTo>
                  <a:lnTo>
                    <a:pt x="195" y="11"/>
                  </a:lnTo>
                  <a:lnTo>
                    <a:pt x="193" y="11"/>
                  </a:lnTo>
                  <a:lnTo>
                    <a:pt x="191" y="13"/>
                  </a:lnTo>
                  <a:lnTo>
                    <a:pt x="190" y="13"/>
                  </a:lnTo>
                  <a:lnTo>
                    <a:pt x="184" y="13"/>
                  </a:lnTo>
                  <a:lnTo>
                    <a:pt x="180" y="13"/>
                  </a:lnTo>
                  <a:lnTo>
                    <a:pt x="178" y="13"/>
                  </a:lnTo>
                  <a:lnTo>
                    <a:pt x="176" y="13"/>
                  </a:lnTo>
                  <a:lnTo>
                    <a:pt x="174" y="13"/>
                  </a:lnTo>
                  <a:lnTo>
                    <a:pt x="172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68" y="15"/>
                  </a:lnTo>
                  <a:lnTo>
                    <a:pt x="167" y="15"/>
                  </a:lnTo>
                  <a:lnTo>
                    <a:pt x="167" y="17"/>
                  </a:lnTo>
                  <a:lnTo>
                    <a:pt x="165" y="17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59" y="23"/>
                  </a:lnTo>
                  <a:lnTo>
                    <a:pt x="157" y="27"/>
                  </a:lnTo>
                  <a:lnTo>
                    <a:pt x="155" y="29"/>
                  </a:lnTo>
                  <a:lnTo>
                    <a:pt x="153" y="31"/>
                  </a:lnTo>
                  <a:lnTo>
                    <a:pt x="151" y="29"/>
                  </a:lnTo>
                  <a:lnTo>
                    <a:pt x="149" y="29"/>
                  </a:lnTo>
                  <a:lnTo>
                    <a:pt x="147" y="27"/>
                  </a:lnTo>
                  <a:lnTo>
                    <a:pt x="147" y="25"/>
                  </a:lnTo>
                  <a:lnTo>
                    <a:pt x="145" y="25"/>
                  </a:lnTo>
                  <a:lnTo>
                    <a:pt x="145" y="23"/>
                  </a:lnTo>
                  <a:lnTo>
                    <a:pt x="145" y="21"/>
                  </a:lnTo>
                  <a:lnTo>
                    <a:pt x="144" y="19"/>
                  </a:lnTo>
                  <a:lnTo>
                    <a:pt x="144" y="17"/>
                  </a:lnTo>
                  <a:lnTo>
                    <a:pt x="140" y="15"/>
                  </a:lnTo>
                  <a:lnTo>
                    <a:pt x="138" y="15"/>
                  </a:lnTo>
                  <a:lnTo>
                    <a:pt x="136" y="15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2" y="15"/>
                  </a:lnTo>
                  <a:lnTo>
                    <a:pt x="130" y="15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28" y="11"/>
                  </a:lnTo>
                  <a:lnTo>
                    <a:pt x="128" y="10"/>
                  </a:lnTo>
                  <a:lnTo>
                    <a:pt x="126" y="10"/>
                  </a:lnTo>
                  <a:lnTo>
                    <a:pt x="128" y="11"/>
                  </a:lnTo>
                  <a:lnTo>
                    <a:pt x="124" y="11"/>
                  </a:lnTo>
                  <a:lnTo>
                    <a:pt x="122" y="11"/>
                  </a:lnTo>
                  <a:lnTo>
                    <a:pt x="120" y="11"/>
                  </a:lnTo>
                  <a:lnTo>
                    <a:pt x="119" y="11"/>
                  </a:lnTo>
                  <a:lnTo>
                    <a:pt x="117" y="11"/>
                  </a:lnTo>
                  <a:lnTo>
                    <a:pt x="115" y="11"/>
                  </a:lnTo>
                  <a:lnTo>
                    <a:pt x="113" y="11"/>
                  </a:lnTo>
                  <a:lnTo>
                    <a:pt x="111" y="11"/>
                  </a:lnTo>
                  <a:lnTo>
                    <a:pt x="109" y="11"/>
                  </a:lnTo>
                  <a:lnTo>
                    <a:pt x="107" y="11"/>
                  </a:lnTo>
                  <a:lnTo>
                    <a:pt x="105" y="11"/>
                  </a:lnTo>
                  <a:lnTo>
                    <a:pt x="101" y="10"/>
                  </a:lnTo>
                  <a:lnTo>
                    <a:pt x="99" y="10"/>
                  </a:lnTo>
                  <a:lnTo>
                    <a:pt x="97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0" y="11"/>
                  </a:lnTo>
                  <a:lnTo>
                    <a:pt x="86" y="11"/>
                  </a:lnTo>
                  <a:lnTo>
                    <a:pt x="84" y="11"/>
                  </a:lnTo>
                  <a:lnTo>
                    <a:pt x="82" y="11"/>
                  </a:lnTo>
                  <a:lnTo>
                    <a:pt x="80" y="11"/>
                  </a:lnTo>
                  <a:lnTo>
                    <a:pt x="78" y="10"/>
                  </a:lnTo>
                  <a:lnTo>
                    <a:pt x="74" y="10"/>
                  </a:lnTo>
                  <a:lnTo>
                    <a:pt x="73" y="10"/>
                  </a:lnTo>
                  <a:lnTo>
                    <a:pt x="71" y="8"/>
                  </a:lnTo>
                  <a:lnTo>
                    <a:pt x="69" y="8"/>
                  </a:lnTo>
                  <a:lnTo>
                    <a:pt x="67" y="8"/>
                  </a:lnTo>
                  <a:lnTo>
                    <a:pt x="63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59" y="6"/>
                  </a:lnTo>
                  <a:lnTo>
                    <a:pt x="57" y="6"/>
                  </a:lnTo>
                  <a:lnTo>
                    <a:pt x="55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5" y="6"/>
                  </a:lnTo>
                  <a:lnTo>
                    <a:pt x="55" y="10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48" y="13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4" y="21"/>
                  </a:lnTo>
                  <a:lnTo>
                    <a:pt x="44" y="23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50" y="33"/>
                  </a:lnTo>
                  <a:lnTo>
                    <a:pt x="48" y="34"/>
                  </a:lnTo>
                  <a:lnTo>
                    <a:pt x="46" y="36"/>
                  </a:lnTo>
                  <a:lnTo>
                    <a:pt x="44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0" y="38"/>
                  </a:lnTo>
                  <a:lnTo>
                    <a:pt x="28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3" y="38"/>
                  </a:lnTo>
                  <a:lnTo>
                    <a:pt x="21" y="38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7" y="46"/>
                  </a:lnTo>
                  <a:lnTo>
                    <a:pt x="5" y="48"/>
                  </a:lnTo>
                  <a:lnTo>
                    <a:pt x="5" y="52"/>
                  </a:lnTo>
                  <a:lnTo>
                    <a:pt x="3" y="52"/>
                  </a:lnTo>
                  <a:lnTo>
                    <a:pt x="3" y="56"/>
                  </a:lnTo>
                  <a:lnTo>
                    <a:pt x="3" y="57"/>
                  </a:lnTo>
                  <a:lnTo>
                    <a:pt x="2" y="57"/>
                  </a:lnTo>
                  <a:lnTo>
                    <a:pt x="0" y="63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0" name="Freeform 77"/>
            <p:cNvSpPr>
              <a:spLocks/>
            </p:cNvSpPr>
            <p:nvPr/>
          </p:nvSpPr>
          <p:spPr bwMode="auto">
            <a:xfrm>
              <a:off x="688" y="1956"/>
              <a:ext cx="90" cy="119"/>
            </a:xfrm>
            <a:custGeom>
              <a:avLst/>
              <a:gdLst/>
              <a:ahLst/>
              <a:cxnLst>
                <a:cxn ang="0">
                  <a:pos x="4" y="52"/>
                </a:cxn>
                <a:cxn ang="0">
                  <a:pos x="4" y="54"/>
                </a:cxn>
                <a:cxn ang="0">
                  <a:pos x="4" y="61"/>
                </a:cxn>
                <a:cxn ang="0">
                  <a:pos x="4" y="69"/>
                </a:cxn>
                <a:cxn ang="0">
                  <a:pos x="2" y="75"/>
                </a:cxn>
                <a:cxn ang="0">
                  <a:pos x="2" y="79"/>
                </a:cxn>
                <a:cxn ang="0">
                  <a:pos x="0" y="86"/>
                </a:cxn>
                <a:cxn ang="0">
                  <a:pos x="4" y="90"/>
                </a:cxn>
                <a:cxn ang="0">
                  <a:pos x="11" y="96"/>
                </a:cxn>
                <a:cxn ang="0">
                  <a:pos x="15" y="103"/>
                </a:cxn>
                <a:cxn ang="0">
                  <a:pos x="19" y="105"/>
                </a:cxn>
                <a:cxn ang="0">
                  <a:pos x="27" y="109"/>
                </a:cxn>
                <a:cxn ang="0">
                  <a:pos x="34" y="109"/>
                </a:cxn>
                <a:cxn ang="0">
                  <a:pos x="44" y="113"/>
                </a:cxn>
                <a:cxn ang="0">
                  <a:pos x="52" y="117"/>
                </a:cxn>
                <a:cxn ang="0">
                  <a:pos x="57" y="119"/>
                </a:cxn>
                <a:cxn ang="0">
                  <a:pos x="63" y="115"/>
                </a:cxn>
                <a:cxn ang="0">
                  <a:pos x="67" y="109"/>
                </a:cxn>
                <a:cxn ang="0">
                  <a:pos x="71" y="105"/>
                </a:cxn>
                <a:cxn ang="0">
                  <a:pos x="77" y="100"/>
                </a:cxn>
                <a:cxn ang="0">
                  <a:pos x="84" y="94"/>
                </a:cxn>
                <a:cxn ang="0">
                  <a:pos x="88" y="88"/>
                </a:cxn>
                <a:cxn ang="0">
                  <a:pos x="88" y="84"/>
                </a:cxn>
                <a:cxn ang="0">
                  <a:pos x="88" y="82"/>
                </a:cxn>
                <a:cxn ang="0">
                  <a:pos x="90" y="73"/>
                </a:cxn>
                <a:cxn ang="0">
                  <a:pos x="88" y="69"/>
                </a:cxn>
                <a:cxn ang="0">
                  <a:pos x="88" y="63"/>
                </a:cxn>
                <a:cxn ang="0">
                  <a:pos x="90" y="57"/>
                </a:cxn>
                <a:cxn ang="0">
                  <a:pos x="90" y="56"/>
                </a:cxn>
                <a:cxn ang="0">
                  <a:pos x="90" y="50"/>
                </a:cxn>
                <a:cxn ang="0">
                  <a:pos x="88" y="44"/>
                </a:cxn>
                <a:cxn ang="0">
                  <a:pos x="88" y="40"/>
                </a:cxn>
                <a:cxn ang="0">
                  <a:pos x="88" y="36"/>
                </a:cxn>
                <a:cxn ang="0">
                  <a:pos x="88" y="32"/>
                </a:cxn>
                <a:cxn ang="0">
                  <a:pos x="84" y="25"/>
                </a:cxn>
                <a:cxn ang="0">
                  <a:pos x="82" y="21"/>
                </a:cxn>
                <a:cxn ang="0">
                  <a:pos x="79" y="15"/>
                </a:cxn>
                <a:cxn ang="0">
                  <a:pos x="77" y="11"/>
                </a:cxn>
                <a:cxn ang="0">
                  <a:pos x="73" y="8"/>
                </a:cxn>
                <a:cxn ang="0">
                  <a:pos x="69" y="4"/>
                </a:cxn>
                <a:cxn ang="0">
                  <a:pos x="65" y="4"/>
                </a:cxn>
                <a:cxn ang="0">
                  <a:pos x="61" y="4"/>
                </a:cxn>
                <a:cxn ang="0">
                  <a:pos x="56" y="4"/>
                </a:cxn>
                <a:cxn ang="0">
                  <a:pos x="52" y="0"/>
                </a:cxn>
                <a:cxn ang="0">
                  <a:pos x="50" y="0"/>
                </a:cxn>
                <a:cxn ang="0">
                  <a:pos x="42" y="4"/>
                </a:cxn>
                <a:cxn ang="0">
                  <a:pos x="38" y="4"/>
                </a:cxn>
                <a:cxn ang="0">
                  <a:pos x="34" y="6"/>
                </a:cxn>
                <a:cxn ang="0">
                  <a:pos x="29" y="8"/>
                </a:cxn>
                <a:cxn ang="0">
                  <a:pos x="21" y="11"/>
                </a:cxn>
                <a:cxn ang="0">
                  <a:pos x="21" y="15"/>
                </a:cxn>
                <a:cxn ang="0">
                  <a:pos x="15" y="23"/>
                </a:cxn>
                <a:cxn ang="0">
                  <a:pos x="13" y="27"/>
                </a:cxn>
                <a:cxn ang="0">
                  <a:pos x="11" y="32"/>
                </a:cxn>
                <a:cxn ang="0">
                  <a:pos x="10" y="36"/>
                </a:cxn>
                <a:cxn ang="0">
                  <a:pos x="8" y="40"/>
                </a:cxn>
                <a:cxn ang="0">
                  <a:pos x="4" y="44"/>
                </a:cxn>
              </a:cxnLst>
              <a:rect l="0" t="0" r="r" b="b"/>
              <a:pathLst>
                <a:path w="90" h="119">
                  <a:moveTo>
                    <a:pt x="2" y="46"/>
                  </a:moveTo>
                  <a:lnTo>
                    <a:pt x="2" y="50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7"/>
                  </a:lnTo>
                  <a:lnTo>
                    <a:pt x="4" y="69"/>
                  </a:lnTo>
                  <a:lnTo>
                    <a:pt x="4" y="73"/>
                  </a:lnTo>
                  <a:lnTo>
                    <a:pt x="2" y="73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7"/>
                  </a:lnTo>
                  <a:lnTo>
                    <a:pt x="2" y="79"/>
                  </a:lnTo>
                  <a:lnTo>
                    <a:pt x="0" y="80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8" y="92"/>
                  </a:lnTo>
                  <a:lnTo>
                    <a:pt x="10" y="94"/>
                  </a:lnTo>
                  <a:lnTo>
                    <a:pt x="11" y="96"/>
                  </a:lnTo>
                  <a:lnTo>
                    <a:pt x="13" y="98"/>
                  </a:lnTo>
                  <a:lnTo>
                    <a:pt x="15" y="100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5" y="105"/>
                  </a:lnTo>
                  <a:lnTo>
                    <a:pt x="19" y="105"/>
                  </a:lnTo>
                  <a:lnTo>
                    <a:pt x="23" y="107"/>
                  </a:lnTo>
                  <a:lnTo>
                    <a:pt x="25" y="107"/>
                  </a:lnTo>
                  <a:lnTo>
                    <a:pt x="27" y="109"/>
                  </a:lnTo>
                  <a:lnTo>
                    <a:pt x="31" y="109"/>
                  </a:lnTo>
                  <a:lnTo>
                    <a:pt x="33" y="109"/>
                  </a:lnTo>
                  <a:lnTo>
                    <a:pt x="34" y="109"/>
                  </a:lnTo>
                  <a:lnTo>
                    <a:pt x="38" y="111"/>
                  </a:lnTo>
                  <a:lnTo>
                    <a:pt x="42" y="113"/>
                  </a:lnTo>
                  <a:lnTo>
                    <a:pt x="44" y="113"/>
                  </a:lnTo>
                  <a:lnTo>
                    <a:pt x="48" y="115"/>
                  </a:lnTo>
                  <a:lnTo>
                    <a:pt x="50" y="115"/>
                  </a:lnTo>
                  <a:lnTo>
                    <a:pt x="52" y="117"/>
                  </a:lnTo>
                  <a:lnTo>
                    <a:pt x="54" y="119"/>
                  </a:lnTo>
                  <a:lnTo>
                    <a:pt x="56" y="119"/>
                  </a:lnTo>
                  <a:lnTo>
                    <a:pt x="57" y="119"/>
                  </a:lnTo>
                  <a:lnTo>
                    <a:pt x="59" y="117"/>
                  </a:lnTo>
                  <a:lnTo>
                    <a:pt x="61" y="117"/>
                  </a:lnTo>
                  <a:lnTo>
                    <a:pt x="63" y="115"/>
                  </a:lnTo>
                  <a:lnTo>
                    <a:pt x="65" y="113"/>
                  </a:lnTo>
                  <a:lnTo>
                    <a:pt x="65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5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3" y="103"/>
                  </a:lnTo>
                  <a:lnTo>
                    <a:pt x="77" y="100"/>
                  </a:lnTo>
                  <a:lnTo>
                    <a:pt x="79" y="96"/>
                  </a:lnTo>
                  <a:lnTo>
                    <a:pt x="82" y="96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6" y="90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79"/>
                  </a:lnTo>
                  <a:lnTo>
                    <a:pt x="88" y="75"/>
                  </a:lnTo>
                  <a:lnTo>
                    <a:pt x="90" y="73"/>
                  </a:lnTo>
                  <a:lnTo>
                    <a:pt x="90" y="71"/>
                  </a:lnTo>
                  <a:lnTo>
                    <a:pt x="90" y="71"/>
                  </a:lnTo>
                  <a:lnTo>
                    <a:pt x="88" y="69"/>
                  </a:lnTo>
                  <a:lnTo>
                    <a:pt x="88" y="67"/>
                  </a:lnTo>
                  <a:lnTo>
                    <a:pt x="88" y="65"/>
                  </a:lnTo>
                  <a:lnTo>
                    <a:pt x="88" y="63"/>
                  </a:lnTo>
                  <a:lnTo>
                    <a:pt x="88" y="59"/>
                  </a:lnTo>
                  <a:lnTo>
                    <a:pt x="90" y="59"/>
                  </a:lnTo>
                  <a:lnTo>
                    <a:pt x="90" y="57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4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8" y="48"/>
                  </a:lnTo>
                  <a:lnTo>
                    <a:pt x="88" y="46"/>
                  </a:lnTo>
                  <a:lnTo>
                    <a:pt x="88" y="44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29"/>
                  </a:lnTo>
                  <a:lnTo>
                    <a:pt x="88" y="27"/>
                  </a:lnTo>
                  <a:lnTo>
                    <a:pt x="84" y="25"/>
                  </a:lnTo>
                  <a:lnTo>
                    <a:pt x="84" y="23"/>
                  </a:lnTo>
                  <a:lnTo>
                    <a:pt x="84" y="21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1" y="17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7" y="13"/>
                  </a:lnTo>
                  <a:lnTo>
                    <a:pt x="77" y="11"/>
                  </a:lnTo>
                  <a:lnTo>
                    <a:pt x="75" y="9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1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5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3" y="27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2" y="4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1" name="Freeform 78"/>
            <p:cNvSpPr>
              <a:spLocks/>
            </p:cNvSpPr>
            <p:nvPr/>
          </p:nvSpPr>
          <p:spPr bwMode="auto">
            <a:xfrm>
              <a:off x="688" y="1956"/>
              <a:ext cx="90" cy="119"/>
            </a:xfrm>
            <a:custGeom>
              <a:avLst/>
              <a:gdLst/>
              <a:ahLst/>
              <a:cxnLst>
                <a:cxn ang="0">
                  <a:pos x="4" y="52"/>
                </a:cxn>
                <a:cxn ang="0">
                  <a:pos x="4" y="54"/>
                </a:cxn>
                <a:cxn ang="0">
                  <a:pos x="4" y="61"/>
                </a:cxn>
                <a:cxn ang="0">
                  <a:pos x="4" y="69"/>
                </a:cxn>
                <a:cxn ang="0">
                  <a:pos x="2" y="75"/>
                </a:cxn>
                <a:cxn ang="0">
                  <a:pos x="2" y="79"/>
                </a:cxn>
                <a:cxn ang="0">
                  <a:pos x="0" y="86"/>
                </a:cxn>
                <a:cxn ang="0">
                  <a:pos x="4" y="90"/>
                </a:cxn>
                <a:cxn ang="0">
                  <a:pos x="11" y="96"/>
                </a:cxn>
                <a:cxn ang="0">
                  <a:pos x="15" y="103"/>
                </a:cxn>
                <a:cxn ang="0">
                  <a:pos x="19" y="105"/>
                </a:cxn>
                <a:cxn ang="0">
                  <a:pos x="27" y="109"/>
                </a:cxn>
                <a:cxn ang="0">
                  <a:pos x="34" y="109"/>
                </a:cxn>
                <a:cxn ang="0">
                  <a:pos x="44" y="113"/>
                </a:cxn>
                <a:cxn ang="0">
                  <a:pos x="52" y="117"/>
                </a:cxn>
                <a:cxn ang="0">
                  <a:pos x="57" y="119"/>
                </a:cxn>
                <a:cxn ang="0">
                  <a:pos x="63" y="115"/>
                </a:cxn>
                <a:cxn ang="0">
                  <a:pos x="67" y="109"/>
                </a:cxn>
                <a:cxn ang="0">
                  <a:pos x="71" y="105"/>
                </a:cxn>
                <a:cxn ang="0">
                  <a:pos x="77" y="100"/>
                </a:cxn>
                <a:cxn ang="0">
                  <a:pos x="84" y="94"/>
                </a:cxn>
                <a:cxn ang="0">
                  <a:pos x="88" y="88"/>
                </a:cxn>
                <a:cxn ang="0">
                  <a:pos x="88" y="84"/>
                </a:cxn>
                <a:cxn ang="0">
                  <a:pos x="88" y="82"/>
                </a:cxn>
                <a:cxn ang="0">
                  <a:pos x="90" y="73"/>
                </a:cxn>
                <a:cxn ang="0">
                  <a:pos x="88" y="69"/>
                </a:cxn>
                <a:cxn ang="0">
                  <a:pos x="88" y="63"/>
                </a:cxn>
                <a:cxn ang="0">
                  <a:pos x="90" y="57"/>
                </a:cxn>
                <a:cxn ang="0">
                  <a:pos x="90" y="56"/>
                </a:cxn>
                <a:cxn ang="0">
                  <a:pos x="90" y="50"/>
                </a:cxn>
                <a:cxn ang="0">
                  <a:pos x="88" y="44"/>
                </a:cxn>
                <a:cxn ang="0">
                  <a:pos x="88" y="40"/>
                </a:cxn>
                <a:cxn ang="0">
                  <a:pos x="88" y="36"/>
                </a:cxn>
                <a:cxn ang="0">
                  <a:pos x="88" y="32"/>
                </a:cxn>
                <a:cxn ang="0">
                  <a:pos x="84" y="25"/>
                </a:cxn>
                <a:cxn ang="0">
                  <a:pos x="82" y="21"/>
                </a:cxn>
                <a:cxn ang="0">
                  <a:pos x="79" y="15"/>
                </a:cxn>
                <a:cxn ang="0">
                  <a:pos x="77" y="11"/>
                </a:cxn>
                <a:cxn ang="0">
                  <a:pos x="73" y="8"/>
                </a:cxn>
                <a:cxn ang="0">
                  <a:pos x="69" y="4"/>
                </a:cxn>
                <a:cxn ang="0">
                  <a:pos x="65" y="4"/>
                </a:cxn>
                <a:cxn ang="0">
                  <a:pos x="61" y="4"/>
                </a:cxn>
                <a:cxn ang="0">
                  <a:pos x="56" y="4"/>
                </a:cxn>
                <a:cxn ang="0">
                  <a:pos x="52" y="0"/>
                </a:cxn>
                <a:cxn ang="0">
                  <a:pos x="50" y="0"/>
                </a:cxn>
                <a:cxn ang="0">
                  <a:pos x="42" y="4"/>
                </a:cxn>
                <a:cxn ang="0">
                  <a:pos x="38" y="4"/>
                </a:cxn>
                <a:cxn ang="0">
                  <a:pos x="34" y="6"/>
                </a:cxn>
                <a:cxn ang="0">
                  <a:pos x="29" y="8"/>
                </a:cxn>
                <a:cxn ang="0">
                  <a:pos x="21" y="11"/>
                </a:cxn>
                <a:cxn ang="0">
                  <a:pos x="21" y="15"/>
                </a:cxn>
                <a:cxn ang="0">
                  <a:pos x="15" y="23"/>
                </a:cxn>
                <a:cxn ang="0">
                  <a:pos x="13" y="27"/>
                </a:cxn>
                <a:cxn ang="0">
                  <a:pos x="11" y="32"/>
                </a:cxn>
                <a:cxn ang="0">
                  <a:pos x="10" y="36"/>
                </a:cxn>
                <a:cxn ang="0">
                  <a:pos x="8" y="40"/>
                </a:cxn>
                <a:cxn ang="0">
                  <a:pos x="4" y="44"/>
                </a:cxn>
              </a:cxnLst>
              <a:rect l="0" t="0" r="r" b="b"/>
              <a:pathLst>
                <a:path w="90" h="119">
                  <a:moveTo>
                    <a:pt x="2" y="46"/>
                  </a:moveTo>
                  <a:lnTo>
                    <a:pt x="2" y="50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7"/>
                  </a:lnTo>
                  <a:lnTo>
                    <a:pt x="4" y="69"/>
                  </a:lnTo>
                  <a:lnTo>
                    <a:pt x="4" y="73"/>
                  </a:lnTo>
                  <a:lnTo>
                    <a:pt x="2" y="73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7"/>
                  </a:lnTo>
                  <a:lnTo>
                    <a:pt x="2" y="79"/>
                  </a:lnTo>
                  <a:lnTo>
                    <a:pt x="0" y="80"/>
                  </a:lnTo>
                  <a:lnTo>
                    <a:pt x="0" y="84"/>
                  </a:lnTo>
                  <a:lnTo>
                    <a:pt x="0" y="86"/>
                  </a:lnTo>
                  <a:lnTo>
                    <a:pt x="2" y="88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8" y="92"/>
                  </a:lnTo>
                  <a:lnTo>
                    <a:pt x="10" y="94"/>
                  </a:lnTo>
                  <a:lnTo>
                    <a:pt x="11" y="96"/>
                  </a:lnTo>
                  <a:lnTo>
                    <a:pt x="13" y="98"/>
                  </a:lnTo>
                  <a:lnTo>
                    <a:pt x="15" y="100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5" y="105"/>
                  </a:lnTo>
                  <a:lnTo>
                    <a:pt x="19" y="105"/>
                  </a:lnTo>
                  <a:lnTo>
                    <a:pt x="23" y="107"/>
                  </a:lnTo>
                  <a:lnTo>
                    <a:pt x="25" y="107"/>
                  </a:lnTo>
                  <a:lnTo>
                    <a:pt x="27" y="109"/>
                  </a:lnTo>
                  <a:lnTo>
                    <a:pt x="31" y="109"/>
                  </a:lnTo>
                  <a:lnTo>
                    <a:pt x="33" y="109"/>
                  </a:lnTo>
                  <a:lnTo>
                    <a:pt x="34" y="109"/>
                  </a:lnTo>
                  <a:lnTo>
                    <a:pt x="38" y="111"/>
                  </a:lnTo>
                  <a:lnTo>
                    <a:pt x="42" y="113"/>
                  </a:lnTo>
                  <a:lnTo>
                    <a:pt x="44" y="113"/>
                  </a:lnTo>
                  <a:lnTo>
                    <a:pt x="48" y="115"/>
                  </a:lnTo>
                  <a:lnTo>
                    <a:pt x="50" y="115"/>
                  </a:lnTo>
                  <a:lnTo>
                    <a:pt x="52" y="117"/>
                  </a:lnTo>
                  <a:lnTo>
                    <a:pt x="54" y="119"/>
                  </a:lnTo>
                  <a:lnTo>
                    <a:pt x="56" y="119"/>
                  </a:lnTo>
                  <a:lnTo>
                    <a:pt x="57" y="119"/>
                  </a:lnTo>
                  <a:lnTo>
                    <a:pt x="59" y="117"/>
                  </a:lnTo>
                  <a:lnTo>
                    <a:pt x="61" y="117"/>
                  </a:lnTo>
                  <a:lnTo>
                    <a:pt x="63" y="115"/>
                  </a:lnTo>
                  <a:lnTo>
                    <a:pt x="65" y="113"/>
                  </a:lnTo>
                  <a:lnTo>
                    <a:pt x="65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5"/>
                  </a:lnTo>
                  <a:lnTo>
                    <a:pt x="71" y="105"/>
                  </a:lnTo>
                  <a:lnTo>
                    <a:pt x="71" y="103"/>
                  </a:lnTo>
                  <a:lnTo>
                    <a:pt x="73" y="103"/>
                  </a:lnTo>
                  <a:lnTo>
                    <a:pt x="77" y="100"/>
                  </a:lnTo>
                  <a:lnTo>
                    <a:pt x="79" y="96"/>
                  </a:lnTo>
                  <a:lnTo>
                    <a:pt x="82" y="96"/>
                  </a:lnTo>
                  <a:lnTo>
                    <a:pt x="84" y="94"/>
                  </a:lnTo>
                  <a:lnTo>
                    <a:pt x="84" y="92"/>
                  </a:lnTo>
                  <a:lnTo>
                    <a:pt x="86" y="90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79"/>
                  </a:lnTo>
                  <a:lnTo>
                    <a:pt x="88" y="75"/>
                  </a:lnTo>
                  <a:lnTo>
                    <a:pt x="90" y="73"/>
                  </a:lnTo>
                  <a:lnTo>
                    <a:pt x="90" y="71"/>
                  </a:lnTo>
                  <a:lnTo>
                    <a:pt x="90" y="71"/>
                  </a:lnTo>
                  <a:lnTo>
                    <a:pt x="88" y="69"/>
                  </a:lnTo>
                  <a:lnTo>
                    <a:pt x="88" y="67"/>
                  </a:lnTo>
                  <a:lnTo>
                    <a:pt x="88" y="65"/>
                  </a:lnTo>
                  <a:lnTo>
                    <a:pt x="88" y="63"/>
                  </a:lnTo>
                  <a:lnTo>
                    <a:pt x="88" y="59"/>
                  </a:lnTo>
                  <a:lnTo>
                    <a:pt x="90" y="59"/>
                  </a:lnTo>
                  <a:lnTo>
                    <a:pt x="90" y="57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4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8" y="48"/>
                  </a:lnTo>
                  <a:lnTo>
                    <a:pt x="88" y="46"/>
                  </a:lnTo>
                  <a:lnTo>
                    <a:pt x="88" y="44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4"/>
                  </a:lnTo>
                  <a:lnTo>
                    <a:pt x="88" y="32"/>
                  </a:lnTo>
                  <a:lnTo>
                    <a:pt x="88" y="29"/>
                  </a:lnTo>
                  <a:lnTo>
                    <a:pt x="88" y="27"/>
                  </a:lnTo>
                  <a:lnTo>
                    <a:pt x="84" y="25"/>
                  </a:lnTo>
                  <a:lnTo>
                    <a:pt x="84" y="23"/>
                  </a:lnTo>
                  <a:lnTo>
                    <a:pt x="84" y="21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1" y="17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7" y="13"/>
                  </a:lnTo>
                  <a:lnTo>
                    <a:pt x="77" y="11"/>
                  </a:lnTo>
                  <a:lnTo>
                    <a:pt x="75" y="9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69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1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8" y="0"/>
                  </a:lnTo>
                  <a:lnTo>
                    <a:pt x="44" y="0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1" y="8"/>
                  </a:lnTo>
                  <a:lnTo>
                    <a:pt x="29" y="8"/>
                  </a:lnTo>
                  <a:lnTo>
                    <a:pt x="27" y="9"/>
                  </a:lnTo>
                  <a:lnTo>
                    <a:pt x="23" y="9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5"/>
                  </a:lnTo>
                  <a:lnTo>
                    <a:pt x="17" y="17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3" y="27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1" y="32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6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40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2" y="46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2" name="Freeform 79"/>
            <p:cNvSpPr>
              <a:spLocks/>
            </p:cNvSpPr>
            <p:nvPr/>
          </p:nvSpPr>
          <p:spPr bwMode="auto">
            <a:xfrm>
              <a:off x="744" y="2015"/>
              <a:ext cx="149" cy="152"/>
            </a:xfrm>
            <a:custGeom>
              <a:avLst/>
              <a:gdLst/>
              <a:ahLst/>
              <a:cxnLst>
                <a:cxn ang="0">
                  <a:pos x="147" y="135"/>
                </a:cxn>
                <a:cxn ang="0">
                  <a:pos x="147" y="129"/>
                </a:cxn>
                <a:cxn ang="0">
                  <a:pos x="149" y="117"/>
                </a:cxn>
                <a:cxn ang="0">
                  <a:pos x="149" y="106"/>
                </a:cxn>
                <a:cxn ang="0">
                  <a:pos x="149" y="96"/>
                </a:cxn>
                <a:cxn ang="0">
                  <a:pos x="147" y="89"/>
                </a:cxn>
                <a:cxn ang="0">
                  <a:pos x="138" y="89"/>
                </a:cxn>
                <a:cxn ang="0">
                  <a:pos x="132" y="87"/>
                </a:cxn>
                <a:cxn ang="0">
                  <a:pos x="126" y="79"/>
                </a:cxn>
                <a:cxn ang="0">
                  <a:pos x="122" y="73"/>
                </a:cxn>
                <a:cxn ang="0">
                  <a:pos x="117" y="73"/>
                </a:cxn>
                <a:cxn ang="0">
                  <a:pos x="115" y="64"/>
                </a:cxn>
                <a:cxn ang="0">
                  <a:pos x="117" y="56"/>
                </a:cxn>
                <a:cxn ang="0">
                  <a:pos x="120" y="50"/>
                </a:cxn>
                <a:cxn ang="0">
                  <a:pos x="122" y="44"/>
                </a:cxn>
                <a:cxn ang="0">
                  <a:pos x="120" y="35"/>
                </a:cxn>
                <a:cxn ang="0">
                  <a:pos x="113" y="33"/>
                </a:cxn>
                <a:cxn ang="0">
                  <a:pos x="105" y="29"/>
                </a:cxn>
                <a:cxn ang="0">
                  <a:pos x="99" y="33"/>
                </a:cxn>
                <a:cxn ang="0">
                  <a:pos x="96" y="44"/>
                </a:cxn>
                <a:cxn ang="0">
                  <a:pos x="90" y="54"/>
                </a:cxn>
                <a:cxn ang="0">
                  <a:pos x="84" y="52"/>
                </a:cxn>
                <a:cxn ang="0">
                  <a:pos x="78" y="46"/>
                </a:cxn>
                <a:cxn ang="0">
                  <a:pos x="71" y="43"/>
                </a:cxn>
                <a:cxn ang="0">
                  <a:pos x="71" y="31"/>
                </a:cxn>
                <a:cxn ang="0">
                  <a:pos x="69" y="21"/>
                </a:cxn>
                <a:cxn ang="0">
                  <a:pos x="67" y="14"/>
                </a:cxn>
                <a:cxn ang="0">
                  <a:pos x="67" y="8"/>
                </a:cxn>
                <a:cxn ang="0">
                  <a:pos x="63" y="0"/>
                </a:cxn>
                <a:cxn ang="0">
                  <a:pos x="55" y="0"/>
                </a:cxn>
                <a:cxn ang="0">
                  <a:pos x="48" y="0"/>
                </a:cxn>
                <a:cxn ang="0">
                  <a:pos x="40" y="6"/>
                </a:cxn>
                <a:cxn ang="0">
                  <a:pos x="34" y="14"/>
                </a:cxn>
                <a:cxn ang="0">
                  <a:pos x="34" y="18"/>
                </a:cxn>
                <a:cxn ang="0">
                  <a:pos x="30" y="29"/>
                </a:cxn>
                <a:cxn ang="0">
                  <a:pos x="25" y="37"/>
                </a:cxn>
                <a:cxn ang="0">
                  <a:pos x="19" y="43"/>
                </a:cxn>
                <a:cxn ang="0">
                  <a:pos x="11" y="48"/>
                </a:cxn>
                <a:cxn ang="0">
                  <a:pos x="5" y="56"/>
                </a:cxn>
                <a:cxn ang="0">
                  <a:pos x="0" y="62"/>
                </a:cxn>
                <a:cxn ang="0">
                  <a:pos x="5" y="66"/>
                </a:cxn>
                <a:cxn ang="0">
                  <a:pos x="13" y="73"/>
                </a:cxn>
                <a:cxn ang="0">
                  <a:pos x="23" y="79"/>
                </a:cxn>
                <a:cxn ang="0">
                  <a:pos x="32" y="83"/>
                </a:cxn>
                <a:cxn ang="0">
                  <a:pos x="42" y="91"/>
                </a:cxn>
                <a:cxn ang="0">
                  <a:pos x="49" y="91"/>
                </a:cxn>
                <a:cxn ang="0">
                  <a:pos x="57" y="92"/>
                </a:cxn>
                <a:cxn ang="0">
                  <a:pos x="63" y="98"/>
                </a:cxn>
                <a:cxn ang="0">
                  <a:pos x="65" y="106"/>
                </a:cxn>
                <a:cxn ang="0">
                  <a:pos x="67" y="114"/>
                </a:cxn>
                <a:cxn ang="0">
                  <a:pos x="76" y="119"/>
                </a:cxn>
                <a:cxn ang="0">
                  <a:pos x="84" y="129"/>
                </a:cxn>
                <a:cxn ang="0">
                  <a:pos x="92" y="135"/>
                </a:cxn>
                <a:cxn ang="0">
                  <a:pos x="103" y="137"/>
                </a:cxn>
                <a:cxn ang="0">
                  <a:pos x="115" y="142"/>
                </a:cxn>
                <a:cxn ang="0">
                  <a:pos x="122" y="142"/>
                </a:cxn>
                <a:cxn ang="0">
                  <a:pos x="130" y="144"/>
                </a:cxn>
                <a:cxn ang="0">
                  <a:pos x="138" y="148"/>
                </a:cxn>
              </a:cxnLst>
              <a:rect l="0" t="0" r="r" b="b"/>
              <a:pathLst>
                <a:path w="149" h="152">
                  <a:moveTo>
                    <a:pt x="147" y="152"/>
                  </a:moveTo>
                  <a:lnTo>
                    <a:pt x="147" y="146"/>
                  </a:lnTo>
                  <a:lnTo>
                    <a:pt x="147" y="142"/>
                  </a:lnTo>
                  <a:lnTo>
                    <a:pt x="147" y="140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3"/>
                  </a:lnTo>
                  <a:lnTo>
                    <a:pt x="147" y="131"/>
                  </a:lnTo>
                  <a:lnTo>
                    <a:pt x="147" y="129"/>
                  </a:lnTo>
                  <a:lnTo>
                    <a:pt x="147" y="127"/>
                  </a:lnTo>
                  <a:lnTo>
                    <a:pt x="147" y="125"/>
                  </a:lnTo>
                  <a:lnTo>
                    <a:pt x="147" y="121"/>
                  </a:lnTo>
                  <a:lnTo>
                    <a:pt x="147" y="119"/>
                  </a:lnTo>
                  <a:lnTo>
                    <a:pt x="149" y="117"/>
                  </a:lnTo>
                  <a:lnTo>
                    <a:pt x="149" y="114"/>
                  </a:lnTo>
                  <a:lnTo>
                    <a:pt x="149" y="112"/>
                  </a:lnTo>
                  <a:lnTo>
                    <a:pt x="149" y="11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4"/>
                  </a:lnTo>
                  <a:lnTo>
                    <a:pt x="149" y="100"/>
                  </a:lnTo>
                  <a:lnTo>
                    <a:pt x="149" y="98"/>
                  </a:lnTo>
                  <a:lnTo>
                    <a:pt x="149" y="98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9" y="91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45" y="89"/>
                  </a:lnTo>
                  <a:lnTo>
                    <a:pt x="142" y="89"/>
                  </a:lnTo>
                  <a:lnTo>
                    <a:pt x="140" y="91"/>
                  </a:lnTo>
                  <a:lnTo>
                    <a:pt x="138" y="89"/>
                  </a:lnTo>
                  <a:lnTo>
                    <a:pt x="136" y="89"/>
                  </a:lnTo>
                  <a:lnTo>
                    <a:pt x="134" y="89"/>
                  </a:lnTo>
                  <a:lnTo>
                    <a:pt x="134" y="87"/>
                  </a:lnTo>
                  <a:lnTo>
                    <a:pt x="132" y="87"/>
                  </a:lnTo>
                  <a:lnTo>
                    <a:pt x="132" y="87"/>
                  </a:lnTo>
                  <a:lnTo>
                    <a:pt x="130" y="87"/>
                  </a:lnTo>
                  <a:lnTo>
                    <a:pt x="128" y="85"/>
                  </a:lnTo>
                  <a:lnTo>
                    <a:pt x="126" y="83"/>
                  </a:lnTo>
                  <a:lnTo>
                    <a:pt x="126" y="81"/>
                  </a:lnTo>
                  <a:lnTo>
                    <a:pt x="126" y="79"/>
                  </a:lnTo>
                  <a:lnTo>
                    <a:pt x="126" y="77"/>
                  </a:lnTo>
                  <a:lnTo>
                    <a:pt x="124" y="77"/>
                  </a:lnTo>
                  <a:lnTo>
                    <a:pt x="124" y="75"/>
                  </a:lnTo>
                  <a:lnTo>
                    <a:pt x="122" y="73"/>
                  </a:lnTo>
                  <a:lnTo>
                    <a:pt x="122" y="73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68"/>
                  </a:lnTo>
                  <a:lnTo>
                    <a:pt x="113" y="66"/>
                  </a:lnTo>
                  <a:lnTo>
                    <a:pt x="115" y="64"/>
                  </a:lnTo>
                  <a:lnTo>
                    <a:pt x="115" y="62"/>
                  </a:lnTo>
                  <a:lnTo>
                    <a:pt x="115" y="60"/>
                  </a:lnTo>
                  <a:lnTo>
                    <a:pt x="115" y="58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9" y="54"/>
                  </a:lnTo>
                  <a:lnTo>
                    <a:pt x="120" y="54"/>
                  </a:lnTo>
                  <a:lnTo>
                    <a:pt x="120" y="52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22" y="44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1"/>
                  </a:lnTo>
                  <a:lnTo>
                    <a:pt x="120" y="37"/>
                  </a:lnTo>
                  <a:lnTo>
                    <a:pt x="120" y="35"/>
                  </a:lnTo>
                  <a:lnTo>
                    <a:pt x="120" y="33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15" y="33"/>
                  </a:lnTo>
                  <a:lnTo>
                    <a:pt x="113" y="33"/>
                  </a:lnTo>
                  <a:lnTo>
                    <a:pt x="111" y="31"/>
                  </a:lnTo>
                  <a:lnTo>
                    <a:pt x="111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5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1" y="29"/>
                  </a:lnTo>
                  <a:lnTo>
                    <a:pt x="99" y="31"/>
                  </a:lnTo>
                  <a:lnTo>
                    <a:pt x="99" y="33"/>
                  </a:lnTo>
                  <a:lnTo>
                    <a:pt x="99" y="35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6" y="43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92" y="48"/>
                  </a:lnTo>
                  <a:lnTo>
                    <a:pt x="92" y="50"/>
                  </a:lnTo>
                  <a:lnTo>
                    <a:pt x="92" y="52"/>
                  </a:lnTo>
                  <a:lnTo>
                    <a:pt x="90" y="54"/>
                  </a:lnTo>
                  <a:lnTo>
                    <a:pt x="88" y="56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6" y="52"/>
                  </a:lnTo>
                  <a:lnTo>
                    <a:pt x="84" y="52"/>
                  </a:lnTo>
                  <a:lnTo>
                    <a:pt x="82" y="50"/>
                  </a:lnTo>
                  <a:lnTo>
                    <a:pt x="80" y="48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46"/>
                  </a:lnTo>
                  <a:lnTo>
                    <a:pt x="74" y="44"/>
                  </a:lnTo>
                  <a:lnTo>
                    <a:pt x="74" y="43"/>
                  </a:lnTo>
                  <a:lnTo>
                    <a:pt x="72" y="43"/>
                  </a:lnTo>
                  <a:lnTo>
                    <a:pt x="71" y="43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1" y="35"/>
                  </a:lnTo>
                  <a:lnTo>
                    <a:pt x="71" y="33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67" y="20"/>
                  </a:lnTo>
                  <a:lnTo>
                    <a:pt x="67" y="18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8"/>
                  </a:lnTo>
                  <a:lnTo>
                    <a:pt x="34" y="21"/>
                  </a:lnTo>
                  <a:lnTo>
                    <a:pt x="32" y="23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30" y="29"/>
                  </a:lnTo>
                  <a:lnTo>
                    <a:pt x="28" y="31"/>
                  </a:lnTo>
                  <a:lnTo>
                    <a:pt x="28" y="35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3" y="39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19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5" y="46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9" y="52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5" y="56"/>
                  </a:lnTo>
                  <a:lnTo>
                    <a:pt x="5" y="58"/>
                  </a:lnTo>
                  <a:lnTo>
                    <a:pt x="3" y="58"/>
                  </a:lnTo>
                  <a:lnTo>
                    <a:pt x="1" y="60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" y="62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6"/>
                  </a:lnTo>
                  <a:lnTo>
                    <a:pt x="9" y="68"/>
                  </a:lnTo>
                  <a:lnTo>
                    <a:pt x="9" y="69"/>
                  </a:lnTo>
                  <a:lnTo>
                    <a:pt x="11" y="69"/>
                  </a:lnTo>
                  <a:lnTo>
                    <a:pt x="11" y="73"/>
                  </a:lnTo>
                  <a:lnTo>
                    <a:pt x="13" y="73"/>
                  </a:lnTo>
                  <a:lnTo>
                    <a:pt x="15" y="75"/>
                  </a:lnTo>
                  <a:lnTo>
                    <a:pt x="17" y="79"/>
                  </a:lnTo>
                  <a:lnTo>
                    <a:pt x="19" y="79"/>
                  </a:lnTo>
                  <a:lnTo>
                    <a:pt x="21" y="79"/>
                  </a:lnTo>
                  <a:lnTo>
                    <a:pt x="23" y="79"/>
                  </a:lnTo>
                  <a:lnTo>
                    <a:pt x="25" y="81"/>
                  </a:lnTo>
                  <a:lnTo>
                    <a:pt x="26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2" y="91"/>
                  </a:lnTo>
                  <a:lnTo>
                    <a:pt x="44" y="91"/>
                  </a:lnTo>
                  <a:lnTo>
                    <a:pt x="46" y="91"/>
                  </a:lnTo>
                  <a:lnTo>
                    <a:pt x="48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1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7" y="92"/>
                  </a:lnTo>
                  <a:lnTo>
                    <a:pt x="59" y="92"/>
                  </a:lnTo>
                  <a:lnTo>
                    <a:pt x="61" y="94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102"/>
                  </a:lnTo>
                  <a:lnTo>
                    <a:pt x="63" y="104"/>
                  </a:lnTo>
                  <a:lnTo>
                    <a:pt x="63" y="106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5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4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71" y="119"/>
                  </a:lnTo>
                  <a:lnTo>
                    <a:pt x="74" y="119"/>
                  </a:lnTo>
                  <a:lnTo>
                    <a:pt x="76" y="119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6" y="129"/>
                  </a:lnTo>
                  <a:lnTo>
                    <a:pt x="88" y="131"/>
                  </a:lnTo>
                  <a:lnTo>
                    <a:pt x="90" y="131"/>
                  </a:lnTo>
                  <a:lnTo>
                    <a:pt x="92" y="133"/>
                  </a:lnTo>
                  <a:lnTo>
                    <a:pt x="92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9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5" y="139"/>
                  </a:lnTo>
                  <a:lnTo>
                    <a:pt x="107" y="140"/>
                  </a:lnTo>
                  <a:lnTo>
                    <a:pt x="111" y="142"/>
                  </a:lnTo>
                  <a:lnTo>
                    <a:pt x="113" y="142"/>
                  </a:lnTo>
                  <a:lnTo>
                    <a:pt x="115" y="142"/>
                  </a:lnTo>
                  <a:lnTo>
                    <a:pt x="117" y="142"/>
                  </a:lnTo>
                  <a:lnTo>
                    <a:pt x="119" y="142"/>
                  </a:lnTo>
                  <a:lnTo>
                    <a:pt x="120" y="142"/>
                  </a:lnTo>
                  <a:lnTo>
                    <a:pt x="120" y="142"/>
                  </a:lnTo>
                  <a:lnTo>
                    <a:pt x="122" y="142"/>
                  </a:lnTo>
                  <a:lnTo>
                    <a:pt x="122" y="142"/>
                  </a:lnTo>
                  <a:lnTo>
                    <a:pt x="126" y="14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8" y="146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0" y="148"/>
                  </a:lnTo>
                  <a:lnTo>
                    <a:pt x="143" y="150"/>
                  </a:lnTo>
                  <a:lnTo>
                    <a:pt x="147" y="150"/>
                  </a:lnTo>
                  <a:lnTo>
                    <a:pt x="147" y="1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3" name="Freeform 80"/>
            <p:cNvSpPr>
              <a:spLocks/>
            </p:cNvSpPr>
            <p:nvPr/>
          </p:nvSpPr>
          <p:spPr bwMode="auto">
            <a:xfrm>
              <a:off x="744" y="2015"/>
              <a:ext cx="149" cy="152"/>
            </a:xfrm>
            <a:custGeom>
              <a:avLst/>
              <a:gdLst/>
              <a:ahLst/>
              <a:cxnLst>
                <a:cxn ang="0">
                  <a:pos x="147" y="135"/>
                </a:cxn>
                <a:cxn ang="0">
                  <a:pos x="147" y="129"/>
                </a:cxn>
                <a:cxn ang="0">
                  <a:pos x="149" y="117"/>
                </a:cxn>
                <a:cxn ang="0">
                  <a:pos x="149" y="106"/>
                </a:cxn>
                <a:cxn ang="0">
                  <a:pos x="149" y="96"/>
                </a:cxn>
                <a:cxn ang="0">
                  <a:pos x="147" y="89"/>
                </a:cxn>
                <a:cxn ang="0">
                  <a:pos x="138" y="89"/>
                </a:cxn>
                <a:cxn ang="0">
                  <a:pos x="132" y="87"/>
                </a:cxn>
                <a:cxn ang="0">
                  <a:pos x="126" y="79"/>
                </a:cxn>
                <a:cxn ang="0">
                  <a:pos x="122" y="73"/>
                </a:cxn>
                <a:cxn ang="0">
                  <a:pos x="117" y="73"/>
                </a:cxn>
                <a:cxn ang="0">
                  <a:pos x="115" y="64"/>
                </a:cxn>
                <a:cxn ang="0">
                  <a:pos x="117" y="56"/>
                </a:cxn>
                <a:cxn ang="0">
                  <a:pos x="120" y="50"/>
                </a:cxn>
                <a:cxn ang="0">
                  <a:pos x="122" y="44"/>
                </a:cxn>
                <a:cxn ang="0">
                  <a:pos x="120" y="35"/>
                </a:cxn>
                <a:cxn ang="0">
                  <a:pos x="113" y="33"/>
                </a:cxn>
                <a:cxn ang="0">
                  <a:pos x="105" y="29"/>
                </a:cxn>
                <a:cxn ang="0">
                  <a:pos x="99" y="33"/>
                </a:cxn>
                <a:cxn ang="0">
                  <a:pos x="96" y="44"/>
                </a:cxn>
                <a:cxn ang="0">
                  <a:pos x="90" y="54"/>
                </a:cxn>
                <a:cxn ang="0">
                  <a:pos x="84" y="52"/>
                </a:cxn>
                <a:cxn ang="0">
                  <a:pos x="78" y="46"/>
                </a:cxn>
                <a:cxn ang="0">
                  <a:pos x="71" y="43"/>
                </a:cxn>
                <a:cxn ang="0">
                  <a:pos x="71" y="31"/>
                </a:cxn>
                <a:cxn ang="0">
                  <a:pos x="69" y="21"/>
                </a:cxn>
                <a:cxn ang="0">
                  <a:pos x="67" y="14"/>
                </a:cxn>
                <a:cxn ang="0">
                  <a:pos x="67" y="8"/>
                </a:cxn>
                <a:cxn ang="0">
                  <a:pos x="63" y="0"/>
                </a:cxn>
                <a:cxn ang="0">
                  <a:pos x="55" y="0"/>
                </a:cxn>
                <a:cxn ang="0">
                  <a:pos x="48" y="0"/>
                </a:cxn>
                <a:cxn ang="0">
                  <a:pos x="40" y="6"/>
                </a:cxn>
                <a:cxn ang="0">
                  <a:pos x="34" y="14"/>
                </a:cxn>
                <a:cxn ang="0">
                  <a:pos x="34" y="18"/>
                </a:cxn>
                <a:cxn ang="0">
                  <a:pos x="30" y="29"/>
                </a:cxn>
                <a:cxn ang="0">
                  <a:pos x="25" y="37"/>
                </a:cxn>
                <a:cxn ang="0">
                  <a:pos x="19" y="43"/>
                </a:cxn>
                <a:cxn ang="0">
                  <a:pos x="11" y="48"/>
                </a:cxn>
                <a:cxn ang="0">
                  <a:pos x="5" y="56"/>
                </a:cxn>
                <a:cxn ang="0">
                  <a:pos x="0" y="62"/>
                </a:cxn>
                <a:cxn ang="0">
                  <a:pos x="5" y="66"/>
                </a:cxn>
                <a:cxn ang="0">
                  <a:pos x="13" y="73"/>
                </a:cxn>
                <a:cxn ang="0">
                  <a:pos x="23" y="79"/>
                </a:cxn>
                <a:cxn ang="0">
                  <a:pos x="32" y="83"/>
                </a:cxn>
                <a:cxn ang="0">
                  <a:pos x="42" y="91"/>
                </a:cxn>
                <a:cxn ang="0">
                  <a:pos x="49" y="91"/>
                </a:cxn>
                <a:cxn ang="0">
                  <a:pos x="57" y="92"/>
                </a:cxn>
                <a:cxn ang="0">
                  <a:pos x="63" y="98"/>
                </a:cxn>
                <a:cxn ang="0">
                  <a:pos x="65" y="106"/>
                </a:cxn>
                <a:cxn ang="0">
                  <a:pos x="67" y="114"/>
                </a:cxn>
                <a:cxn ang="0">
                  <a:pos x="76" y="119"/>
                </a:cxn>
                <a:cxn ang="0">
                  <a:pos x="84" y="129"/>
                </a:cxn>
                <a:cxn ang="0">
                  <a:pos x="92" y="135"/>
                </a:cxn>
                <a:cxn ang="0">
                  <a:pos x="103" y="137"/>
                </a:cxn>
                <a:cxn ang="0">
                  <a:pos x="115" y="142"/>
                </a:cxn>
                <a:cxn ang="0">
                  <a:pos x="122" y="142"/>
                </a:cxn>
                <a:cxn ang="0">
                  <a:pos x="130" y="144"/>
                </a:cxn>
                <a:cxn ang="0">
                  <a:pos x="138" y="148"/>
                </a:cxn>
              </a:cxnLst>
              <a:rect l="0" t="0" r="r" b="b"/>
              <a:pathLst>
                <a:path w="149" h="152">
                  <a:moveTo>
                    <a:pt x="147" y="152"/>
                  </a:moveTo>
                  <a:lnTo>
                    <a:pt x="147" y="146"/>
                  </a:lnTo>
                  <a:lnTo>
                    <a:pt x="147" y="142"/>
                  </a:lnTo>
                  <a:lnTo>
                    <a:pt x="147" y="140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3"/>
                  </a:lnTo>
                  <a:lnTo>
                    <a:pt x="147" y="131"/>
                  </a:lnTo>
                  <a:lnTo>
                    <a:pt x="147" y="129"/>
                  </a:lnTo>
                  <a:lnTo>
                    <a:pt x="147" y="127"/>
                  </a:lnTo>
                  <a:lnTo>
                    <a:pt x="147" y="125"/>
                  </a:lnTo>
                  <a:lnTo>
                    <a:pt x="147" y="121"/>
                  </a:lnTo>
                  <a:lnTo>
                    <a:pt x="147" y="119"/>
                  </a:lnTo>
                  <a:lnTo>
                    <a:pt x="149" y="117"/>
                  </a:lnTo>
                  <a:lnTo>
                    <a:pt x="149" y="114"/>
                  </a:lnTo>
                  <a:lnTo>
                    <a:pt x="149" y="112"/>
                  </a:lnTo>
                  <a:lnTo>
                    <a:pt x="149" y="110"/>
                  </a:lnTo>
                  <a:lnTo>
                    <a:pt x="149" y="106"/>
                  </a:lnTo>
                  <a:lnTo>
                    <a:pt x="149" y="106"/>
                  </a:lnTo>
                  <a:lnTo>
                    <a:pt x="149" y="104"/>
                  </a:lnTo>
                  <a:lnTo>
                    <a:pt x="149" y="100"/>
                  </a:lnTo>
                  <a:lnTo>
                    <a:pt x="149" y="98"/>
                  </a:lnTo>
                  <a:lnTo>
                    <a:pt x="149" y="98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9" y="96"/>
                  </a:lnTo>
                  <a:lnTo>
                    <a:pt x="149" y="91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47" y="89"/>
                  </a:lnTo>
                  <a:lnTo>
                    <a:pt x="145" y="89"/>
                  </a:lnTo>
                  <a:lnTo>
                    <a:pt x="142" y="89"/>
                  </a:lnTo>
                  <a:lnTo>
                    <a:pt x="140" y="91"/>
                  </a:lnTo>
                  <a:lnTo>
                    <a:pt x="138" y="89"/>
                  </a:lnTo>
                  <a:lnTo>
                    <a:pt x="136" y="89"/>
                  </a:lnTo>
                  <a:lnTo>
                    <a:pt x="134" y="89"/>
                  </a:lnTo>
                  <a:lnTo>
                    <a:pt x="134" y="87"/>
                  </a:lnTo>
                  <a:lnTo>
                    <a:pt x="132" y="87"/>
                  </a:lnTo>
                  <a:lnTo>
                    <a:pt x="132" y="87"/>
                  </a:lnTo>
                  <a:lnTo>
                    <a:pt x="130" y="87"/>
                  </a:lnTo>
                  <a:lnTo>
                    <a:pt x="128" y="85"/>
                  </a:lnTo>
                  <a:lnTo>
                    <a:pt x="126" y="83"/>
                  </a:lnTo>
                  <a:lnTo>
                    <a:pt x="126" y="81"/>
                  </a:lnTo>
                  <a:lnTo>
                    <a:pt x="126" y="79"/>
                  </a:lnTo>
                  <a:lnTo>
                    <a:pt x="126" y="77"/>
                  </a:lnTo>
                  <a:lnTo>
                    <a:pt x="124" y="77"/>
                  </a:lnTo>
                  <a:lnTo>
                    <a:pt x="124" y="75"/>
                  </a:lnTo>
                  <a:lnTo>
                    <a:pt x="122" y="73"/>
                  </a:lnTo>
                  <a:lnTo>
                    <a:pt x="122" y="73"/>
                  </a:lnTo>
                  <a:lnTo>
                    <a:pt x="120" y="73"/>
                  </a:lnTo>
                  <a:lnTo>
                    <a:pt x="120" y="73"/>
                  </a:lnTo>
                  <a:lnTo>
                    <a:pt x="119" y="73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68"/>
                  </a:lnTo>
                  <a:lnTo>
                    <a:pt x="113" y="66"/>
                  </a:lnTo>
                  <a:lnTo>
                    <a:pt x="115" y="64"/>
                  </a:lnTo>
                  <a:lnTo>
                    <a:pt x="115" y="62"/>
                  </a:lnTo>
                  <a:lnTo>
                    <a:pt x="115" y="60"/>
                  </a:lnTo>
                  <a:lnTo>
                    <a:pt x="115" y="58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9" y="54"/>
                  </a:lnTo>
                  <a:lnTo>
                    <a:pt x="120" y="54"/>
                  </a:lnTo>
                  <a:lnTo>
                    <a:pt x="120" y="52"/>
                  </a:lnTo>
                  <a:lnTo>
                    <a:pt x="120" y="50"/>
                  </a:lnTo>
                  <a:lnTo>
                    <a:pt x="120" y="50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6"/>
                  </a:lnTo>
                  <a:lnTo>
                    <a:pt x="120" y="44"/>
                  </a:lnTo>
                  <a:lnTo>
                    <a:pt x="122" y="44"/>
                  </a:lnTo>
                  <a:lnTo>
                    <a:pt x="120" y="43"/>
                  </a:lnTo>
                  <a:lnTo>
                    <a:pt x="120" y="43"/>
                  </a:lnTo>
                  <a:lnTo>
                    <a:pt x="120" y="41"/>
                  </a:lnTo>
                  <a:lnTo>
                    <a:pt x="120" y="37"/>
                  </a:lnTo>
                  <a:lnTo>
                    <a:pt x="120" y="35"/>
                  </a:lnTo>
                  <a:lnTo>
                    <a:pt x="120" y="33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15" y="33"/>
                  </a:lnTo>
                  <a:lnTo>
                    <a:pt x="113" y="33"/>
                  </a:lnTo>
                  <a:lnTo>
                    <a:pt x="111" y="31"/>
                  </a:lnTo>
                  <a:lnTo>
                    <a:pt x="111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5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1" y="29"/>
                  </a:lnTo>
                  <a:lnTo>
                    <a:pt x="99" y="31"/>
                  </a:lnTo>
                  <a:lnTo>
                    <a:pt x="99" y="33"/>
                  </a:lnTo>
                  <a:lnTo>
                    <a:pt x="99" y="35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6" y="43"/>
                  </a:lnTo>
                  <a:lnTo>
                    <a:pt x="96" y="44"/>
                  </a:lnTo>
                  <a:lnTo>
                    <a:pt x="94" y="46"/>
                  </a:lnTo>
                  <a:lnTo>
                    <a:pt x="92" y="48"/>
                  </a:lnTo>
                  <a:lnTo>
                    <a:pt x="92" y="50"/>
                  </a:lnTo>
                  <a:lnTo>
                    <a:pt x="92" y="52"/>
                  </a:lnTo>
                  <a:lnTo>
                    <a:pt x="90" y="54"/>
                  </a:lnTo>
                  <a:lnTo>
                    <a:pt x="88" y="56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6" y="52"/>
                  </a:lnTo>
                  <a:lnTo>
                    <a:pt x="84" y="52"/>
                  </a:lnTo>
                  <a:lnTo>
                    <a:pt x="82" y="50"/>
                  </a:lnTo>
                  <a:lnTo>
                    <a:pt x="80" y="48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6" y="46"/>
                  </a:lnTo>
                  <a:lnTo>
                    <a:pt x="74" y="44"/>
                  </a:lnTo>
                  <a:lnTo>
                    <a:pt x="74" y="43"/>
                  </a:lnTo>
                  <a:lnTo>
                    <a:pt x="72" y="43"/>
                  </a:lnTo>
                  <a:lnTo>
                    <a:pt x="71" y="43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1" y="35"/>
                  </a:lnTo>
                  <a:lnTo>
                    <a:pt x="71" y="33"/>
                  </a:lnTo>
                  <a:lnTo>
                    <a:pt x="71" y="31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67" y="20"/>
                  </a:lnTo>
                  <a:lnTo>
                    <a:pt x="67" y="18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3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4" y="6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2" y="10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8"/>
                  </a:lnTo>
                  <a:lnTo>
                    <a:pt x="34" y="21"/>
                  </a:lnTo>
                  <a:lnTo>
                    <a:pt x="32" y="23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30" y="29"/>
                  </a:lnTo>
                  <a:lnTo>
                    <a:pt x="28" y="31"/>
                  </a:lnTo>
                  <a:lnTo>
                    <a:pt x="28" y="35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3" y="39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19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5" y="46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9" y="52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5" y="56"/>
                  </a:lnTo>
                  <a:lnTo>
                    <a:pt x="5" y="58"/>
                  </a:lnTo>
                  <a:lnTo>
                    <a:pt x="3" y="58"/>
                  </a:lnTo>
                  <a:lnTo>
                    <a:pt x="1" y="60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3" y="62"/>
                  </a:lnTo>
                  <a:lnTo>
                    <a:pt x="5" y="62"/>
                  </a:lnTo>
                  <a:lnTo>
                    <a:pt x="5" y="64"/>
                  </a:lnTo>
                  <a:lnTo>
                    <a:pt x="5" y="66"/>
                  </a:lnTo>
                  <a:lnTo>
                    <a:pt x="9" y="68"/>
                  </a:lnTo>
                  <a:lnTo>
                    <a:pt x="9" y="69"/>
                  </a:lnTo>
                  <a:lnTo>
                    <a:pt x="11" y="69"/>
                  </a:lnTo>
                  <a:lnTo>
                    <a:pt x="11" y="73"/>
                  </a:lnTo>
                  <a:lnTo>
                    <a:pt x="13" y="73"/>
                  </a:lnTo>
                  <a:lnTo>
                    <a:pt x="15" y="75"/>
                  </a:lnTo>
                  <a:lnTo>
                    <a:pt x="17" y="79"/>
                  </a:lnTo>
                  <a:lnTo>
                    <a:pt x="19" y="79"/>
                  </a:lnTo>
                  <a:lnTo>
                    <a:pt x="21" y="79"/>
                  </a:lnTo>
                  <a:lnTo>
                    <a:pt x="23" y="79"/>
                  </a:lnTo>
                  <a:lnTo>
                    <a:pt x="25" y="81"/>
                  </a:lnTo>
                  <a:lnTo>
                    <a:pt x="26" y="81"/>
                  </a:lnTo>
                  <a:lnTo>
                    <a:pt x="28" y="83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4" y="85"/>
                  </a:lnTo>
                  <a:lnTo>
                    <a:pt x="36" y="85"/>
                  </a:lnTo>
                  <a:lnTo>
                    <a:pt x="38" y="85"/>
                  </a:lnTo>
                  <a:lnTo>
                    <a:pt x="40" y="87"/>
                  </a:lnTo>
                  <a:lnTo>
                    <a:pt x="42" y="91"/>
                  </a:lnTo>
                  <a:lnTo>
                    <a:pt x="44" y="91"/>
                  </a:lnTo>
                  <a:lnTo>
                    <a:pt x="46" y="91"/>
                  </a:lnTo>
                  <a:lnTo>
                    <a:pt x="48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51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7" y="92"/>
                  </a:lnTo>
                  <a:lnTo>
                    <a:pt x="59" y="92"/>
                  </a:lnTo>
                  <a:lnTo>
                    <a:pt x="61" y="94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102"/>
                  </a:lnTo>
                  <a:lnTo>
                    <a:pt x="63" y="104"/>
                  </a:lnTo>
                  <a:lnTo>
                    <a:pt x="63" y="106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5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4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71" y="119"/>
                  </a:lnTo>
                  <a:lnTo>
                    <a:pt x="74" y="119"/>
                  </a:lnTo>
                  <a:lnTo>
                    <a:pt x="76" y="119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6" y="129"/>
                  </a:lnTo>
                  <a:lnTo>
                    <a:pt x="88" y="131"/>
                  </a:lnTo>
                  <a:lnTo>
                    <a:pt x="90" y="131"/>
                  </a:lnTo>
                  <a:lnTo>
                    <a:pt x="92" y="133"/>
                  </a:lnTo>
                  <a:lnTo>
                    <a:pt x="92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9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5" y="139"/>
                  </a:lnTo>
                  <a:lnTo>
                    <a:pt x="107" y="140"/>
                  </a:lnTo>
                  <a:lnTo>
                    <a:pt x="111" y="142"/>
                  </a:lnTo>
                  <a:lnTo>
                    <a:pt x="113" y="142"/>
                  </a:lnTo>
                  <a:lnTo>
                    <a:pt x="115" y="142"/>
                  </a:lnTo>
                  <a:lnTo>
                    <a:pt x="117" y="142"/>
                  </a:lnTo>
                  <a:lnTo>
                    <a:pt x="119" y="142"/>
                  </a:lnTo>
                  <a:lnTo>
                    <a:pt x="120" y="142"/>
                  </a:lnTo>
                  <a:lnTo>
                    <a:pt x="120" y="142"/>
                  </a:lnTo>
                  <a:lnTo>
                    <a:pt x="122" y="142"/>
                  </a:lnTo>
                  <a:lnTo>
                    <a:pt x="122" y="142"/>
                  </a:lnTo>
                  <a:lnTo>
                    <a:pt x="126" y="14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30" y="144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8" y="146"/>
                  </a:lnTo>
                  <a:lnTo>
                    <a:pt x="138" y="148"/>
                  </a:lnTo>
                  <a:lnTo>
                    <a:pt x="138" y="148"/>
                  </a:lnTo>
                  <a:lnTo>
                    <a:pt x="140" y="148"/>
                  </a:lnTo>
                  <a:lnTo>
                    <a:pt x="143" y="150"/>
                  </a:lnTo>
                  <a:lnTo>
                    <a:pt x="147" y="150"/>
                  </a:lnTo>
                  <a:lnTo>
                    <a:pt x="147" y="152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4" name="Freeform 81"/>
            <p:cNvSpPr>
              <a:spLocks/>
            </p:cNvSpPr>
            <p:nvPr/>
          </p:nvSpPr>
          <p:spPr bwMode="auto">
            <a:xfrm>
              <a:off x="859" y="1929"/>
              <a:ext cx="217" cy="238"/>
            </a:xfrm>
            <a:custGeom>
              <a:avLst/>
              <a:gdLst/>
              <a:ahLst/>
              <a:cxnLst>
                <a:cxn ang="0">
                  <a:pos x="182" y="205"/>
                </a:cxn>
                <a:cxn ang="0">
                  <a:pos x="165" y="203"/>
                </a:cxn>
                <a:cxn ang="0">
                  <a:pos x="147" y="201"/>
                </a:cxn>
                <a:cxn ang="0">
                  <a:pos x="130" y="203"/>
                </a:cxn>
                <a:cxn ang="0">
                  <a:pos x="111" y="207"/>
                </a:cxn>
                <a:cxn ang="0">
                  <a:pos x="98" y="211"/>
                </a:cxn>
                <a:cxn ang="0">
                  <a:pos x="84" y="221"/>
                </a:cxn>
                <a:cxn ang="0">
                  <a:pos x="67" y="221"/>
                </a:cxn>
                <a:cxn ang="0">
                  <a:pos x="52" y="226"/>
                </a:cxn>
                <a:cxn ang="0">
                  <a:pos x="42" y="234"/>
                </a:cxn>
                <a:cxn ang="0">
                  <a:pos x="32" y="228"/>
                </a:cxn>
                <a:cxn ang="0">
                  <a:pos x="30" y="215"/>
                </a:cxn>
                <a:cxn ang="0">
                  <a:pos x="34" y="200"/>
                </a:cxn>
                <a:cxn ang="0">
                  <a:pos x="34" y="184"/>
                </a:cxn>
                <a:cxn ang="0">
                  <a:pos x="28" y="173"/>
                </a:cxn>
                <a:cxn ang="0">
                  <a:pos x="15" y="175"/>
                </a:cxn>
                <a:cxn ang="0">
                  <a:pos x="11" y="163"/>
                </a:cxn>
                <a:cxn ang="0">
                  <a:pos x="0" y="157"/>
                </a:cxn>
                <a:cxn ang="0">
                  <a:pos x="2" y="144"/>
                </a:cxn>
                <a:cxn ang="0">
                  <a:pos x="5" y="132"/>
                </a:cxn>
                <a:cxn ang="0">
                  <a:pos x="7" y="115"/>
                </a:cxn>
                <a:cxn ang="0">
                  <a:pos x="11" y="102"/>
                </a:cxn>
                <a:cxn ang="0">
                  <a:pos x="11" y="94"/>
                </a:cxn>
                <a:cxn ang="0">
                  <a:pos x="5" y="86"/>
                </a:cxn>
                <a:cxn ang="0">
                  <a:pos x="19" y="84"/>
                </a:cxn>
                <a:cxn ang="0">
                  <a:pos x="25" y="75"/>
                </a:cxn>
                <a:cxn ang="0">
                  <a:pos x="19" y="67"/>
                </a:cxn>
                <a:cxn ang="0">
                  <a:pos x="15" y="56"/>
                </a:cxn>
                <a:cxn ang="0">
                  <a:pos x="17" y="40"/>
                </a:cxn>
                <a:cxn ang="0">
                  <a:pos x="17" y="31"/>
                </a:cxn>
                <a:cxn ang="0">
                  <a:pos x="25" y="21"/>
                </a:cxn>
                <a:cxn ang="0">
                  <a:pos x="38" y="19"/>
                </a:cxn>
                <a:cxn ang="0">
                  <a:pos x="52" y="21"/>
                </a:cxn>
                <a:cxn ang="0">
                  <a:pos x="65" y="19"/>
                </a:cxn>
                <a:cxn ang="0">
                  <a:pos x="65" y="6"/>
                </a:cxn>
                <a:cxn ang="0">
                  <a:pos x="78" y="2"/>
                </a:cxn>
                <a:cxn ang="0">
                  <a:pos x="84" y="10"/>
                </a:cxn>
                <a:cxn ang="0">
                  <a:pos x="88" y="19"/>
                </a:cxn>
                <a:cxn ang="0">
                  <a:pos x="99" y="13"/>
                </a:cxn>
                <a:cxn ang="0">
                  <a:pos x="113" y="12"/>
                </a:cxn>
                <a:cxn ang="0">
                  <a:pos x="123" y="21"/>
                </a:cxn>
                <a:cxn ang="0">
                  <a:pos x="128" y="31"/>
                </a:cxn>
                <a:cxn ang="0">
                  <a:pos x="134" y="36"/>
                </a:cxn>
                <a:cxn ang="0">
                  <a:pos x="142" y="42"/>
                </a:cxn>
                <a:cxn ang="0">
                  <a:pos x="151" y="48"/>
                </a:cxn>
                <a:cxn ang="0">
                  <a:pos x="163" y="36"/>
                </a:cxn>
                <a:cxn ang="0">
                  <a:pos x="174" y="35"/>
                </a:cxn>
                <a:cxn ang="0">
                  <a:pos x="188" y="33"/>
                </a:cxn>
                <a:cxn ang="0">
                  <a:pos x="199" y="38"/>
                </a:cxn>
                <a:cxn ang="0">
                  <a:pos x="209" y="52"/>
                </a:cxn>
                <a:cxn ang="0">
                  <a:pos x="211" y="63"/>
                </a:cxn>
                <a:cxn ang="0">
                  <a:pos x="213" y="75"/>
                </a:cxn>
                <a:cxn ang="0">
                  <a:pos x="215" y="88"/>
                </a:cxn>
                <a:cxn ang="0">
                  <a:pos x="217" y="102"/>
                </a:cxn>
                <a:cxn ang="0">
                  <a:pos x="211" y="117"/>
                </a:cxn>
                <a:cxn ang="0">
                  <a:pos x="197" y="130"/>
                </a:cxn>
                <a:cxn ang="0">
                  <a:pos x="195" y="146"/>
                </a:cxn>
                <a:cxn ang="0">
                  <a:pos x="188" y="155"/>
                </a:cxn>
                <a:cxn ang="0">
                  <a:pos x="186" y="171"/>
                </a:cxn>
                <a:cxn ang="0">
                  <a:pos x="190" y="182"/>
                </a:cxn>
                <a:cxn ang="0">
                  <a:pos x="197" y="190"/>
                </a:cxn>
                <a:cxn ang="0">
                  <a:pos x="195" y="203"/>
                </a:cxn>
                <a:cxn ang="0">
                  <a:pos x="195" y="209"/>
                </a:cxn>
              </a:cxnLst>
              <a:rect l="0" t="0" r="r" b="b"/>
              <a:pathLst>
                <a:path w="217" h="238">
                  <a:moveTo>
                    <a:pt x="199" y="209"/>
                  </a:moveTo>
                  <a:lnTo>
                    <a:pt x="197" y="207"/>
                  </a:lnTo>
                  <a:lnTo>
                    <a:pt x="193" y="207"/>
                  </a:lnTo>
                  <a:lnTo>
                    <a:pt x="192" y="207"/>
                  </a:lnTo>
                  <a:lnTo>
                    <a:pt x="190" y="209"/>
                  </a:lnTo>
                  <a:lnTo>
                    <a:pt x="186" y="207"/>
                  </a:lnTo>
                  <a:lnTo>
                    <a:pt x="182" y="205"/>
                  </a:lnTo>
                  <a:lnTo>
                    <a:pt x="176" y="205"/>
                  </a:lnTo>
                  <a:lnTo>
                    <a:pt x="174" y="205"/>
                  </a:lnTo>
                  <a:lnTo>
                    <a:pt x="172" y="205"/>
                  </a:lnTo>
                  <a:lnTo>
                    <a:pt x="169" y="203"/>
                  </a:lnTo>
                  <a:lnTo>
                    <a:pt x="167" y="203"/>
                  </a:lnTo>
                  <a:lnTo>
                    <a:pt x="167" y="203"/>
                  </a:lnTo>
                  <a:lnTo>
                    <a:pt x="165" y="203"/>
                  </a:lnTo>
                  <a:lnTo>
                    <a:pt x="163" y="203"/>
                  </a:lnTo>
                  <a:lnTo>
                    <a:pt x="161" y="203"/>
                  </a:lnTo>
                  <a:lnTo>
                    <a:pt x="157" y="203"/>
                  </a:lnTo>
                  <a:lnTo>
                    <a:pt x="155" y="203"/>
                  </a:lnTo>
                  <a:lnTo>
                    <a:pt x="153" y="201"/>
                  </a:lnTo>
                  <a:lnTo>
                    <a:pt x="149" y="201"/>
                  </a:lnTo>
                  <a:lnTo>
                    <a:pt x="147" y="201"/>
                  </a:lnTo>
                  <a:lnTo>
                    <a:pt x="146" y="201"/>
                  </a:lnTo>
                  <a:lnTo>
                    <a:pt x="142" y="201"/>
                  </a:lnTo>
                  <a:lnTo>
                    <a:pt x="140" y="201"/>
                  </a:lnTo>
                  <a:lnTo>
                    <a:pt x="136" y="201"/>
                  </a:lnTo>
                  <a:lnTo>
                    <a:pt x="134" y="201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28" y="203"/>
                  </a:lnTo>
                  <a:lnTo>
                    <a:pt x="124" y="203"/>
                  </a:lnTo>
                  <a:lnTo>
                    <a:pt x="123" y="205"/>
                  </a:lnTo>
                  <a:lnTo>
                    <a:pt x="119" y="205"/>
                  </a:lnTo>
                  <a:lnTo>
                    <a:pt x="117" y="205"/>
                  </a:lnTo>
                  <a:lnTo>
                    <a:pt x="113" y="205"/>
                  </a:lnTo>
                  <a:lnTo>
                    <a:pt x="111" y="207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5" y="207"/>
                  </a:lnTo>
                  <a:lnTo>
                    <a:pt x="103" y="209"/>
                  </a:lnTo>
                  <a:lnTo>
                    <a:pt x="101" y="209"/>
                  </a:lnTo>
                  <a:lnTo>
                    <a:pt x="99" y="209"/>
                  </a:lnTo>
                  <a:lnTo>
                    <a:pt x="98" y="211"/>
                  </a:lnTo>
                  <a:lnTo>
                    <a:pt x="96" y="211"/>
                  </a:lnTo>
                  <a:lnTo>
                    <a:pt x="94" y="213"/>
                  </a:lnTo>
                  <a:lnTo>
                    <a:pt x="94" y="215"/>
                  </a:lnTo>
                  <a:lnTo>
                    <a:pt x="92" y="215"/>
                  </a:lnTo>
                  <a:lnTo>
                    <a:pt x="90" y="217"/>
                  </a:lnTo>
                  <a:lnTo>
                    <a:pt x="86" y="219"/>
                  </a:lnTo>
                  <a:lnTo>
                    <a:pt x="84" y="221"/>
                  </a:lnTo>
                  <a:lnTo>
                    <a:pt x="82" y="221"/>
                  </a:lnTo>
                  <a:lnTo>
                    <a:pt x="80" y="221"/>
                  </a:lnTo>
                  <a:lnTo>
                    <a:pt x="78" y="221"/>
                  </a:lnTo>
                  <a:lnTo>
                    <a:pt x="75" y="221"/>
                  </a:lnTo>
                  <a:lnTo>
                    <a:pt x="73" y="221"/>
                  </a:lnTo>
                  <a:lnTo>
                    <a:pt x="69" y="221"/>
                  </a:lnTo>
                  <a:lnTo>
                    <a:pt x="67" y="221"/>
                  </a:lnTo>
                  <a:lnTo>
                    <a:pt x="65" y="221"/>
                  </a:lnTo>
                  <a:lnTo>
                    <a:pt x="63" y="221"/>
                  </a:lnTo>
                  <a:lnTo>
                    <a:pt x="61" y="221"/>
                  </a:lnTo>
                  <a:lnTo>
                    <a:pt x="57" y="221"/>
                  </a:lnTo>
                  <a:lnTo>
                    <a:pt x="55" y="223"/>
                  </a:lnTo>
                  <a:lnTo>
                    <a:pt x="53" y="225"/>
                  </a:lnTo>
                  <a:lnTo>
                    <a:pt x="52" y="226"/>
                  </a:lnTo>
                  <a:lnTo>
                    <a:pt x="52" y="226"/>
                  </a:lnTo>
                  <a:lnTo>
                    <a:pt x="50" y="228"/>
                  </a:lnTo>
                  <a:lnTo>
                    <a:pt x="50" y="230"/>
                  </a:lnTo>
                  <a:lnTo>
                    <a:pt x="48" y="230"/>
                  </a:lnTo>
                  <a:lnTo>
                    <a:pt x="46" y="230"/>
                  </a:lnTo>
                  <a:lnTo>
                    <a:pt x="44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36" y="234"/>
                  </a:lnTo>
                  <a:lnTo>
                    <a:pt x="32" y="236"/>
                  </a:lnTo>
                  <a:lnTo>
                    <a:pt x="32" y="238"/>
                  </a:lnTo>
                  <a:lnTo>
                    <a:pt x="32" y="234"/>
                  </a:lnTo>
                  <a:lnTo>
                    <a:pt x="32" y="232"/>
                  </a:lnTo>
                  <a:lnTo>
                    <a:pt x="32" y="228"/>
                  </a:lnTo>
                  <a:lnTo>
                    <a:pt x="30" y="228"/>
                  </a:lnTo>
                  <a:lnTo>
                    <a:pt x="30" y="226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0" y="219"/>
                  </a:lnTo>
                  <a:lnTo>
                    <a:pt x="30" y="217"/>
                  </a:lnTo>
                  <a:lnTo>
                    <a:pt x="30" y="215"/>
                  </a:lnTo>
                  <a:lnTo>
                    <a:pt x="30" y="211"/>
                  </a:lnTo>
                  <a:lnTo>
                    <a:pt x="30" y="209"/>
                  </a:lnTo>
                  <a:lnTo>
                    <a:pt x="30" y="207"/>
                  </a:lnTo>
                  <a:lnTo>
                    <a:pt x="32" y="205"/>
                  </a:lnTo>
                  <a:lnTo>
                    <a:pt x="32" y="203"/>
                  </a:lnTo>
                  <a:lnTo>
                    <a:pt x="32" y="201"/>
                  </a:lnTo>
                  <a:lnTo>
                    <a:pt x="34" y="200"/>
                  </a:lnTo>
                  <a:lnTo>
                    <a:pt x="34" y="198"/>
                  </a:lnTo>
                  <a:lnTo>
                    <a:pt x="34" y="196"/>
                  </a:lnTo>
                  <a:lnTo>
                    <a:pt x="34" y="194"/>
                  </a:lnTo>
                  <a:lnTo>
                    <a:pt x="34" y="192"/>
                  </a:lnTo>
                  <a:lnTo>
                    <a:pt x="34" y="188"/>
                  </a:lnTo>
                  <a:lnTo>
                    <a:pt x="34" y="186"/>
                  </a:lnTo>
                  <a:lnTo>
                    <a:pt x="34" y="184"/>
                  </a:lnTo>
                  <a:lnTo>
                    <a:pt x="34" y="182"/>
                  </a:lnTo>
                  <a:lnTo>
                    <a:pt x="34" y="178"/>
                  </a:lnTo>
                  <a:lnTo>
                    <a:pt x="34" y="177"/>
                  </a:lnTo>
                  <a:lnTo>
                    <a:pt x="34" y="175"/>
                  </a:lnTo>
                  <a:lnTo>
                    <a:pt x="34" y="173"/>
                  </a:lnTo>
                  <a:lnTo>
                    <a:pt x="32" y="173"/>
                  </a:lnTo>
                  <a:lnTo>
                    <a:pt x="28" y="173"/>
                  </a:lnTo>
                  <a:lnTo>
                    <a:pt x="27" y="173"/>
                  </a:lnTo>
                  <a:lnTo>
                    <a:pt x="25" y="173"/>
                  </a:lnTo>
                  <a:lnTo>
                    <a:pt x="23" y="173"/>
                  </a:lnTo>
                  <a:lnTo>
                    <a:pt x="21" y="175"/>
                  </a:lnTo>
                  <a:lnTo>
                    <a:pt x="19" y="175"/>
                  </a:lnTo>
                  <a:lnTo>
                    <a:pt x="17" y="175"/>
                  </a:lnTo>
                  <a:lnTo>
                    <a:pt x="15" y="175"/>
                  </a:lnTo>
                  <a:lnTo>
                    <a:pt x="13" y="173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5"/>
                  </a:lnTo>
                  <a:lnTo>
                    <a:pt x="11" y="163"/>
                  </a:lnTo>
                  <a:lnTo>
                    <a:pt x="11" y="161"/>
                  </a:lnTo>
                  <a:lnTo>
                    <a:pt x="9" y="159"/>
                  </a:lnTo>
                  <a:lnTo>
                    <a:pt x="7" y="159"/>
                  </a:lnTo>
                  <a:lnTo>
                    <a:pt x="5" y="157"/>
                  </a:lnTo>
                  <a:lnTo>
                    <a:pt x="4" y="157"/>
                  </a:lnTo>
                  <a:lnTo>
                    <a:pt x="2" y="157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5" y="138"/>
                  </a:lnTo>
                  <a:lnTo>
                    <a:pt x="5" y="136"/>
                  </a:lnTo>
                  <a:lnTo>
                    <a:pt x="5" y="134"/>
                  </a:lnTo>
                  <a:lnTo>
                    <a:pt x="5" y="132"/>
                  </a:lnTo>
                  <a:lnTo>
                    <a:pt x="5" y="130"/>
                  </a:lnTo>
                  <a:lnTo>
                    <a:pt x="5" y="127"/>
                  </a:lnTo>
                  <a:lnTo>
                    <a:pt x="5" y="125"/>
                  </a:lnTo>
                  <a:lnTo>
                    <a:pt x="5" y="123"/>
                  </a:lnTo>
                  <a:lnTo>
                    <a:pt x="5" y="121"/>
                  </a:lnTo>
                  <a:lnTo>
                    <a:pt x="5" y="117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7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5" y="96"/>
                  </a:lnTo>
                  <a:lnTo>
                    <a:pt x="13" y="96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9" y="92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4" y="84"/>
                  </a:lnTo>
                  <a:lnTo>
                    <a:pt x="5" y="84"/>
                  </a:lnTo>
                  <a:lnTo>
                    <a:pt x="7" y="83"/>
                  </a:lnTo>
                  <a:lnTo>
                    <a:pt x="11" y="83"/>
                  </a:lnTo>
                  <a:lnTo>
                    <a:pt x="13" y="84"/>
                  </a:lnTo>
                  <a:lnTo>
                    <a:pt x="17" y="84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5" y="86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9" y="63"/>
                  </a:lnTo>
                  <a:lnTo>
                    <a:pt x="17" y="6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3" y="54"/>
                  </a:lnTo>
                  <a:lnTo>
                    <a:pt x="13" y="50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2"/>
                  </a:lnTo>
                  <a:lnTo>
                    <a:pt x="17" y="42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19" y="23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2" y="21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40" y="17"/>
                  </a:lnTo>
                  <a:lnTo>
                    <a:pt x="42" y="17"/>
                  </a:lnTo>
                  <a:lnTo>
                    <a:pt x="46" y="17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21"/>
                  </a:lnTo>
                  <a:lnTo>
                    <a:pt x="55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7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7" y="12"/>
                  </a:lnTo>
                  <a:lnTo>
                    <a:pt x="65" y="10"/>
                  </a:lnTo>
                  <a:lnTo>
                    <a:pt x="65" y="8"/>
                  </a:lnTo>
                  <a:lnTo>
                    <a:pt x="65" y="6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2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10"/>
                  </a:lnTo>
                  <a:lnTo>
                    <a:pt x="84" y="12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4" y="19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5" y="10"/>
                  </a:lnTo>
                  <a:lnTo>
                    <a:pt x="107" y="10"/>
                  </a:lnTo>
                  <a:lnTo>
                    <a:pt x="111" y="10"/>
                  </a:lnTo>
                  <a:lnTo>
                    <a:pt x="113" y="12"/>
                  </a:lnTo>
                  <a:lnTo>
                    <a:pt x="113" y="13"/>
                  </a:lnTo>
                  <a:lnTo>
                    <a:pt x="117" y="15"/>
                  </a:lnTo>
                  <a:lnTo>
                    <a:pt x="119" y="15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6" y="31"/>
                  </a:lnTo>
                  <a:lnTo>
                    <a:pt x="128" y="31"/>
                  </a:lnTo>
                  <a:lnTo>
                    <a:pt x="128" y="29"/>
                  </a:lnTo>
                  <a:lnTo>
                    <a:pt x="128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2" y="35"/>
                  </a:lnTo>
                  <a:lnTo>
                    <a:pt x="134" y="36"/>
                  </a:lnTo>
                  <a:lnTo>
                    <a:pt x="134" y="38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7" y="44"/>
                  </a:lnTo>
                  <a:lnTo>
                    <a:pt x="147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51" y="48"/>
                  </a:lnTo>
                  <a:lnTo>
                    <a:pt x="153" y="46"/>
                  </a:lnTo>
                  <a:lnTo>
                    <a:pt x="155" y="44"/>
                  </a:lnTo>
                  <a:lnTo>
                    <a:pt x="155" y="42"/>
                  </a:lnTo>
                  <a:lnTo>
                    <a:pt x="155" y="38"/>
                  </a:lnTo>
                  <a:lnTo>
                    <a:pt x="157" y="38"/>
                  </a:lnTo>
                  <a:lnTo>
                    <a:pt x="161" y="36"/>
                  </a:lnTo>
                  <a:lnTo>
                    <a:pt x="163" y="36"/>
                  </a:lnTo>
                  <a:lnTo>
                    <a:pt x="163" y="36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5"/>
                  </a:lnTo>
                  <a:lnTo>
                    <a:pt x="170" y="35"/>
                  </a:lnTo>
                  <a:lnTo>
                    <a:pt x="172" y="35"/>
                  </a:lnTo>
                  <a:lnTo>
                    <a:pt x="174" y="35"/>
                  </a:lnTo>
                  <a:lnTo>
                    <a:pt x="176" y="35"/>
                  </a:lnTo>
                  <a:lnTo>
                    <a:pt x="178" y="33"/>
                  </a:lnTo>
                  <a:lnTo>
                    <a:pt x="180" y="33"/>
                  </a:lnTo>
                  <a:lnTo>
                    <a:pt x="180" y="33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3"/>
                  </a:lnTo>
                  <a:lnTo>
                    <a:pt x="190" y="33"/>
                  </a:lnTo>
                  <a:lnTo>
                    <a:pt x="192" y="33"/>
                  </a:lnTo>
                  <a:lnTo>
                    <a:pt x="192" y="33"/>
                  </a:lnTo>
                  <a:lnTo>
                    <a:pt x="193" y="33"/>
                  </a:lnTo>
                  <a:lnTo>
                    <a:pt x="195" y="35"/>
                  </a:lnTo>
                  <a:lnTo>
                    <a:pt x="197" y="36"/>
                  </a:lnTo>
                  <a:lnTo>
                    <a:pt x="199" y="38"/>
                  </a:lnTo>
                  <a:lnTo>
                    <a:pt x="201" y="40"/>
                  </a:lnTo>
                  <a:lnTo>
                    <a:pt x="201" y="42"/>
                  </a:lnTo>
                  <a:lnTo>
                    <a:pt x="203" y="44"/>
                  </a:lnTo>
                  <a:lnTo>
                    <a:pt x="205" y="46"/>
                  </a:lnTo>
                  <a:lnTo>
                    <a:pt x="207" y="48"/>
                  </a:lnTo>
                  <a:lnTo>
                    <a:pt x="209" y="50"/>
                  </a:lnTo>
                  <a:lnTo>
                    <a:pt x="209" y="52"/>
                  </a:lnTo>
                  <a:lnTo>
                    <a:pt x="211" y="52"/>
                  </a:lnTo>
                  <a:lnTo>
                    <a:pt x="211" y="54"/>
                  </a:lnTo>
                  <a:lnTo>
                    <a:pt x="213" y="56"/>
                  </a:lnTo>
                  <a:lnTo>
                    <a:pt x="213" y="58"/>
                  </a:lnTo>
                  <a:lnTo>
                    <a:pt x="213" y="59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09" y="63"/>
                  </a:lnTo>
                  <a:lnTo>
                    <a:pt x="207" y="65"/>
                  </a:lnTo>
                  <a:lnTo>
                    <a:pt x="207" y="69"/>
                  </a:lnTo>
                  <a:lnTo>
                    <a:pt x="209" y="69"/>
                  </a:lnTo>
                  <a:lnTo>
                    <a:pt x="209" y="71"/>
                  </a:lnTo>
                  <a:lnTo>
                    <a:pt x="211" y="73"/>
                  </a:lnTo>
                  <a:lnTo>
                    <a:pt x="213" y="75"/>
                  </a:lnTo>
                  <a:lnTo>
                    <a:pt x="213" y="75"/>
                  </a:lnTo>
                  <a:lnTo>
                    <a:pt x="213" y="77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83"/>
                  </a:lnTo>
                  <a:lnTo>
                    <a:pt x="215" y="86"/>
                  </a:lnTo>
                  <a:lnTo>
                    <a:pt x="215" y="88"/>
                  </a:lnTo>
                  <a:lnTo>
                    <a:pt x="215" y="90"/>
                  </a:lnTo>
                  <a:lnTo>
                    <a:pt x="215" y="92"/>
                  </a:lnTo>
                  <a:lnTo>
                    <a:pt x="215" y="94"/>
                  </a:lnTo>
                  <a:lnTo>
                    <a:pt x="215" y="98"/>
                  </a:lnTo>
                  <a:lnTo>
                    <a:pt x="215" y="100"/>
                  </a:lnTo>
                  <a:lnTo>
                    <a:pt x="215" y="100"/>
                  </a:lnTo>
                  <a:lnTo>
                    <a:pt x="217" y="102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9"/>
                  </a:lnTo>
                  <a:lnTo>
                    <a:pt x="213" y="109"/>
                  </a:lnTo>
                  <a:lnTo>
                    <a:pt x="213" y="111"/>
                  </a:lnTo>
                  <a:lnTo>
                    <a:pt x="211" y="113"/>
                  </a:lnTo>
                  <a:lnTo>
                    <a:pt x="211" y="117"/>
                  </a:lnTo>
                  <a:lnTo>
                    <a:pt x="207" y="119"/>
                  </a:lnTo>
                  <a:lnTo>
                    <a:pt x="205" y="121"/>
                  </a:lnTo>
                  <a:lnTo>
                    <a:pt x="203" y="123"/>
                  </a:lnTo>
                  <a:lnTo>
                    <a:pt x="201" y="127"/>
                  </a:lnTo>
                  <a:lnTo>
                    <a:pt x="199" y="129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5" y="132"/>
                  </a:lnTo>
                  <a:lnTo>
                    <a:pt x="195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5" y="142"/>
                  </a:lnTo>
                  <a:lnTo>
                    <a:pt x="195" y="144"/>
                  </a:lnTo>
                  <a:lnTo>
                    <a:pt x="195" y="146"/>
                  </a:lnTo>
                  <a:lnTo>
                    <a:pt x="193" y="148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0" y="152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8" y="155"/>
                  </a:lnTo>
                  <a:lnTo>
                    <a:pt x="188" y="159"/>
                  </a:lnTo>
                  <a:lnTo>
                    <a:pt x="186" y="159"/>
                  </a:lnTo>
                  <a:lnTo>
                    <a:pt x="186" y="161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7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8" y="175"/>
                  </a:lnTo>
                  <a:lnTo>
                    <a:pt x="188" y="177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90" y="182"/>
                  </a:lnTo>
                  <a:lnTo>
                    <a:pt x="192" y="182"/>
                  </a:lnTo>
                  <a:lnTo>
                    <a:pt x="193" y="184"/>
                  </a:lnTo>
                  <a:lnTo>
                    <a:pt x="195" y="184"/>
                  </a:lnTo>
                  <a:lnTo>
                    <a:pt x="195" y="186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7" y="190"/>
                  </a:lnTo>
                  <a:lnTo>
                    <a:pt x="197" y="192"/>
                  </a:lnTo>
                  <a:lnTo>
                    <a:pt x="197" y="194"/>
                  </a:lnTo>
                  <a:lnTo>
                    <a:pt x="197" y="198"/>
                  </a:lnTo>
                  <a:lnTo>
                    <a:pt x="195" y="198"/>
                  </a:lnTo>
                  <a:lnTo>
                    <a:pt x="195" y="200"/>
                  </a:lnTo>
                  <a:lnTo>
                    <a:pt x="195" y="201"/>
                  </a:lnTo>
                  <a:lnTo>
                    <a:pt x="195" y="203"/>
                  </a:lnTo>
                  <a:lnTo>
                    <a:pt x="195" y="205"/>
                  </a:lnTo>
                  <a:lnTo>
                    <a:pt x="193" y="205"/>
                  </a:lnTo>
                  <a:lnTo>
                    <a:pt x="193" y="207"/>
                  </a:lnTo>
                  <a:lnTo>
                    <a:pt x="192" y="207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5" y="209"/>
                  </a:lnTo>
                  <a:lnTo>
                    <a:pt x="197" y="209"/>
                  </a:lnTo>
                  <a:lnTo>
                    <a:pt x="199" y="2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5" name="Freeform 82"/>
            <p:cNvSpPr>
              <a:spLocks/>
            </p:cNvSpPr>
            <p:nvPr/>
          </p:nvSpPr>
          <p:spPr bwMode="auto">
            <a:xfrm>
              <a:off x="859" y="1929"/>
              <a:ext cx="217" cy="238"/>
            </a:xfrm>
            <a:custGeom>
              <a:avLst/>
              <a:gdLst/>
              <a:ahLst/>
              <a:cxnLst>
                <a:cxn ang="0">
                  <a:pos x="182" y="205"/>
                </a:cxn>
                <a:cxn ang="0">
                  <a:pos x="165" y="203"/>
                </a:cxn>
                <a:cxn ang="0">
                  <a:pos x="147" y="201"/>
                </a:cxn>
                <a:cxn ang="0">
                  <a:pos x="130" y="203"/>
                </a:cxn>
                <a:cxn ang="0">
                  <a:pos x="111" y="207"/>
                </a:cxn>
                <a:cxn ang="0">
                  <a:pos x="98" y="211"/>
                </a:cxn>
                <a:cxn ang="0">
                  <a:pos x="84" y="221"/>
                </a:cxn>
                <a:cxn ang="0">
                  <a:pos x="67" y="221"/>
                </a:cxn>
                <a:cxn ang="0">
                  <a:pos x="52" y="226"/>
                </a:cxn>
                <a:cxn ang="0">
                  <a:pos x="42" y="234"/>
                </a:cxn>
                <a:cxn ang="0">
                  <a:pos x="32" y="228"/>
                </a:cxn>
                <a:cxn ang="0">
                  <a:pos x="30" y="215"/>
                </a:cxn>
                <a:cxn ang="0">
                  <a:pos x="34" y="200"/>
                </a:cxn>
                <a:cxn ang="0">
                  <a:pos x="34" y="184"/>
                </a:cxn>
                <a:cxn ang="0">
                  <a:pos x="28" y="173"/>
                </a:cxn>
                <a:cxn ang="0">
                  <a:pos x="15" y="175"/>
                </a:cxn>
                <a:cxn ang="0">
                  <a:pos x="11" y="163"/>
                </a:cxn>
                <a:cxn ang="0">
                  <a:pos x="0" y="157"/>
                </a:cxn>
                <a:cxn ang="0">
                  <a:pos x="2" y="144"/>
                </a:cxn>
                <a:cxn ang="0">
                  <a:pos x="5" y="132"/>
                </a:cxn>
                <a:cxn ang="0">
                  <a:pos x="7" y="115"/>
                </a:cxn>
                <a:cxn ang="0">
                  <a:pos x="11" y="102"/>
                </a:cxn>
                <a:cxn ang="0">
                  <a:pos x="11" y="94"/>
                </a:cxn>
                <a:cxn ang="0">
                  <a:pos x="5" y="86"/>
                </a:cxn>
                <a:cxn ang="0">
                  <a:pos x="19" y="84"/>
                </a:cxn>
                <a:cxn ang="0">
                  <a:pos x="25" y="75"/>
                </a:cxn>
                <a:cxn ang="0">
                  <a:pos x="19" y="67"/>
                </a:cxn>
                <a:cxn ang="0">
                  <a:pos x="15" y="56"/>
                </a:cxn>
                <a:cxn ang="0">
                  <a:pos x="17" y="40"/>
                </a:cxn>
                <a:cxn ang="0">
                  <a:pos x="17" y="31"/>
                </a:cxn>
                <a:cxn ang="0">
                  <a:pos x="25" y="21"/>
                </a:cxn>
                <a:cxn ang="0">
                  <a:pos x="38" y="19"/>
                </a:cxn>
                <a:cxn ang="0">
                  <a:pos x="52" y="21"/>
                </a:cxn>
                <a:cxn ang="0">
                  <a:pos x="65" y="19"/>
                </a:cxn>
                <a:cxn ang="0">
                  <a:pos x="65" y="6"/>
                </a:cxn>
                <a:cxn ang="0">
                  <a:pos x="78" y="2"/>
                </a:cxn>
                <a:cxn ang="0">
                  <a:pos x="84" y="10"/>
                </a:cxn>
                <a:cxn ang="0">
                  <a:pos x="88" y="19"/>
                </a:cxn>
                <a:cxn ang="0">
                  <a:pos x="99" y="13"/>
                </a:cxn>
                <a:cxn ang="0">
                  <a:pos x="113" y="12"/>
                </a:cxn>
                <a:cxn ang="0">
                  <a:pos x="123" y="21"/>
                </a:cxn>
                <a:cxn ang="0">
                  <a:pos x="128" y="31"/>
                </a:cxn>
                <a:cxn ang="0">
                  <a:pos x="134" y="36"/>
                </a:cxn>
                <a:cxn ang="0">
                  <a:pos x="142" y="42"/>
                </a:cxn>
                <a:cxn ang="0">
                  <a:pos x="151" y="48"/>
                </a:cxn>
                <a:cxn ang="0">
                  <a:pos x="163" y="36"/>
                </a:cxn>
                <a:cxn ang="0">
                  <a:pos x="174" y="35"/>
                </a:cxn>
                <a:cxn ang="0">
                  <a:pos x="188" y="33"/>
                </a:cxn>
                <a:cxn ang="0">
                  <a:pos x="199" y="38"/>
                </a:cxn>
                <a:cxn ang="0">
                  <a:pos x="209" y="52"/>
                </a:cxn>
                <a:cxn ang="0">
                  <a:pos x="211" y="63"/>
                </a:cxn>
                <a:cxn ang="0">
                  <a:pos x="213" y="75"/>
                </a:cxn>
                <a:cxn ang="0">
                  <a:pos x="215" y="88"/>
                </a:cxn>
                <a:cxn ang="0">
                  <a:pos x="217" y="102"/>
                </a:cxn>
                <a:cxn ang="0">
                  <a:pos x="211" y="117"/>
                </a:cxn>
                <a:cxn ang="0">
                  <a:pos x="197" y="130"/>
                </a:cxn>
                <a:cxn ang="0">
                  <a:pos x="195" y="146"/>
                </a:cxn>
                <a:cxn ang="0">
                  <a:pos x="188" y="155"/>
                </a:cxn>
                <a:cxn ang="0">
                  <a:pos x="186" y="171"/>
                </a:cxn>
                <a:cxn ang="0">
                  <a:pos x="190" y="182"/>
                </a:cxn>
                <a:cxn ang="0">
                  <a:pos x="197" y="190"/>
                </a:cxn>
                <a:cxn ang="0">
                  <a:pos x="195" y="203"/>
                </a:cxn>
                <a:cxn ang="0">
                  <a:pos x="195" y="209"/>
                </a:cxn>
              </a:cxnLst>
              <a:rect l="0" t="0" r="r" b="b"/>
              <a:pathLst>
                <a:path w="217" h="238">
                  <a:moveTo>
                    <a:pt x="199" y="209"/>
                  </a:moveTo>
                  <a:lnTo>
                    <a:pt x="197" y="207"/>
                  </a:lnTo>
                  <a:lnTo>
                    <a:pt x="193" y="207"/>
                  </a:lnTo>
                  <a:lnTo>
                    <a:pt x="192" y="207"/>
                  </a:lnTo>
                  <a:lnTo>
                    <a:pt x="190" y="209"/>
                  </a:lnTo>
                  <a:lnTo>
                    <a:pt x="186" y="207"/>
                  </a:lnTo>
                  <a:lnTo>
                    <a:pt x="182" y="205"/>
                  </a:lnTo>
                  <a:lnTo>
                    <a:pt x="176" y="205"/>
                  </a:lnTo>
                  <a:lnTo>
                    <a:pt x="174" y="205"/>
                  </a:lnTo>
                  <a:lnTo>
                    <a:pt x="172" y="205"/>
                  </a:lnTo>
                  <a:lnTo>
                    <a:pt x="169" y="203"/>
                  </a:lnTo>
                  <a:lnTo>
                    <a:pt x="167" y="203"/>
                  </a:lnTo>
                  <a:lnTo>
                    <a:pt x="167" y="203"/>
                  </a:lnTo>
                  <a:lnTo>
                    <a:pt x="165" y="203"/>
                  </a:lnTo>
                  <a:lnTo>
                    <a:pt x="163" y="203"/>
                  </a:lnTo>
                  <a:lnTo>
                    <a:pt x="161" y="203"/>
                  </a:lnTo>
                  <a:lnTo>
                    <a:pt x="157" y="203"/>
                  </a:lnTo>
                  <a:lnTo>
                    <a:pt x="155" y="203"/>
                  </a:lnTo>
                  <a:lnTo>
                    <a:pt x="153" y="201"/>
                  </a:lnTo>
                  <a:lnTo>
                    <a:pt x="149" y="201"/>
                  </a:lnTo>
                  <a:lnTo>
                    <a:pt x="147" y="201"/>
                  </a:lnTo>
                  <a:lnTo>
                    <a:pt x="146" y="201"/>
                  </a:lnTo>
                  <a:lnTo>
                    <a:pt x="142" y="201"/>
                  </a:lnTo>
                  <a:lnTo>
                    <a:pt x="140" y="201"/>
                  </a:lnTo>
                  <a:lnTo>
                    <a:pt x="136" y="201"/>
                  </a:lnTo>
                  <a:lnTo>
                    <a:pt x="134" y="201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28" y="203"/>
                  </a:lnTo>
                  <a:lnTo>
                    <a:pt x="124" y="203"/>
                  </a:lnTo>
                  <a:lnTo>
                    <a:pt x="123" y="205"/>
                  </a:lnTo>
                  <a:lnTo>
                    <a:pt x="119" y="205"/>
                  </a:lnTo>
                  <a:lnTo>
                    <a:pt x="117" y="205"/>
                  </a:lnTo>
                  <a:lnTo>
                    <a:pt x="113" y="205"/>
                  </a:lnTo>
                  <a:lnTo>
                    <a:pt x="111" y="207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5" y="207"/>
                  </a:lnTo>
                  <a:lnTo>
                    <a:pt x="103" y="209"/>
                  </a:lnTo>
                  <a:lnTo>
                    <a:pt x="101" y="209"/>
                  </a:lnTo>
                  <a:lnTo>
                    <a:pt x="99" y="209"/>
                  </a:lnTo>
                  <a:lnTo>
                    <a:pt x="98" y="211"/>
                  </a:lnTo>
                  <a:lnTo>
                    <a:pt x="96" y="211"/>
                  </a:lnTo>
                  <a:lnTo>
                    <a:pt x="94" y="213"/>
                  </a:lnTo>
                  <a:lnTo>
                    <a:pt x="94" y="215"/>
                  </a:lnTo>
                  <a:lnTo>
                    <a:pt x="92" y="215"/>
                  </a:lnTo>
                  <a:lnTo>
                    <a:pt x="90" y="217"/>
                  </a:lnTo>
                  <a:lnTo>
                    <a:pt x="86" y="219"/>
                  </a:lnTo>
                  <a:lnTo>
                    <a:pt x="84" y="221"/>
                  </a:lnTo>
                  <a:lnTo>
                    <a:pt x="82" y="221"/>
                  </a:lnTo>
                  <a:lnTo>
                    <a:pt x="80" y="221"/>
                  </a:lnTo>
                  <a:lnTo>
                    <a:pt x="78" y="221"/>
                  </a:lnTo>
                  <a:lnTo>
                    <a:pt x="75" y="221"/>
                  </a:lnTo>
                  <a:lnTo>
                    <a:pt x="73" y="221"/>
                  </a:lnTo>
                  <a:lnTo>
                    <a:pt x="69" y="221"/>
                  </a:lnTo>
                  <a:lnTo>
                    <a:pt x="67" y="221"/>
                  </a:lnTo>
                  <a:lnTo>
                    <a:pt x="65" y="221"/>
                  </a:lnTo>
                  <a:lnTo>
                    <a:pt x="63" y="221"/>
                  </a:lnTo>
                  <a:lnTo>
                    <a:pt x="61" y="221"/>
                  </a:lnTo>
                  <a:lnTo>
                    <a:pt x="57" y="221"/>
                  </a:lnTo>
                  <a:lnTo>
                    <a:pt x="55" y="223"/>
                  </a:lnTo>
                  <a:lnTo>
                    <a:pt x="53" y="225"/>
                  </a:lnTo>
                  <a:lnTo>
                    <a:pt x="52" y="226"/>
                  </a:lnTo>
                  <a:lnTo>
                    <a:pt x="52" y="226"/>
                  </a:lnTo>
                  <a:lnTo>
                    <a:pt x="50" y="228"/>
                  </a:lnTo>
                  <a:lnTo>
                    <a:pt x="50" y="230"/>
                  </a:lnTo>
                  <a:lnTo>
                    <a:pt x="48" y="230"/>
                  </a:lnTo>
                  <a:lnTo>
                    <a:pt x="46" y="230"/>
                  </a:lnTo>
                  <a:lnTo>
                    <a:pt x="44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36" y="234"/>
                  </a:lnTo>
                  <a:lnTo>
                    <a:pt x="32" y="236"/>
                  </a:lnTo>
                  <a:lnTo>
                    <a:pt x="32" y="238"/>
                  </a:lnTo>
                  <a:lnTo>
                    <a:pt x="32" y="234"/>
                  </a:lnTo>
                  <a:lnTo>
                    <a:pt x="32" y="232"/>
                  </a:lnTo>
                  <a:lnTo>
                    <a:pt x="32" y="228"/>
                  </a:lnTo>
                  <a:lnTo>
                    <a:pt x="30" y="228"/>
                  </a:lnTo>
                  <a:lnTo>
                    <a:pt x="30" y="226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0" y="219"/>
                  </a:lnTo>
                  <a:lnTo>
                    <a:pt x="30" y="217"/>
                  </a:lnTo>
                  <a:lnTo>
                    <a:pt x="30" y="215"/>
                  </a:lnTo>
                  <a:lnTo>
                    <a:pt x="30" y="211"/>
                  </a:lnTo>
                  <a:lnTo>
                    <a:pt x="30" y="209"/>
                  </a:lnTo>
                  <a:lnTo>
                    <a:pt x="30" y="207"/>
                  </a:lnTo>
                  <a:lnTo>
                    <a:pt x="32" y="205"/>
                  </a:lnTo>
                  <a:lnTo>
                    <a:pt x="32" y="203"/>
                  </a:lnTo>
                  <a:lnTo>
                    <a:pt x="32" y="201"/>
                  </a:lnTo>
                  <a:lnTo>
                    <a:pt x="34" y="200"/>
                  </a:lnTo>
                  <a:lnTo>
                    <a:pt x="34" y="198"/>
                  </a:lnTo>
                  <a:lnTo>
                    <a:pt x="34" y="196"/>
                  </a:lnTo>
                  <a:lnTo>
                    <a:pt x="34" y="194"/>
                  </a:lnTo>
                  <a:lnTo>
                    <a:pt x="34" y="192"/>
                  </a:lnTo>
                  <a:lnTo>
                    <a:pt x="34" y="188"/>
                  </a:lnTo>
                  <a:lnTo>
                    <a:pt x="34" y="186"/>
                  </a:lnTo>
                  <a:lnTo>
                    <a:pt x="34" y="184"/>
                  </a:lnTo>
                  <a:lnTo>
                    <a:pt x="34" y="182"/>
                  </a:lnTo>
                  <a:lnTo>
                    <a:pt x="34" y="178"/>
                  </a:lnTo>
                  <a:lnTo>
                    <a:pt x="34" y="177"/>
                  </a:lnTo>
                  <a:lnTo>
                    <a:pt x="34" y="175"/>
                  </a:lnTo>
                  <a:lnTo>
                    <a:pt x="34" y="173"/>
                  </a:lnTo>
                  <a:lnTo>
                    <a:pt x="32" y="173"/>
                  </a:lnTo>
                  <a:lnTo>
                    <a:pt x="28" y="173"/>
                  </a:lnTo>
                  <a:lnTo>
                    <a:pt x="27" y="173"/>
                  </a:lnTo>
                  <a:lnTo>
                    <a:pt x="25" y="173"/>
                  </a:lnTo>
                  <a:lnTo>
                    <a:pt x="23" y="173"/>
                  </a:lnTo>
                  <a:lnTo>
                    <a:pt x="21" y="175"/>
                  </a:lnTo>
                  <a:lnTo>
                    <a:pt x="19" y="175"/>
                  </a:lnTo>
                  <a:lnTo>
                    <a:pt x="17" y="175"/>
                  </a:lnTo>
                  <a:lnTo>
                    <a:pt x="15" y="175"/>
                  </a:lnTo>
                  <a:lnTo>
                    <a:pt x="13" y="173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5"/>
                  </a:lnTo>
                  <a:lnTo>
                    <a:pt x="11" y="163"/>
                  </a:lnTo>
                  <a:lnTo>
                    <a:pt x="11" y="161"/>
                  </a:lnTo>
                  <a:lnTo>
                    <a:pt x="9" y="159"/>
                  </a:lnTo>
                  <a:lnTo>
                    <a:pt x="7" y="159"/>
                  </a:lnTo>
                  <a:lnTo>
                    <a:pt x="5" y="157"/>
                  </a:lnTo>
                  <a:lnTo>
                    <a:pt x="4" y="157"/>
                  </a:lnTo>
                  <a:lnTo>
                    <a:pt x="2" y="157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0" y="154"/>
                  </a:lnTo>
                  <a:lnTo>
                    <a:pt x="0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5" y="138"/>
                  </a:lnTo>
                  <a:lnTo>
                    <a:pt x="5" y="136"/>
                  </a:lnTo>
                  <a:lnTo>
                    <a:pt x="5" y="134"/>
                  </a:lnTo>
                  <a:lnTo>
                    <a:pt x="5" y="132"/>
                  </a:lnTo>
                  <a:lnTo>
                    <a:pt x="5" y="130"/>
                  </a:lnTo>
                  <a:lnTo>
                    <a:pt x="5" y="127"/>
                  </a:lnTo>
                  <a:lnTo>
                    <a:pt x="5" y="125"/>
                  </a:lnTo>
                  <a:lnTo>
                    <a:pt x="5" y="123"/>
                  </a:lnTo>
                  <a:lnTo>
                    <a:pt x="5" y="121"/>
                  </a:lnTo>
                  <a:lnTo>
                    <a:pt x="5" y="117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7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5" y="96"/>
                  </a:lnTo>
                  <a:lnTo>
                    <a:pt x="13" y="96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9" y="92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4" y="84"/>
                  </a:lnTo>
                  <a:lnTo>
                    <a:pt x="5" y="84"/>
                  </a:lnTo>
                  <a:lnTo>
                    <a:pt x="7" y="83"/>
                  </a:lnTo>
                  <a:lnTo>
                    <a:pt x="11" y="83"/>
                  </a:lnTo>
                  <a:lnTo>
                    <a:pt x="13" y="84"/>
                  </a:lnTo>
                  <a:lnTo>
                    <a:pt x="17" y="84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5" y="86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9" y="63"/>
                  </a:lnTo>
                  <a:lnTo>
                    <a:pt x="17" y="6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3" y="54"/>
                  </a:lnTo>
                  <a:lnTo>
                    <a:pt x="13" y="50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2"/>
                  </a:lnTo>
                  <a:lnTo>
                    <a:pt x="17" y="42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19" y="23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2" y="21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40" y="17"/>
                  </a:lnTo>
                  <a:lnTo>
                    <a:pt x="42" y="17"/>
                  </a:lnTo>
                  <a:lnTo>
                    <a:pt x="46" y="17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21"/>
                  </a:lnTo>
                  <a:lnTo>
                    <a:pt x="55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7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7" y="12"/>
                  </a:lnTo>
                  <a:lnTo>
                    <a:pt x="65" y="10"/>
                  </a:lnTo>
                  <a:lnTo>
                    <a:pt x="65" y="8"/>
                  </a:lnTo>
                  <a:lnTo>
                    <a:pt x="65" y="6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2" y="4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4" y="10"/>
                  </a:lnTo>
                  <a:lnTo>
                    <a:pt x="84" y="12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4" y="19"/>
                  </a:lnTo>
                  <a:lnTo>
                    <a:pt x="94" y="17"/>
                  </a:lnTo>
                  <a:lnTo>
                    <a:pt x="96" y="17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1" y="12"/>
                  </a:lnTo>
                  <a:lnTo>
                    <a:pt x="103" y="12"/>
                  </a:lnTo>
                  <a:lnTo>
                    <a:pt x="105" y="10"/>
                  </a:lnTo>
                  <a:lnTo>
                    <a:pt x="107" y="10"/>
                  </a:lnTo>
                  <a:lnTo>
                    <a:pt x="111" y="10"/>
                  </a:lnTo>
                  <a:lnTo>
                    <a:pt x="113" y="12"/>
                  </a:lnTo>
                  <a:lnTo>
                    <a:pt x="113" y="13"/>
                  </a:lnTo>
                  <a:lnTo>
                    <a:pt x="117" y="15"/>
                  </a:lnTo>
                  <a:lnTo>
                    <a:pt x="119" y="15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21"/>
                  </a:lnTo>
                  <a:lnTo>
                    <a:pt x="123" y="21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6" y="31"/>
                  </a:lnTo>
                  <a:lnTo>
                    <a:pt x="128" y="31"/>
                  </a:lnTo>
                  <a:lnTo>
                    <a:pt x="128" y="29"/>
                  </a:lnTo>
                  <a:lnTo>
                    <a:pt x="128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2" y="35"/>
                  </a:lnTo>
                  <a:lnTo>
                    <a:pt x="134" y="36"/>
                  </a:lnTo>
                  <a:lnTo>
                    <a:pt x="134" y="38"/>
                  </a:lnTo>
                  <a:lnTo>
                    <a:pt x="136" y="38"/>
                  </a:lnTo>
                  <a:lnTo>
                    <a:pt x="136" y="38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2"/>
                  </a:lnTo>
                  <a:lnTo>
                    <a:pt x="144" y="44"/>
                  </a:lnTo>
                  <a:lnTo>
                    <a:pt x="146" y="44"/>
                  </a:lnTo>
                  <a:lnTo>
                    <a:pt x="147" y="44"/>
                  </a:lnTo>
                  <a:lnTo>
                    <a:pt x="147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51" y="48"/>
                  </a:lnTo>
                  <a:lnTo>
                    <a:pt x="153" y="46"/>
                  </a:lnTo>
                  <a:lnTo>
                    <a:pt x="155" y="44"/>
                  </a:lnTo>
                  <a:lnTo>
                    <a:pt x="155" y="42"/>
                  </a:lnTo>
                  <a:lnTo>
                    <a:pt x="155" y="38"/>
                  </a:lnTo>
                  <a:lnTo>
                    <a:pt x="157" y="38"/>
                  </a:lnTo>
                  <a:lnTo>
                    <a:pt x="161" y="36"/>
                  </a:lnTo>
                  <a:lnTo>
                    <a:pt x="163" y="36"/>
                  </a:lnTo>
                  <a:lnTo>
                    <a:pt x="163" y="36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5"/>
                  </a:lnTo>
                  <a:lnTo>
                    <a:pt x="170" y="35"/>
                  </a:lnTo>
                  <a:lnTo>
                    <a:pt x="172" y="35"/>
                  </a:lnTo>
                  <a:lnTo>
                    <a:pt x="174" y="35"/>
                  </a:lnTo>
                  <a:lnTo>
                    <a:pt x="176" y="35"/>
                  </a:lnTo>
                  <a:lnTo>
                    <a:pt x="178" y="33"/>
                  </a:lnTo>
                  <a:lnTo>
                    <a:pt x="180" y="33"/>
                  </a:lnTo>
                  <a:lnTo>
                    <a:pt x="180" y="33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3"/>
                  </a:lnTo>
                  <a:lnTo>
                    <a:pt x="190" y="33"/>
                  </a:lnTo>
                  <a:lnTo>
                    <a:pt x="192" y="33"/>
                  </a:lnTo>
                  <a:lnTo>
                    <a:pt x="192" y="33"/>
                  </a:lnTo>
                  <a:lnTo>
                    <a:pt x="193" y="33"/>
                  </a:lnTo>
                  <a:lnTo>
                    <a:pt x="195" y="35"/>
                  </a:lnTo>
                  <a:lnTo>
                    <a:pt x="197" y="36"/>
                  </a:lnTo>
                  <a:lnTo>
                    <a:pt x="199" y="38"/>
                  </a:lnTo>
                  <a:lnTo>
                    <a:pt x="201" y="40"/>
                  </a:lnTo>
                  <a:lnTo>
                    <a:pt x="201" y="42"/>
                  </a:lnTo>
                  <a:lnTo>
                    <a:pt x="203" y="44"/>
                  </a:lnTo>
                  <a:lnTo>
                    <a:pt x="205" y="46"/>
                  </a:lnTo>
                  <a:lnTo>
                    <a:pt x="207" y="48"/>
                  </a:lnTo>
                  <a:lnTo>
                    <a:pt x="209" y="50"/>
                  </a:lnTo>
                  <a:lnTo>
                    <a:pt x="209" y="52"/>
                  </a:lnTo>
                  <a:lnTo>
                    <a:pt x="211" y="52"/>
                  </a:lnTo>
                  <a:lnTo>
                    <a:pt x="211" y="54"/>
                  </a:lnTo>
                  <a:lnTo>
                    <a:pt x="213" y="56"/>
                  </a:lnTo>
                  <a:lnTo>
                    <a:pt x="213" y="58"/>
                  </a:lnTo>
                  <a:lnTo>
                    <a:pt x="213" y="59"/>
                  </a:lnTo>
                  <a:lnTo>
                    <a:pt x="211" y="61"/>
                  </a:lnTo>
                  <a:lnTo>
                    <a:pt x="211" y="63"/>
                  </a:lnTo>
                  <a:lnTo>
                    <a:pt x="209" y="63"/>
                  </a:lnTo>
                  <a:lnTo>
                    <a:pt x="207" y="65"/>
                  </a:lnTo>
                  <a:lnTo>
                    <a:pt x="207" y="69"/>
                  </a:lnTo>
                  <a:lnTo>
                    <a:pt x="209" y="69"/>
                  </a:lnTo>
                  <a:lnTo>
                    <a:pt x="209" y="71"/>
                  </a:lnTo>
                  <a:lnTo>
                    <a:pt x="211" y="73"/>
                  </a:lnTo>
                  <a:lnTo>
                    <a:pt x="213" y="75"/>
                  </a:lnTo>
                  <a:lnTo>
                    <a:pt x="213" y="75"/>
                  </a:lnTo>
                  <a:lnTo>
                    <a:pt x="213" y="77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83"/>
                  </a:lnTo>
                  <a:lnTo>
                    <a:pt x="215" y="86"/>
                  </a:lnTo>
                  <a:lnTo>
                    <a:pt x="215" y="88"/>
                  </a:lnTo>
                  <a:lnTo>
                    <a:pt x="215" y="90"/>
                  </a:lnTo>
                  <a:lnTo>
                    <a:pt x="215" y="92"/>
                  </a:lnTo>
                  <a:lnTo>
                    <a:pt x="215" y="94"/>
                  </a:lnTo>
                  <a:lnTo>
                    <a:pt x="215" y="98"/>
                  </a:lnTo>
                  <a:lnTo>
                    <a:pt x="215" y="100"/>
                  </a:lnTo>
                  <a:lnTo>
                    <a:pt x="215" y="100"/>
                  </a:lnTo>
                  <a:lnTo>
                    <a:pt x="217" y="102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9"/>
                  </a:lnTo>
                  <a:lnTo>
                    <a:pt x="213" y="109"/>
                  </a:lnTo>
                  <a:lnTo>
                    <a:pt x="213" y="111"/>
                  </a:lnTo>
                  <a:lnTo>
                    <a:pt x="211" y="113"/>
                  </a:lnTo>
                  <a:lnTo>
                    <a:pt x="211" y="117"/>
                  </a:lnTo>
                  <a:lnTo>
                    <a:pt x="207" y="119"/>
                  </a:lnTo>
                  <a:lnTo>
                    <a:pt x="205" y="121"/>
                  </a:lnTo>
                  <a:lnTo>
                    <a:pt x="203" y="123"/>
                  </a:lnTo>
                  <a:lnTo>
                    <a:pt x="201" y="127"/>
                  </a:lnTo>
                  <a:lnTo>
                    <a:pt x="199" y="129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5" y="132"/>
                  </a:lnTo>
                  <a:lnTo>
                    <a:pt x="195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5" y="142"/>
                  </a:lnTo>
                  <a:lnTo>
                    <a:pt x="195" y="144"/>
                  </a:lnTo>
                  <a:lnTo>
                    <a:pt x="195" y="146"/>
                  </a:lnTo>
                  <a:lnTo>
                    <a:pt x="193" y="148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0" y="152"/>
                  </a:lnTo>
                  <a:lnTo>
                    <a:pt x="190" y="154"/>
                  </a:lnTo>
                  <a:lnTo>
                    <a:pt x="190" y="154"/>
                  </a:lnTo>
                  <a:lnTo>
                    <a:pt x="188" y="155"/>
                  </a:lnTo>
                  <a:lnTo>
                    <a:pt x="188" y="159"/>
                  </a:lnTo>
                  <a:lnTo>
                    <a:pt x="186" y="159"/>
                  </a:lnTo>
                  <a:lnTo>
                    <a:pt x="186" y="161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7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3"/>
                  </a:lnTo>
                  <a:lnTo>
                    <a:pt x="188" y="175"/>
                  </a:lnTo>
                  <a:lnTo>
                    <a:pt x="188" y="177"/>
                  </a:lnTo>
                  <a:lnTo>
                    <a:pt x="190" y="178"/>
                  </a:lnTo>
                  <a:lnTo>
                    <a:pt x="190" y="178"/>
                  </a:lnTo>
                  <a:lnTo>
                    <a:pt x="190" y="182"/>
                  </a:lnTo>
                  <a:lnTo>
                    <a:pt x="192" y="182"/>
                  </a:lnTo>
                  <a:lnTo>
                    <a:pt x="193" y="184"/>
                  </a:lnTo>
                  <a:lnTo>
                    <a:pt x="195" y="184"/>
                  </a:lnTo>
                  <a:lnTo>
                    <a:pt x="195" y="186"/>
                  </a:lnTo>
                  <a:lnTo>
                    <a:pt x="197" y="188"/>
                  </a:lnTo>
                  <a:lnTo>
                    <a:pt x="197" y="188"/>
                  </a:lnTo>
                  <a:lnTo>
                    <a:pt x="197" y="190"/>
                  </a:lnTo>
                  <a:lnTo>
                    <a:pt x="197" y="192"/>
                  </a:lnTo>
                  <a:lnTo>
                    <a:pt x="197" y="194"/>
                  </a:lnTo>
                  <a:lnTo>
                    <a:pt x="197" y="198"/>
                  </a:lnTo>
                  <a:lnTo>
                    <a:pt x="195" y="198"/>
                  </a:lnTo>
                  <a:lnTo>
                    <a:pt x="195" y="200"/>
                  </a:lnTo>
                  <a:lnTo>
                    <a:pt x="195" y="201"/>
                  </a:lnTo>
                  <a:lnTo>
                    <a:pt x="195" y="203"/>
                  </a:lnTo>
                  <a:lnTo>
                    <a:pt x="195" y="205"/>
                  </a:lnTo>
                  <a:lnTo>
                    <a:pt x="193" y="205"/>
                  </a:lnTo>
                  <a:lnTo>
                    <a:pt x="193" y="207"/>
                  </a:lnTo>
                  <a:lnTo>
                    <a:pt x="192" y="207"/>
                  </a:lnTo>
                  <a:lnTo>
                    <a:pt x="192" y="209"/>
                  </a:lnTo>
                  <a:lnTo>
                    <a:pt x="193" y="209"/>
                  </a:lnTo>
                  <a:lnTo>
                    <a:pt x="195" y="209"/>
                  </a:lnTo>
                  <a:lnTo>
                    <a:pt x="197" y="209"/>
                  </a:lnTo>
                  <a:lnTo>
                    <a:pt x="199" y="209"/>
                  </a:lnTo>
                  <a:lnTo>
                    <a:pt x="199" y="209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6" name="Freeform 83"/>
            <p:cNvSpPr>
              <a:spLocks/>
            </p:cNvSpPr>
            <p:nvPr/>
          </p:nvSpPr>
          <p:spPr bwMode="auto">
            <a:xfrm>
              <a:off x="1045" y="1916"/>
              <a:ext cx="163" cy="239"/>
            </a:xfrm>
            <a:custGeom>
              <a:avLst/>
              <a:gdLst/>
              <a:ahLst/>
              <a:cxnLst>
                <a:cxn ang="0">
                  <a:pos x="21" y="38"/>
                </a:cxn>
                <a:cxn ang="0">
                  <a:pos x="19" y="26"/>
                </a:cxn>
                <a:cxn ang="0">
                  <a:pos x="21" y="13"/>
                </a:cxn>
                <a:cxn ang="0">
                  <a:pos x="23" y="1"/>
                </a:cxn>
                <a:cxn ang="0">
                  <a:pos x="38" y="1"/>
                </a:cxn>
                <a:cxn ang="0">
                  <a:pos x="57" y="5"/>
                </a:cxn>
                <a:cxn ang="0">
                  <a:pos x="80" y="5"/>
                </a:cxn>
                <a:cxn ang="0">
                  <a:pos x="98" y="5"/>
                </a:cxn>
                <a:cxn ang="0">
                  <a:pos x="113" y="3"/>
                </a:cxn>
                <a:cxn ang="0">
                  <a:pos x="117" y="3"/>
                </a:cxn>
                <a:cxn ang="0">
                  <a:pos x="119" y="17"/>
                </a:cxn>
                <a:cxn ang="0">
                  <a:pos x="126" y="26"/>
                </a:cxn>
                <a:cxn ang="0">
                  <a:pos x="132" y="34"/>
                </a:cxn>
                <a:cxn ang="0">
                  <a:pos x="132" y="46"/>
                </a:cxn>
                <a:cxn ang="0">
                  <a:pos x="128" y="55"/>
                </a:cxn>
                <a:cxn ang="0">
                  <a:pos x="134" y="65"/>
                </a:cxn>
                <a:cxn ang="0">
                  <a:pos x="138" y="78"/>
                </a:cxn>
                <a:cxn ang="0">
                  <a:pos x="138" y="88"/>
                </a:cxn>
                <a:cxn ang="0">
                  <a:pos x="142" y="94"/>
                </a:cxn>
                <a:cxn ang="0">
                  <a:pos x="149" y="109"/>
                </a:cxn>
                <a:cxn ang="0">
                  <a:pos x="146" y="120"/>
                </a:cxn>
                <a:cxn ang="0">
                  <a:pos x="142" y="128"/>
                </a:cxn>
                <a:cxn ang="0">
                  <a:pos x="142" y="140"/>
                </a:cxn>
                <a:cxn ang="0">
                  <a:pos x="138" y="151"/>
                </a:cxn>
                <a:cxn ang="0">
                  <a:pos x="142" y="165"/>
                </a:cxn>
                <a:cxn ang="0">
                  <a:pos x="149" y="174"/>
                </a:cxn>
                <a:cxn ang="0">
                  <a:pos x="159" y="182"/>
                </a:cxn>
                <a:cxn ang="0">
                  <a:pos x="155" y="186"/>
                </a:cxn>
                <a:cxn ang="0">
                  <a:pos x="148" y="199"/>
                </a:cxn>
                <a:cxn ang="0">
                  <a:pos x="136" y="201"/>
                </a:cxn>
                <a:cxn ang="0">
                  <a:pos x="123" y="201"/>
                </a:cxn>
                <a:cxn ang="0">
                  <a:pos x="107" y="211"/>
                </a:cxn>
                <a:cxn ang="0">
                  <a:pos x="92" y="214"/>
                </a:cxn>
                <a:cxn ang="0">
                  <a:pos x="82" y="220"/>
                </a:cxn>
                <a:cxn ang="0">
                  <a:pos x="65" y="228"/>
                </a:cxn>
                <a:cxn ang="0">
                  <a:pos x="54" y="232"/>
                </a:cxn>
                <a:cxn ang="0">
                  <a:pos x="42" y="236"/>
                </a:cxn>
                <a:cxn ang="0">
                  <a:pos x="31" y="232"/>
                </a:cxn>
                <a:cxn ang="0">
                  <a:pos x="21" y="228"/>
                </a:cxn>
                <a:cxn ang="0">
                  <a:pos x="13" y="222"/>
                </a:cxn>
                <a:cxn ang="0">
                  <a:pos x="9" y="216"/>
                </a:cxn>
                <a:cxn ang="0">
                  <a:pos x="11" y="203"/>
                </a:cxn>
                <a:cxn ang="0">
                  <a:pos x="6" y="195"/>
                </a:cxn>
                <a:cxn ang="0">
                  <a:pos x="0" y="188"/>
                </a:cxn>
                <a:cxn ang="0">
                  <a:pos x="0" y="174"/>
                </a:cxn>
                <a:cxn ang="0">
                  <a:pos x="4" y="165"/>
                </a:cxn>
                <a:cxn ang="0">
                  <a:pos x="9" y="157"/>
                </a:cxn>
                <a:cxn ang="0">
                  <a:pos x="9" y="143"/>
                </a:cxn>
                <a:cxn ang="0">
                  <a:pos x="19" y="134"/>
                </a:cxn>
                <a:cxn ang="0">
                  <a:pos x="25" y="126"/>
                </a:cxn>
                <a:cxn ang="0">
                  <a:pos x="29" y="117"/>
                </a:cxn>
                <a:cxn ang="0">
                  <a:pos x="29" y="101"/>
                </a:cxn>
                <a:cxn ang="0">
                  <a:pos x="29" y="90"/>
                </a:cxn>
                <a:cxn ang="0">
                  <a:pos x="23" y="82"/>
                </a:cxn>
                <a:cxn ang="0">
                  <a:pos x="21" y="72"/>
                </a:cxn>
                <a:cxn ang="0">
                  <a:pos x="27" y="67"/>
                </a:cxn>
                <a:cxn ang="0">
                  <a:pos x="19" y="59"/>
                </a:cxn>
              </a:cxnLst>
              <a:rect l="0" t="0" r="r" b="b"/>
              <a:pathLst>
                <a:path w="163" h="239">
                  <a:moveTo>
                    <a:pt x="15" y="55"/>
                  </a:moveTo>
                  <a:lnTo>
                    <a:pt x="17" y="51"/>
                  </a:lnTo>
                  <a:lnTo>
                    <a:pt x="21" y="46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9" y="23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1" y="17"/>
                  </a:lnTo>
                  <a:lnTo>
                    <a:pt x="21" y="15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5"/>
                  </a:lnTo>
                  <a:lnTo>
                    <a:pt x="21" y="1"/>
                  </a:lnTo>
                  <a:lnTo>
                    <a:pt x="23" y="1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42" y="1"/>
                  </a:lnTo>
                  <a:lnTo>
                    <a:pt x="44" y="3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4" y="5"/>
                  </a:lnTo>
                  <a:lnTo>
                    <a:pt x="57" y="5"/>
                  </a:lnTo>
                  <a:lnTo>
                    <a:pt x="61" y="5"/>
                  </a:lnTo>
                  <a:lnTo>
                    <a:pt x="65" y="5"/>
                  </a:lnTo>
                  <a:lnTo>
                    <a:pt x="69" y="5"/>
                  </a:lnTo>
                  <a:lnTo>
                    <a:pt x="73" y="5"/>
                  </a:lnTo>
                  <a:lnTo>
                    <a:pt x="77" y="5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6" y="5"/>
                  </a:lnTo>
                  <a:lnTo>
                    <a:pt x="90" y="5"/>
                  </a:lnTo>
                  <a:lnTo>
                    <a:pt x="92" y="5"/>
                  </a:lnTo>
                  <a:lnTo>
                    <a:pt x="94" y="5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7" y="3"/>
                  </a:lnTo>
                  <a:lnTo>
                    <a:pt x="109" y="3"/>
                  </a:lnTo>
                  <a:lnTo>
                    <a:pt x="113" y="3"/>
                  </a:lnTo>
                  <a:lnTo>
                    <a:pt x="115" y="5"/>
                  </a:lnTo>
                  <a:lnTo>
                    <a:pt x="113" y="3"/>
                  </a:lnTo>
                  <a:lnTo>
                    <a:pt x="113" y="5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9" y="5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5" y="21"/>
                  </a:lnTo>
                  <a:lnTo>
                    <a:pt x="126" y="23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8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30" y="32"/>
                  </a:lnTo>
                  <a:lnTo>
                    <a:pt x="132" y="34"/>
                  </a:lnTo>
                  <a:lnTo>
                    <a:pt x="134" y="36"/>
                  </a:lnTo>
                  <a:lnTo>
                    <a:pt x="134" y="38"/>
                  </a:lnTo>
                  <a:lnTo>
                    <a:pt x="134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2" y="48"/>
                  </a:lnTo>
                  <a:lnTo>
                    <a:pt x="132" y="49"/>
                  </a:lnTo>
                  <a:lnTo>
                    <a:pt x="130" y="51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8" y="55"/>
                  </a:lnTo>
                  <a:lnTo>
                    <a:pt x="126" y="57"/>
                  </a:lnTo>
                  <a:lnTo>
                    <a:pt x="126" y="61"/>
                  </a:lnTo>
                  <a:lnTo>
                    <a:pt x="128" y="61"/>
                  </a:lnTo>
                  <a:lnTo>
                    <a:pt x="130" y="63"/>
                  </a:lnTo>
                  <a:lnTo>
                    <a:pt x="132" y="65"/>
                  </a:lnTo>
                  <a:lnTo>
                    <a:pt x="134" y="65"/>
                  </a:lnTo>
                  <a:lnTo>
                    <a:pt x="136" y="67"/>
                  </a:lnTo>
                  <a:lnTo>
                    <a:pt x="138" y="67"/>
                  </a:lnTo>
                  <a:lnTo>
                    <a:pt x="138" y="69"/>
                  </a:lnTo>
                  <a:lnTo>
                    <a:pt x="138" y="72"/>
                  </a:lnTo>
                  <a:lnTo>
                    <a:pt x="138" y="74"/>
                  </a:lnTo>
                  <a:lnTo>
                    <a:pt x="138" y="78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4"/>
                  </a:lnTo>
                  <a:lnTo>
                    <a:pt x="138" y="86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6" y="88"/>
                  </a:lnTo>
                  <a:lnTo>
                    <a:pt x="136" y="90"/>
                  </a:lnTo>
                  <a:lnTo>
                    <a:pt x="134" y="92"/>
                  </a:lnTo>
                  <a:lnTo>
                    <a:pt x="138" y="94"/>
                  </a:lnTo>
                  <a:lnTo>
                    <a:pt x="140" y="94"/>
                  </a:lnTo>
                  <a:lnTo>
                    <a:pt x="142" y="94"/>
                  </a:lnTo>
                  <a:lnTo>
                    <a:pt x="144" y="96"/>
                  </a:lnTo>
                  <a:lnTo>
                    <a:pt x="144" y="99"/>
                  </a:lnTo>
                  <a:lnTo>
                    <a:pt x="146" y="101"/>
                  </a:lnTo>
                  <a:lnTo>
                    <a:pt x="146" y="103"/>
                  </a:lnTo>
                  <a:lnTo>
                    <a:pt x="148" y="107"/>
                  </a:lnTo>
                  <a:lnTo>
                    <a:pt x="149" y="109"/>
                  </a:lnTo>
                  <a:lnTo>
                    <a:pt x="148" y="111"/>
                  </a:lnTo>
                  <a:lnTo>
                    <a:pt x="148" y="111"/>
                  </a:lnTo>
                  <a:lnTo>
                    <a:pt x="148" y="113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4"/>
                  </a:lnTo>
                  <a:lnTo>
                    <a:pt x="140" y="126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0" y="134"/>
                  </a:lnTo>
                  <a:lnTo>
                    <a:pt x="142" y="136"/>
                  </a:lnTo>
                  <a:lnTo>
                    <a:pt x="142" y="138"/>
                  </a:lnTo>
                  <a:lnTo>
                    <a:pt x="142" y="140"/>
                  </a:lnTo>
                  <a:lnTo>
                    <a:pt x="140" y="142"/>
                  </a:lnTo>
                  <a:lnTo>
                    <a:pt x="140" y="145"/>
                  </a:lnTo>
                  <a:lnTo>
                    <a:pt x="138" y="145"/>
                  </a:lnTo>
                  <a:lnTo>
                    <a:pt x="138" y="149"/>
                  </a:lnTo>
                  <a:lnTo>
                    <a:pt x="138" y="149"/>
                  </a:lnTo>
                  <a:lnTo>
                    <a:pt x="138" y="151"/>
                  </a:lnTo>
                  <a:lnTo>
                    <a:pt x="140" y="153"/>
                  </a:lnTo>
                  <a:lnTo>
                    <a:pt x="140" y="155"/>
                  </a:lnTo>
                  <a:lnTo>
                    <a:pt x="142" y="155"/>
                  </a:lnTo>
                  <a:lnTo>
                    <a:pt x="142" y="161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4" y="168"/>
                  </a:lnTo>
                  <a:lnTo>
                    <a:pt x="146" y="168"/>
                  </a:lnTo>
                  <a:lnTo>
                    <a:pt x="148" y="172"/>
                  </a:lnTo>
                  <a:lnTo>
                    <a:pt x="148" y="172"/>
                  </a:lnTo>
                  <a:lnTo>
                    <a:pt x="149" y="174"/>
                  </a:lnTo>
                  <a:lnTo>
                    <a:pt x="151" y="174"/>
                  </a:lnTo>
                  <a:lnTo>
                    <a:pt x="151" y="178"/>
                  </a:lnTo>
                  <a:lnTo>
                    <a:pt x="153" y="178"/>
                  </a:lnTo>
                  <a:lnTo>
                    <a:pt x="155" y="180"/>
                  </a:lnTo>
                  <a:lnTo>
                    <a:pt x="157" y="180"/>
                  </a:lnTo>
                  <a:lnTo>
                    <a:pt x="159" y="182"/>
                  </a:lnTo>
                  <a:lnTo>
                    <a:pt x="159" y="184"/>
                  </a:lnTo>
                  <a:lnTo>
                    <a:pt x="161" y="186"/>
                  </a:lnTo>
                  <a:lnTo>
                    <a:pt x="163" y="186"/>
                  </a:lnTo>
                  <a:lnTo>
                    <a:pt x="161" y="186"/>
                  </a:lnTo>
                  <a:lnTo>
                    <a:pt x="159" y="186"/>
                  </a:lnTo>
                  <a:lnTo>
                    <a:pt x="155" y="186"/>
                  </a:lnTo>
                  <a:lnTo>
                    <a:pt x="155" y="188"/>
                  </a:lnTo>
                  <a:lnTo>
                    <a:pt x="153" y="188"/>
                  </a:lnTo>
                  <a:lnTo>
                    <a:pt x="151" y="191"/>
                  </a:lnTo>
                  <a:lnTo>
                    <a:pt x="149" y="195"/>
                  </a:lnTo>
                  <a:lnTo>
                    <a:pt x="148" y="195"/>
                  </a:lnTo>
                  <a:lnTo>
                    <a:pt x="148" y="199"/>
                  </a:lnTo>
                  <a:lnTo>
                    <a:pt x="146" y="201"/>
                  </a:lnTo>
                  <a:lnTo>
                    <a:pt x="144" y="203"/>
                  </a:lnTo>
                  <a:lnTo>
                    <a:pt x="144" y="201"/>
                  </a:lnTo>
                  <a:lnTo>
                    <a:pt x="142" y="201"/>
                  </a:lnTo>
                  <a:lnTo>
                    <a:pt x="138" y="201"/>
                  </a:lnTo>
                  <a:lnTo>
                    <a:pt x="136" y="201"/>
                  </a:lnTo>
                  <a:lnTo>
                    <a:pt x="134" y="201"/>
                  </a:lnTo>
                  <a:lnTo>
                    <a:pt x="132" y="201"/>
                  </a:lnTo>
                  <a:lnTo>
                    <a:pt x="130" y="201"/>
                  </a:lnTo>
                  <a:lnTo>
                    <a:pt x="128" y="201"/>
                  </a:lnTo>
                  <a:lnTo>
                    <a:pt x="126" y="201"/>
                  </a:lnTo>
                  <a:lnTo>
                    <a:pt x="123" y="201"/>
                  </a:lnTo>
                  <a:lnTo>
                    <a:pt x="121" y="205"/>
                  </a:lnTo>
                  <a:lnTo>
                    <a:pt x="117" y="207"/>
                  </a:lnTo>
                  <a:lnTo>
                    <a:pt x="115" y="209"/>
                  </a:lnTo>
                  <a:lnTo>
                    <a:pt x="111" y="209"/>
                  </a:lnTo>
                  <a:lnTo>
                    <a:pt x="109" y="209"/>
                  </a:lnTo>
                  <a:lnTo>
                    <a:pt x="107" y="211"/>
                  </a:lnTo>
                  <a:lnTo>
                    <a:pt x="105" y="211"/>
                  </a:lnTo>
                  <a:lnTo>
                    <a:pt x="103" y="211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0" y="214"/>
                  </a:lnTo>
                  <a:lnTo>
                    <a:pt x="88" y="216"/>
                  </a:lnTo>
                  <a:lnTo>
                    <a:pt x="88" y="216"/>
                  </a:lnTo>
                  <a:lnTo>
                    <a:pt x="86" y="218"/>
                  </a:lnTo>
                  <a:lnTo>
                    <a:pt x="84" y="218"/>
                  </a:lnTo>
                  <a:lnTo>
                    <a:pt x="82" y="220"/>
                  </a:lnTo>
                  <a:lnTo>
                    <a:pt x="80" y="220"/>
                  </a:lnTo>
                  <a:lnTo>
                    <a:pt x="78" y="222"/>
                  </a:lnTo>
                  <a:lnTo>
                    <a:pt x="77" y="224"/>
                  </a:lnTo>
                  <a:lnTo>
                    <a:pt x="73" y="224"/>
                  </a:lnTo>
                  <a:lnTo>
                    <a:pt x="71" y="226"/>
                  </a:lnTo>
                  <a:lnTo>
                    <a:pt x="65" y="228"/>
                  </a:lnTo>
                  <a:lnTo>
                    <a:pt x="61" y="228"/>
                  </a:lnTo>
                  <a:lnTo>
                    <a:pt x="59" y="230"/>
                  </a:lnTo>
                  <a:lnTo>
                    <a:pt x="59" y="230"/>
                  </a:lnTo>
                  <a:lnTo>
                    <a:pt x="55" y="230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0" y="239"/>
                  </a:lnTo>
                  <a:lnTo>
                    <a:pt x="38" y="238"/>
                  </a:lnTo>
                  <a:lnTo>
                    <a:pt x="36" y="236"/>
                  </a:lnTo>
                  <a:lnTo>
                    <a:pt x="34" y="234"/>
                  </a:lnTo>
                  <a:lnTo>
                    <a:pt x="32" y="234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5" y="230"/>
                  </a:lnTo>
                  <a:lnTo>
                    <a:pt x="23" y="228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19" y="228"/>
                  </a:lnTo>
                  <a:lnTo>
                    <a:pt x="17" y="226"/>
                  </a:lnTo>
                  <a:lnTo>
                    <a:pt x="15" y="224"/>
                  </a:lnTo>
                  <a:lnTo>
                    <a:pt x="15" y="224"/>
                  </a:lnTo>
                  <a:lnTo>
                    <a:pt x="13" y="222"/>
                  </a:lnTo>
                  <a:lnTo>
                    <a:pt x="11" y="222"/>
                  </a:lnTo>
                  <a:lnTo>
                    <a:pt x="9" y="220"/>
                  </a:lnTo>
                  <a:lnTo>
                    <a:pt x="7" y="220"/>
                  </a:lnTo>
                  <a:lnTo>
                    <a:pt x="9" y="220"/>
                  </a:lnTo>
                  <a:lnTo>
                    <a:pt x="9" y="218"/>
                  </a:lnTo>
                  <a:lnTo>
                    <a:pt x="9" y="216"/>
                  </a:lnTo>
                  <a:lnTo>
                    <a:pt x="9" y="214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11" y="207"/>
                  </a:lnTo>
                  <a:lnTo>
                    <a:pt x="11" y="205"/>
                  </a:lnTo>
                  <a:lnTo>
                    <a:pt x="11" y="203"/>
                  </a:lnTo>
                  <a:lnTo>
                    <a:pt x="11" y="201"/>
                  </a:lnTo>
                  <a:lnTo>
                    <a:pt x="11" y="197"/>
                  </a:lnTo>
                  <a:lnTo>
                    <a:pt x="11" y="197"/>
                  </a:lnTo>
                  <a:lnTo>
                    <a:pt x="9" y="195"/>
                  </a:lnTo>
                  <a:lnTo>
                    <a:pt x="7" y="195"/>
                  </a:lnTo>
                  <a:lnTo>
                    <a:pt x="6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2" y="191"/>
                  </a:lnTo>
                  <a:lnTo>
                    <a:pt x="2" y="191"/>
                  </a:lnTo>
                  <a:lnTo>
                    <a:pt x="2" y="190"/>
                  </a:lnTo>
                  <a:lnTo>
                    <a:pt x="0" y="188"/>
                  </a:lnTo>
                  <a:lnTo>
                    <a:pt x="0" y="186"/>
                  </a:lnTo>
                  <a:lnTo>
                    <a:pt x="0" y="184"/>
                  </a:lnTo>
                  <a:lnTo>
                    <a:pt x="0" y="182"/>
                  </a:lnTo>
                  <a:lnTo>
                    <a:pt x="0" y="180"/>
                  </a:lnTo>
                  <a:lnTo>
                    <a:pt x="0" y="178"/>
                  </a:lnTo>
                  <a:lnTo>
                    <a:pt x="0" y="174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7"/>
                  </a:lnTo>
                  <a:lnTo>
                    <a:pt x="4" y="167"/>
                  </a:lnTo>
                  <a:lnTo>
                    <a:pt x="4" y="165"/>
                  </a:lnTo>
                  <a:lnTo>
                    <a:pt x="4" y="163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7" y="161"/>
                  </a:lnTo>
                  <a:lnTo>
                    <a:pt x="7" y="157"/>
                  </a:lnTo>
                  <a:lnTo>
                    <a:pt x="9" y="157"/>
                  </a:lnTo>
                  <a:lnTo>
                    <a:pt x="9" y="155"/>
                  </a:lnTo>
                  <a:lnTo>
                    <a:pt x="9" y="151"/>
                  </a:lnTo>
                  <a:lnTo>
                    <a:pt x="9" y="149"/>
                  </a:lnTo>
                  <a:lnTo>
                    <a:pt x="9" y="147"/>
                  </a:lnTo>
                  <a:lnTo>
                    <a:pt x="9" y="145"/>
                  </a:lnTo>
                  <a:lnTo>
                    <a:pt x="9" y="143"/>
                  </a:lnTo>
                  <a:lnTo>
                    <a:pt x="11" y="142"/>
                  </a:lnTo>
                  <a:lnTo>
                    <a:pt x="13" y="140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9" y="134"/>
                  </a:lnTo>
                  <a:lnTo>
                    <a:pt x="19" y="132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5" y="12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7" y="124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9" y="122"/>
                  </a:lnTo>
                  <a:lnTo>
                    <a:pt x="29" y="119"/>
                  </a:lnTo>
                  <a:lnTo>
                    <a:pt x="29" y="117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09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1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7" y="88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4"/>
                  </a:lnTo>
                  <a:lnTo>
                    <a:pt x="23" y="82"/>
                  </a:lnTo>
                  <a:lnTo>
                    <a:pt x="23" y="80"/>
                  </a:lnTo>
                  <a:lnTo>
                    <a:pt x="21" y="78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7" y="71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3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59"/>
                  </a:lnTo>
                  <a:lnTo>
                    <a:pt x="19" y="57"/>
                  </a:lnTo>
                  <a:lnTo>
                    <a:pt x="17" y="57"/>
                  </a:lnTo>
                  <a:lnTo>
                    <a:pt x="17" y="55"/>
                  </a:lnTo>
                  <a:lnTo>
                    <a:pt x="17" y="53"/>
                  </a:lnTo>
                  <a:lnTo>
                    <a:pt x="15" y="5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7" name="Freeform 84"/>
            <p:cNvSpPr>
              <a:spLocks/>
            </p:cNvSpPr>
            <p:nvPr/>
          </p:nvSpPr>
          <p:spPr bwMode="auto">
            <a:xfrm>
              <a:off x="1045" y="1916"/>
              <a:ext cx="163" cy="239"/>
            </a:xfrm>
            <a:custGeom>
              <a:avLst/>
              <a:gdLst/>
              <a:ahLst/>
              <a:cxnLst>
                <a:cxn ang="0">
                  <a:pos x="21" y="38"/>
                </a:cxn>
                <a:cxn ang="0">
                  <a:pos x="19" y="26"/>
                </a:cxn>
                <a:cxn ang="0">
                  <a:pos x="21" y="13"/>
                </a:cxn>
                <a:cxn ang="0">
                  <a:pos x="23" y="1"/>
                </a:cxn>
                <a:cxn ang="0">
                  <a:pos x="38" y="1"/>
                </a:cxn>
                <a:cxn ang="0">
                  <a:pos x="57" y="5"/>
                </a:cxn>
                <a:cxn ang="0">
                  <a:pos x="80" y="5"/>
                </a:cxn>
                <a:cxn ang="0">
                  <a:pos x="98" y="5"/>
                </a:cxn>
                <a:cxn ang="0">
                  <a:pos x="113" y="3"/>
                </a:cxn>
                <a:cxn ang="0">
                  <a:pos x="117" y="3"/>
                </a:cxn>
                <a:cxn ang="0">
                  <a:pos x="119" y="17"/>
                </a:cxn>
                <a:cxn ang="0">
                  <a:pos x="126" y="26"/>
                </a:cxn>
                <a:cxn ang="0">
                  <a:pos x="132" y="34"/>
                </a:cxn>
                <a:cxn ang="0">
                  <a:pos x="132" y="46"/>
                </a:cxn>
                <a:cxn ang="0">
                  <a:pos x="128" y="55"/>
                </a:cxn>
                <a:cxn ang="0">
                  <a:pos x="134" y="65"/>
                </a:cxn>
                <a:cxn ang="0">
                  <a:pos x="138" y="78"/>
                </a:cxn>
                <a:cxn ang="0">
                  <a:pos x="138" y="88"/>
                </a:cxn>
                <a:cxn ang="0">
                  <a:pos x="142" y="94"/>
                </a:cxn>
                <a:cxn ang="0">
                  <a:pos x="149" y="109"/>
                </a:cxn>
                <a:cxn ang="0">
                  <a:pos x="146" y="120"/>
                </a:cxn>
                <a:cxn ang="0">
                  <a:pos x="142" y="128"/>
                </a:cxn>
                <a:cxn ang="0">
                  <a:pos x="142" y="140"/>
                </a:cxn>
                <a:cxn ang="0">
                  <a:pos x="138" y="151"/>
                </a:cxn>
                <a:cxn ang="0">
                  <a:pos x="142" y="165"/>
                </a:cxn>
                <a:cxn ang="0">
                  <a:pos x="149" y="174"/>
                </a:cxn>
                <a:cxn ang="0">
                  <a:pos x="159" y="182"/>
                </a:cxn>
                <a:cxn ang="0">
                  <a:pos x="155" y="186"/>
                </a:cxn>
                <a:cxn ang="0">
                  <a:pos x="148" y="199"/>
                </a:cxn>
                <a:cxn ang="0">
                  <a:pos x="136" y="201"/>
                </a:cxn>
                <a:cxn ang="0">
                  <a:pos x="123" y="201"/>
                </a:cxn>
                <a:cxn ang="0">
                  <a:pos x="107" y="211"/>
                </a:cxn>
                <a:cxn ang="0">
                  <a:pos x="92" y="214"/>
                </a:cxn>
                <a:cxn ang="0">
                  <a:pos x="82" y="220"/>
                </a:cxn>
                <a:cxn ang="0">
                  <a:pos x="65" y="228"/>
                </a:cxn>
                <a:cxn ang="0">
                  <a:pos x="54" y="232"/>
                </a:cxn>
                <a:cxn ang="0">
                  <a:pos x="42" y="236"/>
                </a:cxn>
                <a:cxn ang="0">
                  <a:pos x="31" y="232"/>
                </a:cxn>
                <a:cxn ang="0">
                  <a:pos x="21" y="228"/>
                </a:cxn>
                <a:cxn ang="0">
                  <a:pos x="13" y="222"/>
                </a:cxn>
                <a:cxn ang="0">
                  <a:pos x="9" y="216"/>
                </a:cxn>
                <a:cxn ang="0">
                  <a:pos x="11" y="203"/>
                </a:cxn>
                <a:cxn ang="0">
                  <a:pos x="6" y="195"/>
                </a:cxn>
                <a:cxn ang="0">
                  <a:pos x="0" y="188"/>
                </a:cxn>
                <a:cxn ang="0">
                  <a:pos x="0" y="174"/>
                </a:cxn>
                <a:cxn ang="0">
                  <a:pos x="4" y="165"/>
                </a:cxn>
                <a:cxn ang="0">
                  <a:pos x="9" y="157"/>
                </a:cxn>
                <a:cxn ang="0">
                  <a:pos x="9" y="143"/>
                </a:cxn>
                <a:cxn ang="0">
                  <a:pos x="19" y="134"/>
                </a:cxn>
                <a:cxn ang="0">
                  <a:pos x="25" y="126"/>
                </a:cxn>
                <a:cxn ang="0">
                  <a:pos x="29" y="117"/>
                </a:cxn>
                <a:cxn ang="0">
                  <a:pos x="29" y="101"/>
                </a:cxn>
                <a:cxn ang="0">
                  <a:pos x="29" y="90"/>
                </a:cxn>
                <a:cxn ang="0">
                  <a:pos x="23" y="82"/>
                </a:cxn>
                <a:cxn ang="0">
                  <a:pos x="21" y="72"/>
                </a:cxn>
                <a:cxn ang="0">
                  <a:pos x="27" y="67"/>
                </a:cxn>
                <a:cxn ang="0">
                  <a:pos x="19" y="59"/>
                </a:cxn>
              </a:cxnLst>
              <a:rect l="0" t="0" r="r" b="b"/>
              <a:pathLst>
                <a:path w="163" h="239">
                  <a:moveTo>
                    <a:pt x="15" y="55"/>
                  </a:moveTo>
                  <a:lnTo>
                    <a:pt x="17" y="51"/>
                  </a:lnTo>
                  <a:lnTo>
                    <a:pt x="21" y="46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9" y="23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1" y="17"/>
                  </a:lnTo>
                  <a:lnTo>
                    <a:pt x="21" y="15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5"/>
                  </a:lnTo>
                  <a:lnTo>
                    <a:pt x="21" y="1"/>
                  </a:lnTo>
                  <a:lnTo>
                    <a:pt x="23" y="1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6" y="1"/>
                  </a:lnTo>
                  <a:lnTo>
                    <a:pt x="38" y="1"/>
                  </a:lnTo>
                  <a:lnTo>
                    <a:pt x="42" y="1"/>
                  </a:lnTo>
                  <a:lnTo>
                    <a:pt x="44" y="3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4" y="5"/>
                  </a:lnTo>
                  <a:lnTo>
                    <a:pt x="57" y="5"/>
                  </a:lnTo>
                  <a:lnTo>
                    <a:pt x="61" y="5"/>
                  </a:lnTo>
                  <a:lnTo>
                    <a:pt x="65" y="5"/>
                  </a:lnTo>
                  <a:lnTo>
                    <a:pt x="69" y="5"/>
                  </a:lnTo>
                  <a:lnTo>
                    <a:pt x="73" y="5"/>
                  </a:lnTo>
                  <a:lnTo>
                    <a:pt x="77" y="5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6" y="5"/>
                  </a:lnTo>
                  <a:lnTo>
                    <a:pt x="90" y="5"/>
                  </a:lnTo>
                  <a:lnTo>
                    <a:pt x="92" y="5"/>
                  </a:lnTo>
                  <a:lnTo>
                    <a:pt x="94" y="5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7" y="3"/>
                  </a:lnTo>
                  <a:lnTo>
                    <a:pt x="109" y="3"/>
                  </a:lnTo>
                  <a:lnTo>
                    <a:pt x="113" y="3"/>
                  </a:lnTo>
                  <a:lnTo>
                    <a:pt x="115" y="5"/>
                  </a:lnTo>
                  <a:lnTo>
                    <a:pt x="113" y="3"/>
                  </a:lnTo>
                  <a:lnTo>
                    <a:pt x="113" y="5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9" y="5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5" y="21"/>
                  </a:lnTo>
                  <a:lnTo>
                    <a:pt x="126" y="23"/>
                  </a:lnTo>
                  <a:lnTo>
                    <a:pt x="126" y="26"/>
                  </a:lnTo>
                  <a:lnTo>
                    <a:pt x="126" y="26"/>
                  </a:lnTo>
                  <a:lnTo>
                    <a:pt x="126" y="28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30" y="32"/>
                  </a:lnTo>
                  <a:lnTo>
                    <a:pt x="132" y="34"/>
                  </a:lnTo>
                  <a:lnTo>
                    <a:pt x="134" y="36"/>
                  </a:lnTo>
                  <a:lnTo>
                    <a:pt x="134" y="38"/>
                  </a:lnTo>
                  <a:lnTo>
                    <a:pt x="134" y="40"/>
                  </a:lnTo>
                  <a:lnTo>
                    <a:pt x="132" y="42"/>
                  </a:lnTo>
                  <a:lnTo>
                    <a:pt x="132" y="44"/>
                  </a:lnTo>
                  <a:lnTo>
                    <a:pt x="132" y="46"/>
                  </a:lnTo>
                  <a:lnTo>
                    <a:pt x="132" y="48"/>
                  </a:lnTo>
                  <a:lnTo>
                    <a:pt x="132" y="49"/>
                  </a:lnTo>
                  <a:lnTo>
                    <a:pt x="130" y="51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8" y="55"/>
                  </a:lnTo>
                  <a:lnTo>
                    <a:pt x="126" y="57"/>
                  </a:lnTo>
                  <a:lnTo>
                    <a:pt x="126" y="61"/>
                  </a:lnTo>
                  <a:lnTo>
                    <a:pt x="128" y="61"/>
                  </a:lnTo>
                  <a:lnTo>
                    <a:pt x="130" y="63"/>
                  </a:lnTo>
                  <a:lnTo>
                    <a:pt x="132" y="65"/>
                  </a:lnTo>
                  <a:lnTo>
                    <a:pt x="134" y="65"/>
                  </a:lnTo>
                  <a:lnTo>
                    <a:pt x="136" y="67"/>
                  </a:lnTo>
                  <a:lnTo>
                    <a:pt x="138" y="67"/>
                  </a:lnTo>
                  <a:lnTo>
                    <a:pt x="138" y="69"/>
                  </a:lnTo>
                  <a:lnTo>
                    <a:pt x="138" y="72"/>
                  </a:lnTo>
                  <a:lnTo>
                    <a:pt x="138" y="74"/>
                  </a:lnTo>
                  <a:lnTo>
                    <a:pt x="138" y="78"/>
                  </a:lnTo>
                  <a:lnTo>
                    <a:pt x="136" y="82"/>
                  </a:lnTo>
                  <a:lnTo>
                    <a:pt x="136" y="82"/>
                  </a:lnTo>
                  <a:lnTo>
                    <a:pt x="136" y="84"/>
                  </a:lnTo>
                  <a:lnTo>
                    <a:pt x="138" y="86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6" y="88"/>
                  </a:lnTo>
                  <a:lnTo>
                    <a:pt x="136" y="90"/>
                  </a:lnTo>
                  <a:lnTo>
                    <a:pt x="134" y="92"/>
                  </a:lnTo>
                  <a:lnTo>
                    <a:pt x="138" y="94"/>
                  </a:lnTo>
                  <a:lnTo>
                    <a:pt x="140" y="94"/>
                  </a:lnTo>
                  <a:lnTo>
                    <a:pt x="142" y="94"/>
                  </a:lnTo>
                  <a:lnTo>
                    <a:pt x="144" y="96"/>
                  </a:lnTo>
                  <a:lnTo>
                    <a:pt x="144" y="99"/>
                  </a:lnTo>
                  <a:lnTo>
                    <a:pt x="146" y="101"/>
                  </a:lnTo>
                  <a:lnTo>
                    <a:pt x="146" y="103"/>
                  </a:lnTo>
                  <a:lnTo>
                    <a:pt x="148" y="107"/>
                  </a:lnTo>
                  <a:lnTo>
                    <a:pt x="149" y="109"/>
                  </a:lnTo>
                  <a:lnTo>
                    <a:pt x="148" y="111"/>
                  </a:lnTo>
                  <a:lnTo>
                    <a:pt x="148" y="111"/>
                  </a:lnTo>
                  <a:lnTo>
                    <a:pt x="148" y="113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4"/>
                  </a:lnTo>
                  <a:lnTo>
                    <a:pt x="140" y="126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0" y="130"/>
                  </a:lnTo>
                  <a:lnTo>
                    <a:pt x="140" y="132"/>
                  </a:lnTo>
                  <a:lnTo>
                    <a:pt x="140" y="134"/>
                  </a:lnTo>
                  <a:lnTo>
                    <a:pt x="142" y="136"/>
                  </a:lnTo>
                  <a:lnTo>
                    <a:pt x="142" y="138"/>
                  </a:lnTo>
                  <a:lnTo>
                    <a:pt x="142" y="140"/>
                  </a:lnTo>
                  <a:lnTo>
                    <a:pt x="140" y="142"/>
                  </a:lnTo>
                  <a:lnTo>
                    <a:pt x="140" y="145"/>
                  </a:lnTo>
                  <a:lnTo>
                    <a:pt x="138" y="145"/>
                  </a:lnTo>
                  <a:lnTo>
                    <a:pt x="138" y="149"/>
                  </a:lnTo>
                  <a:lnTo>
                    <a:pt x="138" y="149"/>
                  </a:lnTo>
                  <a:lnTo>
                    <a:pt x="138" y="151"/>
                  </a:lnTo>
                  <a:lnTo>
                    <a:pt x="140" y="153"/>
                  </a:lnTo>
                  <a:lnTo>
                    <a:pt x="140" y="155"/>
                  </a:lnTo>
                  <a:lnTo>
                    <a:pt x="142" y="155"/>
                  </a:lnTo>
                  <a:lnTo>
                    <a:pt x="142" y="161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4" y="168"/>
                  </a:lnTo>
                  <a:lnTo>
                    <a:pt x="146" y="168"/>
                  </a:lnTo>
                  <a:lnTo>
                    <a:pt x="148" y="172"/>
                  </a:lnTo>
                  <a:lnTo>
                    <a:pt x="148" y="172"/>
                  </a:lnTo>
                  <a:lnTo>
                    <a:pt x="149" y="174"/>
                  </a:lnTo>
                  <a:lnTo>
                    <a:pt x="151" y="174"/>
                  </a:lnTo>
                  <a:lnTo>
                    <a:pt x="151" y="178"/>
                  </a:lnTo>
                  <a:lnTo>
                    <a:pt x="153" y="178"/>
                  </a:lnTo>
                  <a:lnTo>
                    <a:pt x="155" y="180"/>
                  </a:lnTo>
                  <a:lnTo>
                    <a:pt x="157" y="180"/>
                  </a:lnTo>
                  <a:lnTo>
                    <a:pt x="159" y="182"/>
                  </a:lnTo>
                  <a:lnTo>
                    <a:pt x="159" y="184"/>
                  </a:lnTo>
                  <a:lnTo>
                    <a:pt x="161" y="186"/>
                  </a:lnTo>
                  <a:lnTo>
                    <a:pt x="163" y="186"/>
                  </a:lnTo>
                  <a:lnTo>
                    <a:pt x="161" y="186"/>
                  </a:lnTo>
                  <a:lnTo>
                    <a:pt x="159" y="186"/>
                  </a:lnTo>
                  <a:lnTo>
                    <a:pt x="155" y="186"/>
                  </a:lnTo>
                  <a:lnTo>
                    <a:pt x="155" y="188"/>
                  </a:lnTo>
                  <a:lnTo>
                    <a:pt x="153" y="188"/>
                  </a:lnTo>
                  <a:lnTo>
                    <a:pt x="151" y="191"/>
                  </a:lnTo>
                  <a:lnTo>
                    <a:pt x="149" y="195"/>
                  </a:lnTo>
                  <a:lnTo>
                    <a:pt x="148" y="195"/>
                  </a:lnTo>
                  <a:lnTo>
                    <a:pt x="148" y="199"/>
                  </a:lnTo>
                  <a:lnTo>
                    <a:pt x="146" y="201"/>
                  </a:lnTo>
                  <a:lnTo>
                    <a:pt x="144" y="203"/>
                  </a:lnTo>
                  <a:lnTo>
                    <a:pt x="144" y="201"/>
                  </a:lnTo>
                  <a:lnTo>
                    <a:pt x="142" y="201"/>
                  </a:lnTo>
                  <a:lnTo>
                    <a:pt x="138" y="201"/>
                  </a:lnTo>
                  <a:lnTo>
                    <a:pt x="136" y="201"/>
                  </a:lnTo>
                  <a:lnTo>
                    <a:pt x="134" y="201"/>
                  </a:lnTo>
                  <a:lnTo>
                    <a:pt x="132" y="201"/>
                  </a:lnTo>
                  <a:lnTo>
                    <a:pt x="130" y="201"/>
                  </a:lnTo>
                  <a:lnTo>
                    <a:pt x="128" y="201"/>
                  </a:lnTo>
                  <a:lnTo>
                    <a:pt x="126" y="201"/>
                  </a:lnTo>
                  <a:lnTo>
                    <a:pt x="123" y="201"/>
                  </a:lnTo>
                  <a:lnTo>
                    <a:pt x="121" y="205"/>
                  </a:lnTo>
                  <a:lnTo>
                    <a:pt x="117" y="207"/>
                  </a:lnTo>
                  <a:lnTo>
                    <a:pt x="115" y="209"/>
                  </a:lnTo>
                  <a:lnTo>
                    <a:pt x="111" y="209"/>
                  </a:lnTo>
                  <a:lnTo>
                    <a:pt x="109" y="209"/>
                  </a:lnTo>
                  <a:lnTo>
                    <a:pt x="107" y="211"/>
                  </a:lnTo>
                  <a:lnTo>
                    <a:pt x="105" y="211"/>
                  </a:lnTo>
                  <a:lnTo>
                    <a:pt x="103" y="211"/>
                  </a:lnTo>
                  <a:lnTo>
                    <a:pt x="100" y="213"/>
                  </a:lnTo>
                  <a:lnTo>
                    <a:pt x="98" y="213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0" y="214"/>
                  </a:lnTo>
                  <a:lnTo>
                    <a:pt x="88" y="216"/>
                  </a:lnTo>
                  <a:lnTo>
                    <a:pt x="88" y="216"/>
                  </a:lnTo>
                  <a:lnTo>
                    <a:pt x="86" y="218"/>
                  </a:lnTo>
                  <a:lnTo>
                    <a:pt x="84" y="218"/>
                  </a:lnTo>
                  <a:lnTo>
                    <a:pt x="82" y="220"/>
                  </a:lnTo>
                  <a:lnTo>
                    <a:pt x="80" y="220"/>
                  </a:lnTo>
                  <a:lnTo>
                    <a:pt x="78" y="222"/>
                  </a:lnTo>
                  <a:lnTo>
                    <a:pt x="77" y="224"/>
                  </a:lnTo>
                  <a:lnTo>
                    <a:pt x="73" y="224"/>
                  </a:lnTo>
                  <a:lnTo>
                    <a:pt x="71" y="226"/>
                  </a:lnTo>
                  <a:lnTo>
                    <a:pt x="65" y="228"/>
                  </a:lnTo>
                  <a:lnTo>
                    <a:pt x="61" y="228"/>
                  </a:lnTo>
                  <a:lnTo>
                    <a:pt x="59" y="230"/>
                  </a:lnTo>
                  <a:lnTo>
                    <a:pt x="59" y="230"/>
                  </a:lnTo>
                  <a:lnTo>
                    <a:pt x="55" y="230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0" y="239"/>
                  </a:lnTo>
                  <a:lnTo>
                    <a:pt x="38" y="238"/>
                  </a:lnTo>
                  <a:lnTo>
                    <a:pt x="36" y="236"/>
                  </a:lnTo>
                  <a:lnTo>
                    <a:pt x="34" y="234"/>
                  </a:lnTo>
                  <a:lnTo>
                    <a:pt x="32" y="234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5" y="230"/>
                  </a:lnTo>
                  <a:lnTo>
                    <a:pt x="23" y="228"/>
                  </a:lnTo>
                  <a:lnTo>
                    <a:pt x="21" y="228"/>
                  </a:lnTo>
                  <a:lnTo>
                    <a:pt x="21" y="228"/>
                  </a:lnTo>
                  <a:lnTo>
                    <a:pt x="19" y="228"/>
                  </a:lnTo>
                  <a:lnTo>
                    <a:pt x="17" y="226"/>
                  </a:lnTo>
                  <a:lnTo>
                    <a:pt x="15" y="224"/>
                  </a:lnTo>
                  <a:lnTo>
                    <a:pt x="15" y="224"/>
                  </a:lnTo>
                  <a:lnTo>
                    <a:pt x="13" y="222"/>
                  </a:lnTo>
                  <a:lnTo>
                    <a:pt x="11" y="222"/>
                  </a:lnTo>
                  <a:lnTo>
                    <a:pt x="9" y="220"/>
                  </a:lnTo>
                  <a:lnTo>
                    <a:pt x="7" y="220"/>
                  </a:lnTo>
                  <a:lnTo>
                    <a:pt x="9" y="220"/>
                  </a:lnTo>
                  <a:lnTo>
                    <a:pt x="9" y="218"/>
                  </a:lnTo>
                  <a:lnTo>
                    <a:pt x="9" y="216"/>
                  </a:lnTo>
                  <a:lnTo>
                    <a:pt x="9" y="214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11" y="207"/>
                  </a:lnTo>
                  <a:lnTo>
                    <a:pt x="11" y="205"/>
                  </a:lnTo>
                  <a:lnTo>
                    <a:pt x="11" y="203"/>
                  </a:lnTo>
                  <a:lnTo>
                    <a:pt x="11" y="201"/>
                  </a:lnTo>
                  <a:lnTo>
                    <a:pt x="11" y="197"/>
                  </a:lnTo>
                  <a:lnTo>
                    <a:pt x="11" y="197"/>
                  </a:lnTo>
                  <a:lnTo>
                    <a:pt x="9" y="195"/>
                  </a:lnTo>
                  <a:lnTo>
                    <a:pt x="7" y="195"/>
                  </a:lnTo>
                  <a:lnTo>
                    <a:pt x="6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2" y="191"/>
                  </a:lnTo>
                  <a:lnTo>
                    <a:pt x="2" y="191"/>
                  </a:lnTo>
                  <a:lnTo>
                    <a:pt x="2" y="190"/>
                  </a:lnTo>
                  <a:lnTo>
                    <a:pt x="0" y="188"/>
                  </a:lnTo>
                  <a:lnTo>
                    <a:pt x="0" y="186"/>
                  </a:lnTo>
                  <a:lnTo>
                    <a:pt x="0" y="184"/>
                  </a:lnTo>
                  <a:lnTo>
                    <a:pt x="0" y="182"/>
                  </a:lnTo>
                  <a:lnTo>
                    <a:pt x="0" y="180"/>
                  </a:lnTo>
                  <a:lnTo>
                    <a:pt x="0" y="178"/>
                  </a:lnTo>
                  <a:lnTo>
                    <a:pt x="0" y="174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7"/>
                  </a:lnTo>
                  <a:lnTo>
                    <a:pt x="4" y="167"/>
                  </a:lnTo>
                  <a:lnTo>
                    <a:pt x="4" y="165"/>
                  </a:lnTo>
                  <a:lnTo>
                    <a:pt x="4" y="163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7" y="161"/>
                  </a:lnTo>
                  <a:lnTo>
                    <a:pt x="7" y="157"/>
                  </a:lnTo>
                  <a:lnTo>
                    <a:pt x="9" y="157"/>
                  </a:lnTo>
                  <a:lnTo>
                    <a:pt x="9" y="155"/>
                  </a:lnTo>
                  <a:lnTo>
                    <a:pt x="9" y="151"/>
                  </a:lnTo>
                  <a:lnTo>
                    <a:pt x="9" y="149"/>
                  </a:lnTo>
                  <a:lnTo>
                    <a:pt x="9" y="147"/>
                  </a:lnTo>
                  <a:lnTo>
                    <a:pt x="9" y="145"/>
                  </a:lnTo>
                  <a:lnTo>
                    <a:pt x="9" y="143"/>
                  </a:lnTo>
                  <a:lnTo>
                    <a:pt x="11" y="142"/>
                  </a:lnTo>
                  <a:lnTo>
                    <a:pt x="13" y="140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9" y="134"/>
                  </a:lnTo>
                  <a:lnTo>
                    <a:pt x="19" y="132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5" y="12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7" y="124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9" y="122"/>
                  </a:lnTo>
                  <a:lnTo>
                    <a:pt x="29" y="119"/>
                  </a:lnTo>
                  <a:lnTo>
                    <a:pt x="29" y="117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09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1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7" y="88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4"/>
                  </a:lnTo>
                  <a:lnTo>
                    <a:pt x="23" y="82"/>
                  </a:lnTo>
                  <a:lnTo>
                    <a:pt x="23" y="80"/>
                  </a:lnTo>
                  <a:lnTo>
                    <a:pt x="21" y="78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23" y="72"/>
                  </a:lnTo>
                  <a:lnTo>
                    <a:pt x="25" y="72"/>
                  </a:lnTo>
                  <a:lnTo>
                    <a:pt x="27" y="71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3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59"/>
                  </a:lnTo>
                  <a:lnTo>
                    <a:pt x="19" y="57"/>
                  </a:lnTo>
                  <a:lnTo>
                    <a:pt x="17" y="57"/>
                  </a:lnTo>
                  <a:lnTo>
                    <a:pt x="17" y="55"/>
                  </a:lnTo>
                  <a:lnTo>
                    <a:pt x="17" y="53"/>
                  </a:lnTo>
                  <a:lnTo>
                    <a:pt x="15" y="55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8" name="Freeform 85"/>
            <p:cNvSpPr>
              <a:spLocks/>
            </p:cNvSpPr>
            <p:nvPr/>
          </p:nvSpPr>
          <p:spPr bwMode="auto">
            <a:xfrm>
              <a:off x="1162" y="1912"/>
              <a:ext cx="65" cy="190"/>
            </a:xfrm>
            <a:custGeom>
              <a:avLst/>
              <a:gdLst/>
              <a:ahLst/>
              <a:cxnLst>
                <a:cxn ang="0">
                  <a:pos x="52" y="188"/>
                </a:cxn>
                <a:cxn ang="0">
                  <a:pos x="57" y="186"/>
                </a:cxn>
                <a:cxn ang="0">
                  <a:pos x="63" y="182"/>
                </a:cxn>
                <a:cxn ang="0">
                  <a:pos x="61" y="171"/>
                </a:cxn>
                <a:cxn ang="0">
                  <a:pos x="57" y="159"/>
                </a:cxn>
                <a:cxn ang="0">
                  <a:pos x="59" y="149"/>
                </a:cxn>
                <a:cxn ang="0">
                  <a:pos x="59" y="138"/>
                </a:cxn>
                <a:cxn ang="0">
                  <a:pos x="59" y="128"/>
                </a:cxn>
                <a:cxn ang="0">
                  <a:pos x="61" y="121"/>
                </a:cxn>
                <a:cxn ang="0">
                  <a:pos x="61" y="115"/>
                </a:cxn>
                <a:cxn ang="0">
                  <a:pos x="63" y="105"/>
                </a:cxn>
                <a:cxn ang="0">
                  <a:pos x="65" y="98"/>
                </a:cxn>
                <a:cxn ang="0">
                  <a:pos x="65" y="84"/>
                </a:cxn>
                <a:cxn ang="0">
                  <a:pos x="63" y="75"/>
                </a:cxn>
                <a:cxn ang="0">
                  <a:pos x="63" y="65"/>
                </a:cxn>
                <a:cxn ang="0">
                  <a:pos x="57" y="61"/>
                </a:cxn>
                <a:cxn ang="0">
                  <a:pos x="54" y="55"/>
                </a:cxn>
                <a:cxn ang="0">
                  <a:pos x="52" y="48"/>
                </a:cxn>
                <a:cxn ang="0">
                  <a:pos x="50" y="40"/>
                </a:cxn>
                <a:cxn ang="0">
                  <a:pos x="48" y="34"/>
                </a:cxn>
                <a:cxn ang="0">
                  <a:pos x="42" y="30"/>
                </a:cxn>
                <a:cxn ang="0">
                  <a:pos x="38" y="27"/>
                </a:cxn>
                <a:cxn ang="0">
                  <a:pos x="36" y="21"/>
                </a:cxn>
                <a:cxn ang="0">
                  <a:pos x="36" y="13"/>
                </a:cxn>
                <a:cxn ang="0">
                  <a:pos x="38" y="5"/>
                </a:cxn>
                <a:cxn ang="0">
                  <a:pos x="31" y="5"/>
                </a:cxn>
                <a:cxn ang="0">
                  <a:pos x="21" y="5"/>
                </a:cxn>
                <a:cxn ang="0">
                  <a:pos x="15" y="4"/>
                </a:cxn>
                <a:cxn ang="0">
                  <a:pos x="9" y="2"/>
                </a:cxn>
                <a:cxn ang="0">
                  <a:pos x="2" y="4"/>
                </a:cxn>
                <a:cxn ang="0">
                  <a:pos x="2" y="11"/>
                </a:cxn>
                <a:cxn ang="0">
                  <a:pos x="2" y="21"/>
                </a:cxn>
                <a:cxn ang="0">
                  <a:pos x="6" y="25"/>
                </a:cxn>
                <a:cxn ang="0">
                  <a:pos x="11" y="30"/>
                </a:cxn>
                <a:cxn ang="0">
                  <a:pos x="17" y="38"/>
                </a:cxn>
                <a:cxn ang="0">
                  <a:pos x="15" y="50"/>
                </a:cxn>
                <a:cxn ang="0">
                  <a:pos x="15" y="55"/>
                </a:cxn>
                <a:cxn ang="0">
                  <a:pos x="11" y="61"/>
                </a:cxn>
                <a:cxn ang="0">
                  <a:pos x="15" y="67"/>
                </a:cxn>
                <a:cxn ang="0">
                  <a:pos x="21" y="73"/>
                </a:cxn>
                <a:cxn ang="0">
                  <a:pos x="21" y="84"/>
                </a:cxn>
                <a:cxn ang="0">
                  <a:pos x="17" y="92"/>
                </a:cxn>
                <a:cxn ang="0">
                  <a:pos x="23" y="98"/>
                </a:cxn>
                <a:cxn ang="0">
                  <a:pos x="29" y="105"/>
                </a:cxn>
                <a:cxn ang="0">
                  <a:pos x="31" y="115"/>
                </a:cxn>
                <a:cxn ang="0">
                  <a:pos x="27" y="128"/>
                </a:cxn>
                <a:cxn ang="0">
                  <a:pos x="25" y="134"/>
                </a:cxn>
                <a:cxn ang="0">
                  <a:pos x="25" y="144"/>
                </a:cxn>
                <a:cxn ang="0">
                  <a:pos x="21" y="149"/>
                </a:cxn>
                <a:cxn ang="0">
                  <a:pos x="23" y="157"/>
                </a:cxn>
                <a:cxn ang="0">
                  <a:pos x="23" y="165"/>
                </a:cxn>
                <a:cxn ang="0">
                  <a:pos x="27" y="171"/>
                </a:cxn>
                <a:cxn ang="0">
                  <a:pos x="31" y="176"/>
                </a:cxn>
                <a:cxn ang="0">
                  <a:pos x="36" y="178"/>
                </a:cxn>
                <a:cxn ang="0">
                  <a:pos x="40" y="186"/>
                </a:cxn>
              </a:cxnLst>
              <a:rect l="0" t="0" r="r" b="b"/>
              <a:pathLst>
                <a:path w="65" h="190">
                  <a:moveTo>
                    <a:pt x="44" y="190"/>
                  </a:moveTo>
                  <a:lnTo>
                    <a:pt x="48" y="190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7" y="186"/>
                  </a:lnTo>
                  <a:lnTo>
                    <a:pt x="59" y="186"/>
                  </a:lnTo>
                  <a:lnTo>
                    <a:pt x="61" y="184"/>
                  </a:lnTo>
                  <a:lnTo>
                    <a:pt x="63" y="184"/>
                  </a:lnTo>
                  <a:lnTo>
                    <a:pt x="63" y="182"/>
                  </a:lnTo>
                  <a:lnTo>
                    <a:pt x="63" y="180"/>
                  </a:lnTo>
                  <a:lnTo>
                    <a:pt x="61" y="176"/>
                  </a:lnTo>
                  <a:lnTo>
                    <a:pt x="61" y="172"/>
                  </a:lnTo>
                  <a:lnTo>
                    <a:pt x="61" y="171"/>
                  </a:lnTo>
                  <a:lnTo>
                    <a:pt x="59" y="169"/>
                  </a:lnTo>
                  <a:lnTo>
                    <a:pt x="59" y="167"/>
                  </a:lnTo>
                  <a:lnTo>
                    <a:pt x="59" y="163"/>
                  </a:lnTo>
                  <a:lnTo>
                    <a:pt x="57" y="159"/>
                  </a:lnTo>
                  <a:lnTo>
                    <a:pt x="57" y="157"/>
                  </a:lnTo>
                  <a:lnTo>
                    <a:pt x="59" y="155"/>
                  </a:lnTo>
                  <a:lnTo>
                    <a:pt x="59" y="153"/>
                  </a:lnTo>
                  <a:lnTo>
                    <a:pt x="59" y="149"/>
                  </a:lnTo>
                  <a:lnTo>
                    <a:pt x="59" y="147"/>
                  </a:lnTo>
                  <a:lnTo>
                    <a:pt x="59" y="144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4"/>
                  </a:lnTo>
                  <a:lnTo>
                    <a:pt x="59" y="132"/>
                  </a:lnTo>
                  <a:lnTo>
                    <a:pt x="59" y="130"/>
                  </a:lnTo>
                  <a:lnTo>
                    <a:pt x="59" y="128"/>
                  </a:lnTo>
                  <a:lnTo>
                    <a:pt x="59" y="126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61" y="117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63" y="109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5" y="98"/>
                  </a:lnTo>
                  <a:lnTo>
                    <a:pt x="65" y="94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4"/>
                  </a:lnTo>
                  <a:lnTo>
                    <a:pt x="65" y="82"/>
                  </a:lnTo>
                  <a:lnTo>
                    <a:pt x="65" y="80"/>
                  </a:lnTo>
                  <a:lnTo>
                    <a:pt x="65" y="78"/>
                  </a:lnTo>
                  <a:lnTo>
                    <a:pt x="63" y="75"/>
                  </a:lnTo>
                  <a:lnTo>
                    <a:pt x="63" y="73"/>
                  </a:lnTo>
                  <a:lnTo>
                    <a:pt x="63" y="71"/>
                  </a:lnTo>
                  <a:lnTo>
                    <a:pt x="63" y="67"/>
                  </a:lnTo>
                  <a:lnTo>
                    <a:pt x="63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59" y="63"/>
                  </a:lnTo>
                  <a:lnTo>
                    <a:pt x="57" y="61"/>
                  </a:lnTo>
                  <a:lnTo>
                    <a:pt x="57" y="59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2" y="53"/>
                  </a:lnTo>
                  <a:lnTo>
                    <a:pt x="52" y="50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38" y="29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6" y="27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6" y="21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5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9" y="30"/>
                  </a:lnTo>
                  <a:lnTo>
                    <a:pt x="11" y="30"/>
                  </a:lnTo>
                  <a:lnTo>
                    <a:pt x="11" y="32"/>
                  </a:lnTo>
                  <a:lnTo>
                    <a:pt x="13" y="36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5"/>
                  </a:lnTo>
                  <a:lnTo>
                    <a:pt x="11" y="55"/>
                  </a:lnTo>
                  <a:lnTo>
                    <a:pt x="11" y="57"/>
                  </a:lnTo>
                  <a:lnTo>
                    <a:pt x="11" y="59"/>
                  </a:lnTo>
                  <a:lnTo>
                    <a:pt x="11" y="61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21" y="71"/>
                  </a:lnTo>
                  <a:lnTo>
                    <a:pt x="21" y="73"/>
                  </a:lnTo>
                  <a:lnTo>
                    <a:pt x="21" y="76"/>
                  </a:lnTo>
                  <a:lnTo>
                    <a:pt x="21" y="80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17" y="92"/>
                  </a:lnTo>
                  <a:lnTo>
                    <a:pt x="17" y="94"/>
                  </a:lnTo>
                  <a:lnTo>
                    <a:pt x="19" y="96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5" y="98"/>
                  </a:lnTo>
                  <a:lnTo>
                    <a:pt x="25" y="100"/>
                  </a:lnTo>
                  <a:lnTo>
                    <a:pt x="27" y="103"/>
                  </a:lnTo>
                  <a:lnTo>
                    <a:pt x="29" y="105"/>
                  </a:lnTo>
                  <a:lnTo>
                    <a:pt x="29" y="109"/>
                  </a:lnTo>
                  <a:lnTo>
                    <a:pt x="31" y="109"/>
                  </a:lnTo>
                  <a:lnTo>
                    <a:pt x="31" y="111"/>
                  </a:lnTo>
                  <a:lnTo>
                    <a:pt x="31" y="115"/>
                  </a:lnTo>
                  <a:lnTo>
                    <a:pt x="29" y="117"/>
                  </a:lnTo>
                  <a:lnTo>
                    <a:pt x="27" y="121"/>
                  </a:lnTo>
                  <a:lnTo>
                    <a:pt x="27" y="124"/>
                  </a:lnTo>
                  <a:lnTo>
                    <a:pt x="27" y="128"/>
                  </a:lnTo>
                  <a:lnTo>
                    <a:pt x="25" y="128"/>
                  </a:lnTo>
                  <a:lnTo>
                    <a:pt x="25" y="130"/>
                  </a:lnTo>
                  <a:lnTo>
                    <a:pt x="25" y="132"/>
                  </a:lnTo>
                  <a:lnTo>
                    <a:pt x="25" y="134"/>
                  </a:lnTo>
                  <a:lnTo>
                    <a:pt x="25" y="138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5" y="147"/>
                  </a:lnTo>
                  <a:lnTo>
                    <a:pt x="23" y="147"/>
                  </a:lnTo>
                  <a:lnTo>
                    <a:pt x="23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51"/>
                  </a:lnTo>
                  <a:lnTo>
                    <a:pt x="23" y="153"/>
                  </a:lnTo>
                  <a:lnTo>
                    <a:pt x="23" y="157"/>
                  </a:lnTo>
                  <a:lnTo>
                    <a:pt x="23" y="159"/>
                  </a:lnTo>
                  <a:lnTo>
                    <a:pt x="25" y="161"/>
                  </a:lnTo>
                  <a:lnTo>
                    <a:pt x="23" y="163"/>
                  </a:lnTo>
                  <a:lnTo>
                    <a:pt x="23" y="165"/>
                  </a:lnTo>
                  <a:lnTo>
                    <a:pt x="23" y="167"/>
                  </a:lnTo>
                  <a:lnTo>
                    <a:pt x="25" y="169"/>
                  </a:lnTo>
                  <a:lnTo>
                    <a:pt x="25" y="171"/>
                  </a:lnTo>
                  <a:lnTo>
                    <a:pt x="27" y="171"/>
                  </a:lnTo>
                  <a:lnTo>
                    <a:pt x="27" y="172"/>
                  </a:lnTo>
                  <a:lnTo>
                    <a:pt x="29" y="172"/>
                  </a:lnTo>
                  <a:lnTo>
                    <a:pt x="31" y="174"/>
                  </a:lnTo>
                  <a:lnTo>
                    <a:pt x="31" y="176"/>
                  </a:lnTo>
                  <a:lnTo>
                    <a:pt x="31" y="176"/>
                  </a:lnTo>
                  <a:lnTo>
                    <a:pt x="32" y="176"/>
                  </a:lnTo>
                  <a:lnTo>
                    <a:pt x="34" y="178"/>
                  </a:lnTo>
                  <a:lnTo>
                    <a:pt x="36" y="178"/>
                  </a:lnTo>
                  <a:lnTo>
                    <a:pt x="36" y="182"/>
                  </a:lnTo>
                  <a:lnTo>
                    <a:pt x="36" y="184"/>
                  </a:lnTo>
                  <a:lnTo>
                    <a:pt x="38" y="184"/>
                  </a:lnTo>
                  <a:lnTo>
                    <a:pt x="40" y="186"/>
                  </a:lnTo>
                  <a:lnTo>
                    <a:pt x="42" y="186"/>
                  </a:lnTo>
                  <a:lnTo>
                    <a:pt x="42" y="188"/>
                  </a:lnTo>
                  <a:lnTo>
                    <a:pt x="44" y="1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99" name="Freeform 86"/>
            <p:cNvSpPr>
              <a:spLocks/>
            </p:cNvSpPr>
            <p:nvPr/>
          </p:nvSpPr>
          <p:spPr bwMode="auto">
            <a:xfrm>
              <a:off x="1162" y="1912"/>
              <a:ext cx="65" cy="190"/>
            </a:xfrm>
            <a:custGeom>
              <a:avLst/>
              <a:gdLst/>
              <a:ahLst/>
              <a:cxnLst>
                <a:cxn ang="0">
                  <a:pos x="52" y="188"/>
                </a:cxn>
                <a:cxn ang="0">
                  <a:pos x="57" y="186"/>
                </a:cxn>
                <a:cxn ang="0">
                  <a:pos x="63" y="182"/>
                </a:cxn>
                <a:cxn ang="0">
                  <a:pos x="61" y="171"/>
                </a:cxn>
                <a:cxn ang="0">
                  <a:pos x="57" y="159"/>
                </a:cxn>
                <a:cxn ang="0">
                  <a:pos x="59" y="149"/>
                </a:cxn>
                <a:cxn ang="0">
                  <a:pos x="59" y="138"/>
                </a:cxn>
                <a:cxn ang="0">
                  <a:pos x="59" y="128"/>
                </a:cxn>
                <a:cxn ang="0">
                  <a:pos x="61" y="121"/>
                </a:cxn>
                <a:cxn ang="0">
                  <a:pos x="61" y="115"/>
                </a:cxn>
                <a:cxn ang="0">
                  <a:pos x="63" y="105"/>
                </a:cxn>
                <a:cxn ang="0">
                  <a:pos x="65" y="98"/>
                </a:cxn>
                <a:cxn ang="0">
                  <a:pos x="65" y="84"/>
                </a:cxn>
                <a:cxn ang="0">
                  <a:pos x="63" y="75"/>
                </a:cxn>
                <a:cxn ang="0">
                  <a:pos x="63" y="65"/>
                </a:cxn>
                <a:cxn ang="0">
                  <a:pos x="57" y="61"/>
                </a:cxn>
                <a:cxn ang="0">
                  <a:pos x="54" y="55"/>
                </a:cxn>
                <a:cxn ang="0">
                  <a:pos x="52" y="48"/>
                </a:cxn>
                <a:cxn ang="0">
                  <a:pos x="50" y="40"/>
                </a:cxn>
                <a:cxn ang="0">
                  <a:pos x="48" y="34"/>
                </a:cxn>
                <a:cxn ang="0">
                  <a:pos x="42" y="30"/>
                </a:cxn>
                <a:cxn ang="0">
                  <a:pos x="38" y="27"/>
                </a:cxn>
                <a:cxn ang="0">
                  <a:pos x="36" y="21"/>
                </a:cxn>
                <a:cxn ang="0">
                  <a:pos x="36" y="13"/>
                </a:cxn>
                <a:cxn ang="0">
                  <a:pos x="38" y="5"/>
                </a:cxn>
                <a:cxn ang="0">
                  <a:pos x="31" y="5"/>
                </a:cxn>
                <a:cxn ang="0">
                  <a:pos x="21" y="5"/>
                </a:cxn>
                <a:cxn ang="0">
                  <a:pos x="15" y="4"/>
                </a:cxn>
                <a:cxn ang="0">
                  <a:pos x="9" y="2"/>
                </a:cxn>
                <a:cxn ang="0">
                  <a:pos x="2" y="4"/>
                </a:cxn>
                <a:cxn ang="0">
                  <a:pos x="2" y="11"/>
                </a:cxn>
                <a:cxn ang="0">
                  <a:pos x="2" y="21"/>
                </a:cxn>
                <a:cxn ang="0">
                  <a:pos x="6" y="25"/>
                </a:cxn>
                <a:cxn ang="0">
                  <a:pos x="11" y="30"/>
                </a:cxn>
                <a:cxn ang="0">
                  <a:pos x="17" y="38"/>
                </a:cxn>
                <a:cxn ang="0">
                  <a:pos x="15" y="50"/>
                </a:cxn>
                <a:cxn ang="0">
                  <a:pos x="15" y="55"/>
                </a:cxn>
                <a:cxn ang="0">
                  <a:pos x="11" y="61"/>
                </a:cxn>
                <a:cxn ang="0">
                  <a:pos x="15" y="67"/>
                </a:cxn>
                <a:cxn ang="0">
                  <a:pos x="21" y="73"/>
                </a:cxn>
                <a:cxn ang="0">
                  <a:pos x="21" y="84"/>
                </a:cxn>
                <a:cxn ang="0">
                  <a:pos x="17" y="92"/>
                </a:cxn>
                <a:cxn ang="0">
                  <a:pos x="23" y="98"/>
                </a:cxn>
                <a:cxn ang="0">
                  <a:pos x="29" y="105"/>
                </a:cxn>
                <a:cxn ang="0">
                  <a:pos x="31" y="115"/>
                </a:cxn>
                <a:cxn ang="0">
                  <a:pos x="27" y="128"/>
                </a:cxn>
                <a:cxn ang="0">
                  <a:pos x="25" y="134"/>
                </a:cxn>
                <a:cxn ang="0">
                  <a:pos x="25" y="144"/>
                </a:cxn>
                <a:cxn ang="0">
                  <a:pos x="21" y="149"/>
                </a:cxn>
                <a:cxn ang="0">
                  <a:pos x="23" y="157"/>
                </a:cxn>
                <a:cxn ang="0">
                  <a:pos x="23" y="165"/>
                </a:cxn>
                <a:cxn ang="0">
                  <a:pos x="27" y="171"/>
                </a:cxn>
                <a:cxn ang="0">
                  <a:pos x="31" y="176"/>
                </a:cxn>
                <a:cxn ang="0">
                  <a:pos x="36" y="178"/>
                </a:cxn>
                <a:cxn ang="0">
                  <a:pos x="40" y="186"/>
                </a:cxn>
              </a:cxnLst>
              <a:rect l="0" t="0" r="r" b="b"/>
              <a:pathLst>
                <a:path w="65" h="190">
                  <a:moveTo>
                    <a:pt x="44" y="190"/>
                  </a:moveTo>
                  <a:lnTo>
                    <a:pt x="48" y="190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6" y="188"/>
                  </a:lnTo>
                  <a:lnTo>
                    <a:pt x="56" y="188"/>
                  </a:lnTo>
                  <a:lnTo>
                    <a:pt x="57" y="186"/>
                  </a:lnTo>
                  <a:lnTo>
                    <a:pt x="59" y="186"/>
                  </a:lnTo>
                  <a:lnTo>
                    <a:pt x="61" y="184"/>
                  </a:lnTo>
                  <a:lnTo>
                    <a:pt x="63" y="184"/>
                  </a:lnTo>
                  <a:lnTo>
                    <a:pt x="63" y="182"/>
                  </a:lnTo>
                  <a:lnTo>
                    <a:pt x="63" y="180"/>
                  </a:lnTo>
                  <a:lnTo>
                    <a:pt x="61" y="176"/>
                  </a:lnTo>
                  <a:lnTo>
                    <a:pt x="61" y="172"/>
                  </a:lnTo>
                  <a:lnTo>
                    <a:pt x="61" y="171"/>
                  </a:lnTo>
                  <a:lnTo>
                    <a:pt x="59" y="169"/>
                  </a:lnTo>
                  <a:lnTo>
                    <a:pt x="59" y="167"/>
                  </a:lnTo>
                  <a:lnTo>
                    <a:pt x="59" y="163"/>
                  </a:lnTo>
                  <a:lnTo>
                    <a:pt x="57" y="159"/>
                  </a:lnTo>
                  <a:lnTo>
                    <a:pt x="57" y="157"/>
                  </a:lnTo>
                  <a:lnTo>
                    <a:pt x="59" y="155"/>
                  </a:lnTo>
                  <a:lnTo>
                    <a:pt x="59" y="153"/>
                  </a:lnTo>
                  <a:lnTo>
                    <a:pt x="59" y="149"/>
                  </a:lnTo>
                  <a:lnTo>
                    <a:pt x="59" y="147"/>
                  </a:lnTo>
                  <a:lnTo>
                    <a:pt x="59" y="144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4"/>
                  </a:lnTo>
                  <a:lnTo>
                    <a:pt x="59" y="132"/>
                  </a:lnTo>
                  <a:lnTo>
                    <a:pt x="59" y="130"/>
                  </a:lnTo>
                  <a:lnTo>
                    <a:pt x="59" y="128"/>
                  </a:lnTo>
                  <a:lnTo>
                    <a:pt x="59" y="126"/>
                  </a:lnTo>
                  <a:lnTo>
                    <a:pt x="59" y="124"/>
                  </a:lnTo>
                  <a:lnTo>
                    <a:pt x="59" y="123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61" y="117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63" y="109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5" y="98"/>
                  </a:lnTo>
                  <a:lnTo>
                    <a:pt x="65" y="94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4"/>
                  </a:lnTo>
                  <a:lnTo>
                    <a:pt x="65" y="82"/>
                  </a:lnTo>
                  <a:lnTo>
                    <a:pt x="65" y="80"/>
                  </a:lnTo>
                  <a:lnTo>
                    <a:pt x="65" y="78"/>
                  </a:lnTo>
                  <a:lnTo>
                    <a:pt x="63" y="75"/>
                  </a:lnTo>
                  <a:lnTo>
                    <a:pt x="63" y="73"/>
                  </a:lnTo>
                  <a:lnTo>
                    <a:pt x="63" y="71"/>
                  </a:lnTo>
                  <a:lnTo>
                    <a:pt x="63" y="67"/>
                  </a:lnTo>
                  <a:lnTo>
                    <a:pt x="63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59" y="63"/>
                  </a:lnTo>
                  <a:lnTo>
                    <a:pt x="57" y="61"/>
                  </a:lnTo>
                  <a:lnTo>
                    <a:pt x="57" y="59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2" y="53"/>
                  </a:lnTo>
                  <a:lnTo>
                    <a:pt x="52" y="50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48" y="36"/>
                  </a:lnTo>
                  <a:lnTo>
                    <a:pt x="48" y="34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38" y="29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6" y="27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6" y="21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38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5" y="5"/>
                  </a:lnTo>
                  <a:lnTo>
                    <a:pt x="21" y="5"/>
                  </a:lnTo>
                  <a:lnTo>
                    <a:pt x="19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7"/>
                  </a:lnTo>
                  <a:lnTo>
                    <a:pt x="2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9" y="30"/>
                  </a:lnTo>
                  <a:lnTo>
                    <a:pt x="11" y="30"/>
                  </a:lnTo>
                  <a:lnTo>
                    <a:pt x="11" y="32"/>
                  </a:lnTo>
                  <a:lnTo>
                    <a:pt x="13" y="36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5"/>
                  </a:lnTo>
                  <a:lnTo>
                    <a:pt x="11" y="55"/>
                  </a:lnTo>
                  <a:lnTo>
                    <a:pt x="11" y="57"/>
                  </a:lnTo>
                  <a:lnTo>
                    <a:pt x="11" y="59"/>
                  </a:lnTo>
                  <a:lnTo>
                    <a:pt x="11" y="61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21" y="71"/>
                  </a:lnTo>
                  <a:lnTo>
                    <a:pt x="21" y="73"/>
                  </a:lnTo>
                  <a:lnTo>
                    <a:pt x="21" y="76"/>
                  </a:lnTo>
                  <a:lnTo>
                    <a:pt x="21" y="80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17" y="92"/>
                  </a:lnTo>
                  <a:lnTo>
                    <a:pt x="17" y="94"/>
                  </a:lnTo>
                  <a:lnTo>
                    <a:pt x="19" y="96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5" y="98"/>
                  </a:lnTo>
                  <a:lnTo>
                    <a:pt x="25" y="100"/>
                  </a:lnTo>
                  <a:lnTo>
                    <a:pt x="27" y="103"/>
                  </a:lnTo>
                  <a:lnTo>
                    <a:pt x="29" y="105"/>
                  </a:lnTo>
                  <a:lnTo>
                    <a:pt x="29" y="109"/>
                  </a:lnTo>
                  <a:lnTo>
                    <a:pt x="31" y="109"/>
                  </a:lnTo>
                  <a:lnTo>
                    <a:pt x="31" y="111"/>
                  </a:lnTo>
                  <a:lnTo>
                    <a:pt x="31" y="115"/>
                  </a:lnTo>
                  <a:lnTo>
                    <a:pt x="29" y="117"/>
                  </a:lnTo>
                  <a:lnTo>
                    <a:pt x="27" y="121"/>
                  </a:lnTo>
                  <a:lnTo>
                    <a:pt x="27" y="124"/>
                  </a:lnTo>
                  <a:lnTo>
                    <a:pt x="27" y="128"/>
                  </a:lnTo>
                  <a:lnTo>
                    <a:pt x="25" y="128"/>
                  </a:lnTo>
                  <a:lnTo>
                    <a:pt x="25" y="130"/>
                  </a:lnTo>
                  <a:lnTo>
                    <a:pt x="25" y="132"/>
                  </a:lnTo>
                  <a:lnTo>
                    <a:pt x="25" y="134"/>
                  </a:lnTo>
                  <a:lnTo>
                    <a:pt x="25" y="138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5" y="147"/>
                  </a:lnTo>
                  <a:lnTo>
                    <a:pt x="23" y="147"/>
                  </a:lnTo>
                  <a:lnTo>
                    <a:pt x="23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51"/>
                  </a:lnTo>
                  <a:lnTo>
                    <a:pt x="23" y="153"/>
                  </a:lnTo>
                  <a:lnTo>
                    <a:pt x="23" y="157"/>
                  </a:lnTo>
                  <a:lnTo>
                    <a:pt x="23" y="159"/>
                  </a:lnTo>
                  <a:lnTo>
                    <a:pt x="25" y="161"/>
                  </a:lnTo>
                  <a:lnTo>
                    <a:pt x="23" y="163"/>
                  </a:lnTo>
                  <a:lnTo>
                    <a:pt x="23" y="165"/>
                  </a:lnTo>
                  <a:lnTo>
                    <a:pt x="23" y="167"/>
                  </a:lnTo>
                  <a:lnTo>
                    <a:pt x="25" y="169"/>
                  </a:lnTo>
                  <a:lnTo>
                    <a:pt x="25" y="171"/>
                  </a:lnTo>
                  <a:lnTo>
                    <a:pt x="27" y="171"/>
                  </a:lnTo>
                  <a:lnTo>
                    <a:pt x="27" y="172"/>
                  </a:lnTo>
                  <a:lnTo>
                    <a:pt x="29" y="172"/>
                  </a:lnTo>
                  <a:lnTo>
                    <a:pt x="31" y="174"/>
                  </a:lnTo>
                  <a:lnTo>
                    <a:pt x="31" y="176"/>
                  </a:lnTo>
                  <a:lnTo>
                    <a:pt x="31" y="176"/>
                  </a:lnTo>
                  <a:lnTo>
                    <a:pt x="32" y="176"/>
                  </a:lnTo>
                  <a:lnTo>
                    <a:pt x="34" y="178"/>
                  </a:lnTo>
                  <a:lnTo>
                    <a:pt x="36" y="178"/>
                  </a:lnTo>
                  <a:lnTo>
                    <a:pt x="36" y="182"/>
                  </a:lnTo>
                  <a:lnTo>
                    <a:pt x="36" y="184"/>
                  </a:lnTo>
                  <a:lnTo>
                    <a:pt x="38" y="184"/>
                  </a:lnTo>
                  <a:lnTo>
                    <a:pt x="40" y="186"/>
                  </a:lnTo>
                  <a:lnTo>
                    <a:pt x="42" y="186"/>
                  </a:lnTo>
                  <a:lnTo>
                    <a:pt x="42" y="188"/>
                  </a:lnTo>
                  <a:lnTo>
                    <a:pt x="44" y="190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0" name="Freeform 87"/>
            <p:cNvSpPr>
              <a:spLocks/>
            </p:cNvSpPr>
            <p:nvPr/>
          </p:nvSpPr>
          <p:spPr bwMode="auto">
            <a:xfrm>
              <a:off x="1198" y="1871"/>
              <a:ext cx="108" cy="225"/>
            </a:xfrm>
            <a:custGeom>
              <a:avLst/>
              <a:gdLst/>
              <a:ahLst/>
              <a:cxnLst>
                <a:cxn ang="0">
                  <a:pos x="39" y="225"/>
                </a:cxn>
                <a:cxn ang="0">
                  <a:pos x="50" y="225"/>
                </a:cxn>
                <a:cxn ang="0">
                  <a:pos x="58" y="225"/>
                </a:cxn>
                <a:cxn ang="0">
                  <a:pos x="67" y="223"/>
                </a:cxn>
                <a:cxn ang="0">
                  <a:pos x="67" y="212"/>
                </a:cxn>
                <a:cxn ang="0">
                  <a:pos x="67" y="198"/>
                </a:cxn>
                <a:cxn ang="0">
                  <a:pos x="67" y="183"/>
                </a:cxn>
                <a:cxn ang="0">
                  <a:pos x="66" y="169"/>
                </a:cxn>
                <a:cxn ang="0">
                  <a:pos x="64" y="158"/>
                </a:cxn>
                <a:cxn ang="0">
                  <a:pos x="66" y="150"/>
                </a:cxn>
                <a:cxn ang="0">
                  <a:pos x="67" y="141"/>
                </a:cxn>
                <a:cxn ang="0">
                  <a:pos x="69" y="129"/>
                </a:cxn>
                <a:cxn ang="0">
                  <a:pos x="75" y="123"/>
                </a:cxn>
                <a:cxn ang="0">
                  <a:pos x="87" y="123"/>
                </a:cxn>
                <a:cxn ang="0">
                  <a:pos x="87" y="112"/>
                </a:cxn>
                <a:cxn ang="0">
                  <a:pos x="89" y="102"/>
                </a:cxn>
                <a:cxn ang="0">
                  <a:pos x="92" y="96"/>
                </a:cxn>
                <a:cxn ang="0">
                  <a:pos x="102" y="91"/>
                </a:cxn>
                <a:cxn ang="0">
                  <a:pos x="102" y="79"/>
                </a:cxn>
                <a:cxn ang="0">
                  <a:pos x="108" y="70"/>
                </a:cxn>
                <a:cxn ang="0">
                  <a:pos x="108" y="58"/>
                </a:cxn>
                <a:cxn ang="0">
                  <a:pos x="108" y="48"/>
                </a:cxn>
                <a:cxn ang="0">
                  <a:pos x="104" y="43"/>
                </a:cxn>
                <a:cxn ang="0">
                  <a:pos x="100" y="35"/>
                </a:cxn>
                <a:cxn ang="0">
                  <a:pos x="100" y="23"/>
                </a:cxn>
                <a:cxn ang="0">
                  <a:pos x="100" y="12"/>
                </a:cxn>
                <a:cxn ang="0">
                  <a:pos x="92" y="10"/>
                </a:cxn>
                <a:cxn ang="0">
                  <a:pos x="85" y="8"/>
                </a:cxn>
                <a:cxn ang="0">
                  <a:pos x="77" y="0"/>
                </a:cxn>
                <a:cxn ang="0">
                  <a:pos x="69" y="2"/>
                </a:cxn>
                <a:cxn ang="0">
                  <a:pos x="64" y="6"/>
                </a:cxn>
                <a:cxn ang="0">
                  <a:pos x="56" y="8"/>
                </a:cxn>
                <a:cxn ang="0">
                  <a:pos x="52" y="14"/>
                </a:cxn>
                <a:cxn ang="0">
                  <a:pos x="52" y="23"/>
                </a:cxn>
                <a:cxn ang="0">
                  <a:pos x="44" y="33"/>
                </a:cxn>
                <a:cxn ang="0">
                  <a:pos x="31" y="35"/>
                </a:cxn>
                <a:cxn ang="0">
                  <a:pos x="18" y="35"/>
                </a:cxn>
                <a:cxn ang="0">
                  <a:pos x="12" y="41"/>
                </a:cxn>
                <a:cxn ang="0">
                  <a:pos x="4" y="46"/>
                </a:cxn>
                <a:cxn ang="0">
                  <a:pos x="2" y="56"/>
                </a:cxn>
                <a:cxn ang="0">
                  <a:pos x="0" y="66"/>
                </a:cxn>
                <a:cxn ang="0">
                  <a:pos x="8" y="73"/>
                </a:cxn>
                <a:cxn ang="0">
                  <a:pos x="16" y="83"/>
                </a:cxn>
                <a:cxn ang="0">
                  <a:pos x="16" y="93"/>
                </a:cxn>
                <a:cxn ang="0">
                  <a:pos x="21" y="102"/>
                </a:cxn>
                <a:cxn ang="0">
                  <a:pos x="29" y="112"/>
                </a:cxn>
                <a:cxn ang="0">
                  <a:pos x="27" y="123"/>
                </a:cxn>
                <a:cxn ang="0">
                  <a:pos x="29" y="133"/>
                </a:cxn>
                <a:cxn ang="0">
                  <a:pos x="29" y="144"/>
                </a:cxn>
                <a:cxn ang="0">
                  <a:pos x="27" y="154"/>
                </a:cxn>
                <a:cxn ang="0">
                  <a:pos x="25" y="162"/>
                </a:cxn>
                <a:cxn ang="0">
                  <a:pos x="23" y="169"/>
                </a:cxn>
                <a:cxn ang="0">
                  <a:pos x="23" y="181"/>
                </a:cxn>
                <a:cxn ang="0">
                  <a:pos x="23" y="192"/>
                </a:cxn>
                <a:cxn ang="0">
                  <a:pos x="23" y="202"/>
                </a:cxn>
                <a:cxn ang="0">
                  <a:pos x="25" y="212"/>
                </a:cxn>
                <a:cxn ang="0">
                  <a:pos x="25" y="223"/>
                </a:cxn>
              </a:cxnLst>
              <a:rect l="0" t="0" r="r" b="b"/>
              <a:pathLst>
                <a:path w="108" h="225">
                  <a:moveTo>
                    <a:pt x="27" y="225"/>
                  </a:moveTo>
                  <a:lnTo>
                    <a:pt x="31" y="225"/>
                  </a:lnTo>
                  <a:lnTo>
                    <a:pt x="35" y="223"/>
                  </a:lnTo>
                  <a:lnTo>
                    <a:pt x="37" y="225"/>
                  </a:lnTo>
                  <a:lnTo>
                    <a:pt x="39" y="225"/>
                  </a:lnTo>
                  <a:lnTo>
                    <a:pt x="41" y="225"/>
                  </a:lnTo>
                  <a:lnTo>
                    <a:pt x="43" y="225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54" y="225"/>
                  </a:lnTo>
                  <a:lnTo>
                    <a:pt x="56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60" y="223"/>
                  </a:lnTo>
                  <a:lnTo>
                    <a:pt x="6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7" y="223"/>
                  </a:lnTo>
                  <a:lnTo>
                    <a:pt x="69" y="223"/>
                  </a:lnTo>
                  <a:lnTo>
                    <a:pt x="69" y="221"/>
                  </a:lnTo>
                  <a:lnTo>
                    <a:pt x="69" y="219"/>
                  </a:lnTo>
                  <a:lnTo>
                    <a:pt x="69" y="213"/>
                  </a:lnTo>
                  <a:lnTo>
                    <a:pt x="67" y="212"/>
                  </a:lnTo>
                  <a:lnTo>
                    <a:pt x="67" y="208"/>
                  </a:lnTo>
                  <a:lnTo>
                    <a:pt x="67" y="206"/>
                  </a:lnTo>
                  <a:lnTo>
                    <a:pt x="67" y="202"/>
                  </a:lnTo>
                  <a:lnTo>
                    <a:pt x="67" y="200"/>
                  </a:lnTo>
                  <a:lnTo>
                    <a:pt x="67" y="198"/>
                  </a:lnTo>
                  <a:lnTo>
                    <a:pt x="67" y="194"/>
                  </a:lnTo>
                  <a:lnTo>
                    <a:pt x="67" y="192"/>
                  </a:lnTo>
                  <a:lnTo>
                    <a:pt x="67" y="188"/>
                  </a:lnTo>
                  <a:lnTo>
                    <a:pt x="67" y="185"/>
                  </a:lnTo>
                  <a:lnTo>
                    <a:pt x="67" y="183"/>
                  </a:lnTo>
                  <a:lnTo>
                    <a:pt x="67" y="181"/>
                  </a:lnTo>
                  <a:lnTo>
                    <a:pt x="67" y="179"/>
                  </a:lnTo>
                  <a:lnTo>
                    <a:pt x="67" y="175"/>
                  </a:lnTo>
                  <a:lnTo>
                    <a:pt x="67" y="171"/>
                  </a:lnTo>
                  <a:lnTo>
                    <a:pt x="66" y="169"/>
                  </a:lnTo>
                  <a:lnTo>
                    <a:pt x="66" y="167"/>
                  </a:lnTo>
                  <a:lnTo>
                    <a:pt x="64" y="165"/>
                  </a:lnTo>
                  <a:lnTo>
                    <a:pt x="64" y="164"/>
                  </a:lnTo>
                  <a:lnTo>
                    <a:pt x="64" y="162"/>
                  </a:lnTo>
                  <a:lnTo>
                    <a:pt x="64" y="158"/>
                  </a:lnTo>
                  <a:lnTo>
                    <a:pt x="64" y="156"/>
                  </a:lnTo>
                  <a:lnTo>
                    <a:pt x="64" y="154"/>
                  </a:lnTo>
                  <a:lnTo>
                    <a:pt x="64" y="152"/>
                  </a:lnTo>
                  <a:lnTo>
                    <a:pt x="64" y="150"/>
                  </a:lnTo>
                  <a:lnTo>
                    <a:pt x="66" y="150"/>
                  </a:lnTo>
                  <a:lnTo>
                    <a:pt x="66" y="146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7" y="142"/>
                  </a:lnTo>
                  <a:lnTo>
                    <a:pt x="67" y="141"/>
                  </a:lnTo>
                  <a:lnTo>
                    <a:pt x="67" y="139"/>
                  </a:lnTo>
                  <a:lnTo>
                    <a:pt x="67" y="135"/>
                  </a:lnTo>
                  <a:lnTo>
                    <a:pt x="67" y="133"/>
                  </a:lnTo>
                  <a:lnTo>
                    <a:pt x="67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81" y="123"/>
                  </a:lnTo>
                  <a:lnTo>
                    <a:pt x="83" y="123"/>
                  </a:lnTo>
                  <a:lnTo>
                    <a:pt x="85" y="123"/>
                  </a:lnTo>
                  <a:lnTo>
                    <a:pt x="87" y="123"/>
                  </a:lnTo>
                  <a:lnTo>
                    <a:pt x="87" y="119"/>
                  </a:lnTo>
                  <a:lnTo>
                    <a:pt x="87" y="117"/>
                  </a:lnTo>
                  <a:lnTo>
                    <a:pt x="87" y="116"/>
                  </a:lnTo>
                  <a:lnTo>
                    <a:pt x="87" y="114"/>
                  </a:lnTo>
                  <a:lnTo>
                    <a:pt x="87" y="112"/>
                  </a:lnTo>
                  <a:lnTo>
                    <a:pt x="87" y="110"/>
                  </a:lnTo>
                  <a:lnTo>
                    <a:pt x="87" y="108"/>
                  </a:lnTo>
                  <a:lnTo>
                    <a:pt x="87" y="106"/>
                  </a:lnTo>
                  <a:lnTo>
                    <a:pt x="87" y="104"/>
                  </a:lnTo>
                  <a:lnTo>
                    <a:pt x="89" y="102"/>
                  </a:lnTo>
                  <a:lnTo>
                    <a:pt x="89" y="100"/>
                  </a:lnTo>
                  <a:lnTo>
                    <a:pt x="91" y="100"/>
                  </a:lnTo>
                  <a:lnTo>
                    <a:pt x="92" y="98"/>
                  </a:lnTo>
                  <a:lnTo>
                    <a:pt x="92" y="96"/>
                  </a:lnTo>
                  <a:lnTo>
                    <a:pt x="92" y="96"/>
                  </a:lnTo>
                  <a:lnTo>
                    <a:pt x="96" y="96"/>
                  </a:lnTo>
                  <a:lnTo>
                    <a:pt x="96" y="94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1"/>
                  </a:lnTo>
                  <a:lnTo>
                    <a:pt x="102" y="89"/>
                  </a:lnTo>
                  <a:lnTo>
                    <a:pt x="102" y="85"/>
                  </a:lnTo>
                  <a:lnTo>
                    <a:pt x="102" y="83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3"/>
                  </a:lnTo>
                  <a:lnTo>
                    <a:pt x="104" y="71"/>
                  </a:lnTo>
                  <a:lnTo>
                    <a:pt x="106" y="71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8" y="66"/>
                  </a:lnTo>
                  <a:lnTo>
                    <a:pt x="108" y="64"/>
                  </a:lnTo>
                  <a:lnTo>
                    <a:pt x="108" y="62"/>
                  </a:lnTo>
                  <a:lnTo>
                    <a:pt x="108" y="58"/>
                  </a:lnTo>
                  <a:lnTo>
                    <a:pt x="108" y="56"/>
                  </a:lnTo>
                  <a:lnTo>
                    <a:pt x="108" y="54"/>
                  </a:lnTo>
                  <a:lnTo>
                    <a:pt x="108" y="52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08" y="46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2" y="43"/>
                  </a:lnTo>
                  <a:lnTo>
                    <a:pt x="100" y="41"/>
                  </a:lnTo>
                  <a:lnTo>
                    <a:pt x="100" y="39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3"/>
                  </a:lnTo>
                  <a:lnTo>
                    <a:pt x="100" y="22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7" y="10"/>
                  </a:lnTo>
                  <a:lnTo>
                    <a:pt x="85" y="8"/>
                  </a:lnTo>
                  <a:lnTo>
                    <a:pt x="83" y="8"/>
                  </a:lnTo>
                  <a:lnTo>
                    <a:pt x="83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1" y="2"/>
                  </a:lnTo>
                  <a:lnTo>
                    <a:pt x="69" y="2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6" y="4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0" y="27"/>
                  </a:lnTo>
                  <a:lnTo>
                    <a:pt x="48" y="29"/>
                  </a:lnTo>
                  <a:lnTo>
                    <a:pt x="46" y="31"/>
                  </a:lnTo>
                  <a:lnTo>
                    <a:pt x="44" y="33"/>
                  </a:lnTo>
                  <a:lnTo>
                    <a:pt x="41" y="33"/>
                  </a:lnTo>
                  <a:lnTo>
                    <a:pt x="39" y="35"/>
                  </a:lnTo>
                  <a:lnTo>
                    <a:pt x="37" y="35"/>
                  </a:lnTo>
                  <a:lnTo>
                    <a:pt x="35" y="35"/>
                  </a:lnTo>
                  <a:lnTo>
                    <a:pt x="31" y="35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5" y="35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14" y="39"/>
                  </a:lnTo>
                  <a:lnTo>
                    <a:pt x="14" y="41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6" y="45"/>
                  </a:lnTo>
                  <a:lnTo>
                    <a:pt x="4" y="46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6" y="71"/>
                  </a:lnTo>
                  <a:lnTo>
                    <a:pt x="8" y="73"/>
                  </a:lnTo>
                  <a:lnTo>
                    <a:pt x="8" y="75"/>
                  </a:lnTo>
                  <a:lnTo>
                    <a:pt x="12" y="77"/>
                  </a:lnTo>
                  <a:lnTo>
                    <a:pt x="12" y="79"/>
                  </a:lnTo>
                  <a:lnTo>
                    <a:pt x="14" y="81"/>
                  </a:lnTo>
                  <a:lnTo>
                    <a:pt x="16" y="83"/>
                  </a:lnTo>
                  <a:lnTo>
                    <a:pt x="16" y="85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16" y="91"/>
                  </a:lnTo>
                  <a:lnTo>
                    <a:pt x="16" y="93"/>
                  </a:lnTo>
                  <a:lnTo>
                    <a:pt x="18" y="93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1" y="102"/>
                  </a:lnTo>
                  <a:lnTo>
                    <a:pt x="23" y="104"/>
                  </a:lnTo>
                  <a:lnTo>
                    <a:pt x="25" y="106"/>
                  </a:lnTo>
                  <a:lnTo>
                    <a:pt x="25" y="108"/>
                  </a:lnTo>
                  <a:lnTo>
                    <a:pt x="27" y="112"/>
                  </a:lnTo>
                  <a:lnTo>
                    <a:pt x="29" y="112"/>
                  </a:lnTo>
                  <a:lnTo>
                    <a:pt x="29" y="114"/>
                  </a:lnTo>
                  <a:lnTo>
                    <a:pt x="29" y="116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7" y="123"/>
                  </a:lnTo>
                  <a:lnTo>
                    <a:pt x="27" y="125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9" y="131"/>
                  </a:lnTo>
                  <a:lnTo>
                    <a:pt x="29" y="133"/>
                  </a:lnTo>
                  <a:lnTo>
                    <a:pt x="29" y="135"/>
                  </a:lnTo>
                  <a:lnTo>
                    <a:pt x="29" y="139"/>
                  </a:lnTo>
                  <a:lnTo>
                    <a:pt x="29" y="141"/>
                  </a:lnTo>
                  <a:lnTo>
                    <a:pt x="29" y="142"/>
                  </a:lnTo>
                  <a:lnTo>
                    <a:pt x="29" y="144"/>
                  </a:lnTo>
                  <a:lnTo>
                    <a:pt x="29" y="146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4"/>
                  </a:lnTo>
                  <a:lnTo>
                    <a:pt x="27" y="156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5" y="160"/>
                  </a:lnTo>
                  <a:lnTo>
                    <a:pt x="25" y="162"/>
                  </a:lnTo>
                  <a:lnTo>
                    <a:pt x="23" y="164"/>
                  </a:lnTo>
                  <a:lnTo>
                    <a:pt x="23" y="165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3" y="169"/>
                  </a:lnTo>
                  <a:lnTo>
                    <a:pt x="23" y="173"/>
                  </a:lnTo>
                  <a:lnTo>
                    <a:pt x="23" y="175"/>
                  </a:lnTo>
                  <a:lnTo>
                    <a:pt x="23" y="177"/>
                  </a:lnTo>
                  <a:lnTo>
                    <a:pt x="23" y="179"/>
                  </a:lnTo>
                  <a:lnTo>
                    <a:pt x="23" y="181"/>
                  </a:lnTo>
                  <a:lnTo>
                    <a:pt x="23" y="185"/>
                  </a:lnTo>
                  <a:lnTo>
                    <a:pt x="23" y="187"/>
                  </a:lnTo>
                  <a:lnTo>
                    <a:pt x="23" y="188"/>
                  </a:lnTo>
                  <a:lnTo>
                    <a:pt x="23" y="190"/>
                  </a:lnTo>
                  <a:lnTo>
                    <a:pt x="23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3" y="202"/>
                  </a:lnTo>
                  <a:lnTo>
                    <a:pt x="23" y="206"/>
                  </a:lnTo>
                  <a:lnTo>
                    <a:pt x="23" y="208"/>
                  </a:lnTo>
                  <a:lnTo>
                    <a:pt x="23" y="210"/>
                  </a:lnTo>
                  <a:lnTo>
                    <a:pt x="25" y="212"/>
                  </a:lnTo>
                  <a:lnTo>
                    <a:pt x="25" y="212"/>
                  </a:lnTo>
                  <a:lnTo>
                    <a:pt x="25" y="213"/>
                  </a:lnTo>
                  <a:lnTo>
                    <a:pt x="25" y="217"/>
                  </a:lnTo>
                  <a:lnTo>
                    <a:pt x="25" y="219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7" y="2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1" name="Freeform 88"/>
            <p:cNvSpPr>
              <a:spLocks/>
            </p:cNvSpPr>
            <p:nvPr/>
          </p:nvSpPr>
          <p:spPr bwMode="auto">
            <a:xfrm>
              <a:off x="1198" y="1871"/>
              <a:ext cx="108" cy="225"/>
            </a:xfrm>
            <a:custGeom>
              <a:avLst/>
              <a:gdLst/>
              <a:ahLst/>
              <a:cxnLst>
                <a:cxn ang="0">
                  <a:pos x="39" y="225"/>
                </a:cxn>
                <a:cxn ang="0">
                  <a:pos x="50" y="225"/>
                </a:cxn>
                <a:cxn ang="0">
                  <a:pos x="58" y="225"/>
                </a:cxn>
                <a:cxn ang="0">
                  <a:pos x="67" y="223"/>
                </a:cxn>
                <a:cxn ang="0">
                  <a:pos x="67" y="212"/>
                </a:cxn>
                <a:cxn ang="0">
                  <a:pos x="67" y="198"/>
                </a:cxn>
                <a:cxn ang="0">
                  <a:pos x="67" y="183"/>
                </a:cxn>
                <a:cxn ang="0">
                  <a:pos x="66" y="169"/>
                </a:cxn>
                <a:cxn ang="0">
                  <a:pos x="64" y="158"/>
                </a:cxn>
                <a:cxn ang="0">
                  <a:pos x="66" y="150"/>
                </a:cxn>
                <a:cxn ang="0">
                  <a:pos x="67" y="141"/>
                </a:cxn>
                <a:cxn ang="0">
                  <a:pos x="69" y="129"/>
                </a:cxn>
                <a:cxn ang="0">
                  <a:pos x="75" y="123"/>
                </a:cxn>
                <a:cxn ang="0">
                  <a:pos x="87" y="123"/>
                </a:cxn>
                <a:cxn ang="0">
                  <a:pos x="87" y="112"/>
                </a:cxn>
                <a:cxn ang="0">
                  <a:pos x="89" y="102"/>
                </a:cxn>
                <a:cxn ang="0">
                  <a:pos x="92" y="96"/>
                </a:cxn>
                <a:cxn ang="0">
                  <a:pos x="102" y="91"/>
                </a:cxn>
                <a:cxn ang="0">
                  <a:pos x="102" y="79"/>
                </a:cxn>
                <a:cxn ang="0">
                  <a:pos x="108" y="70"/>
                </a:cxn>
                <a:cxn ang="0">
                  <a:pos x="108" y="58"/>
                </a:cxn>
                <a:cxn ang="0">
                  <a:pos x="108" y="48"/>
                </a:cxn>
                <a:cxn ang="0">
                  <a:pos x="104" y="43"/>
                </a:cxn>
                <a:cxn ang="0">
                  <a:pos x="100" y="35"/>
                </a:cxn>
                <a:cxn ang="0">
                  <a:pos x="100" y="23"/>
                </a:cxn>
                <a:cxn ang="0">
                  <a:pos x="100" y="12"/>
                </a:cxn>
                <a:cxn ang="0">
                  <a:pos x="92" y="10"/>
                </a:cxn>
                <a:cxn ang="0">
                  <a:pos x="85" y="8"/>
                </a:cxn>
                <a:cxn ang="0">
                  <a:pos x="77" y="0"/>
                </a:cxn>
                <a:cxn ang="0">
                  <a:pos x="69" y="2"/>
                </a:cxn>
                <a:cxn ang="0">
                  <a:pos x="64" y="6"/>
                </a:cxn>
                <a:cxn ang="0">
                  <a:pos x="56" y="8"/>
                </a:cxn>
                <a:cxn ang="0">
                  <a:pos x="52" y="14"/>
                </a:cxn>
                <a:cxn ang="0">
                  <a:pos x="52" y="23"/>
                </a:cxn>
                <a:cxn ang="0">
                  <a:pos x="44" y="33"/>
                </a:cxn>
                <a:cxn ang="0">
                  <a:pos x="31" y="35"/>
                </a:cxn>
                <a:cxn ang="0">
                  <a:pos x="18" y="35"/>
                </a:cxn>
                <a:cxn ang="0">
                  <a:pos x="12" y="41"/>
                </a:cxn>
                <a:cxn ang="0">
                  <a:pos x="4" y="46"/>
                </a:cxn>
                <a:cxn ang="0">
                  <a:pos x="2" y="56"/>
                </a:cxn>
                <a:cxn ang="0">
                  <a:pos x="0" y="66"/>
                </a:cxn>
                <a:cxn ang="0">
                  <a:pos x="8" y="73"/>
                </a:cxn>
                <a:cxn ang="0">
                  <a:pos x="16" y="83"/>
                </a:cxn>
                <a:cxn ang="0">
                  <a:pos x="16" y="93"/>
                </a:cxn>
                <a:cxn ang="0">
                  <a:pos x="21" y="102"/>
                </a:cxn>
                <a:cxn ang="0">
                  <a:pos x="29" y="112"/>
                </a:cxn>
                <a:cxn ang="0">
                  <a:pos x="27" y="123"/>
                </a:cxn>
                <a:cxn ang="0">
                  <a:pos x="29" y="133"/>
                </a:cxn>
                <a:cxn ang="0">
                  <a:pos x="29" y="144"/>
                </a:cxn>
                <a:cxn ang="0">
                  <a:pos x="27" y="154"/>
                </a:cxn>
                <a:cxn ang="0">
                  <a:pos x="25" y="162"/>
                </a:cxn>
                <a:cxn ang="0">
                  <a:pos x="23" y="169"/>
                </a:cxn>
                <a:cxn ang="0">
                  <a:pos x="23" y="181"/>
                </a:cxn>
                <a:cxn ang="0">
                  <a:pos x="23" y="192"/>
                </a:cxn>
                <a:cxn ang="0">
                  <a:pos x="23" y="202"/>
                </a:cxn>
                <a:cxn ang="0">
                  <a:pos x="25" y="212"/>
                </a:cxn>
                <a:cxn ang="0">
                  <a:pos x="25" y="223"/>
                </a:cxn>
              </a:cxnLst>
              <a:rect l="0" t="0" r="r" b="b"/>
              <a:pathLst>
                <a:path w="108" h="225">
                  <a:moveTo>
                    <a:pt x="27" y="225"/>
                  </a:moveTo>
                  <a:lnTo>
                    <a:pt x="31" y="225"/>
                  </a:lnTo>
                  <a:lnTo>
                    <a:pt x="35" y="223"/>
                  </a:lnTo>
                  <a:lnTo>
                    <a:pt x="37" y="225"/>
                  </a:lnTo>
                  <a:lnTo>
                    <a:pt x="39" y="225"/>
                  </a:lnTo>
                  <a:lnTo>
                    <a:pt x="41" y="225"/>
                  </a:lnTo>
                  <a:lnTo>
                    <a:pt x="43" y="225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50" y="225"/>
                  </a:lnTo>
                  <a:lnTo>
                    <a:pt x="52" y="225"/>
                  </a:lnTo>
                  <a:lnTo>
                    <a:pt x="54" y="225"/>
                  </a:lnTo>
                  <a:lnTo>
                    <a:pt x="56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60" y="223"/>
                  </a:lnTo>
                  <a:lnTo>
                    <a:pt x="62" y="223"/>
                  </a:lnTo>
                  <a:lnTo>
                    <a:pt x="64" y="223"/>
                  </a:lnTo>
                  <a:lnTo>
                    <a:pt x="64" y="223"/>
                  </a:lnTo>
                  <a:lnTo>
                    <a:pt x="67" y="223"/>
                  </a:lnTo>
                  <a:lnTo>
                    <a:pt x="69" y="223"/>
                  </a:lnTo>
                  <a:lnTo>
                    <a:pt x="69" y="221"/>
                  </a:lnTo>
                  <a:lnTo>
                    <a:pt x="69" y="219"/>
                  </a:lnTo>
                  <a:lnTo>
                    <a:pt x="69" y="213"/>
                  </a:lnTo>
                  <a:lnTo>
                    <a:pt x="67" y="212"/>
                  </a:lnTo>
                  <a:lnTo>
                    <a:pt x="67" y="208"/>
                  </a:lnTo>
                  <a:lnTo>
                    <a:pt x="67" y="206"/>
                  </a:lnTo>
                  <a:lnTo>
                    <a:pt x="67" y="202"/>
                  </a:lnTo>
                  <a:lnTo>
                    <a:pt x="67" y="200"/>
                  </a:lnTo>
                  <a:lnTo>
                    <a:pt x="67" y="198"/>
                  </a:lnTo>
                  <a:lnTo>
                    <a:pt x="67" y="194"/>
                  </a:lnTo>
                  <a:lnTo>
                    <a:pt x="67" y="192"/>
                  </a:lnTo>
                  <a:lnTo>
                    <a:pt x="67" y="188"/>
                  </a:lnTo>
                  <a:lnTo>
                    <a:pt x="67" y="185"/>
                  </a:lnTo>
                  <a:lnTo>
                    <a:pt x="67" y="183"/>
                  </a:lnTo>
                  <a:lnTo>
                    <a:pt x="67" y="181"/>
                  </a:lnTo>
                  <a:lnTo>
                    <a:pt x="67" y="179"/>
                  </a:lnTo>
                  <a:lnTo>
                    <a:pt x="67" y="175"/>
                  </a:lnTo>
                  <a:lnTo>
                    <a:pt x="67" y="171"/>
                  </a:lnTo>
                  <a:lnTo>
                    <a:pt x="66" y="169"/>
                  </a:lnTo>
                  <a:lnTo>
                    <a:pt x="66" y="167"/>
                  </a:lnTo>
                  <a:lnTo>
                    <a:pt x="64" y="165"/>
                  </a:lnTo>
                  <a:lnTo>
                    <a:pt x="64" y="164"/>
                  </a:lnTo>
                  <a:lnTo>
                    <a:pt x="64" y="162"/>
                  </a:lnTo>
                  <a:lnTo>
                    <a:pt x="64" y="158"/>
                  </a:lnTo>
                  <a:lnTo>
                    <a:pt x="64" y="156"/>
                  </a:lnTo>
                  <a:lnTo>
                    <a:pt x="64" y="154"/>
                  </a:lnTo>
                  <a:lnTo>
                    <a:pt x="64" y="152"/>
                  </a:lnTo>
                  <a:lnTo>
                    <a:pt x="64" y="150"/>
                  </a:lnTo>
                  <a:lnTo>
                    <a:pt x="66" y="150"/>
                  </a:lnTo>
                  <a:lnTo>
                    <a:pt x="66" y="146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7" y="142"/>
                  </a:lnTo>
                  <a:lnTo>
                    <a:pt x="67" y="141"/>
                  </a:lnTo>
                  <a:lnTo>
                    <a:pt x="67" y="139"/>
                  </a:lnTo>
                  <a:lnTo>
                    <a:pt x="67" y="135"/>
                  </a:lnTo>
                  <a:lnTo>
                    <a:pt x="67" y="133"/>
                  </a:lnTo>
                  <a:lnTo>
                    <a:pt x="67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81" y="123"/>
                  </a:lnTo>
                  <a:lnTo>
                    <a:pt x="83" y="123"/>
                  </a:lnTo>
                  <a:lnTo>
                    <a:pt x="85" y="123"/>
                  </a:lnTo>
                  <a:lnTo>
                    <a:pt x="87" y="123"/>
                  </a:lnTo>
                  <a:lnTo>
                    <a:pt x="87" y="119"/>
                  </a:lnTo>
                  <a:lnTo>
                    <a:pt x="87" y="117"/>
                  </a:lnTo>
                  <a:lnTo>
                    <a:pt x="87" y="116"/>
                  </a:lnTo>
                  <a:lnTo>
                    <a:pt x="87" y="114"/>
                  </a:lnTo>
                  <a:lnTo>
                    <a:pt x="87" y="112"/>
                  </a:lnTo>
                  <a:lnTo>
                    <a:pt x="87" y="110"/>
                  </a:lnTo>
                  <a:lnTo>
                    <a:pt x="87" y="108"/>
                  </a:lnTo>
                  <a:lnTo>
                    <a:pt x="87" y="106"/>
                  </a:lnTo>
                  <a:lnTo>
                    <a:pt x="87" y="104"/>
                  </a:lnTo>
                  <a:lnTo>
                    <a:pt x="89" y="102"/>
                  </a:lnTo>
                  <a:lnTo>
                    <a:pt x="89" y="100"/>
                  </a:lnTo>
                  <a:lnTo>
                    <a:pt x="91" y="100"/>
                  </a:lnTo>
                  <a:lnTo>
                    <a:pt x="92" y="98"/>
                  </a:lnTo>
                  <a:lnTo>
                    <a:pt x="92" y="96"/>
                  </a:lnTo>
                  <a:lnTo>
                    <a:pt x="92" y="96"/>
                  </a:lnTo>
                  <a:lnTo>
                    <a:pt x="96" y="96"/>
                  </a:lnTo>
                  <a:lnTo>
                    <a:pt x="96" y="94"/>
                  </a:lnTo>
                  <a:lnTo>
                    <a:pt x="98" y="93"/>
                  </a:lnTo>
                  <a:lnTo>
                    <a:pt x="100" y="93"/>
                  </a:lnTo>
                  <a:lnTo>
                    <a:pt x="102" y="91"/>
                  </a:lnTo>
                  <a:lnTo>
                    <a:pt x="102" y="89"/>
                  </a:lnTo>
                  <a:lnTo>
                    <a:pt x="102" y="85"/>
                  </a:lnTo>
                  <a:lnTo>
                    <a:pt x="102" y="83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3"/>
                  </a:lnTo>
                  <a:lnTo>
                    <a:pt x="104" y="71"/>
                  </a:lnTo>
                  <a:lnTo>
                    <a:pt x="106" y="71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8" y="66"/>
                  </a:lnTo>
                  <a:lnTo>
                    <a:pt x="108" y="64"/>
                  </a:lnTo>
                  <a:lnTo>
                    <a:pt x="108" y="62"/>
                  </a:lnTo>
                  <a:lnTo>
                    <a:pt x="108" y="58"/>
                  </a:lnTo>
                  <a:lnTo>
                    <a:pt x="108" y="56"/>
                  </a:lnTo>
                  <a:lnTo>
                    <a:pt x="108" y="54"/>
                  </a:lnTo>
                  <a:lnTo>
                    <a:pt x="108" y="52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08" y="46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4" y="45"/>
                  </a:lnTo>
                  <a:lnTo>
                    <a:pt x="104" y="43"/>
                  </a:lnTo>
                  <a:lnTo>
                    <a:pt x="102" y="43"/>
                  </a:lnTo>
                  <a:lnTo>
                    <a:pt x="100" y="41"/>
                  </a:lnTo>
                  <a:lnTo>
                    <a:pt x="100" y="39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3"/>
                  </a:lnTo>
                  <a:lnTo>
                    <a:pt x="100" y="22"/>
                  </a:lnTo>
                  <a:lnTo>
                    <a:pt x="100" y="20"/>
                  </a:lnTo>
                  <a:lnTo>
                    <a:pt x="100" y="18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0"/>
                  </a:lnTo>
                  <a:lnTo>
                    <a:pt x="96" y="10"/>
                  </a:lnTo>
                  <a:lnTo>
                    <a:pt x="94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7" y="10"/>
                  </a:lnTo>
                  <a:lnTo>
                    <a:pt x="85" y="8"/>
                  </a:lnTo>
                  <a:lnTo>
                    <a:pt x="83" y="8"/>
                  </a:lnTo>
                  <a:lnTo>
                    <a:pt x="83" y="6"/>
                  </a:lnTo>
                  <a:lnTo>
                    <a:pt x="81" y="4"/>
                  </a:lnTo>
                  <a:lnTo>
                    <a:pt x="79" y="2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1" y="2"/>
                  </a:lnTo>
                  <a:lnTo>
                    <a:pt x="69" y="2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6" y="4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0" y="8"/>
                  </a:lnTo>
                  <a:lnTo>
                    <a:pt x="58" y="8"/>
                  </a:lnTo>
                  <a:lnTo>
                    <a:pt x="56" y="8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0" y="27"/>
                  </a:lnTo>
                  <a:lnTo>
                    <a:pt x="48" y="29"/>
                  </a:lnTo>
                  <a:lnTo>
                    <a:pt x="46" y="31"/>
                  </a:lnTo>
                  <a:lnTo>
                    <a:pt x="44" y="33"/>
                  </a:lnTo>
                  <a:lnTo>
                    <a:pt x="41" y="33"/>
                  </a:lnTo>
                  <a:lnTo>
                    <a:pt x="39" y="35"/>
                  </a:lnTo>
                  <a:lnTo>
                    <a:pt x="37" y="35"/>
                  </a:lnTo>
                  <a:lnTo>
                    <a:pt x="35" y="35"/>
                  </a:lnTo>
                  <a:lnTo>
                    <a:pt x="31" y="35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5" y="35"/>
                  </a:lnTo>
                  <a:lnTo>
                    <a:pt x="21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6" y="39"/>
                  </a:lnTo>
                  <a:lnTo>
                    <a:pt x="14" y="39"/>
                  </a:lnTo>
                  <a:lnTo>
                    <a:pt x="14" y="41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8" y="43"/>
                  </a:lnTo>
                  <a:lnTo>
                    <a:pt x="8" y="45"/>
                  </a:lnTo>
                  <a:lnTo>
                    <a:pt x="6" y="45"/>
                  </a:lnTo>
                  <a:lnTo>
                    <a:pt x="4" y="46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2" y="56"/>
                  </a:lnTo>
                  <a:lnTo>
                    <a:pt x="2" y="58"/>
                  </a:lnTo>
                  <a:lnTo>
                    <a:pt x="2" y="60"/>
                  </a:lnTo>
                  <a:lnTo>
                    <a:pt x="0" y="62"/>
                  </a:lnTo>
                  <a:lnTo>
                    <a:pt x="0" y="64"/>
                  </a:lnTo>
                  <a:lnTo>
                    <a:pt x="0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6" y="71"/>
                  </a:lnTo>
                  <a:lnTo>
                    <a:pt x="8" y="73"/>
                  </a:lnTo>
                  <a:lnTo>
                    <a:pt x="8" y="75"/>
                  </a:lnTo>
                  <a:lnTo>
                    <a:pt x="12" y="77"/>
                  </a:lnTo>
                  <a:lnTo>
                    <a:pt x="12" y="79"/>
                  </a:lnTo>
                  <a:lnTo>
                    <a:pt x="14" y="81"/>
                  </a:lnTo>
                  <a:lnTo>
                    <a:pt x="16" y="83"/>
                  </a:lnTo>
                  <a:lnTo>
                    <a:pt x="16" y="85"/>
                  </a:lnTo>
                  <a:lnTo>
                    <a:pt x="16" y="87"/>
                  </a:lnTo>
                  <a:lnTo>
                    <a:pt x="16" y="89"/>
                  </a:lnTo>
                  <a:lnTo>
                    <a:pt x="16" y="91"/>
                  </a:lnTo>
                  <a:lnTo>
                    <a:pt x="16" y="93"/>
                  </a:lnTo>
                  <a:lnTo>
                    <a:pt x="18" y="93"/>
                  </a:lnTo>
                  <a:lnTo>
                    <a:pt x="20" y="94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1" y="102"/>
                  </a:lnTo>
                  <a:lnTo>
                    <a:pt x="23" y="104"/>
                  </a:lnTo>
                  <a:lnTo>
                    <a:pt x="25" y="106"/>
                  </a:lnTo>
                  <a:lnTo>
                    <a:pt x="25" y="108"/>
                  </a:lnTo>
                  <a:lnTo>
                    <a:pt x="27" y="112"/>
                  </a:lnTo>
                  <a:lnTo>
                    <a:pt x="29" y="112"/>
                  </a:lnTo>
                  <a:lnTo>
                    <a:pt x="29" y="114"/>
                  </a:lnTo>
                  <a:lnTo>
                    <a:pt x="29" y="116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7" y="123"/>
                  </a:lnTo>
                  <a:lnTo>
                    <a:pt x="27" y="125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9" y="131"/>
                  </a:lnTo>
                  <a:lnTo>
                    <a:pt x="29" y="133"/>
                  </a:lnTo>
                  <a:lnTo>
                    <a:pt x="29" y="135"/>
                  </a:lnTo>
                  <a:lnTo>
                    <a:pt x="29" y="139"/>
                  </a:lnTo>
                  <a:lnTo>
                    <a:pt x="29" y="141"/>
                  </a:lnTo>
                  <a:lnTo>
                    <a:pt x="29" y="142"/>
                  </a:lnTo>
                  <a:lnTo>
                    <a:pt x="29" y="144"/>
                  </a:lnTo>
                  <a:lnTo>
                    <a:pt x="29" y="146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4"/>
                  </a:lnTo>
                  <a:lnTo>
                    <a:pt x="27" y="156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5" y="160"/>
                  </a:lnTo>
                  <a:lnTo>
                    <a:pt x="25" y="162"/>
                  </a:lnTo>
                  <a:lnTo>
                    <a:pt x="23" y="164"/>
                  </a:lnTo>
                  <a:lnTo>
                    <a:pt x="23" y="165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3" y="169"/>
                  </a:lnTo>
                  <a:lnTo>
                    <a:pt x="23" y="173"/>
                  </a:lnTo>
                  <a:lnTo>
                    <a:pt x="23" y="175"/>
                  </a:lnTo>
                  <a:lnTo>
                    <a:pt x="23" y="177"/>
                  </a:lnTo>
                  <a:lnTo>
                    <a:pt x="23" y="179"/>
                  </a:lnTo>
                  <a:lnTo>
                    <a:pt x="23" y="181"/>
                  </a:lnTo>
                  <a:lnTo>
                    <a:pt x="23" y="185"/>
                  </a:lnTo>
                  <a:lnTo>
                    <a:pt x="23" y="187"/>
                  </a:lnTo>
                  <a:lnTo>
                    <a:pt x="23" y="188"/>
                  </a:lnTo>
                  <a:lnTo>
                    <a:pt x="23" y="190"/>
                  </a:lnTo>
                  <a:lnTo>
                    <a:pt x="23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3" y="202"/>
                  </a:lnTo>
                  <a:lnTo>
                    <a:pt x="23" y="206"/>
                  </a:lnTo>
                  <a:lnTo>
                    <a:pt x="23" y="208"/>
                  </a:lnTo>
                  <a:lnTo>
                    <a:pt x="23" y="210"/>
                  </a:lnTo>
                  <a:lnTo>
                    <a:pt x="25" y="212"/>
                  </a:lnTo>
                  <a:lnTo>
                    <a:pt x="25" y="212"/>
                  </a:lnTo>
                  <a:lnTo>
                    <a:pt x="25" y="213"/>
                  </a:lnTo>
                  <a:lnTo>
                    <a:pt x="25" y="217"/>
                  </a:lnTo>
                  <a:lnTo>
                    <a:pt x="25" y="219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7" y="225"/>
                  </a:lnTo>
                  <a:lnTo>
                    <a:pt x="27" y="225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2" name="Freeform 89"/>
            <p:cNvSpPr>
              <a:spLocks/>
            </p:cNvSpPr>
            <p:nvPr/>
          </p:nvSpPr>
          <p:spPr bwMode="auto">
            <a:xfrm>
              <a:off x="1260" y="1810"/>
              <a:ext cx="433" cy="359"/>
            </a:xfrm>
            <a:custGeom>
              <a:avLst/>
              <a:gdLst/>
              <a:ahLst/>
              <a:cxnLst>
                <a:cxn ang="0">
                  <a:pos x="50" y="50"/>
                </a:cxn>
                <a:cxn ang="0">
                  <a:pos x="57" y="33"/>
                </a:cxn>
                <a:cxn ang="0">
                  <a:pos x="69" y="17"/>
                </a:cxn>
                <a:cxn ang="0">
                  <a:pos x="90" y="13"/>
                </a:cxn>
                <a:cxn ang="0">
                  <a:pos x="111" y="13"/>
                </a:cxn>
                <a:cxn ang="0">
                  <a:pos x="126" y="2"/>
                </a:cxn>
                <a:cxn ang="0">
                  <a:pos x="142" y="8"/>
                </a:cxn>
                <a:cxn ang="0">
                  <a:pos x="159" y="29"/>
                </a:cxn>
                <a:cxn ang="0">
                  <a:pos x="176" y="40"/>
                </a:cxn>
                <a:cxn ang="0">
                  <a:pos x="195" y="29"/>
                </a:cxn>
                <a:cxn ang="0">
                  <a:pos x="217" y="25"/>
                </a:cxn>
                <a:cxn ang="0">
                  <a:pos x="240" y="44"/>
                </a:cxn>
                <a:cxn ang="0">
                  <a:pos x="257" y="56"/>
                </a:cxn>
                <a:cxn ang="0">
                  <a:pos x="272" y="35"/>
                </a:cxn>
                <a:cxn ang="0">
                  <a:pos x="291" y="33"/>
                </a:cxn>
                <a:cxn ang="0">
                  <a:pos x="318" y="29"/>
                </a:cxn>
                <a:cxn ang="0">
                  <a:pos x="347" y="25"/>
                </a:cxn>
                <a:cxn ang="0">
                  <a:pos x="370" y="29"/>
                </a:cxn>
                <a:cxn ang="0">
                  <a:pos x="382" y="15"/>
                </a:cxn>
                <a:cxn ang="0">
                  <a:pos x="403" y="8"/>
                </a:cxn>
                <a:cxn ang="0">
                  <a:pos x="410" y="29"/>
                </a:cxn>
                <a:cxn ang="0">
                  <a:pos x="406" y="40"/>
                </a:cxn>
                <a:cxn ang="0">
                  <a:pos x="410" y="65"/>
                </a:cxn>
                <a:cxn ang="0">
                  <a:pos x="430" y="73"/>
                </a:cxn>
                <a:cxn ang="0">
                  <a:pos x="431" y="96"/>
                </a:cxn>
                <a:cxn ang="0">
                  <a:pos x="418" y="113"/>
                </a:cxn>
                <a:cxn ang="0">
                  <a:pos x="408" y="131"/>
                </a:cxn>
                <a:cxn ang="0">
                  <a:pos x="403" y="155"/>
                </a:cxn>
                <a:cxn ang="0">
                  <a:pos x="387" y="169"/>
                </a:cxn>
                <a:cxn ang="0">
                  <a:pos x="380" y="188"/>
                </a:cxn>
                <a:cxn ang="0">
                  <a:pos x="360" y="205"/>
                </a:cxn>
                <a:cxn ang="0">
                  <a:pos x="347" y="225"/>
                </a:cxn>
                <a:cxn ang="0">
                  <a:pos x="339" y="248"/>
                </a:cxn>
                <a:cxn ang="0">
                  <a:pos x="332" y="265"/>
                </a:cxn>
                <a:cxn ang="0">
                  <a:pos x="316" y="274"/>
                </a:cxn>
                <a:cxn ang="0">
                  <a:pos x="303" y="257"/>
                </a:cxn>
                <a:cxn ang="0">
                  <a:pos x="284" y="257"/>
                </a:cxn>
                <a:cxn ang="0">
                  <a:pos x="266" y="269"/>
                </a:cxn>
                <a:cxn ang="0">
                  <a:pos x="251" y="286"/>
                </a:cxn>
                <a:cxn ang="0">
                  <a:pos x="234" y="297"/>
                </a:cxn>
                <a:cxn ang="0">
                  <a:pos x="226" y="319"/>
                </a:cxn>
                <a:cxn ang="0">
                  <a:pos x="222" y="344"/>
                </a:cxn>
                <a:cxn ang="0">
                  <a:pos x="197" y="342"/>
                </a:cxn>
                <a:cxn ang="0">
                  <a:pos x="163" y="349"/>
                </a:cxn>
                <a:cxn ang="0">
                  <a:pos x="144" y="351"/>
                </a:cxn>
                <a:cxn ang="0">
                  <a:pos x="119" y="345"/>
                </a:cxn>
                <a:cxn ang="0">
                  <a:pos x="101" y="330"/>
                </a:cxn>
                <a:cxn ang="0">
                  <a:pos x="92" y="313"/>
                </a:cxn>
                <a:cxn ang="0">
                  <a:pos x="78" y="292"/>
                </a:cxn>
                <a:cxn ang="0">
                  <a:pos x="59" y="278"/>
                </a:cxn>
                <a:cxn ang="0">
                  <a:pos x="29" y="278"/>
                </a:cxn>
                <a:cxn ang="0">
                  <a:pos x="7" y="278"/>
                </a:cxn>
                <a:cxn ang="0">
                  <a:pos x="4" y="255"/>
                </a:cxn>
                <a:cxn ang="0">
                  <a:pos x="2" y="228"/>
                </a:cxn>
                <a:cxn ang="0">
                  <a:pos x="5" y="205"/>
                </a:cxn>
                <a:cxn ang="0">
                  <a:pos x="9" y="182"/>
                </a:cxn>
                <a:cxn ang="0">
                  <a:pos x="27" y="173"/>
                </a:cxn>
                <a:cxn ang="0">
                  <a:pos x="34" y="154"/>
                </a:cxn>
                <a:cxn ang="0">
                  <a:pos x="44" y="132"/>
                </a:cxn>
                <a:cxn ang="0">
                  <a:pos x="46" y="111"/>
                </a:cxn>
                <a:cxn ang="0">
                  <a:pos x="38" y="92"/>
                </a:cxn>
              </a:cxnLst>
              <a:rect l="0" t="0" r="r" b="b"/>
              <a:pathLst>
                <a:path w="433" h="359">
                  <a:moveTo>
                    <a:pt x="38" y="73"/>
                  </a:moveTo>
                  <a:lnTo>
                    <a:pt x="38" y="69"/>
                  </a:lnTo>
                  <a:lnTo>
                    <a:pt x="40" y="65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42" y="58"/>
                  </a:lnTo>
                  <a:lnTo>
                    <a:pt x="42" y="54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52" y="48"/>
                  </a:lnTo>
                  <a:lnTo>
                    <a:pt x="52" y="46"/>
                  </a:lnTo>
                  <a:lnTo>
                    <a:pt x="53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7" y="40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3"/>
                  </a:lnTo>
                  <a:lnTo>
                    <a:pt x="57" y="31"/>
                  </a:lnTo>
                  <a:lnTo>
                    <a:pt x="57" y="29"/>
                  </a:lnTo>
                  <a:lnTo>
                    <a:pt x="57" y="27"/>
                  </a:lnTo>
                  <a:lnTo>
                    <a:pt x="61" y="27"/>
                  </a:lnTo>
                  <a:lnTo>
                    <a:pt x="61" y="25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73" y="15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6" y="13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6" y="17"/>
                  </a:lnTo>
                  <a:lnTo>
                    <a:pt x="99" y="17"/>
                  </a:lnTo>
                  <a:lnTo>
                    <a:pt x="101" y="17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5"/>
                  </a:lnTo>
                  <a:lnTo>
                    <a:pt x="107" y="15"/>
                  </a:lnTo>
                  <a:lnTo>
                    <a:pt x="109" y="15"/>
                  </a:lnTo>
                  <a:lnTo>
                    <a:pt x="111" y="15"/>
                  </a:lnTo>
                  <a:lnTo>
                    <a:pt x="111" y="13"/>
                  </a:lnTo>
                  <a:lnTo>
                    <a:pt x="113" y="13"/>
                  </a:lnTo>
                  <a:lnTo>
                    <a:pt x="115" y="12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9" y="8"/>
                  </a:lnTo>
                  <a:lnTo>
                    <a:pt x="119" y="6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4"/>
                  </a:lnTo>
                  <a:lnTo>
                    <a:pt x="140" y="4"/>
                  </a:lnTo>
                  <a:lnTo>
                    <a:pt x="140" y="6"/>
                  </a:lnTo>
                  <a:lnTo>
                    <a:pt x="142" y="6"/>
                  </a:lnTo>
                  <a:lnTo>
                    <a:pt x="142" y="8"/>
                  </a:lnTo>
                  <a:lnTo>
                    <a:pt x="142" y="10"/>
                  </a:lnTo>
                  <a:lnTo>
                    <a:pt x="144" y="12"/>
                  </a:lnTo>
                  <a:lnTo>
                    <a:pt x="146" y="13"/>
                  </a:lnTo>
                  <a:lnTo>
                    <a:pt x="146" y="15"/>
                  </a:lnTo>
                  <a:lnTo>
                    <a:pt x="147" y="17"/>
                  </a:lnTo>
                  <a:lnTo>
                    <a:pt x="151" y="17"/>
                  </a:lnTo>
                  <a:lnTo>
                    <a:pt x="153" y="19"/>
                  </a:lnTo>
                  <a:lnTo>
                    <a:pt x="155" y="21"/>
                  </a:lnTo>
                  <a:lnTo>
                    <a:pt x="157" y="25"/>
                  </a:lnTo>
                  <a:lnTo>
                    <a:pt x="159" y="27"/>
                  </a:lnTo>
                  <a:lnTo>
                    <a:pt x="159" y="29"/>
                  </a:lnTo>
                  <a:lnTo>
                    <a:pt x="161" y="31"/>
                  </a:lnTo>
                  <a:lnTo>
                    <a:pt x="161" y="33"/>
                  </a:lnTo>
                  <a:lnTo>
                    <a:pt x="163" y="33"/>
                  </a:lnTo>
                  <a:lnTo>
                    <a:pt x="167" y="33"/>
                  </a:lnTo>
                  <a:lnTo>
                    <a:pt x="169" y="35"/>
                  </a:lnTo>
                  <a:lnTo>
                    <a:pt x="170" y="35"/>
                  </a:lnTo>
                  <a:lnTo>
                    <a:pt x="172" y="36"/>
                  </a:lnTo>
                  <a:lnTo>
                    <a:pt x="172" y="38"/>
                  </a:lnTo>
                  <a:lnTo>
                    <a:pt x="174" y="38"/>
                  </a:lnTo>
                  <a:lnTo>
                    <a:pt x="176" y="38"/>
                  </a:lnTo>
                  <a:lnTo>
                    <a:pt x="176" y="40"/>
                  </a:lnTo>
                  <a:lnTo>
                    <a:pt x="178" y="40"/>
                  </a:lnTo>
                  <a:lnTo>
                    <a:pt x="180" y="40"/>
                  </a:lnTo>
                  <a:lnTo>
                    <a:pt x="182" y="40"/>
                  </a:lnTo>
                  <a:lnTo>
                    <a:pt x="184" y="40"/>
                  </a:lnTo>
                  <a:lnTo>
                    <a:pt x="186" y="38"/>
                  </a:lnTo>
                  <a:lnTo>
                    <a:pt x="188" y="36"/>
                  </a:lnTo>
                  <a:lnTo>
                    <a:pt x="190" y="35"/>
                  </a:lnTo>
                  <a:lnTo>
                    <a:pt x="192" y="35"/>
                  </a:lnTo>
                  <a:lnTo>
                    <a:pt x="192" y="33"/>
                  </a:lnTo>
                  <a:lnTo>
                    <a:pt x="194" y="31"/>
                  </a:lnTo>
                  <a:lnTo>
                    <a:pt x="195" y="29"/>
                  </a:lnTo>
                  <a:lnTo>
                    <a:pt x="197" y="27"/>
                  </a:lnTo>
                  <a:lnTo>
                    <a:pt x="201" y="25"/>
                  </a:lnTo>
                  <a:lnTo>
                    <a:pt x="203" y="25"/>
                  </a:lnTo>
                  <a:lnTo>
                    <a:pt x="205" y="25"/>
                  </a:lnTo>
                  <a:lnTo>
                    <a:pt x="207" y="23"/>
                  </a:lnTo>
                  <a:lnTo>
                    <a:pt x="209" y="25"/>
                  </a:lnTo>
                  <a:lnTo>
                    <a:pt x="211" y="25"/>
                  </a:lnTo>
                  <a:lnTo>
                    <a:pt x="213" y="23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8" y="27"/>
                  </a:lnTo>
                  <a:lnTo>
                    <a:pt x="220" y="27"/>
                  </a:lnTo>
                  <a:lnTo>
                    <a:pt x="222" y="29"/>
                  </a:lnTo>
                  <a:lnTo>
                    <a:pt x="224" y="31"/>
                  </a:lnTo>
                  <a:lnTo>
                    <a:pt x="226" y="33"/>
                  </a:lnTo>
                  <a:lnTo>
                    <a:pt x="228" y="35"/>
                  </a:lnTo>
                  <a:lnTo>
                    <a:pt x="232" y="38"/>
                  </a:lnTo>
                  <a:lnTo>
                    <a:pt x="236" y="42"/>
                  </a:lnTo>
                  <a:lnTo>
                    <a:pt x="236" y="44"/>
                  </a:lnTo>
                  <a:lnTo>
                    <a:pt x="238" y="44"/>
                  </a:lnTo>
                  <a:lnTo>
                    <a:pt x="240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3" y="46"/>
                  </a:lnTo>
                  <a:lnTo>
                    <a:pt x="245" y="46"/>
                  </a:lnTo>
                  <a:lnTo>
                    <a:pt x="247" y="48"/>
                  </a:lnTo>
                  <a:lnTo>
                    <a:pt x="249" y="50"/>
                  </a:lnTo>
                  <a:lnTo>
                    <a:pt x="249" y="52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53" y="56"/>
                  </a:lnTo>
                  <a:lnTo>
                    <a:pt x="257" y="56"/>
                  </a:lnTo>
                  <a:lnTo>
                    <a:pt x="259" y="52"/>
                  </a:lnTo>
                  <a:lnTo>
                    <a:pt x="263" y="50"/>
                  </a:lnTo>
                  <a:lnTo>
                    <a:pt x="265" y="48"/>
                  </a:lnTo>
                  <a:lnTo>
                    <a:pt x="265" y="46"/>
                  </a:lnTo>
                  <a:lnTo>
                    <a:pt x="266" y="44"/>
                  </a:lnTo>
                  <a:lnTo>
                    <a:pt x="266" y="42"/>
                  </a:lnTo>
                  <a:lnTo>
                    <a:pt x="268" y="40"/>
                  </a:lnTo>
                  <a:lnTo>
                    <a:pt x="268" y="40"/>
                  </a:lnTo>
                  <a:lnTo>
                    <a:pt x="270" y="40"/>
                  </a:lnTo>
                  <a:lnTo>
                    <a:pt x="272" y="38"/>
                  </a:lnTo>
                  <a:lnTo>
                    <a:pt x="272" y="35"/>
                  </a:lnTo>
                  <a:lnTo>
                    <a:pt x="274" y="35"/>
                  </a:lnTo>
                  <a:lnTo>
                    <a:pt x="274" y="33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80" y="33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6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1" y="33"/>
                  </a:lnTo>
                  <a:lnTo>
                    <a:pt x="295" y="33"/>
                  </a:lnTo>
                  <a:lnTo>
                    <a:pt x="297" y="33"/>
                  </a:lnTo>
                  <a:lnTo>
                    <a:pt x="299" y="33"/>
                  </a:lnTo>
                  <a:lnTo>
                    <a:pt x="303" y="33"/>
                  </a:lnTo>
                  <a:lnTo>
                    <a:pt x="305" y="33"/>
                  </a:lnTo>
                  <a:lnTo>
                    <a:pt x="309" y="33"/>
                  </a:lnTo>
                  <a:lnTo>
                    <a:pt x="312" y="31"/>
                  </a:lnTo>
                  <a:lnTo>
                    <a:pt x="314" y="31"/>
                  </a:lnTo>
                  <a:lnTo>
                    <a:pt x="316" y="31"/>
                  </a:lnTo>
                  <a:lnTo>
                    <a:pt x="316" y="29"/>
                  </a:lnTo>
                  <a:lnTo>
                    <a:pt x="318" y="29"/>
                  </a:lnTo>
                  <a:lnTo>
                    <a:pt x="324" y="27"/>
                  </a:lnTo>
                  <a:lnTo>
                    <a:pt x="326" y="27"/>
                  </a:lnTo>
                  <a:lnTo>
                    <a:pt x="330" y="27"/>
                  </a:lnTo>
                  <a:lnTo>
                    <a:pt x="332" y="27"/>
                  </a:lnTo>
                  <a:lnTo>
                    <a:pt x="334" y="27"/>
                  </a:lnTo>
                  <a:lnTo>
                    <a:pt x="336" y="27"/>
                  </a:lnTo>
                  <a:lnTo>
                    <a:pt x="339" y="27"/>
                  </a:lnTo>
                  <a:lnTo>
                    <a:pt x="341" y="25"/>
                  </a:lnTo>
                  <a:lnTo>
                    <a:pt x="343" y="25"/>
                  </a:lnTo>
                  <a:lnTo>
                    <a:pt x="345" y="25"/>
                  </a:lnTo>
                  <a:lnTo>
                    <a:pt x="347" y="25"/>
                  </a:lnTo>
                  <a:lnTo>
                    <a:pt x="349" y="27"/>
                  </a:lnTo>
                  <a:lnTo>
                    <a:pt x="351" y="27"/>
                  </a:lnTo>
                  <a:lnTo>
                    <a:pt x="353" y="29"/>
                  </a:lnTo>
                  <a:lnTo>
                    <a:pt x="357" y="31"/>
                  </a:lnTo>
                  <a:lnTo>
                    <a:pt x="359" y="31"/>
                  </a:lnTo>
                  <a:lnTo>
                    <a:pt x="360" y="33"/>
                  </a:lnTo>
                  <a:lnTo>
                    <a:pt x="362" y="33"/>
                  </a:lnTo>
                  <a:lnTo>
                    <a:pt x="364" y="33"/>
                  </a:lnTo>
                  <a:lnTo>
                    <a:pt x="366" y="31"/>
                  </a:lnTo>
                  <a:lnTo>
                    <a:pt x="368" y="31"/>
                  </a:lnTo>
                  <a:lnTo>
                    <a:pt x="370" y="29"/>
                  </a:lnTo>
                  <a:lnTo>
                    <a:pt x="370" y="29"/>
                  </a:lnTo>
                  <a:lnTo>
                    <a:pt x="372" y="27"/>
                  </a:lnTo>
                  <a:lnTo>
                    <a:pt x="372" y="25"/>
                  </a:lnTo>
                  <a:lnTo>
                    <a:pt x="374" y="23"/>
                  </a:lnTo>
                  <a:lnTo>
                    <a:pt x="374" y="21"/>
                  </a:lnTo>
                  <a:lnTo>
                    <a:pt x="376" y="21"/>
                  </a:lnTo>
                  <a:lnTo>
                    <a:pt x="376" y="19"/>
                  </a:lnTo>
                  <a:lnTo>
                    <a:pt x="378" y="19"/>
                  </a:lnTo>
                  <a:lnTo>
                    <a:pt x="380" y="17"/>
                  </a:lnTo>
                  <a:lnTo>
                    <a:pt x="380" y="15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5" y="15"/>
                  </a:lnTo>
                  <a:lnTo>
                    <a:pt x="387" y="13"/>
                  </a:lnTo>
                  <a:lnTo>
                    <a:pt x="389" y="12"/>
                  </a:lnTo>
                  <a:lnTo>
                    <a:pt x="393" y="12"/>
                  </a:lnTo>
                  <a:lnTo>
                    <a:pt x="395" y="12"/>
                  </a:lnTo>
                  <a:lnTo>
                    <a:pt x="395" y="10"/>
                  </a:lnTo>
                  <a:lnTo>
                    <a:pt x="397" y="10"/>
                  </a:lnTo>
                  <a:lnTo>
                    <a:pt x="399" y="10"/>
                  </a:lnTo>
                  <a:lnTo>
                    <a:pt x="401" y="8"/>
                  </a:lnTo>
                  <a:lnTo>
                    <a:pt x="403" y="8"/>
                  </a:lnTo>
                  <a:lnTo>
                    <a:pt x="403" y="12"/>
                  </a:lnTo>
                  <a:lnTo>
                    <a:pt x="403" y="13"/>
                  </a:lnTo>
                  <a:lnTo>
                    <a:pt x="403" y="15"/>
                  </a:lnTo>
                  <a:lnTo>
                    <a:pt x="406" y="17"/>
                  </a:lnTo>
                  <a:lnTo>
                    <a:pt x="408" y="19"/>
                  </a:lnTo>
                  <a:lnTo>
                    <a:pt x="408" y="21"/>
                  </a:lnTo>
                  <a:lnTo>
                    <a:pt x="408" y="23"/>
                  </a:lnTo>
                  <a:lnTo>
                    <a:pt x="410" y="23"/>
                  </a:lnTo>
                  <a:lnTo>
                    <a:pt x="412" y="25"/>
                  </a:lnTo>
                  <a:lnTo>
                    <a:pt x="410" y="27"/>
                  </a:lnTo>
                  <a:lnTo>
                    <a:pt x="410" y="29"/>
                  </a:lnTo>
                  <a:lnTo>
                    <a:pt x="410" y="31"/>
                  </a:lnTo>
                  <a:lnTo>
                    <a:pt x="410" y="33"/>
                  </a:lnTo>
                  <a:lnTo>
                    <a:pt x="412" y="33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408" y="35"/>
                  </a:lnTo>
                  <a:lnTo>
                    <a:pt x="406" y="35"/>
                  </a:lnTo>
                  <a:lnTo>
                    <a:pt x="406" y="36"/>
                  </a:lnTo>
                  <a:lnTo>
                    <a:pt x="406" y="38"/>
                  </a:lnTo>
                  <a:lnTo>
                    <a:pt x="406" y="40"/>
                  </a:lnTo>
                  <a:lnTo>
                    <a:pt x="406" y="44"/>
                  </a:lnTo>
                  <a:lnTo>
                    <a:pt x="406" y="46"/>
                  </a:lnTo>
                  <a:lnTo>
                    <a:pt x="406" y="50"/>
                  </a:lnTo>
                  <a:lnTo>
                    <a:pt x="406" y="52"/>
                  </a:lnTo>
                  <a:lnTo>
                    <a:pt x="406" y="54"/>
                  </a:lnTo>
                  <a:lnTo>
                    <a:pt x="406" y="56"/>
                  </a:lnTo>
                  <a:lnTo>
                    <a:pt x="406" y="58"/>
                  </a:lnTo>
                  <a:lnTo>
                    <a:pt x="406" y="58"/>
                  </a:lnTo>
                  <a:lnTo>
                    <a:pt x="408" y="58"/>
                  </a:lnTo>
                  <a:lnTo>
                    <a:pt x="408" y="61"/>
                  </a:lnTo>
                  <a:lnTo>
                    <a:pt x="410" y="65"/>
                  </a:lnTo>
                  <a:lnTo>
                    <a:pt x="412" y="67"/>
                  </a:lnTo>
                  <a:lnTo>
                    <a:pt x="414" y="67"/>
                  </a:lnTo>
                  <a:lnTo>
                    <a:pt x="416" y="67"/>
                  </a:lnTo>
                  <a:lnTo>
                    <a:pt x="418" y="67"/>
                  </a:lnTo>
                  <a:lnTo>
                    <a:pt x="418" y="69"/>
                  </a:lnTo>
                  <a:lnTo>
                    <a:pt x="420" y="69"/>
                  </a:lnTo>
                  <a:lnTo>
                    <a:pt x="422" y="69"/>
                  </a:lnTo>
                  <a:lnTo>
                    <a:pt x="424" y="71"/>
                  </a:lnTo>
                  <a:lnTo>
                    <a:pt x="426" y="73"/>
                  </a:lnTo>
                  <a:lnTo>
                    <a:pt x="428" y="73"/>
                  </a:lnTo>
                  <a:lnTo>
                    <a:pt x="430" y="73"/>
                  </a:lnTo>
                  <a:lnTo>
                    <a:pt x="431" y="77"/>
                  </a:lnTo>
                  <a:lnTo>
                    <a:pt x="431" y="79"/>
                  </a:lnTo>
                  <a:lnTo>
                    <a:pt x="431" y="81"/>
                  </a:lnTo>
                  <a:lnTo>
                    <a:pt x="431" y="83"/>
                  </a:lnTo>
                  <a:lnTo>
                    <a:pt x="431" y="84"/>
                  </a:lnTo>
                  <a:lnTo>
                    <a:pt x="431" y="88"/>
                  </a:lnTo>
                  <a:lnTo>
                    <a:pt x="433" y="90"/>
                  </a:lnTo>
                  <a:lnTo>
                    <a:pt x="433" y="92"/>
                  </a:lnTo>
                  <a:lnTo>
                    <a:pt x="433" y="96"/>
                  </a:lnTo>
                  <a:lnTo>
                    <a:pt x="431" y="96"/>
                  </a:lnTo>
                  <a:lnTo>
                    <a:pt x="431" y="96"/>
                  </a:lnTo>
                  <a:lnTo>
                    <a:pt x="431" y="100"/>
                  </a:lnTo>
                  <a:lnTo>
                    <a:pt x="430" y="102"/>
                  </a:lnTo>
                  <a:lnTo>
                    <a:pt x="428" y="102"/>
                  </a:lnTo>
                  <a:lnTo>
                    <a:pt x="428" y="104"/>
                  </a:lnTo>
                  <a:lnTo>
                    <a:pt x="426" y="106"/>
                  </a:lnTo>
                  <a:lnTo>
                    <a:pt x="426" y="106"/>
                  </a:lnTo>
                  <a:lnTo>
                    <a:pt x="424" y="106"/>
                  </a:lnTo>
                  <a:lnTo>
                    <a:pt x="422" y="107"/>
                  </a:lnTo>
                  <a:lnTo>
                    <a:pt x="420" y="109"/>
                  </a:lnTo>
                  <a:lnTo>
                    <a:pt x="418" y="111"/>
                  </a:lnTo>
                  <a:lnTo>
                    <a:pt x="418" y="113"/>
                  </a:lnTo>
                  <a:lnTo>
                    <a:pt x="418" y="115"/>
                  </a:lnTo>
                  <a:lnTo>
                    <a:pt x="416" y="115"/>
                  </a:lnTo>
                  <a:lnTo>
                    <a:pt x="416" y="117"/>
                  </a:lnTo>
                  <a:lnTo>
                    <a:pt x="416" y="119"/>
                  </a:lnTo>
                  <a:lnTo>
                    <a:pt x="414" y="119"/>
                  </a:lnTo>
                  <a:lnTo>
                    <a:pt x="414" y="123"/>
                  </a:lnTo>
                  <a:lnTo>
                    <a:pt x="412" y="125"/>
                  </a:lnTo>
                  <a:lnTo>
                    <a:pt x="412" y="127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08" y="131"/>
                  </a:lnTo>
                  <a:lnTo>
                    <a:pt x="408" y="134"/>
                  </a:lnTo>
                  <a:lnTo>
                    <a:pt x="408" y="136"/>
                  </a:lnTo>
                  <a:lnTo>
                    <a:pt x="408" y="138"/>
                  </a:lnTo>
                  <a:lnTo>
                    <a:pt x="408" y="140"/>
                  </a:lnTo>
                  <a:lnTo>
                    <a:pt x="408" y="142"/>
                  </a:lnTo>
                  <a:lnTo>
                    <a:pt x="408" y="144"/>
                  </a:lnTo>
                  <a:lnTo>
                    <a:pt x="406" y="146"/>
                  </a:lnTo>
                  <a:lnTo>
                    <a:pt x="406" y="148"/>
                  </a:lnTo>
                  <a:lnTo>
                    <a:pt x="406" y="150"/>
                  </a:lnTo>
                  <a:lnTo>
                    <a:pt x="405" y="152"/>
                  </a:lnTo>
                  <a:lnTo>
                    <a:pt x="403" y="155"/>
                  </a:lnTo>
                  <a:lnTo>
                    <a:pt x="403" y="157"/>
                  </a:lnTo>
                  <a:lnTo>
                    <a:pt x="401" y="157"/>
                  </a:lnTo>
                  <a:lnTo>
                    <a:pt x="399" y="157"/>
                  </a:lnTo>
                  <a:lnTo>
                    <a:pt x="397" y="157"/>
                  </a:lnTo>
                  <a:lnTo>
                    <a:pt x="395" y="159"/>
                  </a:lnTo>
                  <a:lnTo>
                    <a:pt x="393" y="161"/>
                  </a:lnTo>
                  <a:lnTo>
                    <a:pt x="391" y="163"/>
                  </a:lnTo>
                  <a:lnTo>
                    <a:pt x="389" y="165"/>
                  </a:lnTo>
                  <a:lnTo>
                    <a:pt x="389" y="165"/>
                  </a:lnTo>
                  <a:lnTo>
                    <a:pt x="387" y="167"/>
                  </a:lnTo>
                  <a:lnTo>
                    <a:pt x="387" y="169"/>
                  </a:lnTo>
                  <a:lnTo>
                    <a:pt x="385" y="169"/>
                  </a:lnTo>
                  <a:lnTo>
                    <a:pt x="383" y="169"/>
                  </a:lnTo>
                  <a:lnTo>
                    <a:pt x="383" y="173"/>
                  </a:lnTo>
                  <a:lnTo>
                    <a:pt x="385" y="175"/>
                  </a:lnTo>
                  <a:lnTo>
                    <a:pt x="385" y="178"/>
                  </a:lnTo>
                  <a:lnTo>
                    <a:pt x="385" y="180"/>
                  </a:lnTo>
                  <a:lnTo>
                    <a:pt x="383" y="182"/>
                  </a:lnTo>
                  <a:lnTo>
                    <a:pt x="383" y="184"/>
                  </a:lnTo>
                  <a:lnTo>
                    <a:pt x="383" y="186"/>
                  </a:lnTo>
                  <a:lnTo>
                    <a:pt x="382" y="188"/>
                  </a:lnTo>
                  <a:lnTo>
                    <a:pt x="380" y="188"/>
                  </a:lnTo>
                  <a:lnTo>
                    <a:pt x="380" y="190"/>
                  </a:lnTo>
                  <a:lnTo>
                    <a:pt x="378" y="192"/>
                  </a:lnTo>
                  <a:lnTo>
                    <a:pt x="376" y="194"/>
                  </a:lnTo>
                  <a:lnTo>
                    <a:pt x="374" y="196"/>
                  </a:lnTo>
                  <a:lnTo>
                    <a:pt x="370" y="200"/>
                  </a:lnTo>
                  <a:lnTo>
                    <a:pt x="368" y="202"/>
                  </a:lnTo>
                  <a:lnTo>
                    <a:pt x="366" y="202"/>
                  </a:lnTo>
                  <a:lnTo>
                    <a:pt x="366" y="203"/>
                  </a:lnTo>
                  <a:lnTo>
                    <a:pt x="364" y="203"/>
                  </a:lnTo>
                  <a:lnTo>
                    <a:pt x="362" y="205"/>
                  </a:lnTo>
                  <a:lnTo>
                    <a:pt x="360" y="205"/>
                  </a:lnTo>
                  <a:lnTo>
                    <a:pt x="359" y="207"/>
                  </a:lnTo>
                  <a:lnTo>
                    <a:pt x="357" y="209"/>
                  </a:lnTo>
                  <a:lnTo>
                    <a:pt x="355" y="211"/>
                  </a:lnTo>
                  <a:lnTo>
                    <a:pt x="353" y="211"/>
                  </a:lnTo>
                  <a:lnTo>
                    <a:pt x="351" y="213"/>
                  </a:lnTo>
                  <a:lnTo>
                    <a:pt x="351" y="213"/>
                  </a:lnTo>
                  <a:lnTo>
                    <a:pt x="349" y="215"/>
                  </a:lnTo>
                  <a:lnTo>
                    <a:pt x="347" y="217"/>
                  </a:lnTo>
                  <a:lnTo>
                    <a:pt x="347" y="219"/>
                  </a:lnTo>
                  <a:lnTo>
                    <a:pt x="347" y="223"/>
                  </a:lnTo>
                  <a:lnTo>
                    <a:pt x="347" y="225"/>
                  </a:lnTo>
                  <a:lnTo>
                    <a:pt x="347" y="226"/>
                  </a:lnTo>
                  <a:lnTo>
                    <a:pt x="347" y="228"/>
                  </a:lnTo>
                  <a:lnTo>
                    <a:pt x="347" y="230"/>
                  </a:lnTo>
                  <a:lnTo>
                    <a:pt x="345" y="232"/>
                  </a:lnTo>
                  <a:lnTo>
                    <a:pt x="345" y="234"/>
                  </a:lnTo>
                  <a:lnTo>
                    <a:pt x="343" y="236"/>
                  </a:lnTo>
                  <a:lnTo>
                    <a:pt x="341" y="238"/>
                  </a:lnTo>
                  <a:lnTo>
                    <a:pt x="341" y="242"/>
                  </a:lnTo>
                  <a:lnTo>
                    <a:pt x="341" y="244"/>
                  </a:lnTo>
                  <a:lnTo>
                    <a:pt x="341" y="246"/>
                  </a:lnTo>
                  <a:lnTo>
                    <a:pt x="339" y="248"/>
                  </a:lnTo>
                  <a:lnTo>
                    <a:pt x="339" y="249"/>
                  </a:lnTo>
                  <a:lnTo>
                    <a:pt x="339" y="251"/>
                  </a:lnTo>
                  <a:lnTo>
                    <a:pt x="339" y="253"/>
                  </a:lnTo>
                  <a:lnTo>
                    <a:pt x="337" y="255"/>
                  </a:lnTo>
                  <a:lnTo>
                    <a:pt x="337" y="257"/>
                  </a:lnTo>
                  <a:lnTo>
                    <a:pt x="337" y="259"/>
                  </a:lnTo>
                  <a:lnTo>
                    <a:pt x="336" y="261"/>
                  </a:lnTo>
                  <a:lnTo>
                    <a:pt x="334" y="261"/>
                  </a:lnTo>
                  <a:lnTo>
                    <a:pt x="334" y="263"/>
                  </a:lnTo>
                  <a:lnTo>
                    <a:pt x="334" y="265"/>
                  </a:lnTo>
                  <a:lnTo>
                    <a:pt x="332" y="265"/>
                  </a:lnTo>
                  <a:lnTo>
                    <a:pt x="330" y="267"/>
                  </a:lnTo>
                  <a:lnTo>
                    <a:pt x="330" y="269"/>
                  </a:lnTo>
                  <a:lnTo>
                    <a:pt x="328" y="271"/>
                  </a:lnTo>
                  <a:lnTo>
                    <a:pt x="326" y="273"/>
                  </a:lnTo>
                  <a:lnTo>
                    <a:pt x="324" y="273"/>
                  </a:lnTo>
                  <a:lnTo>
                    <a:pt x="324" y="274"/>
                  </a:lnTo>
                  <a:lnTo>
                    <a:pt x="324" y="276"/>
                  </a:lnTo>
                  <a:lnTo>
                    <a:pt x="320" y="276"/>
                  </a:lnTo>
                  <a:lnTo>
                    <a:pt x="318" y="276"/>
                  </a:lnTo>
                  <a:lnTo>
                    <a:pt x="316" y="276"/>
                  </a:lnTo>
                  <a:lnTo>
                    <a:pt x="316" y="274"/>
                  </a:lnTo>
                  <a:lnTo>
                    <a:pt x="314" y="273"/>
                  </a:lnTo>
                  <a:lnTo>
                    <a:pt x="314" y="271"/>
                  </a:lnTo>
                  <a:lnTo>
                    <a:pt x="312" y="269"/>
                  </a:lnTo>
                  <a:lnTo>
                    <a:pt x="311" y="267"/>
                  </a:lnTo>
                  <a:lnTo>
                    <a:pt x="311" y="265"/>
                  </a:lnTo>
                  <a:lnTo>
                    <a:pt x="311" y="263"/>
                  </a:lnTo>
                  <a:lnTo>
                    <a:pt x="311" y="261"/>
                  </a:lnTo>
                  <a:lnTo>
                    <a:pt x="309" y="259"/>
                  </a:lnTo>
                  <a:lnTo>
                    <a:pt x="307" y="259"/>
                  </a:lnTo>
                  <a:lnTo>
                    <a:pt x="305" y="259"/>
                  </a:lnTo>
                  <a:lnTo>
                    <a:pt x="303" y="257"/>
                  </a:lnTo>
                  <a:lnTo>
                    <a:pt x="301" y="255"/>
                  </a:lnTo>
                  <a:lnTo>
                    <a:pt x="299" y="255"/>
                  </a:lnTo>
                  <a:lnTo>
                    <a:pt x="297" y="255"/>
                  </a:lnTo>
                  <a:lnTo>
                    <a:pt x="293" y="253"/>
                  </a:lnTo>
                  <a:lnTo>
                    <a:pt x="291" y="253"/>
                  </a:lnTo>
                  <a:lnTo>
                    <a:pt x="291" y="255"/>
                  </a:lnTo>
                  <a:lnTo>
                    <a:pt x="289" y="255"/>
                  </a:lnTo>
                  <a:lnTo>
                    <a:pt x="289" y="257"/>
                  </a:lnTo>
                  <a:lnTo>
                    <a:pt x="289" y="257"/>
                  </a:lnTo>
                  <a:lnTo>
                    <a:pt x="286" y="257"/>
                  </a:lnTo>
                  <a:lnTo>
                    <a:pt x="284" y="257"/>
                  </a:lnTo>
                  <a:lnTo>
                    <a:pt x="284" y="257"/>
                  </a:lnTo>
                  <a:lnTo>
                    <a:pt x="280" y="255"/>
                  </a:lnTo>
                  <a:lnTo>
                    <a:pt x="278" y="255"/>
                  </a:lnTo>
                  <a:lnTo>
                    <a:pt x="278" y="255"/>
                  </a:lnTo>
                  <a:lnTo>
                    <a:pt x="274" y="257"/>
                  </a:lnTo>
                  <a:lnTo>
                    <a:pt x="272" y="257"/>
                  </a:lnTo>
                  <a:lnTo>
                    <a:pt x="270" y="261"/>
                  </a:lnTo>
                  <a:lnTo>
                    <a:pt x="270" y="263"/>
                  </a:lnTo>
                  <a:lnTo>
                    <a:pt x="268" y="265"/>
                  </a:lnTo>
                  <a:lnTo>
                    <a:pt x="268" y="269"/>
                  </a:lnTo>
                  <a:lnTo>
                    <a:pt x="266" y="269"/>
                  </a:lnTo>
                  <a:lnTo>
                    <a:pt x="265" y="273"/>
                  </a:lnTo>
                  <a:lnTo>
                    <a:pt x="263" y="273"/>
                  </a:lnTo>
                  <a:lnTo>
                    <a:pt x="263" y="274"/>
                  </a:lnTo>
                  <a:lnTo>
                    <a:pt x="261" y="276"/>
                  </a:lnTo>
                  <a:lnTo>
                    <a:pt x="259" y="278"/>
                  </a:lnTo>
                  <a:lnTo>
                    <a:pt x="259" y="280"/>
                  </a:lnTo>
                  <a:lnTo>
                    <a:pt x="259" y="282"/>
                  </a:lnTo>
                  <a:lnTo>
                    <a:pt x="257" y="284"/>
                  </a:lnTo>
                  <a:lnTo>
                    <a:pt x="255" y="284"/>
                  </a:lnTo>
                  <a:lnTo>
                    <a:pt x="253" y="286"/>
                  </a:lnTo>
                  <a:lnTo>
                    <a:pt x="251" y="286"/>
                  </a:lnTo>
                  <a:lnTo>
                    <a:pt x="249" y="290"/>
                  </a:lnTo>
                  <a:lnTo>
                    <a:pt x="247" y="292"/>
                  </a:lnTo>
                  <a:lnTo>
                    <a:pt x="245" y="292"/>
                  </a:lnTo>
                  <a:lnTo>
                    <a:pt x="243" y="294"/>
                  </a:lnTo>
                  <a:lnTo>
                    <a:pt x="241" y="294"/>
                  </a:lnTo>
                  <a:lnTo>
                    <a:pt x="240" y="296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4" y="297"/>
                  </a:lnTo>
                  <a:lnTo>
                    <a:pt x="234" y="297"/>
                  </a:lnTo>
                  <a:lnTo>
                    <a:pt x="232" y="297"/>
                  </a:lnTo>
                  <a:lnTo>
                    <a:pt x="232" y="299"/>
                  </a:lnTo>
                  <a:lnTo>
                    <a:pt x="230" y="299"/>
                  </a:lnTo>
                  <a:lnTo>
                    <a:pt x="228" y="301"/>
                  </a:lnTo>
                  <a:lnTo>
                    <a:pt x="228" y="303"/>
                  </a:lnTo>
                  <a:lnTo>
                    <a:pt x="226" y="305"/>
                  </a:lnTo>
                  <a:lnTo>
                    <a:pt x="226" y="309"/>
                  </a:lnTo>
                  <a:lnTo>
                    <a:pt x="226" y="311"/>
                  </a:lnTo>
                  <a:lnTo>
                    <a:pt x="226" y="315"/>
                  </a:lnTo>
                  <a:lnTo>
                    <a:pt x="226" y="317"/>
                  </a:lnTo>
                  <a:lnTo>
                    <a:pt x="226" y="319"/>
                  </a:lnTo>
                  <a:lnTo>
                    <a:pt x="226" y="322"/>
                  </a:lnTo>
                  <a:lnTo>
                    <a:pt x="226" y="324"/>
                  </a:lnTo>
                  <a:lnTo>
                    <a:pt x="226" y="328"/>
                  </a:lnTo>
                  <a:lnTo>
                    <a:pt x="226" y="330"/>
                  </a:lnTo>
                  <a:lnTo>
                    <a:pt x="226" y="332"/>
                  </a:lnTo>
                  <a:lnTo>
                    <a:pt x="226" y="334"/>
                  </a:lnTo>
                  <a:lnTo>
                    <a:pt x="226" y="336"/>
                  </a:lnTo>
                  <a:lnTo>
                    <a:pt x="226" y="340"/>
                  </a:lnTo>
                  <a:lnTo>
                    <a:pt x="224" y="340"/>
                  </a:lnTo>
                  <a:lnTo>
                    <a:pt x="224" y="342"/>
                  </a:lnTo>
                  <a:lnTo>
                    <a:pt x="222" y="344"/>
                  </a:lnTo>
                  <a:lnTo>
                    <a:pt x="222" y="345"/>
                  </a:lnTo>
                  <a:lnTo>
                    <a:pt x="220" y="345"/>
                  </a:lnTo>
                  <a:lnTo>
                    <a:pt x="218" y="345"/>
                  </a:lnTo>
                  <a:lnTo>
                    <a:pt x="217" y="345"/>
                  </a:lnTo>
                  <a:lnTo>
                    <a:pt x="217" y="344"/>
                  </a:lnTo>
                  <a:lnTo>
                    <a:pt x="213" y="344"/>
                  </a:lnTo>
                  <a:lnTo>
                    <a:pt x="209" y="344"/>
                  </a:lnTo>
                  <a:lnTo>
                    <a:pt x="207" y="342"/>
                  </a:lnTo>
                  <a:lnTo>
                    <a:pt x="203" y="342"/>
                  </a:lnTo>
                  <a:lnTo>
                    <a:pt x="201" y="342"/>
                  </a:lnTo>
                  <a:lnTo>
                    <a:pt x="197" y="342"/>
                  </a:lnTo>
                  <a:lnTo>
                    <a:pt x="195" y="342"/>
                  </a:lnTo>
                  <a:lnTo>
                    <a:pt x="192" y="342"/>
                  </a:lnTo>
                  <a:lnTo>
                    <a:pt x="186" y="342"/>
                  </a:lnTo>
                  <a:lnTo>
                    <a:pt x="184" y="345"/>
                  </a:lnTo>
                  <a:lnTo>
                    <a:pt x="180" y="345"/>
                  </a:lnTo>
                  <a:lnTo>
                    <a:pt x="178" y="345"/>
                  </a:lnTo>
                  <a:lnTo>
                    <a:pt x="178" y="347"/>
                  </a:lnTo>
                  <a:lnTo>
                    <a:pt x="172" y="347"/>
                  </a:lnTo>
                  <a:lnTo>
                    <a:pt x="169" y="349"/>
                  </a:lnTo>
                  <a:lnTo>
                    <a:pt x="167" y="349"/>
                  </a:lnTo>
                  <a:lnTo>
                    <a:pt x="163" y="349"/>
                  </a:lnTo>
                  <a:lnTo>
                    <a:pt x="161" y="349"/>
                  </a:lnTo>
                  <a:lnTo>
                    <a:pt x="157" y="349"/>
                  </a:lnTo>
                  <a:lnTo>
                    <a:pt x="155" y="347"/>
                  </a:lnTo>
                  <a:lnTo>
                    <a:pt x="153" y="347"/>
                  </a:lnTo>
                  <a:lnTo>
                    <a:pt x="151" y="345"/>
                  </a:lnTo>
                  <a:lnTo>
                    <a:pt x="151" y="344"/>
                  </a:lnTo>
                  <a:lnTo>
                    <a:pt x="147" y="342"/>
                  </a:lnTo>
                  <a:lnTo>
                    <a:pt x="147" y="344"/>
                  </a:lnTo>
                  <a:lnTo>
                    <a:pt x="146" y="345"/>
                  </a:lnTo>
                  <a:lnTo>
                    <a:pt x="144" y="347"/>
                  </a:lnTo>
                  <a:lnTo>
                    <a:pt x="144" y="351"/>
                  </a:lnTo>
                  <a:lnTo>
                    <a:pt x="142" y="355"/>
                  </a:lnTo>
                  <a:lnTo>
                    <a:pt x="142" y="359"/>
                  </a:lnTo>
                  <a:lnTo>
                    <a:pt x="140" y="359"/>
                  </a:lnTo>
                  <a:lnTo>
                    <a:pt x="136" y="359"/>
                  </a:lnTo>
                  <a:lnTo>
                    <a:pt x="132" y="359"/>
                  </a:lnTo>
                  <a:lnTo>
                    <a:pt x="128" y="357"/>
                  </a:lnTo>
                  <a:lnTo>
                    <a:pt x="124" y="355"/>
                  </a:lnTo>
                  <a:lnTo>
                    <a:pt x="124" y="351"/>
                  </a:lnTo>
                  <a:lnTo>
                    <a:pt x="123" y="349"/>
                  </a:lnTo>
                  <a:lnTo>
                    <a:pt x="121" y="347"/>
                  </a:lnTo>
                  <a:lnTo>
                    <a:pt x="119" y="345"/>
                  </a:lnTo>
                  <a:lnTo>
                    <a:pt x="117" y="345"/>
                  </a:lnTo>
                  <a:lnTo>
                    <a:pt x="115" y="345"/>
                  </a:lnTo>
                  <a:lnTo>
                    <a:pt x="111" y="345"/>
                  </a:lnTo>
                  <a:lnTo>
                    <a:pt x="109" y="345"/>
                  </a:lnTo>
                  <a:lnTo>
                    <a:pt x="107" y="345"/>
                  </a:lnTo>
                  <a:lnTo>
                    <a:pt x="105" y="342"/>
                  </a:lnTo>
                  <a:lnTo>
                    <a:pt x="103" y="342"/>
                  </a:lnTo>
                  <a:lnTo>
                    <a:pt x="101" y="340"/>
                  </a:lnTo>
                  <a:lnTo>
                    <a:pt x="101" y="336"/>
                  </a:lnTo>
                  <a:lnTo>
                    <a:pt x="101" y="334"/>
                  </a:lnTo>
                  <a:lnTo>
                    <a:pt x="101" y="330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6"/>
                  </a:lnTo>
                  <a:lnTo>
                    <a:pt x="101" y="324"/>
                  </a:lnTo>
                  <a:lnTo>
                    <a:pt x="99" y="322"/>
                  </a:lnTo>
                  <a:lnTo>
                    <a:pt x="98" y="320"/>
                  </a:lnTo>
                  <a:lnTo>
                    <a:pt x="98" y="319"/>
                  </a:lnTo>
                  <a:lnTo>
                    <a:pt x="96" y="319"/>
                  </a:lnTo>
                  <a:lnTo>
                    <a:pt x="94" y="317"/>
                  </a:lnTo>
                  <a:lnTo>
                    <a:pt x="92" y="315"/>
                  </a:lnTo>
                  <a:lnTo>
                    <a:pt x="92" y="313"/>
                  </a:lnTo>
                  <a:lnTo>
                    <a:pt x="90" y="313"/>
                  </a:lnTo>
                  <a:lnTo>
                    <a:pt x="88" y="311"/>
                  </a:lnTo>
                  <a:lnTo>
                    <a:pt x="86" y="309"/>
                  </a:lnTo>
                  <a:lnTo>
                    <a:pt x="86" y="309"/>
                  </a:lnTo>
                  <a:lnTo>
                    <a:pt x="84" y="307"/>
                  </a:lnTo>
                  <a:lnTo>
                    <a:pt x="82" y="303"/>
                  </a:lnTo>
                  <a:lnTo>
                    <a:pt x="80" y="301"/>
                  </a:lnTo>
                  <a:lnTo>
                    <a:pt x="80" y="297"/>
                  </a:lnTo>
                  <a:lnTo>
                    <a:pt x="80" y="296"/>
                  </a:lnTo>
                  <a:lnTo>
                    <a:pt x="80" y="294"/>
                  </a:lnTo>
                  <a:lnTo>
                    <a:pt x="78" y="292"/>
                  </a:lnTo>
                  <a:lnTo>
                    <a:pt x="78" y="290"/>
                  </a:lnTo>
                  <a:lnTo>
                    <a:pt x="75" y="286"/>
                  </a:lnTo>
                  <a:lnTo>
                    <a:pt x="73" y="284"/>
                  </a:lnTo>
                  <a:lnTo>
                    <a:pt x="71" y="284"/>
                  </a:lnTo>
                  <a:lnTo>
                    <a:pt x="71" y="282"/>
                  </a:lnTo>
                  <a:lnTo>
                    <a:pt x="69" y="282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3" y="278"/>
                  </a:lnTo>
                  <a:lnTo>
                    <a:pt x="61" y="278"/>
                  </a:lnTo>
                  <a:lnTo>
                    <a:pt x="59" y="278"/>
                  </a:lnTo>
                  <a:lnTo>
                    <a:pt x="57" y="278"/>
                  </a:lnTo>
                  <a:lnTo>
                    <a:pt x="55" y="278"/>
                  </a:lnTo>
                  <a:lnTo>
                    <a:pt x="52" y="278"/>
                  </a:lnTo>
                  <a:lnTo>
                    <a:pt x="50" y="278"/>
                  </a:lnTo>
                  <a:lnTo>
                    <a:pt x="48" y="278"/>
                  </a:lnTo>
                  <a:lnTo>
                    <a:pt x="44" y="278"/>
                  </a:lnTo>
                  <a:lnTo>
                    <a:pt x="40" y="278"/>
                  </a:lnTo>
                  <a:lnTo>
                    <a:pt x="38" y="278"/>
                  </a:lnTo>
                  <a:lnTo>
                    <a:pt x="34" y="278"/>
                  </a:lnTo>
                  <a:lnTo>
                    <a:pt x="30" y="278"/>
                  </a:lnTo>
                  <a:lnTo>
                    <a:pt x="29" y="278"/>
                  </a:lnTo>
                  <a:lnTo>
                    <a:pt x="27" y="278"/>
                  </a:lnTo>
                  <a:lnTo>
                    <a:pt x="25" y="278"/>
                  </a:lnTo>
                  <a:lnTo>
                    <a:pt x="23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7" y="278"/>
                  </a:lnTo>
                  <a:lnTo>
                    <a:pt x="17" y="280"/>
                  </a:lnTo>
                  <a:lnTo>
                    <a:pt x="13" y="280"/>
                  </a:lnTo>
                  <a:lnTo>
                    <a:pt x="11" y="280"/>
                  </a:lnTo>
                  <a:lnTo>
                    <a:pt x="7" y="280"/>
                  </a:lnTo>
                  <a:lnTo>
                    <a:pt x="7" y="278"/>
                  </a:lnTo>
                  <a:lnTo>
                    <a:pt x="5" y="276"/>
                  </a:lnTo>
                  <a:lnTo>
                    <a:pt x="5" y="274"/>
                  </a:lnTo>
                  <a:lnTo>
                    <a:pt x="5" y="273"/>
                  </a:lnTo>
                  <a:lnTo>
                    <a:pt x="5" y="269"/>
                  </a:lnTo>
                  <a:lnTo>
                    <a:pt x="5" y="267"/>
                  </a:lnTo>
                  <a:lnTo>
                    <a:pt x="5" y="263"/>
                  </a:lnTo>
                  <a:lnTo>
                    <a:pt x="5" y="261"/>
                  </a:lnTo>
                  <a:lnTo>
                    <a:pt x="5" y="261"/>
                  </a:lnTo>
                  <a:lnTo>
                    <a:pt x="5" y="259"/>
                  </a:lnTo>
                  <a:lnTo>
                    <a:pt x="5" y="257"/>
                  </a:lnTo>
                  <a:lnTo>
                    <a:pt x="4" y="255"/>
                  </a:lnTo>
                  <a:lnTo>
                    <a:pt x="4" y="253"/>
                  </a:lnTo>
                  <a:lnTo>
                    <a:pt x="4" y="251"/>
                  </a:lnTo>
                  <a:lnTo>
                    <a:pt x="4" y="249"/>
                  </a:lnTo>
                  <a:lnTo>
                    <a:pt x="4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4" y="238"/>
                  </a:lnTo>
                  <a:lnTo>
                    <a:pt x="2" y="234"/>
                  </a:lnTo>
                  <a:lnTo>
                    <a:pt x="2" y="230"/>
                  </a:lnTo>
                  <a:lnTo>
                    <a:pt x="2" y="228"/>
                  </a:lnTo>
                  <a:lnTo>
                    <a:pt x="2" y="228"/>
                  </a:lnTo>
                  <a:lnTo>
                    <a:pt x="0" y="225"/>
                  </a:lnTo>
                  <a:lnTo>
                    <a:pt x="0" y="223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7"/>
                  </a:lnTo>
                  <a:lnTo>
                    <a:pt x="0" y="215"/>
                  </a:lnTo>
                  <a:lnTo>
                    <a:pt x="0" y="213"/>
                  </a:lnTo>
                  <a:lnTo>
                    <a:pt x="2" y="211"/>
                  </a:lnTo>
                  <a:lnTo>
                    <a:pt x="4" y="207"/>
                  </a:lnTo>
                  <a:lnTo>
                    <a:pt x="4" y="205"/>
                  </a:lnTo>
                  <a:lnTo>
                    <a:pt x="5" y="205"/>
                  </a:lnTo>
                  <a:lnTo>
                    <a:pt x="5" y="203"/>
                  </a:lnTo>
                  <a:lnTo>
                    <a:pt x="5" y="202"/>
                  </a:lnTo>
                  <a:lnTo>
                    <a:pt x="5" y="200"/>
                  </a:lnTo>
                  <a:lnTo>
                    <a:pt x="5" y="196"/>
                  </a:lnTo>
                  <a:lnTo>
                    <a:pt x="5" y="194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8"/>
                  </a:lnTo>
                  <a:lnTo>
                    <a:pt x="7" y="188"/>
                  </a:lnTo>
                  <a:lnTo>
                    <a:pt x="7" y="184"/>
                  </a:lnTo>
                  <a:lnTo>
                    <a:pt x="9" y="182"/>
                  </a:lnTo>
                  <a:lnTo>
                    <a:pt x="11" y="182"/>
                  </a:lnTo>
                  <a:lnTo>
                    <a:pt x="15" y="182"/>
                  </a:lnTo>
                  <a:lnTo>
                    <a:pt x="17" y="182"/>
                  </a:lnTo>
                  <a:lnTo>
                    <a:pt x="19" y="184"/>
                  </a:lnTo>
                  <a:lnTo>
                    <a:pt x="21" y="184"/>
                  </a:lnTo>
                  <a:lnTo>
                    <a:pt x="23" y="184"/>
                  </a:lnTo>
                  <a:lnTo>
                    <a:pt x="25" y="184"/>
                  </a:lnTo>
                  <a:lnTo>
                    <a:pt x="27" y="180"/>
                  </a:lnTo>
                  <a:lnTo>
                    <a:pt x="27" y="178"/>
                  </a:lnTo>
                  <a:lnTo>
                    <a:pt x="27" y="175"/>
                  </a:lnTo>
                  <a:lnTo>
                    <a:pt x="27" y="173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7" y="165"/>
                  </a:lnTo>
                  <a:lnTo>
                    <a:pt x="29" y="163"/>
                  </a:lnTo>
                  <a:lnTo>
                    <a:pt x="29" y="161"/>
                  </a:lnTo>
                  <a:lnTo>
                    <a:pt x="30" y="159"/>
                  </a:lnTo>
                  <a:lnTo>
                    <a:pt x="30" y="157"/>
                  </a:lnTo>
                  <a:lnTo>
                    <a:pt x="32" y="157"/>
                  </a:lnTo>
                  <a:lnTo>
                    <a:pt x="34" y="155"/>
                  </a:lnTo>
                  <a:lnTo>
                    <a:pt x="34" y="154"/>
                  </a:lnTo>
                  <a:lnTo>
                    <a:pt x="36" y="154"/>
                  </a:lnTo>
                  <a:lnTo>
                    <a:pt x="38" y="152"/>
                  </a:lnTo>
                  <a:lnTo>
                    <a:pt x="38" y="150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8" y="140"/>
                  </a:lnTo>
                  <a:lnTo>
                    <a:pt x="38" y="138"/>
                  </a:lnTo>
                  <a:lnTo>
                    <a:pt x="40" y="136"/>
                  </a:lnTo>
                  <a:lnTo>
                    <a:pt x="42" y="134"/>
                  </a:lnTo>
                  <a:lnTo>
                    <a:pt x="44" y="132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6" y="127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6" y="115"/>
                  </a:lnTo>
                  <a:lnTo>
                    <a:pt x="46" y="113"/>
                  </a:lnTo>
                  <a:lnTo>
                    <a:pt x="46" y="111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6"/>
                  </a:lnTo>
                  <a:lnTo>
                    <a:pt x="46" y="104"/>
                  </a:lnTo>
                  <a:lnTo>
                    <a:pt x="44" y="102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38" y="98"/>
                  </a:lnTo>
                  <a:lnTo>
                    <a:pt x="38" y="96"/>
                  </a:lnTo>
                  <a:lnTo>
                    <a:pt x="38" y="94"/>
                  </a:lnTo>
                  <a:lnTo>
                    <a:pt x="38" y="92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38" y="84"/>
                  </a:lnTo>
                  <a:lnTo>
                    <a:pt x="38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40" y="77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38" y="7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3" name="Freeform 90"/>
            <p:cNvSpPr>
              <a:spLocks/>
            </p:cNvSpPr>
            <p:nvPr/>
          </p:nvSpPr>
          <p:spPr bwMode="auto">
            <a:xfrm>
              <a:off x="1260" y="1810"/>
              <a:ext cx="433" cy="359"/>
            </a:xfrm>
            <a:custGeom>
              <a:avLst/>
              <a:gdLst/>
              <a:ahLst/>
              <a:cxnLst>
                <a:cxn ang="0">
                  <a:pos x="50" y="50"/>
                </a:cxn>
                <a:cxn ang="0">
                  <a:pos x="57" y="33"/>
                </a:cxn>
                <a:cxn ang="0">
                  <a:pos x="69" y="17"/>
                </a:cxn>
                <a:cxn ang="0">
                  <a:pos x="90" y="13"/>
                </a:cxn>
                <a:cxn ang="0">
                  <a:pos x="111" y="13"/>
                </a:cxn>
                <a:cxn ang="0">
                  <a:pos x="126" y="2"/>
                </a:cxn>
                <a:cxn ang="0">
                  <a:pos x="142" y="8"/>
                </a:cxn>
                <a:cxn ang="0">
                  <a:pos x="159" y="29"/>
                </a:cxn>
                <a:cxn ang="0">
                  <a:pos x="176" y="40"/>
                </a:cxn>
                <a:cxn ang="0">
                  <a:pos x="195" y="29"/>
                </a:cxn>
                <a:cxn ang="0">
                  <a:pos x="217" y="25"/>
                </a:cxn>
                <a:cxn ang="0">
                  <a:pos x="240" y="44"/>
                </a:cxn>
                <a:cxn ang="0">
                  <a:pos x="257" y="56"/>
                </a:cxn>
                <a:cxn ang="0">
                  <a:pos x="272" y="35"/>
                </a:cxn>
                <a:cxn ang="0">
                  <a:pos x="291" y="33"/>
                </a:cxn>
                <a:cxn ang="0">
                  <a:pos x="318" y="29"/>
                </a:cxn>
                <a:cxn ang="0">
                  <a:pos x="347" y="25"/>
                </a:cxn>
                <a:cxn ang="0">
                  <a:pos x="370" y="29"/>
                </a:cxn>
                <a:cxn ang="0">
                  <a:pos x="382" y="15"/>
                </a:cxn>
                <a:cxn ang="0">
                  <a:pos x="403" y="8"/>
                </a:cxn>
                <a:cxn ang="0">
                  <a:pos x="410" y="29"/>
                </a:cxn>
                <a:cxn ang="0">
                  <a:pos x="406" y="40"/>
                </a:cxn>
                <a:cxn ang="0">
                  <a:pos x="410" y="65"/>
                </a:cxn>
                <a:cxn ang="0">
                  <a:pos x="430" y="73"/>
                </a:cxn>
                <a:cxn ang="0">
                  <a:pos x="431" y="96"/>
                </a:cxn>
                <a:cxn ang="0">
                  <a:pos x="418" y="113"/>
                </a:cxn>
                <a:cxn ang="0">
                  <a:pos x="408" y="131"/>
                </a:cxn>
                <a:cxn ang="0">
                  <a:pos x="403" y="155"/>
                </a:cxn>
                <a:cxn ang="0">
                  <a:pos x="387" y="169"/>
                </a:cxn>
                <a:cxn ang="0">
                  <a:pos x="380" y="188"/>
                </a:cxn>
                <a:cxn ang="0">
                  <a:pos x="360" y="205"/>
                </a:cxn>
                <a:cxn ang="0">
                  <a:pos x="347" y="225"/>
                </a:cxn>
                <a:cxn ang="0">
                  <a:pos x="339" y="248"/>
                </a:cxn>
                <a:cxn ang="0">
                  <a:pos x="332" y="265"/>
                </a:cxn>
                <a:cxn ang="0">
                  <a:pos x="316" y="274"/>
                </a:cxn>
                <a:cxn ang="0">
                  <a:pos x="303" y="257"/>
                </a:cxn>
                <a:cxn ang="0">
                  <a:pos x="284" y="257"/>
                </a:cxn>
                <a:cxn ang="0">
                  <a:pos x="266" y="269"/>
                </a:cxn>
                <a:cxn ang="0">
                  <a:pos x="251" y="286"/>
                </a:cxn>
                <a:cxn ang="0">
                  <a:pos x="234" y="297"/>
                </a:cxn>
                <a:cxn ang="0">
                  <a:pos x="226" y="319"/>
                </a:cxn>
                <a:cxn ang="0">
                  <a:pos x="222" y="344"/>
                </a:cxn>
                <a:cxn ang="0">
                  <a:pos x="197" y="342"/>
                </a:cxn>
                <a:cxn ang="0">
                  <a:pos x="163" y="349"/>
                </a:cxn>
                <a:cxn ang="0">
                  <a:pos x="144" y="351"/>
                </a:cxn>
                <a:cxn ang="0">
                  <a:pos x="119" y="345"/>
                </a:cxn>
                <a:cxn ang="0">
                  <a:pos x="101" y="330"/>
                </a:cxn>
                <a:cxn ang="0">
                  <a:pos x="92" y="313"/>
                </a:cxn>
                <a:cxn ang="0">
                  <a:pos x="78" y="292"/>
                </a:cxn>
                <a:cxn ang="0">
                  <a:pos x="59" y="278"/>
                </a:cxn>
                <a:cxn ang="0">
                  <a:pos x="29" y="278"/>
                </a:cxn>
                <a:cxn ang="0">
                  <a:pos x="7" y="278"/>
                </a:cxn>
                <a:cxn ang="0">
                  <a:pos x="4" y="255"/>
                </a:cxn>
                <a:cxn ang="0">
                  <a:pos x="2" y="228"/>
                </a:cxn>
                <a:cxn ang="0">
                  <a:pos x="5" y="205"/>
                </a:cxn>
                <a:cxn ang="0">
                  <a:pos x="9" y="182"/>
                </a:cxn>
                <a:cxn ang="0">
                  <a:pos x="27" y="173"/>
                </a:cxn>
                <a:cxn ang="0">
                  <a:pos x="34" y="154"/>
                </a:cxn>
                <a:cxn ang="0">
                  <a:pos x="44" y="132"/>
                </a:cxn>
                <a:cxn ang="0">
                  <a:pos x="46" y="111"/>
                </a:cxn>
                <a:cxn ang="0">
                  <a:pos x="38" y="92"/>
                </a:cxn>
              </a:cxnLst>
              <a:rect l="0" t="0" r="r" b="b"/>
              <a:pathLst>
                <a:path w="433" h="359">
                  <a:moveTo>
                    <a:pt x="38" y="73"/>
                  </a:moveTo>
                  <a:lnTo>
                    <a:pt x="38" y="69"/>
                  </a:lnTo>
                  <a:lnTo>
                    <a:pt x="40" y="65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8"/>
                  </a:lnTo>
                  <a:lnTo>
                    <a:pt x="42" y="58"/>
                  </a:lnTo>
                  <a:lnTo>
                    <a:pt x="42" y="54"/>
                  </a:lnTo>
                  <a:lnTo>
                    <a:pt x="44" y="52"/>
                  </a:lnTo>
                  <a:lnTo>
                    <a:pt x="46" y="52"/>
                  </a:lnTo>
                  <a:lnTo>
                    <a:pt x="50" y="50"/>
                  </a:lnTo>
                  <a:lnTo>
                    <a:pt x="50" y="48"/>
                  </a:lnTo>
                  <a:lnTo>
                    <a:pt x="52" y="48"/>
                  </a:lnTo>
                  <a:lnTo>
                    <a:pt x="52" y="46"/>
                  </a:lnTo>
                  <a:lnTo>
                    <a:pt x="53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7" y="40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3"/>
                  </a:lnTo>
                  <a:lnTo>
                    <a:pt x="57" y="31"/>
                  </a:lnTo>
                  <a:lnTo>
                    <a:pt x="57" y="29"/>
                  </a:lnTo>
                  <a:lnTo>
                    <a:pt x="57" y="27"/>
                  </a:lnTo>
                  <a:lnTo>
                    <a:pt x="61" y="27"/>
                  </a:lnTo>
                  <a:lnTo>
                    <a:pt x="61" y="25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7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73" y="15"/>
                  </a:lnTo>
                  <a:lnTo>
                    <a:pt x="73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2" y="12"/>
                  </a:lnTo>
                  <a:lnTo>
                    <a:pt x="84" y="12"/>
                  </a:lnTo>
                  <a:lnTo>
                    <a:pt x="86" y="13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6" y="17"/>
                  </a:lnTo>
                  <a:lnTo>
                    <a:pt x="99" y="17"/>
                  </a:lnTo>
                  <a:lnTo>
                    <a:pt x="101" y="17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5"/>
                  </a:lnTo>
                  <a:lnTo>
                    <a:pt x="107" y="15"/>
                  </a:lnTo>
                  <a:lnTo>
                    <a:pt x="109" y="15"/>
                  </a:lnTo>
                  <a:lnTo>
                    <a:pt x="111" y="15"/>
                  </a:lnTo>
                  <a:lnTo>
                    <a:pt x="111" y="13"/>
                  </a:lnTo>
                  <a:lnTo>
                    <a:pt x="113" y="13"/>
                  </a:lnTo>
                  <a:lnTo>
                    <a:pt x="115" y="12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9" y="8"/>
                  </a:lnTo>
                  <a:lnTo>
                    <a:pt x="119" y="6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4"/>
                  </a:lnTo>
                  <a:lnTo>
                    <a:pt x="140" y="4"/>
                  </a:lnTo>
                  <a:lnTo>
                    <a:pt x="140" y="6"/>
                  </a:lnTo>
                  <a:lnTo>
                    <a:pt x="142" y="6"/>
                  </a:lnTo>
                  <a:lnTo>
                    <a:pt x="142" y="8"/>
                  </a:lnTo>
                  <a:lnTo>
                    <a:pt x="142" y="10"/>
                  </a:lnTo>
                  <a:lnTo>
                    <a:pt x="144" y="12"/>
                  </a:lnTo>
                  <a:lnTo>
                    <a:pt x="146" y="13"/>
                  </a:lnTo>
                  <a:lnTo>
                    <a:pt x="146" y="15"/>
                  </a:lnTo>
                  <a:lnTo>
                    <a:pt x="147" y="17"/>
                  </a:lnTo>
                  <a:lnTo>
                    <a:pt x="151" y="17"/>
                  </a:lnTo>
                  <a:lnTo>
                    <a:pt x="153" y="19"/>
                  </a:lnTo>
                  <a:lnTo>
                    <a:pt x="155" y="21"/>
                  </a:lnTo>
                  <a:lnTo>
                    <a:pt x="157" y="25"/>
                  </a:lnTo>
                  <a:lnTo>
                    <a:pt x="159" y="27"/>
                  </a:lnTo>
                  <a:lnTo>
                    <a:pt x="159" y="29"/>
                  </a:lnTo>
                  <a:lnTo>
                    <a:pt x="161" y="31"/>
                  </a:lnTo>
                  <a:lnTo>
                    <a:pt x="161" y="33"/>
                  </a:lnTo>
                  <a:lnTo>
                    <a:pt x="163" y="33"/>
                  </a:lnTo>
                  <a:lnTo>
                    <a:pt x="167" y="33"/>
                  </a:lnTo>
                  <a:lnTo>
                    <a:pt x="169" y="35"/>
                  </a:lnTo>
                  <a:lnTo>
                    <a:pt x="170" y="35"/>
                  </a:lnTo>
                  <a:lnTo>
                    <a:pt x="172" y="36"/>
                  </a:lnTo>
                  <a:lnTo>
                    <a:pt x="172" y="38"/>
                  </a:lnTo>
                  <a:lnTo>
                    <a:pt x="174" y="38"/>
                  </a:lnTo>
                  <a:lnTo>
                    <a:pt x="176" y="38"/>
                  </a:lnTo>
                  <a:lnTo>
                    <a:pt x="176" y="40"/>
                  </a:lnTo>
                  <a:lnTo>
                    <a:pt x="178" y="40"/>
                  </a:lnTo>
                  <a:lnTo>
                    <a:pt x="180" y="40"/>
                  </a:lnTo>
                  <a:lnTo>
                    <a:pt x="182" y="40"/>
                  </a:lnTo>
                  <a:lnTo>
                    <a:pt x="184" y="40"/>
                  </a:lnTo>
                  <a:lnTo>
                    <a:pt x="186" y="38"/>
                  </a:lnTo>
                  <a:lnTo>
                    <a:pt x="188" y="36"/>
                  </a:lnTo>
                  <a:lnTo>
                    <a:pt x="190" y="35"/>
                  </a:lnTo>
                  <a:lnTo>
                    <a:pt x="192" y="35"/>
                  </a:lnTo>
                  <a:lnTo>
                    <a:pt x="192" y="33"/>
                  </a:lnTo>
                  <a:lnTo>
                    <a:pt x="194" y="31"/>
                  </a:lnTo>
                  <a:lnTo>
                    <a:pt x="195" y="29"/>
                  </a:lnTo>
                  <a:lnTo>
                    <a:pt x="197" y="27"/>
                  </a:lnTo>
                  <a:lnTo>
                    <a:pt x="201" y="25"/>
                  </a:lnTo>
                  <a:lnTo>
                    <a:pt x="203" y="25"/>
                  </a:lnTo>
                  <a:lnTo>
                    <a:pt x="205" y="25"/>
                  </a:lnTo>
                  <a:lnTo>
                    <a:pt x="207" y="23"/>
                  </a:lnTo>
                  <a:lnTo>
                    <a:pt x="209" y="25"/>
                  </a:lnTo>
                  <a:lnTo>
                    <a:pt x="211" y="25"/>
                  </a:lnTo>
                  <a:lnTo>
                    <a:pt x="213" y="23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8" y="27"/>
                  </a:lnTo>
                  <a:lnTo>
                    <a:pt x="220" y="27"/>
                  </a:lnTo>
                  <a:lnTo>
                    <a:pt x="222" y="29"/>
                  </a:lnTo>
                  <a:lnTo>
                    <a:pt x="224" y="31"/>
                  </a:lnTo>
                  <a:lnTo>
                    <a:pt x="226" y="33"/>
                  </a:lnTo>
                  <a:lnTo>
                    <a:pt x="228" y="35"/>
                  </a:lnTo>
                  <a:lnTo>
                    <a:pt x="232" y="38"/>
                  </a:lnTo>
                  <a:lnTo>
                    <a:pt x="236" y="42"/>
                  </a:lnTo>
                  <a:lnTo>
                    <a:pt x="236" y="44"/>
                  </a:lnTo>
                  <a:lnTo>
                    <a:pt x="238" y="44"/>
                  </a:lnTo>
                  <a:lnTo>
                    <a:pt x="240" y="44"/>
                  </a:lnTo>
                  <a:lnTo>
                    <a:pt x="241" y="44"/>
                  </a:lnTo>
                  <a:lnTo>
                    <a:pt x="241" y="44"/>
                  </a:lnTo>
                  <a:lnTo>
                    <a:pt x="243" y="46"/>
                  </a:lnTo>
                  <a:lnTo>
                    <a:pt x="245" y="46"/>
                  </a:lnTo>
                  <a:lnTo>
                    <a:pt x="247" y="48"/>
                  </a:lnTo>
                  <a:lnTo>
                    <a:pt x="249" y="50"/>
                  </a:lnTo>
                  <a:lnTo>
                    <a:pt x="249" y="52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53" y="56"/>
                  </a:lnTo>
                  <a:lnTo>
                    <a:pt x="257" y="56"/>
                  </a:lnTo>
                  <a:lnTo>
                    <a:pt x="259" y="52"/>
                  </a:lnTo>
                  <a:lnTo>
                    <a:pt x="263" y="50"/>
                  </a:lnTo>
                  <a:lnTo>
                    <a:pt x="265" y="48"/>
                  </a:lnTo>
                  <a:lnTo>
                    <a:pt x="265" y="46"/>
                  </a:lnTo>
                  <a:lnTo>
                    <a:pt x="266" y="44"/>
                  </a:lnTo>
                  <a:lnTo>
                    <a:pt x="266" y="42"/>
                  </a:lnTo>
                  <a:lnTo>
                    <a:pt x="268" y="40"/>
                  </a:lnTo>
                  <a:lnTo>
                    <a:pt x="268" y="40"/>
                  </a:lnTo>
                  <a:lnTo>
                    <a:pt x="270" y="40"/>
                  </a:lnTo>
                  <a:lnTo>
                    <a:pt x="272" y="38"/>
                  </a:lnTo>
                  <a:lnTo>
                    <a:pt x="272" y="35"/>
                  </a:lnTo>
                  <a:lnTo>
                    <a:pt x="274" y="35"/>
                  </a:lnTo>
                  <a:lnTo>
                    <a:pt x="274" y="33"/>
                  </a:lnTo>
                  <a:lnTo>
                    <a:pt x="278" y="33"/>
                  </a:lnTo>
                  <a:lnTo>
                    <a:pt x="278" y="33"/>
                  </a:lnTo>
                  <a:lnTo>
                    <a:pt x="280" y="33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6" y="33"/>
                  </a:lnTo>
                  <a:lnTo>
                    <a:pt x="288" y="33"/>
                  </a:lnTo>
                  <a:lnTo>
                    <a:pt x="289" y="33"/>
                  </a:lnTo>
                  <a:lnTo>
                    <a:pt x="291" y="33"/>
                  </a:lnTo>
                  <a:lnTo>
                    <a:pt x="295" y="33"/>
                  </a:lnTo>
                  <a:lnTo>
                    <a:pt x="297" y="33"/>
                  </a:lnTo>
                  <a:lnTo>
                    <a:pt x="299" y="33"/>
                  </a:lnTo>
                  <a:lnTo>
                    <a:pt x="303" y="33"/>
                  </a:lnTo>
                  <a:lnTo>
                    <a:pt x="305" y="33"/>
                  </a:lnTo>
                  <a:lnTo>
                    <a:pt x="309" y="33"/>
                  </a:lnTo>
                  <a:lnTo>
                    <a:pt x="312" y="31"/>
                  </a:lnTo>
                  <a:lnTo>
                    <a:pt x="314" y="31"/>
                  </a:lnTo>
                  <a:lnTo>
                    <a:pt x="316" y="31"/>
                  </a:lnTo>
                  <a:lnTo>
                    <a:pt x="316" y="29"/>
                  </a:lnTo>
                  <a:lnTo>
                    <a:pt x="318" y="29"/>
                  </a:lnTo>
                  <a:lnTo>
                    <a:pt x="324" y="27"/>
                  </a:lnTo>
                  <a:lnTo>
                    <a:pt x="326" y="27"/>
                  </a:lnTo>
                  <a:lnTo>
                    <a:pt x="330" y="27"/>
                  </a:lnTo>
                  <a:lnTo>
                    <a:pt x="332" y="27"/>
                  </a:lnTo>
                  <a:lnTo>
                    <a:pt x="334" y="27"/>
                  </a:lnTo>
                  <a:lnTo>
                    <a:pt x="336" y="27"/>
                  </a:lnTo>
                  <a:lnTo>
                    <a:pt x="339" y="27"/>
                  </a:lnTo>
                  <a:lnTo>
                    <a:pt x="341" y="25"/>
                  </a:lnTo>
                  <a:lnTo>
                    <a:pt x="343" y="25"/>
                  </a:lnTo>
                  <a:lnTo>
                    <a:pt x="345" y="25"/>
                  </a:lnTo>
                  <a:lnTo>
                    <a:pt x="347" y="25"/>
                  </a:lnTo>
                  <a:lnTo>
                    <a:pt x="349" y="27"/>
                  </a:lnTo>
                  <a:lnTo>
                    <a:pt x="351" y="27"/>
                  </a:lnTo>
                  <a:lnTo>
                    <a:pt x="353" y="29"/>
                  </a:lnTo>
                  <a:lnTo>
                    <a:pt x="357" y="31"/>
                  </a:lnTo>
                  <a:lnTo>
                    <a:pt x="359" y="31"/>
                  </a:lnTo>
                  <a:lnTo>
                    <a:pt x="360" y="33"/>
                  </a:lnTo>
                  <a:lnTo>
                    <a:pt x="362" y="33"/>
                  </a:lnTo>
                  <a:lnTo>
                    <a:pt x="364" y="33"/>
                  </a:lnTo>
                  <a:lnTo>
                    <a:pt x="366" y="31"/>
                  </a:lnTo>
                  <a:lnTo>
                    <a:pt x="368" y="31"/>
                  </a:lnTo>
                  <a:lnTo>
                    <a:pt x="370" y="29"/>
                  </a:lnTo>
                  <a:lnTo>
                    <a:pt x="370" y="29"/>
                  </a:lnTo>
                  <a:lnTo>
                    <a:pt x="372" y="27"/>
                  </a:lnTo>
                  <a:lnTo>
                    <a:pt x="372" y="25"/>
                  </a:lnTo>
                  <a:lnTo>
                    <a:pt x="374" y="23"/>
                  </a:lnTo>
                  <a:lnTo>
                    <a:pt x="374" y="21"/>
                  </a:lnTo>
                  <a:lnTo>
                    <a:pt x="376" y="21"/>
                  </a:lnTo>
                  <a:lnTo>
                    <a:pt x="376" y="19"/>
                  </a:lnTo>
                  <a:lnTo>
                    <a:pt x="378" y="19"/>
                  </a:lnTo>
                  <a:lnTo>
                    <a:pt x="380" y="17"/>
                  </a:lnTo>
                  <a:lnTo>
                    <a:pt x="380" y="15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5" y="15"/>
                  </a:lnTo>
                  <a:lnTo>
                    <a:pt x="387" y="13"/>
                  </a:lnTo>
                  <a:lnTo>
                    <a:pt x="389" y="12"/>
                  </a:lnTo>
                  <a:lnTo>
                    <a:pt x="393" y="12"/>
                  </a:lnTo>
                  <a:lnTo>
                    <a:pt x="395" y="12"/>
                  </a:lnTo>
                  <a:lnTo>
                    <a:pt x="395" y="10"/>
                  </a:lnTo>
                  <a:lnTo>
                    <a:pt x="397" y="10"/>
                  </a:lnTo>
                  <a:lnTo>
                    <a:pt x="399" y="10"/>
                  </a:lnTo>
                  <a:lnTo>
                    <a:pt x="401" y="8"/>
                  </a:lnTo>
                  <a:lnTo>
                    <a:pt x="403" y="8"/>
                  </a:lnTo>
                  <a:lnTo>
                    <a:pt x="403" y="12"/>
                  </a:lnTo>
                  <a:lnTo>
                    <a:pt x="403" y="13"/>
                  </a:lnTo>
                  <a:lnTo>
                    <a:pt x="403" y="15"/>
                  </a:lnTo>
                  <a:lnTo>
                    <a:pt x="406" y="17"/>
                  </a:lnTo>
                  <a:lnTo>
                    <a:pt x="408" y="19"/>
                  </a:lnTo>
                  <a:lnTo>
                    <a:pt x="408" y="21"/>
                  </a:lnTo>
                  <a:lnTo>
                    <a:pt x="408" y="23"/>
                  </a:lnTo>
                  <a:lnTo>
                    <a:pt x="410" y="23"/>
                  </a:lnTo>
                  <a:lnTo>
                    <a:pt x="412" y="25"/>
                  </a:lnTo>
                  <a:lnTo>
                    <a:pt x="410" y="27"/>
                  </a:lnTo>
                  <a:lnTo>
                    <a:pt x="410" y="29"/>
                  </a:lnTo>
                  <a:lnTo>
                    <a:pt x="410" y="31"/>
                  </a:lnTo>
                  <a:lnTo>
                    <a:pt x="410" y="33"/>
                  </a:lnTo>
                  <a:lnTo>
                    <a:pt x="412" y="33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408" y="35"/>
                  </a:lnTo>
                  <a:lnTo>
                    <a:pt x="406" y="35"/>
                  </a:lnTo>
                  <a:lnTo>
                    <a:pt x="406" y="36"/>
                  </a:lnTo>
                  <a:lnTo>
                    <a:pt x="406" y="38"/>
                  </a:lnTo>
                  <a:lnTo>
                    <a:pt x="406" y="40"/>
                  </a:lnTo>
                  <a:lnTo>
                    <a:pt x="406" y="44"/>
                  </a:lnTo>
                  <a:lnTo>
                    <a:pt x="406" y="46"/>
                  </a:lnTo>
                  <a:lnTo>
                    <a:pt x="406" y="50"/>
                  </a:lnTo>
                  <a:lnTo>
                    <a:pt x="406" y="52"/>
                  </a:lnTo>
                  <a:lnTo>
                    <a:pt x="406" y="54"/>
                  </a:lnTo>
                  <a:lnTo>
                    <a:pt x="406" y="56"/>
                  </a:lnTo>
                  <a:lnTo>
                    <a:pt x="406" y="58"/>
                  </a:lnTo>
                  <a:lnTo>
                    <a:pt x="406" y="58"/>
                  </a:lnTo>
                  <a:lnTo>
                    <a:pt x="408" y="58"/>
                  </a:lnTo>
                  <a:lnTo>
                    <a:pt x="408" y="61"/>
                  </a:lnTo>
                  <a:lnTo>
                    <a:pt x="410" y="65"/>
                  </a:lnTo>
                  <a:lnTo>
                    <a:pt x="412" y="67"/>
                  </a:lnTo>
                  <a:lnTo>
                    <a:pt x="414" y="67"/>
                  </a:lnTo>
                  <a:lnTo>
                    <a:pt x="416" y="67"/>
                  </a:lnTo>
                  <a:lnTo>
                    <a:pt x="418" y="67"/>
                  </a:lnTo>
                  <a:lnTo>
                    <a:pt x="418" y="69"/>
                  </a:lnTo>
                  <a:lnTo>
                    <a:pt x="420" y="69"/>
                  </a:lnTo>
                  <a:lnTo>
                    <a:pt x="422" y="69"/>
                  </a:lnTo>
                  <a:lnTo>
                    <a:pt x="424" y="71"/>
                  </a:lnTo>
                  <a:lnTo>
                    <a:pt x="426" y="73"/>
                  </a:lnTo>
                  <a:lnTo>
                    <a:pt x="428" y="73"/>
                  </a:lnTo>
                  <a:lnTo>
                    <a:pt x="430" y="73"/>
                  </a:lnTo>
                  <a:lnTo>
                    <a:pt x="431" y="77"/>
                  </a:lnTo>
                  <a:lnTo>
                    <a:pt x="431" y="79"/>
                  </a:lnTo>
                  <a:lnTo>
                    <a:pt x="431" y="81"/>
                  </a:lnTo>
                  <a:lnTo>
                    <a:pt x="431" y="83"/>
                  </a:lnTo>
                  <a:lnTo>
                    <a:pt x="431" y="84"/>
                  </a:lnTo>
                  <a:lnTo>
                    <a:pt x="431" y="88"/>
                  </a:lnTo>
                  <a:lnTo>
                    <a:pt x="433" y="90"/>
                  </a:lnTo>
                  <a:lnTo>
                    <a:pt x="433" y="92"/>
                  </a:lnTo>
                  <a:lnTo>
                    <a:pt x="433" y="96"/>
                  </a:lnTo>
                  <a:lnTo>
                    <a:pt x="431" y="96"/>
                  </a:lnTo>
                  <a:lnTo>
                    <a:pt x="431" y="96"/>
                  </a:lnTo>
                  <a:lnTo>
                    <a:pt x="431" y="100"/>
                  </a:lnTo>
                  <a:lnTo>
                    <a:pt x="430" y="102"/>
                  </a:lnTo>
                  <a:lnTo>
                    <a:pt x="428" y="102"/>
                  </a:lnTo>
                  <a:lnTo>
                    <a:pt x="428" y="104"/>
                  </a:lnTo>
                  <a:lnTo>
                    <a:pt x="426" y="106"/>
                  </a:lnTo>
                  <a:lnTo>
                    <a:pt x="426" y="106"/>
                  </a:lnTo>
                  <a:lnTo>
                    <a:pt x="424" y="106"/>
                  </a:lnTo>
                  <a:lnTo>
                    <a:pt x="422" y="107"/>
                  </a:lnTo>
                  <a:lnTo>
                    <a:pt x="420" y="109"/>
                  </a:lnTo>
                  <a:lnTo>
                    <a:pt x="418" y="111"/>
                  </a:lnTo>
                  <a:lnTo>
                    <a:pt x="418" y="113"/>
                  </a:lnTo>
                  <a:lnTo>
                    <a:pt x="418" y="115"/>
                  </a:lnTo>
                  <a:lnTo>
                    <a:pt x="416" y="115"/>
                  </a:lnTo>
                  <a:lnTo>
                    <a:pt x="416" y="117"/>
                  </a:lnTo>
                  <a:lnTo>
                    <a:pt x="416" y="119"/>
                  </a:lnTo>
                  <a:lnTo>
                    <a:pt x="414" y="119"/>
                  </a:lnTo>
                  <a:lnTo>
                    <a:pt x="414" y="123"/>
                  </a:lnTo>
                  <a:lnTo>
                    <a:pt x="412" y="125"/>
                  </a:lnTo>
                  <a:lnTo>
                    <a:pt x="412" y="127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08" y="131"/>
                  </a:lnTo>
                  <a:lnTo>
                    <a:pt x="408" y="134"/>
                  </a:lnTo>
                  <a:lnTo>
                    <a:pt x="408" y="136"/>
                  </a:lnTo>
                  <a:lnTo>
                    <a:pt x="408" y="138"/>
                  </a:lnTo>
                  <a:lnTo>
                    <a:pt x="408" y="140"/>
                  </a:lnTo>
                  <a:lnTo>
                    <a:pt x="408" y="142"/>
                  </a:lnTo>
                  <a:lnTo>
                    <a:pt x="408" y="144"/>
                  </a:lnTo>
                  <a:lnTo>
                    <a:pt x="406" y="146"/>
                  </a:lnTo>
                  <a:lnTo>
                    <a:pt x="406" y="148"/>
                  </a:lnTo>
                  <a:lnTo>
                    <a:pt x="406" y="150"/>
                  </a:lnTo>
                  <a:lnTo>
                    <a:pt x="405" y="152"/>
                  </a:lnTo>
                  <a:lnTo>
                    <a:pt x="403" y="155"/>
                  </a:lnTo>
                  <a:lnTo>
                    <a:pt x="403" y="157"/>
                  </a:lnTo>
                  <a:lnTo>
                    <a:pt x="401" y="157"/>
                  </a:lnTo>
                  <a:lnTo>
                    <a:pt x="399" y="157"/>
                  </a:lnTo>
                  <a:lnTo>
                    <a:pt x="397" y="157"/>
                  </a:lnTo>
                  <a:lnTo>
                    <a:pt x="395" y="159"/>
                  </a:lnTo>
                  <a:lnTo>
                    <a:pt x="393" y="161"/>
                  </a:lnTo>
                  <a:lnTo>
                    <a:pt x="391" y="163"/>
                  </a:lnTo>
                  <a:lnTo>
                    <a:pt x="389" y="165"/>
                  </a:lnTo>
                  <a:lnTo>
                    <a:pt x="389" y="165"/>
                  </a:lnTo>
                  <a:lnTo>
                    <a:pt x="387" y="167"/>
                  </a:lnTo>
                  <a:lnTo>
                    <a:pt x="387" y="169"/>
                  </a:lnTo>
                  <a:lnTo>
                    <a:pt x="385" y="169"/>
                  </a:lnTo>
                  <a:lnTo>
                    <a:pt x="383" y="169"/>
                  </a:lnTo>
                  <a:lnTo>
                    <a:pt x="383" y="173"/>
                  </a:lnTo>
                  <a:lnTo>
                    <a:pt x="385" y="175"/>
                  </a:lnTo>
                  <a:lnTo>
                    <a:pt x="385" y="178"/>
                  </a:lnTo>
                  <a:lnTo>
                    <a:pt x="385" y="180"/>
                  </a:lnTo>
                  <a:lnTo>
                    <a:pt x="383" y="182"/>
                  </a:lnTo>
                  <a:lnTo>
                    <a:pt x="383" y="184"/>
                  </a:lnTo>
                  <a:lnTo>
                    <a:pt x="383" y="186"/>
                  </a:lnTo>
                  <a:lnTo>
                    <a:pt x="382" y="188"/>
                  </a:lnTo>
                  <a:lnTo>
                    <a:pt x="380" y="188"/>
                  </a:lnTo>
                  <a:lnTo>
                    <a:pt x="380" y="190"/>
                  </a:lnTo>
                  <a:lnTo>
                    <a:pt x="378" y="192"/>
                  </a:lnTo>
                  <a:lnTo>
                    <a:pt x="376" y="194"/>
                  </a:lnTo>
                  <a:lnTo>
                    <a:pt x="374" y="196"/>
                  </a:lnTo>
                  <a:lnTo>
                    <a:pt x="370" y="200"/>
                  </a:lnTo>
                  <a:lnTo>
                    <a:pt x="368" y="202"/>
                  </a:lnTo>
                  <a:lnTo>
                    <a:pt x="366" y="202"/>
                  </a:lnTo>
                  <a:lnTo>
                    <a:pt x="366" y="203"/>
                  </a:lnTo>
                  <a:lnTo>
                    <a:pt x="364" y="203"/>
                  </a:lnTo>
                  <a:lnTo>
                    <a:pt x="362" y="205"/>
                  </a:lnTo>
                  <a:lnTo>
                    <a:pt x="360" y="205"/>
                  </a:lnTo>
                  <a:lnTo>
                    <a:pt x="359" y="207"/>
                  </a:lnTo>
                  <a:lnTo>
                    <a:pt x="357" y="209"/>
                  </a:lnTo>
                  <a:lnTo>
                    <a:pt x="355" y="211"/>
                  </a:lnTo>
                  <a:lnTo>
                    <a:pt x="353" y="211"/>
                  </a:lnTo>
                  <a:lnTo>
                    <a:pt x="351" y="213"/>
                  </a:lnTo>
                  <a:lnTo>
                    <a:pt x="351" y="213"/>
                  </a:lnTo>
                  <a:lnTo>
                    <a:pt x="349" y="215"/>
                  </a:lnTo>
                  <a:lnTo>
                    <a:pt x="347" y="217"/>
                  </a:lnTo>
                  <a:lnTo>
                    <a:pt x="347" y="219"/>
                  </a:lnTo>
                  <a:lnTo>
                    <a:pt x="347" y="223"/>
                  </a:lnTo>
                  <a:lnTo>
                    <a:pt x="347" y="225"/>
                  </a:lnTo>
                  <a:lnTo>
                    <a:pt x="347" y="226"/>
                  </a:lnTo>
                  <a:lnTo>
                    <a:pt x="347" y="228"/>
                  </a:lnTo>
                  <a:lnTo>
                    <a:pt x="347" y="230"/>
                  </a:lnTo>
                  <a:lnTo>
                    <a:pt x="345" y="232"/>
                  </a:lnTo>
                  <a:lnTo>
                    <a:pt x="345" y="234"/>
                  </a:lnTo>
                  <a:lnTo>
                    <a:pt x="343" y="236"/>
                  </a:lnTo>
                  <a:lnTo>
                    <a:pt x="341" y="238"/>
                  </a:lnTo>
                  <a:lnTo>
                    <a:pt x="341" y="242"/>
                  </a:lnTo>
                  <a:lnTo>
                    <a:pt x="341" y="244"/>
                  </a:lnTo>
                  <a:lnTo>
                    <a:pt x="341" y="246"/>
                  </a:lnTo>
                  <a:lnTo>
                    <a:pt x="339" y="248"/>
                  </a:lnTo>
                  <a:lnTo>
                    <a:pt x="339" y="249"/>
                  </a:lnTo>
                  <a:lnTo>
                    <a:pt x="339" y="251"/>
                  </a:lnTo>
                  <a:lnTo>
                    <a:pt x="339" y="253"/>
                  </a:lnTo>
                  <a:lnTo>
                    <a:pt x="337" y="255"/>
                  </a:lnTo>
                  <a:lnTo>
                    <a:pt x="337" y="257"/>
                  </a:lnTo>
                  <a:lnTo>
                    <a:pt x="337" y="259"/>
                  </a:lnTo>
                  <a:lnTo>
                    <a:pt x="336" y="261"/>
                  </a:lnTo>
                  <a:lnTo>
                    <a:pt x="334" y="261"/>
                  </a:lnTo>
                  <a:lnTo>
                    <a:pt x="334" y="263"/>
                  </a:lnTo>
                  <a:lnTo>
                    <a:pt x="334" y="265"/>
                  </a:lnTo>
                  <a:lnTo>
                    <a:pt x="332" y="265"/>
                  </a:lnTo>
                  <a:lnTo>
                    <a:pt x="330" y="267"/>
                  </a:lnTo>
                  <a:lnTo>
                    <a:pt x="330" y="269"/>
                  </a:lnTo>
                  <a:lnTo>
                    <a:pt x="328" y="271"/>
                  </a:lnTo>
                  <a:lnTo>
                    <a:pt x="326" y="273"/>
                  </a:lnTo>
                  <a:lnTo>
                    <a:pt x="324" y="273"/>
                  </a:lnTo>
                  <a:lnTo>
                    <a:pt x="324" y="274"/>
                  </a:lnTo>
                  <a:lnTo>
                    <a:pt x="324" y="276"/>
                  </a:lnTo>
                  <a:lnTo>
                    <a:pt x="320" y="276"/>
                  </a:lnTo>
                  <a:lnTo>
                    <a:pt x="318" y="276"/>
                  </a:lnTo>
                  <a:lnTo>
                    <a:pt x="316" y="276"/>
                  </a:lnTo>
                  <a:lnTo>
                    <a:pt x="316" y="274"/>
                  </a:lnTo>
                  <a:lnTo>
                    <a:pt x="314" y="273"/>
                  </a:lnTo>
                  <a:lnTo>
                    <a:pt x="314" y="271"/>
                  </a:lnTo>
                  <a:lnTo>
                    <a:pt x="312" y="269"/>
                  </a:lnTo>
                  <a:lnTo>
                    <a:pt x="311" y="267"/>
                  </a:lnTo>
                  <a:lnTo>
                    <a:pt x="311" y="265"/>
                  </a:lnTo>
                  <a:lnTo>
                    <a:pt x="311" y="263"/>
                  </a:lnTo>
                  <a:lnTo>
                    <a:pt x="311" y="261"/>
                  </a:lnTo>
                  <a:lnTo>
                    <a:pt x="309" y="259"/>
                  </a:lnTo>
                  <a:lnTo>
                    <a:pt x="307" y="259"/>
                  </a:lnTo>
                  <a:lnTo>
                    <a:pt x="305" y="259"/>
                  </a:lnTo>
                  <a:lnTo>
                    <a:pt x="303" y="257"/>
                  </a:lnTo>
                  <a:lnTo>
                    <a:pt x="301" y="255"/>
                  </a:lnTo>
                  <a:lnTo>
                    <a:pt x="299" y="255"/>
                  </a:lnTo>
                  <a:lnTo>
                    <a:pt x="297" y="255"/>
                  </a:lnTo>
                  <a:lnTo>
                    <a:pt x="293" y="253"/>
                  </a:lnTo>
                  <a:lnTo>
                    <a:pt x="291" y="253"/>
                  </a:lnTo>
                  <a:lnTo>
                    <a:pt x="291" y="255"/>
                  </a:lnTo>
                  <a:lnTo>
                    <a:pt x="289" y="255"/>
                  </a:lnTo>
                  <a:lnTo>
                    <a:pt x="289" y="257"/>
                  </a:lnTo>
                  <a:lnTo>
                    <a:pt x="289" y="257"/>
                  </a:lnTo>
                  <a:lnTo>
                    <a:pt x="286" y="257"/>
                  </a:lnTo>
                  <a:lnTo>
                    <a:pt x="284" y="257"/>
                  </a:lnTo>
                  <a:lnTo>
                    <a:pt x="284" y="257"/>
                  </a:lnTo>
                  <a:lnTo>
                    <a:pt x="280" y="255"/>
                  </a:lnTo>
                  <a:lnTo>
                    <a:pt x="278" y="255"/>
                  </a:lnTo>
                  <a:lnTo>
                    <a:pt x="278" y="255"/>
                  </a:lnTo>
                  <a:lnTo>
                    <a:pt x="274" y="257"/>
                  </a:lnTo>
                  <a:lnTo>
                    <a:pt x="272" y="257"/>
                  </a:lnTo>
                  <a:lnTo>
                    <a:pt x="270" y="261"/>
                  </a:lnTo>
                  <a:lnTo>
                    <a:pt x="270" y="263"/>
                  </a:lnTo>
                  <a:lnTo>
                    <a:pt x="268" y="265"/>
                  </a:lnTo>
                  <a:lnTo>
                    <a:pt x="268" y="269"/>
                  </a:lnTo>
                  <a:lnTo>
                    <a:pt x="266" y="269"/>
                  </a:lnTo>
                  <a:lnTo>
                    <a:pt x="265" y="273"/>
                  </a:lnTo>
                  <a:lnTo>
                    <a:pt x="263" y="273"/>
                  </a:lnTo>
                  <a:lnTo>
                    <a:pt x="263" y="274"/>
                  </a:lnTo>
                  <a:lnTo>
                    <a:pt x="261" y="276"/>
                  </a:lnTo>
                  <a:lnTo>
                    <a:pt x="259" y="278"/>
                  </a:lnTo>
                  <a:lnTo>
                    <a:pt x="259" y="280"/>
                  </a:lnTo>
                  <a:lnTo>
                    <a:pt x="259" y="282"/>
                  </a:lnTo>
                  <a:lnTo>
                    <a:pt x="257" y="284"/>
                  </a:lnTo>
                  <a:lnTo>
                    <a:pt x="255" y="284"/>
                  </a:lnTo>
                  <a:lnTo>
                    <a:pt x="253" y="286"/>
                  </a:lnTo>
                  <a:lnTo>
                    <a:pt x="251" y="286"/>
                  </a:lnTo>
                  <a:lnTo>
                    <a:pt x="249" y="290"/>
                  </a:lnTo>
                  <a:lnTo>
                    <a:pt x="247" y="292"/>
                  </a:lnTo>
                  <a:lnTo>
                    <a:pt x="245" y="292"/>
                  </a:lnTo>
                  <a:lnTo>
                    <a:pt x="243" y="294"/>
                  </a:lnTo>
                  <a:lnTo>
                    <a:pt x="241" y="294"/>
                  </a:lnTo>
                  <a:lnTo>
                    <a:pt x="240" y="296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4" y="297"/>
                  </a:lnTo>
                  <a:lnTo>
                    <a:pt x="234" y="297"/>
                  </a:lnTo>
                  <a:lnTo>
                    <a:pt x="232" y="297"/>
                  </a:lnTo>
                  <a:lnTo>
                    <a:pt x="232" y="299"/>
                  </a:lnTo>
                  <a:lnTo>
                    <a:pt x="230" y="299"/>
                  </a:lnTo>
                  <a:lnTo>
                    <a:pt x="228" y="301"/>
                  </a:lnTo>
                  <a:lnTo>
                    <a:pt x="228" y="303"/>
                  </a:lnTo>
                  <a:lnTo>
                    <a:pt x="226" y="305"/>
                  </a:lnTo>
                  <a:lnTo>
                    <a:pt x="226" y="309"/>
                  </a:lnTo>
                  <a:lnTo>
                    <a:pt x="226" y="311"/>
                  </a:lnTo>
                  <a:lnTo>
                    <a:pt x="226" y="315"/>
                  </a:lnTo>
                  <a:lnTo>
                    <a:pt x="226" y="317"/>
                  </a:lnTo>
                  <a:lnTo>
                    <a:pt x="226" y="319"/>
                  </a:lnTo>
                  <a:lnTo>
                    <a:pt x="226" y="322"/>
                  </a:lnTo>
                  <a:lnTo>
                    <a:pt x="226" y="324"/>
                  </a:lnTo>
                  <a:lnTo>
                    <a:pt x="226" y="328"/>
                  </a:lnTo>
                  <a:lnTo>
                    <a:pt x="226" y="330"/>
                  </a:lnTo>
                  <a:lnTo>
                    <a:pt x="226" y="332"/>
                  </a:lnTo>
                  <a:lnTo>
                    <a:pt x="226" y="334"/>
                  </a:lnTo>
                  <a:lnTo>
                    <a:pt x="226" y="336"/>
                  </a:lnTo>
                  <a:lnTo>
                    <a:pt x="226" y="340"/>
                  </a:lnTo>
                  <a:lnTo>
                    <a:pt x="224" y="340"/>
                  </a:lnTo>
                  <a:lnTo>
                    <a:pt x="224" y="342"/>
                  </a:lnTo>
                  <a:lnTo>
                    <a:pt x="222" y="344"/>
                  </a:lnTo>
                  <a:lnTo>
                    <a:pt x="222" y="345"/>
                  </a:lnTo>
                  <a:lnTo>
                    <a:pt x="220" y="345"/>
                  </a:lnTo>
                  <a:lnTo>
                    <a:pt x="218" y="345"/>
                  </a:lnTo>
                  <a:lnTo>
                    <a:pt x="217" y="345"/>
                  </a:lnTo>
                  <a:lnTo>
                    <a:pt x="217" y="344"/>
                  </a:lnTo>
                  <a:lnTo>
                    <a:pt x="213" y="344"/>
                  </a:lnTo>
                  <a:lnTo>
                    <a:pt x="209" y="344"/>
                  </a:lnTo>
                  <a:lnTo>
                    <a:pt x="207" y="342"/>
                  </a:lnTo>
                  <a:lnTo>
                    <a:pt x="203" y="342"/>
                  </a:lnTo>
                  <a:lnTo>
                    <a:pt x="201" y="342"/>
                  </a:lnTo>
                  <a:lnTo>
                    <a:pt x="197" y="342"/>
                  </a:lnTo>
                  <a:lnTo>
                    <a:pt x="195" y="342"/>
                  </a:lnTo>
                  <a:lnTo>
                    <a:pt x="192" y="342"/>
                  </a:lnTo>
                  <a:lnTo>
                    <a:pt x="186" y="342"/>
                  </a:lnTo>
                  <a:lnTo>
                    <a:pt x="184" y="345"/>
                  </a:lnTo>
                  <a:lnTo>
                    <a:pt x="180" y="345"/>
                  </a:lnTo>
                  <a:lnTo>
                    <a:pt x="178" y="345"/>
                  </a:lnTo>
                  <a:lnTo>
                    <a:pt x="178" y="347"/>
                  </a:lnTo>
                  <a:lnTo>
                    <a:pt x="172" y="347"/>
                  </a:lnTo>
                  <a:lnTo>
                    <a:pt x="169" y="349"/>
                  </a:lnTo>
                  <a:lnTo>
                    <a:pt x="167" y="349"/>
                  </a:lnTo>
                  <a:lnTo>
                    <a:pt x="163" y="349"/>
                  </a:lnTo>
                  <a:lnTo>
                    <a:pt x="161" y="349"/>
                  </a:lnTo>
                  <a:lnTo>
                    <a:pt x="157" y="349"/>
                  </a:lnTo>
                  <a:lnTo>
                    <a:pt x="155" y="347"/>
                  </a:lnTo>
                  <a:lnTo>
                    <a:pt x="153" y="347"/>
                  </a:lnTo>
                  <a:lnTo>
                    <a:pt x="151" y="345"/>
                  </a:lnTo>
                  <a:lnTo>
                    <a:pt x="151" y="344"/>
                  </a:lnTo>
                  <a:lnTo>
                    <a:pt x="147" y="342"/>
                  </a:lnTo>
                  <a:lnTo>
                    <a:pt x="147" y="344"/>
                  </a:lnTo>
                  <a:lnTo>
                    <a:pt x="146" y="345"/>
                  </a:lnTo>
                  <a:lnTo>
                    <a:pt x="144" y="347"/>
                  </a:lnTo>
                  <a:lnTo>
                    <a:pt x="144" y="351"/>
                  </a:lnTo>
                  <a:lnTo>
                    <a:pt x="142" y="355"/>
                  </a:lnTo>
                  <a:lnTo>
                    <a:pt x="142" y="359"/>
                  </a:lnTo>
                  <a:lnTo>
                    <a:pt x="140" y="359"/>
                  </a:lnTo>
                  <a:lnTo>
                    <a:pt x="136" y="359"/>
                  </a:lnTo>
                  <a:lnTo>
                    <a:pt x="132" y="359"/>
                  </a:lnTo>
                  <a:lnTo>
                    <a:pt x="128" y="357"/>
                  </a:lnTo>
                  <a:lnTo>
                    <a:pt x="124" y="355"/>
                  </a:lnTo>
                  <a:lnTo>
                    <a:pt x="124" y="351"/>
                  </a:lnTo>
                  <a:lnTo>
                    <a:pt x="123" y="349"/>
                  </a:lnTo>
                  <a:lnTo>
                    <a:pt x="121" y="347"/>
                  </a:lnTo>
                  <a:lnTo>
                    <a:pt x="119" y="345"/>
                  </a:lnTo>
                  <a:lnTo>
                    <a:pt x="117" y="345"/>
                  </a:lnTo>
                  <a:lnTo>
                    <a:pt x="115" y="345"/>
                  </a:lnTo>
                  <a:lnTo>
                    <a:pt x="111" y="345"/>
                  </a:lnTo>
                  <a:lnTo>
                    <a:pt x="109" y="345"/>
                  </a:lnTo>
                  <a:lnTo>
                    <a:pt x="107" y="345"/>
                  </a:lnTo>
                  <a:lnTo>
                    <a:pt x="105" y="342"/>
                  </a:lnTo>
                  <a:lnTo>
                    <a:pt x="103" y="342"/>
                  </a:lnTo>
                  <a:lnTo>
                    <a:pt x="101" y="340"/>
                  </a:lnTo>
                  <a:lnTo>
                    <a:pt x="101" y="336"/>
                  </a:lnTo>
                  <a:lnTo>
                    <a:pt x="101" y="334"/>
                  </a:lnTo>
                  <a:lnTo>
                    <a:pt x="101" y="330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6"/>
                  </a:lnTo>
                  <a:lnTo>
                    <a:pt x="101" y="324"/>
                  </a:lnTo>
                  <a:lnTo>
                    <a:pt x="99" y="322"/>
                  </a:lnTo>
                  <a:lnTo>
                    <a:pt x="98" y="320"/>
                  </a:lnTo>
                  <a:lnTo>
                    <a:pt x="98" y="319"/>
                  </a:lnTo>
                  <a:lnTo>
                    <a:pt x="96" y="319"/>
                  </a:lnTo>
                  <a:lnTo>
                    <a:pt x="94" y="317"/>
                  </a:lnTo>
                  <a:lnTo>
                    <a:pt x="92" y="315"/>
                  </a:lnTo>
                  <a:lnTo>
                    <a:pt x="92" y="313"/>
                  </a:lnTo>
                  <a:lnTo>
                    <a:pt x="90" y="313"/>
                  </a:lnTo>
                  <a:lnTo>
                    <a:pt x="88" y="311"/>
                  </a:lnTo>
                  <a:lnTo>
                    <a:pt x="86" y="309"/>
                  </a:lnTo>
                  <a:lnTo>
                    <a:pt x="86" y="309"/>
                  </a:lnTo>
                  <a:lnTo>
                    <a:pt x="84" y="307"/>
                  </a:lnTo>
                  <a:lnTo>
                    <a:pt x="82" y="303"/>
                  </a:lnTo>
                  <a:lnTo>
                    <a:pt x="80" y="301"/>
                  </a:lnTo>
                  <a:lnTo>
                    <a:pt x="80" y="297"/>
                  </a:lnTo>
                  <a:lnTo>
                    <a:pt x="80" y="296"/>
                  </a:lnTo>
                  <a:lnTo>
                    <a:pt x="80" y="294"/>
                  </a:lnTo>
                  <a:lnTo>
                    <a:pt x="78" y="292"/>
                  </a:lnTo>
                  <a:lnTo>
                    <a:pt x="78" y="290"/>
                  </a:lnTo>
                  <a:lnTo>
                    <a:pt x="75" y="286"/>
                  </a:lnTo>
                  <a:lnTo>
                    <a:pt x="73" y="284"/>
                  </a:lnTo>
                  <a:lnTo>
                    <a:pt x="71" y="284"/>
                  </a:lnTo>
                  <a:lnTo>
                    <a:pt x="71" y="282"/>
                  </a:lnTo>
                  <a:lnTo>
                    <a:pt x="69" y="282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3" y="278"/>
                  </a:lnTo>
                  <a:lnTo>
                    <a:pt x="61" y="278"/>
                  </a:lnTo>
                  <a:lnTo>
                    <a:pt x="59" y="278"/>
                  </a:lnTo>
                  <a:lnTo>
                    <a:pt x="57" y="278"/>
                  </a:lnTo>
                  <a:lnTo>
                    <a:pt x="55" y="278"/>
                  </a:lnTo>
                  <a:lnTo>
                    <a:pt x="52" y="278"/>
                  </a:lnTo>
                  <a:lnTo>
                    <a:pt x="50" y="278"/>
                  </a:lnTo>
                  <a:lnTo>
                    <a:pt x="48" y="278"/>
                  </a:lnTo>
                  <a:lnTo>
                    <a:pt x="44" y="278"/>
                  </a:lnTo>
                  <a:lnTo>
                    <a:pt x="40" y="278"/>
                  </a:lnTo>
                  <a:lnTo>
                    <a:pt x="38" y="278"/>
                  </a:lnTo>
                  <a:lnTo>
                    <a:pt x="34" y="278"/>
                  </a:lnTo>
                  <a:lnTo>
                    <a:pt x="30" y="278"/>
                  </a:lnTo>
                  <a:lnTo>
                    <a:pt x="29" y="278"/>
                  </a:lnTo>
                  <a:lnTo>
                    <a:pt x="27" y="278"/>
                  </a:lnTo>
                  <a:lnTo>
                    <a:pt x="25" y="278"/>
                  </a:lnTo>
                  <a:lnTo>
                    <a:pt x="23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7" y="278"/>
                  </a:lnTo>
                  <a:lnTo>
                    <a:pt x="17" y="280"/>
                  </a:lnTo>
                  <a:lnTo>
                    <a:pt x="13" y="280"/>
                  </a:lnTo>
                  <a:lnTo>
                    <a:pt x="11" y="280"/>
                  </a:lnTo>
                  <a:lnTo>
                    <a:pt x="7" y="280"/>
                  </a:lnTo>
                  <a:lnTo>
                    <a:pt x="7" y="278"/>
                  </a:lnTo>
                  <a:lnTo>
                    <a:pt x="5" y="276"/>
                  </a:lnTo>
                  <a:lnTo>
                    <a:pt x="5" y="274"/>
                  </a:lnTo>
                  <a:lnTo>
                    <a:pt x="5" y="273"/>
                  </a:lnTo>
                  <a:lnTo>
                    <a:pt x="5" y="269"/>
                  </a:lnTo>
                  <a:lnTo>
                    <a:pt x="5" y="267"/>
                  </a:lnTo>
                  <a:lnTo>
                    <a:pt x="5" y="263"/>
                  </a:lnTo>
                  <a:lnTo>
                    <a:pt x="5" y="261"/>
                  </a:lnTo>
                  <a:lnTo>
                    <a:pt x="5" y="261"/>
                  </a:lnTo>
                  <a:lnTo>
                    <a:pt x="5" y="259"/>
                  </a:lnTo>
                  <a:lnTo>
                    <a:pt x="5" y="257"/>
                  </a:lnTo>
                  <a:lnTo>
                    <a:pt x="4" y="255"/>
                  </a:lnTo>
                  <a:lnTo>
                    <a:pt x="4" y="253"/>
                  </a:lnTo>
                  <a:lnTo>
                    <a:pt x="4" y="251"/>
                  </a:lnTo>
                  <a:lnTo>
                    <a:pt x="4" y="249"/>
                  </a:lnTo>
                  <a:lnTo>
                    <a:pt x="4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4" y="238"/>
                  </a:lnTo>
                  <a:lnTo>
                    <a:pt x="2" y="234"/>
                  </a:lnTo>
                  <a:lnTo>
                    <a:pt x="2" y="230"/>
                  </a:lnTo>
                  <a:lnTo>
                    <a:pt x="2" y="228"/>
                  </a:lnTo>
                  <a:lnTo>
                    <a:pt x="2" y="228"/>
                  </a:lnTo>
                  <a:lnTo>
                    <a:pt x="0" y="225"/>
                  </a:lnTo>
                  <a:lnTo>
                    <a:pt x="0" y="223"/>
                  </a:lnTo>
                  <a:lnTo>
                    <a:pt x="0" y="221"/>
                  </a:lnTo>
                  <a:lnTo>
                    <a:pt x="0" y="219"/>
                  </a:lnTo>
                  <a:lnTo>
                    <a:pt x="0" y="217"/>
                  </a:lnTo>
                  <a:lnTo>
                    <a:pt x="0" y="215"/>
                  </a:lnTo>
                  <a:lnTo>
                    <a:pt x="0" y="213"/>
                  </a:lnTo>
                  <a:lnTo>
                    <a:pt x="2" y="211"/>
                  </a:lnTo>
                  <a:lnTo>
                    <a:pt x="4" y="207"/>
                  </a:lnTo>
                  <a:lnTo>
                    <a:pt x="4" y="205"/>
                  </a:lnTo>
                  <a:lnTo>
                    <a:pt x="5" y="205"/>
                  </a:lnTo>
                  <a:lnTo>
                    <a:pt x="5" y="203"/>
                  </a:lnTo>
                  <a:lnTo>
                    <a:pt x="5" y="202"/>
                  </a:lnTo>
                  <a:lnTo>
                    <a:pt x="5" y="200"/>
                  </a:lnTo>
                  <a:lnTo>
                    <a:pt x="5" y="196"/>
                  </a:lnTo>
                  <a:lnTo>
                    <a:pt x="5" y="194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8"/>
                  </a:lnTo>
                  <a:lnTo>
                    <a:pt x="7" y="188"/>
                  </a:lnTo>
                  <a:lnTo>
                    <a:pt x="7" y="184"/>
                  </a:lnTo>
                  <a:lnTo>
                    <a:pt x="9" y="182"/>
                  </a:lnTo>
                  <a:lnTo>
                    <a:pt x="11" y="182"/>
                  </a:lnTo>
                  <a:lnTo>
                    <a:pt x="15" y="182"/>
                  </a:lnTo>
                  <a:lnTo>
                    <a:pt x="17" y="182"/>
                  </a:lnTo>
                  <a:lnTo>
                    <a:pt x="19" y="184"/>
                  </a:lnTo>
                  <a:lnTo>
                    <a:pt x="21" y="184"/>
                  </a:lnTo>
                  <a:lnTo>
                    <a:pt x="23" y="184"/>
                  </a:lnTo>
                  <a:lnTo>
                    <a:pt x="25" y="184"/>
                  </a:lnTo>
                  <a:lnTo>
                    <a:pt x="27" y="180"/>
                  </a:lnTo>
                  <a:lnTo>
                    <a:pt x="27" y="178"/>
                  </a:lnTo>
                  <a:lnTo>
                    <a:pt x="27" y="175"/>
                  </a:lnTo>
                  <a:lnTo>
                    <a:pt x="27" y="173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7" y="165"/>
                  </a:lnTo>
                  <a:lnTo>
                    <a:pt x="29" y="163"/>
                  </a:lnTo>
                  <a:lnTo>
                    <a:pt x="29" y="161"/>
                  </a:lnTo>
                  <a:lnTo>
                    <a:pt x="30" y="159"/>
                  </a:lnTo>
                  <a:lnTo>
                    <a:pt x="30" y="157"/>
                  </a:lnTo>
                  <a:lnTo>
                    <a:pt x="32" y="157"/>
                  </a:lnTo>
                  <a:lnTo>
                    <a:pt x="34" y="155"/>
                  </a:lnTo>
                  <a:lnTo>
                    <a:pt x="34" y="154"/>
                  </a:lnTo>
                  <a:lnTo>
                    <a:pt x="36" y="154"/>
                  </a:lnTo>
                  <a:lnTo>
                    <a:pt x="38" y="152"/>
                  </a:lnTo>
                  <a:lnTo>
                    <a:pt x="38" y="150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8" y="140"/>
                  </a:lnTo>
                  <a:lnTo>
                    <a:pt x="38" y="138"/>
                  </a:lnTo>
                  <a:lnTo>
                    <a:pt x="40" y="136"/>
                  </a:lnTo>
                  <a:lnTo>
                    <a:pt x="42" y="134"/>
                  </a:lnTo>
                  <a:lnTo>
                    <a:pt x="44" y="132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6" y="129"/>
                  </a:lnTo>
                  <a:lnTo>
                    <a:pt x="46" y="127"/>
                  </a:lnTo>
                  <a:lnTo>
                    <a:pt x="46" y="123"/>
                  </a:lnTo>
                  <a:lnTo>
                    <a:pt x="46" y="121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6" y="115"/>
                  </a:lnTo>
                  <a:lnTo>
                    <a:pt x="46" y="113"/>
                  </a:lnTo>
                  <a:lnTo>
                    <a:pt x="46" y="111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6"/>
                  </a:lnTo>
                  <a:lnTo>
                    <a:pt x="46" y="104"/>
                  </a:lnTo>
                  <a:lnTo>
                    <a:pt x="44" y="102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38" y="98"/>
                  </a:lnTo>
                  <a:lnTo>
                    <a:pt x="38" y="96"/>
                  </a:lnTo>
                  <a:lnTo>
                    <a:pt x="38" y="94"/>
                  </a:lnTo>
                  <a:lnTo>
                    <a:pt x="38" y="92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38" y="84"/>
                  </a:lnTo>
                  <a:lnTo>
                    <a:pt x="38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40" y="77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38" y="73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4" name="Freeform 91"/>
            <p:cNvSpPr>
              <a:spLocks/>
            </p:cNvSpPr>
            <p:nvPr/>
          </p:nvSpPr>
          <p:spPr bwMode="auto">
            <a:xfrm>
              <a:off x="966" y="1770"/>
              <a:ext cx="284" cy="207"/>
            </a:xfrm>
            <a:custGeom>
              <a:avLst/>
              <a:gdLst/>
              <a:ahLst/>
              <a:cxnLst>
                <a:cxn ang="0">
                  <a:pos x="276" y="101"/>
                </a:cxn>
                <a:cxn ang="0">
                  <a:pos x="278" y="86"/>
                </a:cxn>
                <a:cxn ang="0">
                  <a:pos x="263" y="86"/>
                </a:cxn>
                <a:cxn ang="0">
                  <a:pos x="252" y="76"/>
                </a:cxn>
                <a:cxn ang="0">
                  <a:pos x="252" y="63"/>
                </a:cxn>
                <a:cxn ang="0">
                  <a:pos x="244" y="57"/>
                </a:cxn>
                <a:cxn ang="0">
                  <a:pos x="232" y="52"/>
                </a:cxn>
                <a:cxn ang="0">
                  <a:pos x="227" y="40"/>
                </a:cxn>
                <a:cxn ang="0">
                  <a:pos x="221" y="32"/>
                </a:cxn>
                <a:cxn ang="0">
                  <a:pos x="217" y="17"/>
                </a:cxn>
                <a:cxn ang="0">
                  <a:pos x="217" y="2"/>
                </a:cxn>
                <a:cxn ang="0">
                  <a:pos x="202" y="2"/>
                </a:cxn>
                <a:cxn ang="0">
                  <a:pos x="184" y="0"/>
                </a:cxn>
                <a:cxn ang="0">
                  <a:pos x="167" y="0"/>
                </a:cxn>
                <a:cxn ang="0">
                  <a:pos x="159" y="11"/>
                </a:cxn>
                <a:cxn ang="0">
                  <a:pos x="144" y="17"/>
                </a:cxn>
                <a:cxn ang="0">
                  <a:pos x="133" y="23"/>
                </a:cxn>
                <a:cxn ang="0">
                  <a:pos x="131" y="46"/>
                </a:cxn>
                <a:cxn ang="0">
                  <a:pos x="117" y="40"/>
                </a:cxn>
                <a:cxn ang="0">
                  <a:pos x="104" y="42"/>
                </a:cxn>
                <a:cxn ang="0">
                  <a:pos x="96" y="52"/>
                </a:cxn>
                <a:cxn ang="0">
                  <a:pos x="86" y="61"/>
                </a:cxn>
                <a:cxn ang="0">
                  <a:pos x="77" y="75"/>
                </a:cxn>
                <a:cxn ang="0">
                  <a:pos x="60" y="73"/>
                </a:cxn>
                <a:cxn ang="0">
                  <a:pos x="48" y="78"/>
                </a:cxn>
                <a:cxn ang="0">
                  <a:pos x="48" y="92"/>
                </a:cxn>
                <a:cxn ang="0">
                  <a:pos x="39" y="100"/>
                </a:cxn>
                <a:cxn ang="0">
                  <a:pos x="37" y="115"/>
                </a:cxn>
                <a:cxn ang="0">
                  <a:pos x="25" y="119"/>
                </a:cxn>
                <a:cxn ang="0">
                  <a:pos x="10" y="121"/>
                </a:cxn>
                <a:cxn ang="0">
                  <a:pos x="0" y="130"/>
                </a:cxn>
                <a:cxn ang="0">
                  <a:pos x="6" y="140"/>
                </a:cxn>
                <a:cxn ang="0">
                  <a:pos x="2" y="151"/>
                </a:cxn>
                <a:cxn ang="0">
                  <a:pos x="4" y="163"/>
                </a:cxn>
                <a:cxn ang="0">
                  <a:pos x="6" y="172"/>
                </a:cxn>
                <a:cxn ang="0">
                  <a:pos x="16" y="184"/>
                </a:cxn>
                <a:cxn ang="0">
                  <a:pos x="21" y="192"/>
                </a:cxn>
                <a:cxn ang="0">
                  <a:pos x="31" y="197"/>
                </a:cxn>
                <a:cxn ang="0">
                  <a:pos x="42" y="207"/>
                </a:cxn>
                <a:cxn ang="0">
                  <a:pos x="48" y="199"/>
                </a:cxn>
                <a:cxn ang="0">
                  <a:pos x="60" y="195"/>
                </a:cxn>
                <a:cxn ang="0">
                  <a:pos x="71" y="192"/>
                </a:cxn>
                <a:cxn ang="0">
                  <a:pos x="86" y="192"/>
                </a:cxn>
                <a:cxn ang="0">
                  <a:pos x="98" y="197"/>
                </a:cxn>
                <a:cxn ang="0">
                  <a:pos x="102" y="184"/>
                </a:cxn>
                <a:cxn ang="0">
                  <a:pos x="98" y="172"/>
                </a:cxn>
                <a:cxn ang="0">
                  <a:pos x="100" y="157"/>
                </a:cxn>
                <a:cxn ang="0">
                  <a:pos x="104" y="144"/>
                </a:cxn>
                <a:cxn ang="0">
                  <a:pos x="113" y="147"/>
                </a:cxn>
                <a:cxn ang="0">
                  <a:pos x="127" y="151"/>
                </a:cxn>
                <a:cxn ang="0">
                  <a:pos x="144" y="151"/>
                </a:cxn>
                <a:cxn ang="0">
                  <a:pos x="159" y="149"/>
                </a:cxn>
                <a:cxn ang="0">
                  <a:pos x="177" y="149"/>
                </a:cxn>
                <a:cxn ang="0">
                  <a:pos x="192" y="147"/>
                </a:cxn>
                <a:cxn ang="0">
                  <a:pos x="204" y="142"/>
                </a:cxn>
                <a:cxn ang="0">
                  <a:pos x="215" y="146"/>
                </a:cxn>
                <a:cxn ang="0">
                  <a:pos x="230" y="147"/>
                </a:cxn>
                <a:cxn ang="0">
                  <a:pos x="244" y="144"/>
                </a:cxn>
                <a:cxn ang="0">
                  <a:pos x="252" y="138"/>
                </a:cxn>
                <a:cxn ang="0">
                  <a:pos x="265" y="136"/>
                </a:cxn>
                <a:cxn ang="0">
                  <a:pos x="276" y="134"/>
                </a:cxn>
                <a:cxn ang="0">
                  <a:pos x="284" y="124"/>
                </a:cxn>
                <a:cxn ang="0">
                  <a:pos x="284" y="113"/>
                </a:cxn>
              </a:cxnLst>
              <a:rect l="0" t="0" r="r" b="b"/>
              <a:pathLst>
                <a:path w="284" h="207">
                  <a:moveTo>
                    <a:pt x="284" y="111"/>
                  </a:moveTo>
                  <a:lnTo>
                    <a:pt x="282" y="109"/>
                  </a:lnTo>
                  <a:lnTo>
                    <a:pt x="278" y="109"/>
                  </a:lnTo>
                  <a:lnTo>
                    <a:pt x="278" y="107"/>
                  </a:lnTo>
                  <a:lnTo>
                    <a:pt x="276" y="105"/>
                  </a:lnTo>
                  <a:lnTo>
                    <a:pt x="276" y="101"/>
                  </a:lnTo>
                  <a:lnTo>
                    <a:pt x="276" y="101"/>
                  </a:lnTo>
                  <a:lnTo>
                    <a:pt x="278" y="100"/>
                  </a:lnTo>
                  <a:lnTo>
                    <a:pt x="280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2"/>
                  </a:lnTo>
                  <a:lnTo>
                    <a:pt x="280" y="88"/>
                  </a:lnTo>
                  <a:lnTo>
                    <a:pt x="278" y="86"/>
                  </a:lnTo>
                  <a:lnTo>
                    <a:pt x="275" y="86"/>
                  </a:lnTo>
                  <a:lnTo>
                    <a:pt x="273" y="84"/>
                  </a:lnTo>
                  <a:lnTo>
                    <a:pt x="269" y="84"/>
                  </a:lnTo>
                  <a:lnTo>
                    <a:pt x="269" y="86"/>
                  </a:lnTo>
                  <a:lnTo>
                    <a:pt x="267" y="86"/>
                  </a:lnTo>
                  <a:lnTo>
                    <a:pt x="263" y="86"/>
                  </a:lnTo>
                  <a:lnTo>
                    <a:pt x="263" y="86"/>
                  </a:lnTo>
                  <a:lnTo>
                    <a:pt x="261" y="86"/>
                  </a:lnTo>
                  <a:lnTo>
                    <a:pt x="259" y="86"/>
                  </a:lnTo>
                  <a:lnTo>
                    <a:pt x="259" y="84"/>
                  </a:lnTo>
                  <a:lnTo>
                    <a:pt x="257" y="84"/>
                  </a:lnTo>
                  <a:lnTo>
                    <a:pt x="255" y="80"/>
                  </a:lnTo>
                  <a:lnTo>
                    <a:pt x="255" y="78"/>
                  </a:lnTo>
                  <a:lnTo>
                    <a:pt x="252" y="76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50" y="71"/>
                  </a:lnTo>
                  <a:lnTo>
                    <a:pt x="250" y="69"/>
                  </a:lnTo>
                  <a:lnTo>
                    <a:pt x="252" y="67"/>
                  </a:lnTo>
                  <a:lnTo>
                    <a:pt x="252" y="65"/>
                  </a:lnTo>
                  <a:lnTo>
                    <a:pt x="252" y="63"/>
                  </a:lnTo>
                  <a:lnTo>
                    <a:pt x="255" y="63"/>
                  </a:lnTo>
                  <a:lnTo>
                    <a:pt x="253" y="63"/>
                  </a:lnTo>
                  <a:lnTo>
                    <a:pt x="252" y="63"/>
                  </a:lnTo>
                  <a:lnTo>
                    <a:pt x="252" y="61"/>
                  </a:lnTo>
                  <a:lnTo>
                    <a:pt x="250" y="59"/>
                  </a:lnTo>
                  <a:lnTo>
                    <a:pt x="246" y="59"/>
                  </a:lnTo>
                  <a:lnTo>
                    <a:pt x="244" y="57"/>
                  </a:lnTo>
                  <a:lnTo>
                    <a:pt x="242" y="57"/>
                  </a:lnTo>
                  <a:lnTo>
                    <a:pt x="240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6" y="55"/>
                  </a:lnTo>
                  <a:lnTo>
                    <a:pt x="234" y="53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2" y="50"/>
                  </a:lnTo>
                  <a:lnTo>
                    <a:pt x="228" y="50"/>
                  </a:lnTo>
                  <a:lnTo>
                    <a:pt x="228" y="46"/>
                  </a:lnTo>
                  <a:lnTo>
                    <a:pt x="228" y="46"/>
                  </a:lnTo>
                  <a:lnTo>
                    <a:pt x="227" y="4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5" y="38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1" y="36"/>
                  </a:lnTo>
                  <a:lnTo>
                    <a:pt x="221" y="34"/>
                  </a:lnTo>
                  <a:lnTo>
                    <a:pt x="221" y="32"/>
                  </a:lnTo>
                  <a:lnTo>
                    <a:pt x="219" y="32"/>
                  </a:lnTo>
                  <a:lnTo>
                    <a:pt x="217" y="30"/>
                  </a:lnTo>
                  <a:lnTo>
                    <a:pt x="217" y="29"/>
                  </a:lnTo>
                  <a:lnTo>
                    <a:pt x="217" y="27"/>
                  </a:lnTo>
                  <a:lnTo>
                    <a:pt x="217" y="25"/>
                  </a:lnTo>
                  <a:lnTo>
                    <a:pt x="217" y="21"/>
                  </a:lnTo>
                  <a:lnTo>
                    <a:pt x="217" y="17"/>
                  </a:lnTo>
                  <a:lnTo>
                    <a:pt x="217" y="15"/>
                  </a:lnTo>
                  <a:lnTo>
                    <a:pt x="217" y="13"/>
                  </a:lnTo>
                  <a:lnTo>
                    <a:pt x="217" y="11"/>
                  </a:lnTo>
                  <a:lnTo>
                    <a:pt x="217" y="7"/>
                  </a:lnTo>
                  <a:lnTo>
                    <a:pt x="217" y="5"/>
                  </a:lnTo>
                  <a:lnTo>
                    <a:pt x="217" y="4"/>
                  </a:lnTo>
                  <a:lnTo>
                    <a:pt x="217" y="2"/>
                  </a:lnTo>
                  <a:lnTo>
                    <a:pt x="217" y="0"/>
                  </a:lnTo>
                  <a:lnTo>
                    <a:pt x="213" y="0"/>
                  </a:lnTo>
                  <a:lnTo>
                    <a:pt x="211" y="2"/>
                  </a:lnTo>
                  <a:lnTo>
                    <a:pt x="209" y="2"/>
                  </a:lnTo>
                  <a:lnTo>
                    <a:pt x="207" y="2"/>
                  </a:lnTo>
                  <a:lnTo>
                    <a:pt x="204" y="2"/>
                  </a:lnTo>
                  <a:lnTo>
                    <a:pt x="202" y="2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0" y="2"/>
                  </a:lnTo>
                  <a:lnTo>
                    <a:pt x="188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7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5" y="0"/>
                  </a:lnTo>
                  <a:lnTo>
                    <a:pt x="165" y="2"/>
                  </a:lnTo>
                  <a:lnTo>
                    <a:pt x="163" y="4"/>
                  </a:lnTo>
                  <a:lnTo>
                    <a:pt x="161" y="5"/>
                  </a:lnTo>
                  <a:lnTo>
                    <a:pt x="161" y="7"/>
                  </a:lnTo>
                  <a:lnTo>
                    <a:pt x="159" y="7"/>
                  </a:lnTo>
                  <a:lnTo>
                    <a:pt x="159" y="11"/>
                  </a:lnTo>
                  <a:lnTo>
                    <a:pt x="157" y="11"/>
                  </a:lnTo>
                  <a:lnTo>
                    <a:pt x="156" y="13"/>
                  </a:lnTo>
                  <a:lnTo>
                    <a:pt x="154" y="13"/>
                  </a:lnTo>
                  <a:lnTo>
                    <a:pt x="152" y="13"/>
                  </a:lnTo>
                  <a:lnTo>
                    <a:pt x="148" y="17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38" y="21"/>
                  </a:lnTo>
                  <a:lnTo>
                    <a:pt x="136" y="21"/>
                  </a:lnTo>
                  <a:lnTo>
                    <a:pt x="136" y="23"/>
                  </a:lnTo>
                  <a:lnTo>
                    <a:pt x="134" y="23"/>
                  </a:lnTo>
                  <a:lnTo>
                    <a:pt x="133" y="23"/>
                  </a:lnTo>
                  <a:lnTo>
                    <a:pt x="133" y="25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4"/>
                  </a:lnTo>
                  <a:lnTo>
                    <a:pt x="131" y="36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29" y="46"/>
                  </a:lnTo>
                  <a:lnTo>
                    <a:pt x="127" y="44"/>
                  </a:lnTo>
                  <a:lnTo>
                    <a:pt x="125" y="44"/>
                  </a:lnTo>
                  <a:lnTo>
                    <a:pt x="123" y="44"/>
                  </a:lnTo>
                  <a:lnTo>
                    <a:pt x="121" y="42"/>
                  </a:lnTo>
                  <a:lnTo>
                    <a:pt x="117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08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0" y="44"/>
                  </a:lnTo>
                  <a:lnTo>
                    <a:pt x="98" y="46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3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0" y="61"/>
                  </a:lnTo>
                  <a:lnTo>
                    <a:pt x="88" y="61"/>
                  </a:lnTo>
                  <a:lnTo>
                    <a:pt x="86" y="61"/>
                  </a:lnTo>
                  <a:lnTo>
                    <a:pt x="85" y="61"/>
                  </a:lnTo>
                  <a:lnTo>
                    <a:pt x="83" y="63"/>
                  </a:lnTo>
                  <a:lnTo>
                    <a:pt x="85" y="67"/>
                  </a:lnTo>
                  <a:lnTo>
                    <a:pt x="85" y="73"/>
                  </a:lnTo>
                  <a:lnTo>
                    <a:pt x="83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5" y="75"/>
                  </a:lnTo>
                  <a:lnTo>
                    <a:pt x="73" y="75"/>
                  </a:lnTo>
                  <a:lnTo>
                    <a:pt x="69" y="73"/>
                  </a:lnTo>
                  <a:lnTo>
                    <a:pt x="65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8"/>
                  </a:lnTo>
                  <a:lnTo>
                    <a:pt x="48" y="78"/>
                  </a:lnTo>
                  <a:lnTo>
                    <a:pt x="48" y="80"/>
                  </a:lnTo>
                  <a:lnTo>
                    <a:pt x="46" y="82"/>
                  </a:lnTo>
                  <a:lnTo>
                    <a:pt x="44" y="84"/>
                  </a:lnTo>
                  <a:lnTo>
                    <a:pt x="46" y="86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0" y="98"/>
                  </a:lnTo>
                  <a:lnTo>
                    <a:pt x="39" y="100"/>
                  </a:lnTo>
                  <a:lnTo>
                    <a:pt x="39" y="103"/>
                  </a:lnTo>
                  <a:lnTo>
                    <a:pt x="39" y="105"/>
                  </a:lnTo>
                  <a:lnTo>
                    <a:pt x="39" y="107"/>
                  </a:lnTo>
                  <a:lnTo>
                    <a:pt x="39" y="111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7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1" y="121"/>
                  </a:lnTo>
                  <a:lnTo>
                    <a:pt x="19" y="121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2" y="121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4"/>
                  </a:lnTo>
                  <a:lnTo>
                    <a:pt x="2" y="124"/>
                  </a:lnTo>
                  <a:lnTo>
                    <a:pt x="0" y="128"/>
                  </a:lnTo>
                  <a:lnTo>
                    <a:pt x="0" y="130"/>
                  </a:lnTo>
                  <a:lnTo>
                    <a:pt x="4" y="130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6" y="134"/>
                  </a:lnTo>
                  <a:lnTo>
                    <a:pt x="6" y="136"/>
                  </a:lnTo>
                  <a:lnTo>
                    <a:pt x="6" y="138"/>
                  </a:lnTo>
                  <a:lnTo>
                    <a:pt x="6" y="140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7"/>
                  </a:lnTo>
                  <a:lnTo>
                    <a:pt x="2" y="147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53"/>
                  </a:lnTo>
                  <a:lnTo>
                    <a:pt x="4" y="157"/>
                  </a:lnTo>
                  <a:lnTo>
                    <a:pt x="4" y="159"/>
                  </a:lnTo>
                  <a:lnTo>
                    <a:pt x="4" y="161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5"/>
                  </a:lnTo>
                  <a:lnTo>
                    <a:pt x="4" y="167"/>
                  </a:lnTo>
                  <a:lnTo>
                    <a:pt x="2" y="169"/>
                  </a:lnTo>
                  <a:lnTo>
                    <a:pt x="2" y="171"/>
                  </a:lnTo>
                  <a:lnTo>
                    <a:pt x="2" y="172"/>
                  </a:lnTo>
                  <a:lnTo>
                    <a:pt x="6" y="172"/>
                  </a:lnTo>
                  <a:lnTo>
                    <a:pt x="8" y="174"/>
                  </a:lnTo>
                  <a:lnTo>
                    <a:pt x="10" y="174"/>
                  </a:lnTo>
                  <a:lnTo>
                    <a:pt x="12" y="176"/>
                  </a:lnTo>
                  <a:lnTo>
                    <a:pt x="12" y="178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7" y="186"/>
                  </a:lnTo>
                  <a:lnTo>
                    <a:pt x="17" y="188"/>
                  </a:lnTo>
                  <a:lnTo>
                    <a:pt x="17" y="190"/>
                  </a:lnTo>
                  <a:lnTo>
                    <a:pt x="19" y="190"/>
                  </a:lnTo>
                  <a:lnTo>
                    <a:pt x="21" y="192"/>
                  </a:lnTo>
                  <a:lnTo>
                    <a:pt x="21" y="192"/>
                  </a:lnTo>
                  <a:lnTo>
                    <a:pt x="23" y="194"/>
                  </a:lnTo>
                  <a:lnTo>
                    <a:pt x="23" y="195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7" y="197"/>
                  </a:lnTo>
                  <a:lnTo>
                    <a:pt x="29" y="197"/>
                  </a:lnTo>
                  <a:lnTo>
                    <a:pt x="31" y="197"/>
                  </a:lnTo>
                  <a:lnTo>
                    <a:pt x="33" y="199"/>
                  </a:lnTo>
                  <a:lnTo>
                    <a:pt x="35" y="201"/>
                  </a:lnTo>
                  <a:lnTo>
                    <a:pt x="37" y="201"/>
                  </a:lnTo>
                  <a:lnTo>
                    <a:pt x="39" y="203"/>
                  </a:lnTo>
                  <a:lnTo>
                    <a:pt x="40" y="205"/>
                  </a:lnTo>
                  <a:lnTo>
                    <a:pt x="40" y="207"/>
                  </a:lnTo>
                  <a:lnTo>
                    <a:pt x="42" y="207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8" y="207"/>
                  </a:lnTo>
                  <a:lnTo>
                    <a:pt x="48" y="205"/>
                  </a:lnTo>
                  <a:lnTo>
                    <a:pt x="48" y="203"/>
                  </a:lnTo>
                  <a:lnTo>
                    <a:pt x="48" y="201"/>
                  </a:lnTo>
                  <a:lnTo>
                    <a:pt x="48" y="199"/>
                  </a:lnTo>
                  <a:lnTo>
                    <a:pt x="50" y="197"/>
                  </a:lnTo>
                  <a:lnTo>
                    <a:pt x="52" y="197"/>
                  </a:lnTo>
                  <a:lnTo>
                    <a:pt x="54" y="197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60" y="195"/>
                  </a:lnTo>
                  <a:lnTo>
                    <a:pt x="60" y="195"/>
                  </a:lnTo>
                  <a:lnTo>
                    <a:pt x="62" y="195"/>
                  </a:lnTo>
                  <a:lnTo>
                    <a:pt x="63" y="194"/>
                  </a:lnTo>
                  <a:lnTo>
                    <a:pt x="65" y="194"/>
                  </a:lnTo>
                  <a:lnTo>
                    <a:pt x="67" y="192"/>
                  </a:lnTo>
                  <a:lnTo>
                    <a:pt x="67" y="192"/>
                  </a:lnTo>
                  <a:lnTo>
                    <a:pt x="69" y="192"/>
                  </a:lnTo>
                  <a:lnTo>
                    <a:pt x="71" y="192"/>
                  </a:lnTo>
                  <a:lnTo>
                    <a:pt x="75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8" y="192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2" y="195"/>
                  </a:lnTo>
                  <a:lnTo>
                    <a:pt x="94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100" y="195"/>
                  </a:lnTo>
                  <a:lnTo>
                    <a:pt x="100" y="192"/>
                  </a:lnTo>
                  <a:lnTo>
                    <a:pt x="102" y="190"/>
                  </a:lnTo>
                  <a:lnTo>
                    <a:pt x="102" y="188"/>
                  </a:lnTo>
                  <a:lnTo>
                    <a:pt x="102" y="186"/>
                  </a:lnTo>
                  <a:lnTo>
                    <a:pt x="102" y="184"/>
                  </a:lnTo>
                  <a:lnTo>
                    <a:pt x="102" y="180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100" y="176"/>
                  </a:lnTo>
                  <a:lnTo>
                    <a:pt x="100" y="174"/>
                  </a:lnTo>
                  <a:lnTo>
                    <a:pt x="98" y="172"/>
                  </a:lnTo>
                  <a:lnTo>
                    <a:pt x="98" y="172"/>
                  </a:lnTo>
                  <a:lnTo>
                    <a:pt x="100" y="169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59"/>
                  </a:lnTo>
                  <a:lnTo>
                    <a:pt x="100" y="157"/>
                  </a:lnTo>
                  <a:lnTo>
                    <a:pt x="100" y="155"/>
                  </a:lnTo>
                  <a:lnTo>
                    <a:pt x="100" y="153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2" y="147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8" y="146"/>
                  </a:lnTo>
                  <a:lnTo>
                    <a:pt x="110" y="146"/>
                  </a:lnTo>
                  <a:lnTo>
                    <a:pt x="110" y="146"/>
                  </a:lnTo>
                  <a:lnTo>
                    <a:pt x="111" y="146"/>
                  </a:lnTo>
                  <a:lnTo>
                    <a:pt x="113" y="147"/>
                  </a:lnTo>
                  <a:lnTo>
                    <a:pt x="115" y="147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21" y="147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7" y="151"/>
                  </a:lnTo>
                  <a:lnTo>
                    <a:pt x="129" y="151"/>
                  </a:lnTo>
                  <a:lnTo>
                    <a:pt x="131" y="151"/>
                  </a:lnTo>
                  <a:lnTo>
                    <a:pt x="133" y="151"/>
                  </a:lnTo>
                  <a:lnTo>
                    <a:pt x="134" y="151"/>
                  </a:lnTo>
                  <a:lnTo>
                    <a:pt x="138" y="151"/>
                  </a:lnTo>
                  <a:lnTo>
                    <a:pt x="140" y="151"/>
                  </a:lnTo>
                  <a:lnTo>
                    <a:pt x="144" y="151"/>
                  </a:lnTo>
                  <a:lnTo>
                    <a:pt x="146" y="149"/>
                  </a:lnTo>
                  <a:lnTo>
                    <a:pt x="150" y="149"/>
                  </a:lnTo>
                  <a:lnTo>
                    <a:pt x="152" y="149"/>
                  </a:lnTo>
                  <a:lnTo>
                    <a:pt x="154" y="149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9" y="149"/>
                  </a:lnTo>
                  <a:lnTo>
                    <a:pt x="161" y="151"/>
                  </a:lnTo>
                  <a:lnTo>
                    <a:pt x="165" y="151"/>
                  </a:lnTo>
                  <a:lnTo>
                    <a:pt x="167" y="151"/>
                  </a:lnTo>
                  <a:lnTo>
                    <a:pt x="171" y="151"/>
                  </a:lnTo>
                  <a:lnTo>
                    <a:pt x="171" y="151"/>
                  </a:lnTo>
                  <a:lnTo>
                    <a:pt x="173" y="151"/>
                  </a:lnTo>
                  <a:lnTo>
                    <a:pt x="177" y="149"/>
                  </a:lnTo>
                  <a:lnTo>
                    <a:pt x="179" y="149"/>
                  </a:lnTo>
                  <a:lnTo>
                    <a:pt x="181" y="149"/>
                  </a:lnTo>
                  <a:lnTo>
                    <a:pt x="182" y="147"/>
                  </a:lnTo>
                  <a:lnTo>
                    <a:pt x="184" y="147"/>
                  </a:lnTo>
                  <a:lnTo>
                    <a:pt x="188" y="147"/>
                  </a:lnTo>
                  <a:lnTo>
                    <a:pt x="190" y="147"/>
                  </a:lnTo>
                  <a:lnTo>
                    <a:pt x="192" y="147"/>
                  </a:lnTo>
                  <a:lnTo>
                    <a:pt x="194" y="147"/>
                  </a:lnTo>
                  <a:lnTo>
                    <a:pt x="196" y="147"/>
                  </a:lnTo>
                  <a:lnTo>
                    <a:pt x="198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202" y="142"/>
                  </a:lnTo>
                  <a:lnTo>
                    <a:pt x="204" y="142"/>
                  </a:lnTo>
                  <a:lnTo>
                    <a:pt x="204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7" y="146"/>
                  </a:lnTo>
                  <a:lnTo>
                    <a:pt x="219" y="146"/>
                  </a:lnTo>
                  <a:lnTo>
                    <a:pt x="221" y="147"/>
                  </a:lnTo>
                  <a:lnTo>
                    <a:pt x="223" y="147"/>
                  </a:lnTo>
                  <a:lnTo>
                    <a:pt x="227" y="147"/>
                  </a:lnTo>
                  <a:lnTo>
                    <a:pt x="228" y="147"/>
                  </a:lnTo>
                  <a:lnTo>
                    <a:pt x="230" y="147"/>
                  </a:lnTo>
                  <a:lnTo>
                    <a:pt x="232" y="147"/>
                  </a:lnTo>
                  <a:lnTo>
                    <a:pt x="234" y="147"/>
                  </a:lnTo>
                  <a:lnTo>
                    <a:pt x="238" y="147"/>
                  </a:lnTo>
                  <a:lnTo>
                    <a:pt x="240" y="147"/>
                  </a:lnTo>
                  <a:lnTo>
                    <a:pt x="242" y="146"/>
                  </a:lnTo>
                  <a:lnTo>
                    <a:pt x="242" y="146"/>
                  </a:lnTo>
                  <a:lnTo>
                    <a:pt x="244" y="144"/>
                  </a:lnTo>
                  <a:lnTo>
                    <a:pt x="246" y="144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0" y="138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3" y="136"/>
                  </a:lnTo>
                  <a:lnTo>
                    <a:pt x="255" y="136"/>
                  </a:lnTo>
                  <a:lnTo>
                    <a:pt x="257" y="136"/>
                  </a:lnTo>
                  <a:lnTo>
                    <a:pt x="261" y="136"/>
                  </a:lnTo>
                  <a:lnTo>
                    <a:pt x="263" y="136"/>
                  </a:lnTo>
                  <a:lnTo>
                    <a:pt x="265" y="136"/>
                  </a:lnTo>
                  <a:lnTo>
                    <a:pt x="267" y="136"/>
                  </a:lnTo>
                  <a:lnTo>
                    <a:pt x="269" y="136"/>
                  </a:lnTo>
                  <a:lnTo>
                    <a:pt x="269" y="136"/>
                  </a:lnTo>
                  <a:lnTo>
                    <a:pt x="271" y="136"/>
                  </a:lnTo>
                  <a:lnTo>
                    <a:pt x="273" y="136"/>
                  </a:lnTo>
                  <a:lnTo>
                    <a:pt x="275" y="136"/>
                  </a:lnTo>
                  <a:lnTo>
                    <a:pt x="276" y="134"/>
                  </a:lnTo>
                  <a:lnTo>
                    <a:pt x="278" y="134"/>
                  </a:lnTo>
                  <a:lnTo>
                    <a:pt x="278" y="132"/>
                  </a:lnTo>
                  <a:lnTo>
                    <a:pt x="280" y="130"/>
                  </a:lnTo>
                  <a:lnTo>
                    <a:pt x="280" y="130"/>
                  </a:lnTo>
                  <a:lnTo>
                    <a:pt x="282" y="128"/>
                  </a:lnTo>
                  <a:lnTo>
                    <a:pt x="284" y="128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4" y="121"/>
                  </a:lnTo>
                  <a:lnTo>
                    <a:pt x="284" y="119"/>
                  </a:lnTo>
                  <a:lnTo>
                    <a:pt x="284" y="117"/>
                  </a:lnTo>
                  <a:lnTo>
                    <a:pt x="284" y="117"/>
                  </a:lnTo>
                  <a:lnTo>
                    <a:pt x="284" y="115"/>
                  </a:lnTo>
                  <a:lnTo>
                    <a:pt x="284" y="113"/>
                  </a:lnTo>
                  <a:lnTo>
                    <a:pt x="284" y="111"/>
                  </a:lnTo>
                  <a:lnTo>
                    <a:pt x="282" y="111"/>
                  </a:lnTo>
                  <a:lnTo>
                    <a:pt x="284" y="1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5" name="Freeform 92"/>
            <p:cNvSpPr>
              <a:spLocks/>
            </p:cNvSpPr>
            <p:nvPr/>
          </p:nvSpPr>
          <p:spPr bwMode="auto">
            <a:xfrm>
              <a:off x="966" y="1770"/>
              <a:ext cx="284" cy="207"/>
            </a:xfrm>
            <a:custGeom>
              <a:avLst/>
              <a:gdLst/>
              <a:ahLst/>
              <a:cxnLst>
                <a:cxn ang="0">
                  <a:pos x="276" y="101"/>
                </a:cxn>
                <a:cxn ang="0">
                  <a:pos x="278" y="86"/>
                </a:cxn>
                <a:cxn ang="0">
                  <a:pos x="263" y="86"/>
                </a:cxn>
                <a:cxn ang="0">
                  <a:pos x="252" y="76"/>
                </a:cxn>
                <a:cxn ang="0">
                  <a:pos x="252" y="63"/>
                </a:cxn>
                <a:cxn ang="0">
                  <a:pos x="244" y="57"/>
                </a:cxn>
                <a:cxn ang="0">
                  <a:pos x="232" y="52"/>
                </a:cxn>
                <a:cxn ang="0">
                  <a:pos x="227" y="40"/>
                </a:cxn>
                <a:cxn ang="0">
                  <a:pos x="221" y="32"/>
                </a:cxn>
                <a:cxn ang="0">
                  <a:pos x="217" y="17"/>
                </a:cxn>
                <a:cxn ang="0">
                  <a:pos x="217" y="2"/>
                </a:cxn>
                <a:cxn ang="0">
                  <a:pos x="202" y="2"/>
                </a:cxn>
                <a:cxn ang="0">
                  <a:pos x="184" y="0"/>
                </a:cxn>
                <a:cxn ang="0">
                  <a:pos x="167" y="0"/>
                </a:cxn>
                <a:cxn ang="0">
                  <a:pos x="159" y="11"/>
                </a:cxn>
                <a:cxn ang="0">
                  <a:pos x="144" y="17"/>
                </a:cxn>
                <a:cxn ang="0">
                  <a:pos x="133" y="23"/>
                </a:cxn>
                <a:cxn ang="0">
                  <a:pos x="131" y="46"/>
                </a:cxn>
                <a:cxn ang="0">
                  <a:pos x="117" y="40"/>
                </a:cxn>
                <a:cxn ang="0">
                  <a:pos x="104" y="42"/>
                </a:cxn>
                <a:cxn ang="0">
                  <a:pos x="96" y="52"/>
                </a:cxn>
                <a:cxn ang="0">
                  <a:pos x="86" y="61"/>
                </a:cxn>
                <a:cxn ang="0">
                  <a:pos x="77" y="75"/>
                </a:cxn>
                <a:cxn ang="0">
                  <a:pos x="60" y="73"/>
                </a:cxn>
                <a:cxn ang="0">
                  <a:pos x="48" y="78"/>
                </a:cxn>
                <a:cxn ang="0">
                  <a:pos x="48" y="92"/>
                </a:cxn>
                <a:cxn ang="0">
                  <a:pos x="39" y="100"/>
                </a:cxn>
                <a:cxn ang="0">
                  <a:pos x="37" y="115"/>
                </a:cxn>
                <a:cxn ang="0">
                  <a:pos x="25" y="119"/>
                </a:cxn>
                <a:cxn ang="0">
                  <a:pos x="10" y="121"/>
                </a:cxn>
                <a:cxn ang="0">
                  <a:pos x="0" y="130"/>
                </a:cxn>
                <a:cxn ang="0">
                  <a:pos x="6" y="140"/>
                </a:cxn>
                <a:cxn ang="0">
                  <a:pos x="2" y="151"/>
                </a:cxn>
                <a:cxn ang="0">
                  <a:pos x="4" y="163"/>
                </a:cxn>
                <a:cxn ang="0">
                  <a:pos x="6" y="172"/>
                </a:cxn>
                <a:cxn ang="0">
                  <a:pos x="16" y="184"/>
                </a:cxn>
                <a:cxn ang="0">
                  <a:pos x="21" y="192"/>
                </a:cxn>
                <a:cxn ang="0">
                  <a:pos x="31" y="197"/>
                </a:cxn>
                <a:cxn ang="0">
                  <a:pos x="42" y="207"/>
                </a:cxn>
                <a:cxn ang="0">
                  <a:pos x="48" y="199"/>
                </a:cxn>
                <a:cxn ang="0">
                  <a:pos x="60" y="195"/>
                </a:cxn>
                <a:cxn ang="0">
                  <a:pos x="71" y="192"/>
                </a:cxn>
                <a:cxn ang="0">
                  <a:pos x="86" y="192"/>
                </a:cxn>
                <a:cxn ang="0">
                  <a:pos x="98" y="197"/>
                </a:cxn>
                <a:cxn ang="0">
                  <a:pos x="102" y="184"/>
                </a:cxn>
                <a:cxn ang="0">
                  <a:pos x="98" y="172"/>
                </a:cxn>
                <a:cxn ang="0">
                  <a:pos x="100" y="157"/>
                </a:cxn>
                <a:cxn ang="0">
                  <a:pos x="104" y="144"/>
                </a:cxn>
                <a:cxn ang="0">
                  <a:pos x="113" y="147"/>
                </a:cxn>
                <a:cxn ang="0">
                  <a:pos x="127" y="151"/>
                </a:cxn>
                <a:cxn ang="0">
                  <a:pos x="144" y="151"/>
                </a:cxn>
                <a:cxn ang="0">
                  <a:pos x="159" y="149"/>
                </a:cxn>
                <a:cxn ang="0">
                  <a:pos x="177" y="149"/>
                </a:cxn>
                <a:cxn ang="0">
                  <a:pos x="192" y="147"/>
                </a:cxn>
                <a:cxn ang="0">
                  <a:pos x="204" y="142"/>
                </a:cxn>
                <a:cxn ang="0">
                  <a:pos x="215" y="146"/>
                </a:cxn>
                <a:cxn ang="0">
                  <a:pos x="230" y="147"/>
                </a:cxn>
                <a:cxn ang="0">
                  <a:pos x="244" y="144"/>
                </a:cxn>
                <a:cxn ang="0">
                  <a:pos x="252" y="138"/>
                </a:cxn>
                <a:cxn ang="0">
                  <a:pos x="265" y="136"/>
                </a:cxn>
                <a:cxn ang="0">
                  <a:pos x="276" y="134"/>
                </a:cxn>
                <a:cxn ang="0">
                  <a:pos x="284" y="124"/>
                </a:cxn>
                <a:cxn ang="0">
                  <a:pos x="284" y="113"/>
                </a:cxn>
              </a:cxnLst>
              <a:rect l="0" t="0" r="r" b="b"/>
              <a:pathLst>
                <a:path w="284" h="207">
                  <a:moveTo>
                    <a:pt x="284" y="111"/>
                  </a:moveTo>
                  <a:lnTo>
                    <a:pt x="282" y="109"/>
                  </a:lnTo>
                  <a:lnTo>
                    <a:pt x="278" y="109"/>
                  </a:lnTo>
                  <a:lnTo>
                    <a:pt x="278" y="107"/>
                  </a:lnTo>
                  <a:lnTo>
                    <a:pt x="276" y="105"/>
                  </a:lnTo>
                  <a:lnTo>
                    <a:pt x="276" y="101"/>
                  </a:lnTo>
                  <a:lnTo>
                    <a:pt x="276" y="101"/>
                  </a:lnTo>
                  <a:lnTo>
                    <a:pt x="278" y="100"/>
                  </a:lnTo>
                  <a:lnTo>
                    <a:pt x="280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2"/>
                  </a:lnTo>
                  <a:lnTo>
                    <a:pt x="280" y="88"/>
                  </a:lnTo>
                  <a:lnTo>
                    <a:pt x="278" y="86"/>
                  </a:lnTo>
                  <a:lnTo>
                    <a:pt x="275" y="86"/>
                  </a:lnTo>
                  <a:lnTo>
                    <a:pt x="273" y="84"/>
                  </a:lnTo>
                  <a:lnTo>
                    <a:pt x="269" y="84"/>
                  </a:lnTo>
                  <a:lnTo>
                    <a:pt x="269" y="86"/>
                  </a:lnTo>
                  <a:lnTo>
                    <a:pt x="267" y="86"/>
                  </a:lnTo>
                  <a:lnTo>
                    <a:pt x="263" y="86"/>
                  </a:lnTo>
                  <a:lnTo>
                    <a:pt x="263" y="86"/>
                  </a:lnTo>
                  <a:lnTo>
                    <a:pt x="261" y="86"/>
                  </a:lnTo>
                  <a:lnTo>
                    <a:pt x="259" y="86"/>
                  </a:lnTo>
                  <a:lnTo>
                    <a:pt x="259" y="84"/>
                  </a:lnTo>
                  <a:lnTo>
                    <a:pt x="257" y="84"/>
                  </a:lnTo>
                  <a:lnTo>
                    <a:pt x="255" y="80"/>
                  </a:lnTo>
                  <a:lnTo>
                    <a:pt x="255" y="78"/>
                  </a:lnTo>
                  <a:lnTo>
                    <a:pt x="252" y="76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50" y="71"/>
                  </a:lnTo>
                  <a:lnTo>
                    <a:pt x="250" y="69"/>
                  </a:lnTo>
                  <a:lnTo>
                    <a:pt x="252" y="67"/>
                  </a:lnTo>
                  <a:lnTo>
                    <a:pt x="252" y="65"/>
                  </a:lnTo>
                  <a:lnTo>
                    <a:pt x="252" y="63"/>
                  </a:lnTo>
                  <a:lnTo>
                    <a:pt x="255" y="63"/>
                  </a:lnTo>
                  <a:lnTo>
                    <a:pt x="253" y="63"/>
                  </a:lnTo>
                  <a:lnTo>
                    <a:pt x="252" y="63"/>
                  </a:lnTo>
                  <a:lnTo>
                    <a:pt x="252" y="61"/>
                  </a:lnTo>
                  <a:lnTo>
                    <a:pt x="250" y="59"/>
                  </a:lnTo>
                  <a:lnTo>
                    <a:pt x="246" y="59"/>
                  </a:lnTo>
                  <a:lnTo>
                    <a:pt x="244" y="57"/>
                  </a:lnTo>
                  <a:lnTo>
                    <a:pt x="242" y="57"/>
                  </a:lnTo>
                  <a:lnTo>
                    <a:pt x="240" y="55"/>
                  </a:lnTo>
                  <a:lnTo>
                    <a:pt x="238" y="55"/>
                  </a:lnTo>
                  <a:lnTo>
                    <a:pt x="238" y="55"/>
                  </a:lnTo>
                  <a:lnTo>
                    <a:pt x="236" y="55"/>
                  </a:lnTo>
                  <a:lnTo>
                    <a:pt x="234" y="53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2" y="50"/>
                  </a:lnTo>
                  <a:lnTo>
                    <a:pt x="228" y="50"/>
                  </a:lnTo>
                  <a:lnTo>
                    <a:pt x="228" y="46"/>
                  </a:lnTo>
                  <a:lnTo>
                    <a:pt x="228" y="46"/>
                  </a:lnTo>
                  <a:lnTo>
                    <a:pt x="227" y="4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5" y="38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1" y="36"/>
                  </a:lnTo>
                  <a:lnTo>
                    <a:pt x="221" y="34"/>
                  </a:lnTo>
                  <a:lnTo>
                    <a:pt x="221" y="32"/>
                  </a:lnTo>
                  <a:lnTo>
                    <a:pt x="219" y="32"/>
                  </a:lnTo>
                  <a:lnTo>
                    <a:pt x="217" y="30"/>
                  </a:lnTo>
                  <a:lnTo>
                    <a:pt x="217" y="29"/>
                  </a:lnTo>
                  <a:lnTo>
                    <a:pt x="217" y="27"/>
                  </a:lnTo>
                  <a:lnTo>
                    <a:pt x="217" y="25"/>
                  </a:lnTo>
                  <a:lnTo>
                    <a:pt x="217" y="21"/>
                  </a:lnTo>
                  <a:lnTo>
                    <a:pt x="217" y="17"/>
                  </a:lnTo>
                  <a:lnTo>
                    <a:pt x="217" y="15"/>
                  </a:lnTo>
                  <a:lnTo>
                    <a:pt x="217" y="13"/>
                  </a:lnTo>
                  <a:lnTo>
                    <a:pt x="217" y="11"/>
                  </a:lnTo>
                  <a:lnTo>
                    <a:pt x="217" y="7"/>
                  </a:lnTo>
                  <a:lnTo>
                    <a:pt x="217" y="5"/>
                  </a:lnTo>
                  <a:lnTo>
                    <a:pt x="217" y="4"/>
                  </a:lnTo>
                  <a:lnTo>
                    <a:pt x="217" y="2"/>
                  </a:lnTo>
                  <a:lnTo>
                    <a:pt x="217" y="0"/>
                  </a:lnTo>
                  <a:lnTo>
                    <a:pt x="213" y="0"/>
                  </a:lnTo>
                  <a:lnTo>
                    <a:pt x="211" y="2"/>
                  </a:lnTo>
                  <a:lnTo>
                    <a:pt x="209" y="2"/>
                  </a:lnTo>
                  <a:lnTo>
                    <a:pt x="207" y="2"/>
                  </a:lnTo>
                  <a:lnTo>
                    <a:pt x="204" y="2"/>
                  </a:lnTo>
                  <a:lnTo>
                    <a:pt x="202" y="2"/>
                  </a:lnTo>
                  <a:lnTo>
                    <a:pt x="198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0" y="2"/>
                  </a:lnTo>
                  <a:lnTo>
                    <a:pt x="188" y="2"/>
                  </a:lnTo>
                  <a:lnTo>
                    <a:pt x="184" y="0"/>
                  </a:lnTo>
                  <a:lnTo>
                    <a:pt x="182" y="0"/>
                  </a:lnTo>
                  <a:lnTo>
                    <a:pt x="181" y="0"/>
                  </a:lnTo>
                  <a:lnTo>
                    <a:pt x="179" y="0"/>
                  </a:lnTo>
                  <a:lnTo>
                    <a:pt x="177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5" y="0"/>
                  </a:lnTo>
                  <a:lnTo>
                    <a:pt x="165" y="2"/>
                  </a:lnTo>
                  <a:lnTo>
                    <a:pt x="163" y="4"/>
                  </a:lnTo>
                  <a:lnTo>
                    <a:pt x="161" y="5"/>
                  </a:lnTo>
                  <a:lnTo>
                    <a:pt x="161" y="7"/>
                  </a:lnTo>
                  <a:lnTo>
                    <a:pt x="159" y="7"/>
                  </a:lnTo>
                  <a:lnTo>
                    <a:pt x="159" y="11"/>
                  </a:lnTo>
                  <a:lnTo>
                    <a:pt x="157" y="11"/>
                  </a:lnTo>
                  <a:lnTo>
                    <a:pt x="156" y="13"/>
                  </a:lnTo>
                  <a:lnTo>
                    <a:pt x="154" y="13"/>
                  </a:lnTo>
                  <a:lnTo>
                    <a:pt x="152" y="13"/>
                  </a:lnTo>
                  <a:lnTo>
                    <a:pt x="148" y="17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38" y="21"/>
                  </a:lnTo>
                  <a:lnTo>
                    <a:pt x="136" y="21"/>
                  </a:lnTo>
                  <a:lnTo>
                    <a:pt x="136" y="23"/>
                  </a:lnTo>
                  <a:lnTo>
                    <a:pt x="134" y="23"/>
                  </a:lnTo>
                  <a:lnTo>
                    <a:pt x="133" y="23"/>
                  </a:lnTo>
                  <a:lnTo>
                    <a:pt x="133" y="25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4"/>
                  </a:lnTo>
                  <a:lnTo>
                    <a:pt x="131" y="36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29" y="46"/>
                  </a:lnTo>
                  <a:lnTo>
                    <a:pt x="127" y="44"/>
                  </a:lnTo>
                  <a:lnTo>
                    <a:pt x="125" y="44"/>
                  </a:lnTo>
                  <a:lnTo>
                    <a:pt x="123" y="44"/>
                  </a:lnTo>
                  <a:lnTo>
                    <a:pt x="121" y="42"/>
                  </a:lnTo>
                  <a:lnTo>
                    <a:pt x="117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08" y="40"/>
                  </a:lnTo>
                  <a:lnTo>
                    <a:pt x="106" y="40"/>
                  </a:lnTo>
                  <a:lnTo>
                    <a:pt x="104" y="42"/>
                  </a:lnTo>
                  <a:lnTo>
                    <a:pt x="100" y="44"/>
                  </a:lnTo>
                  <a:lnTo>
                    <a:pt x="98" y="46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3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0" y="61"/>
                  </a:lnTo>
                  <a:lnTo>
                    <a:pt x="88" y="61"/>
                  </a:lnTo>
                  <a:lnTo>
                    <a:pt x="86" y="61"/>
                  </a:lnTo>
                  <a:lnTo>
                    <a:pt x="85" y="61"/>
                  </a:lnTo>
                  <a:lnTo>
                    <a:pt x="83" y="63"/>
                  </a:lnTo>
                  <a:lnTo>
                    <a:pt x="85" y="67"/>
                  </a:lnTo>
                  <a:lnTo>
                    <a:pt x="85" y="73"/>
                  </a:lnTo>
                  <a:lnTo>
                    <a:pt x="83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5" y="75"/>
                  </a:lnTo>
                  <a:lnTo>
                    <a:pt x="73" y="75"/>
                  </a:lnTo>
                  <a:lnTo>
                    <a:pt x="69" y="73"/>
                  </a:lnTo>
                  <a:lnTo>
                    <a:pt x="65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0" y="73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8"/>
                  </a:lnTo>
                  <a:lnTo>
                    <a:pt x="48" y="78"/>
                  </a:lnTo>
                  <a:lnTo>
                    <a:pt x="48" y="80"/>
                  </a:lnTo>
                  <a:lnTo>
                    <a:pt x="46" y="82"/>
                  </a:lnTo>
                  <a:lnTo>
                    <a:pt x="44" y="84"/>
                  </a:lnTo>
                  <a:lnTo>
                    <a:pt x="46" y="86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0" y="98"/>
                  </a:lnTo>
                  <a:lnTo>
                    <a:pt x="39" y="100"/>
                  </a:lnTo>
                  <a:lnTo>
                    <a:pt x="39" y="103"/>
                  </a:lnTo>
                  <a:lnTo>
                    <a:pt x="39" y="105"/>
                  </a:lnTo>
                  <a:lnTo>
                    <a:pt x="39" y="107"/>
                  </a:lnTo>
                  <a:lnTo>
                    <a:pt x="39" y="111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7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1" y="121"/>
                  </a:lnTo>
                  <a:lnTo>
                    <a:pt x="19" y="121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2" y="121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4" y="124"/>
                  </a:lnTo>
                  <a:lnTo>
                    <a:pt x="2" y="124"/>
                  </a:lnTo>
                  <a:lnTo>
                    <a:pt x="0" y="128"/>
                  </a:lnTo>
                  <a:lnTo>
                    <a:pt x="0" y="130"/>
                  </a:lnTo>
                  <a:lnTo>
                    <a:pt x="4" y="130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6" y="134"/>
                  </a:lnTo>
                  <a:lnTo>
                    <a:pt x="6" y="136"/>
                  </a:lnTo>
                  <a:lnTo>
                    <a:pt x="6" y="138"/>
                  </a:lnTo>
                  <a:lnTo>
                    <a:pt x="6" y="140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7"/>
                  </a:lnTo>
                  <a:lnTo>
                    <a:pt x="2" y="147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4" y="153"/>
                  </a:lnTo>
                  <a:lnTo>
                    <a:pt x="4" y="157"/>
                  </a:lnTo>
                  <a:lnTo>
                    <a:pt x="4" y="159"/>
                  </a:lnTo>
                  <a:lnTo>
                    <a:pt x="4" y="161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5"/>
                  </a:lnTo>
                  <a:lnTo>
                    <a:pt x="4" y="167"/>
                  </a:lnTo>
                  <a:lnTo>
                    <a:pt x="2" y="169"/>
                  </a:lnTo>
                  <a:lnTo>
                    <a:pt x="2" y="171"/>
                  </a:lnTo>
                  <a:lnTo>
                    <a:pt x="2" y="172"/>
                  </a:lnTo>
                  <a:lnTo>
                    <a:pt x="6" y="172"/>
                  </a:lnTo>
                  <a:lnTo>
                    <a:pt x="8" y="174"/>
                  </a:lnTo>
                  <a:lnTo>
                    <a:pt x="10" y="174"/>
                  </a:lnTo>
                  <a:lnTo>
                    <a:pt x="12" y="176"/>
                  </a:lnTo>
                  <a:lnTo>
                    <a:pt x="12" y="178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7" y="186"/>
                  </a:lnTo>
                  <a:lnTo>
                    <a:pt x="17" y="188"/>
                  </a:lnTo>
                  <a:lnTo>
                    <a:pt x="17" y="190"/>
                  </a:lnTo>
                  <a:lnTo>
                    <a:pt x="19" y="190"/>
                  </a:lnTo>
                  <a:lnTo>
                    <a:pt x="21" y="192"/>
                  </a:lnTo>
                  <a:lnTo>
                    <a:pt x="21" y="192"/>
                  </a:lnTo>
                  <a:lnTo>
                    <a:pt x="23" y="194"/>
                  </a:lnTo>
                  <a:lnTo>
                    <a:pt x="23" y="195"/>
                  </a:lnTo>
                  <a:lnTo>
                    <a:pt x="27" y="195"/>
                  </a:lnTo>
                  <a:lnTo>
                    <a:pt x="27" y="195"/>
                  </a:lnTo>
                  <a:lnTo>
                    <a:pt x="27" y="197"/>
                  </a:lnTo>
                  <a:lnTo>
                    <a:pt x="29" y="197"/>
                  </a:lnTo>
                  <a:lnTo>
                    <a:pt x="31" y="197"/>
                  </a:lnTo>
                  <a:lnTo>
                    <a:pt x="33" y="199"/>
                  </a:lnTo>
                  <a:lnTo>
                    <a:pt x="35" y="201"/>
                  </a:lnTo>
                  <a:lnTo>
                    <a:pt x="37" y="201"/>
                  </a:lnTo>
                  <a:lnTo>
                    <a:pt x="39" y="203"/>
                  </a:lnTo>
                  <a:lnTo>
                    <a:pt x="40" y="205"/>
                  </a:lnTo>
                  <a:lnTo>
                    <a:pt x="40" y="207"/>
                  </a:lnTo>
                  <a:lnTo>
                    <a:pt x="42" y="207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8" y="207"/>
                  </a:lnTo>
                  <a:lnTo>
                    <a:pt x="48" y="205"/>
                  </a:lnTo>
                  <a:lnTo>
                    <a:pt x="48" y="203"/>
                  </a:lnTo>
                  <a:lnTo>
                    <a:pt x="48" y="201"/>
                  </a:lnTo>
                  <a:lnTo>
                    <a:pt x="48" y="199"/>
                  </a:lnTo>
                  <a:lnTo>
                    <a:pt x="50" y="197"/>
                  </a:lnTo>
                  <a:lnTo>
                    <a:pt x="52" y="197"/>
                  </a:lnTo>
                  <a:lnTo>
                    <a:pt x="54" y="197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60" y="195"/>
                  </a:lnTo>
                  <a:lnTo>
                    <a:pt x="60" y="195"/>
                  </a:lnTo>
                  <a:lnTo>
                    <a:pt x="62" y="195"/>
                  </a:lnTo>
                  <a:lnTo>
                    <a:pt x="63" y="194"/>
                  </a:lnTo>
                  <a:lnTo>
                    <a:pt x="65" y="194"/>
                  </a:lnTo>
                  <a:lnTo>
                    <a:pt x="67" y="192"/>
                  </a:lnTo>
                  <a:lnTo>
                    <a:pt x="67" y="192"/>
                  </a:lnTo>
                  <a:lnTo>
                    <a:pt x="69" y="192"/>
                  </a:lnTo>
                  <a:lnTo>
                    <a:pt x="71" y="192"/>
                  </a:lnTo>
                  <a:lnTo>
                    <a:pt x="75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8" y="192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2" y="195"/>
                  </a:lnTo>
                  <a:lnTo>
                    <a:pt x="94" y="197"/>
                  </a:lnTo>
                  <a:lnTo>
                    <a:pt x="94" y="197"/>
                  </a:lnTo>
                  <a:lnTo>
                    <a:pt x="98" y="197"/>
                  </a:lnTo>
                  <a:lnTo>
                    <a:pt x="98" y="197"/>
                  </a:lnTo>
                  <a:lnTo>
                    <a:pt x="100" y="195"/>
                  </a:lnTo>
                  <a:lnTo>
                    <a:pt x="100" y="192"/>
                  </a:lnTo>
                  <a:lnTo>
                    <a:pt x="102" y="190"/>
                  </a:lnTo>
                  <a:lnTo>
                    <a:pt x="102" y="188"/>
                  </a:lnTo>
                  <a:lnTo>
                    <a:pt x="102" y="186"/>
                  </a:lnTo>
                  <a:lnTo>
                    <a:pt x="102" y="184"/>
                  </a:lnTo>
                  <a:lnTo>
                    <a:pt x="102" y="180"/>
                  </a:lnTo>
                  <a:lnTo>
                    <a:pt x="102" y="178"/>
                  </a:lnTo>
                  <a:lnTo>
                    <a:pt x="100" y="178"/>
                  </a:lnTo>
                  <a:lnTo>
                    <a:pt x="100" y="176"/>
                  </a:lnTo>
                  <a:lnTo>
                    <a:pt x="100" y="174"/>
                  </a:lnTo>
                  <a:lnTo>
                    <a:pt x="98" y="172"/>
                  </a:lnTo>
                  <a:lnTo>
                    <a:pt x="98" y="172"/>
                  </a:lnTo>
                  <a:lnTo>
                    <a:pt x="100" y="169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59"/>
                  </a:lnTo>
                  <a:lnTo>
                    <a:pt x="100" y="157"/>
                  </a:lnTo>
                  <a:lnTo>
                    <a:pt x="100" y="155"/>
                  </a:lnTo>
                  <a:lnTo>
                    <a:pt x="100" y="153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2" y="147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8" y="146"/>
                  </a:lnTo>
                  <a:lnTo>
                    <a:pt x="110" y="146"/>
                  </a:lnTo>
                  <a:lnTo>
                    <a:pt x="110" y="146"/>
                  </a:lnTo>
                  <a:lnTo>
                    <a:pt x="111" y="146"/>
                  </a:lnTo>
                  <a:lnTo>
                    <a:pt x="113" y="147"/>
                  </a:lnTo>
                  <a:lnTo>
                    <a:pt x="115" y="147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21" y="147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7" y="151"/>
                  </a:lnTo>
                  <a:lnTo>
                    <a:pt x="129" y="151"/>
                  </a:lnTo>
                  <a:lnTo>
                    <a:pt x="131" y="151"/>
                  </a:lnTo>
                  <a:lnTo>
                    <a:pt x="133" y="151"/>
                  </a:lnTo>
                  <a:lnTo>
                    <a:pt x="134" y="151"/>
                  </a:lnTo>
                  <a:lnTo>
                    <a:pt x="138" y="151"/>
                  </a:lnTo>
                  <a:lnTo>
                    <a:pt x="140" y="151"/>
                  </a:lnTo>
                  <a:lnTo>
                    <a:pt x="144" y="151"/>
                  </a:lnTo>
                  <a:lnTo>
                    <a:pt x="146" y="149"/>
                  </a:lnTo>
                  <a:lnTo>
                    <a:pt x="150" y="149"/>
                  </a:lnTo>
                  <a:lnTo>
                    <a:pt x="152" y="149"/>
                  </a:lnTo>
                  <a:lnTo>
                    <a:pt x="154" y="149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9" y="149"/>
                  </a:lnTo>
                  <a:lnTo>
                    <a:pt x="161" y="151"/>
                  </a:lnTo>
                  <a:lnTo>
                    <a:pt x="165" y="151"/>
                  </a:lnTo>
                  <a:lnTo>
                    <a:pt x="167" y="151"/>
                  </a:lnTo>
                  <a:lnTo>
                    <a:pt x="171" y="151"/>
                  </a:lnTo>
                  <a:lnTo>
                    <a:pt x="171" y="151"/>
                  </a:lnTo>
                  <a:lnTo>
                    <a:pt x="173" y="151"/>
                  </a:lnTo>
                  <a:lnTo>
                    <a:pt x="177" y="149"/>
                  </a:lnTo>
                  <a:lnTo>
                    <a:pt x="179" y="149"/>
                  </a:lnTo>
                  <a:lnTo>
                    <a:pt x="181" y="149"/>
                  </a:lnTo>
                  <a:lnTo>
                    <a:pt x="182" y="147"/>
                  </a:lnTo>
                  <a:lnTo>
                    <a:pt x="184" y="147"/>
                  </a:lnTo>
                  <a:lnTo>
                    <a:pt x="188" y="147"/>
                  </a:lnTo>
                  <a:lnTo>
                    <a:pt x="190" y="147"/>
                  </a:lnTo>
                  <a:lnTo>
                    <a:pt x="192" y="147"/>
                  </a:lnTo>
                  <a:lnTo>
                    <a:pt x="194" y="147"/>
                  </a:lnTo>
                  <a:lnTo>
                    <a:pt x="196" y="147"/>
                  </a:lnTo>
                  <a:lnTo>
                    <a:pt x="198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202" y="142"/>
                  </a:lnTo>
                  <a:lnTo>
                    <a:pt x="204" y="142"/>
                  </a:lnTo>
                  <a:lnTo>
                    <a:pt x="204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7" y="146"/>
                  </a:lnTo>
                  <a:lnTo>
                    <a:pt x="219" y="146"/>
                  </a:lnTo>
                  <a:lnTo>
                    <a:pt x="221" y="147"/>
                  </a:lnTo>
                  <a:lnTo>
                    <a:pt x="223" y="147"/>
                  </a:lnTo>
                  <a:lnTo>
                    <a:pt x="227" y="147"/>
                  </a:lnTo>
                  <a:lnTo>
                    <a:pt x="228" y="147"/>
                  </a:lnTo>
                  <a:lnTo>
                    <a:pt x="230" y="147"/>
                  </a:lnTo>
                  <a:lnTo>
                    <a:pt x="232" y="147"/>
                  </a:lnTo>
                  <a:lnTo>
                    <a:pt x="234" y="147"/>
                  </a:lnTo>
                  <a:lnTo>
                    <a:pt x="238" y="147"/>
                  </a:lnTo>
                  <a:lnTo>
                    <a:pt x="240" y="147"/>
                  </a:lnTo>
                  <a:lnTo>
                    <a:pt x="242" y="146"/>
                  </a:lnTo>
                  <a:lnTo>
                    <a:pt x="242" y="146"/>
                  </a:lnTo>
                  <a:lnTo>
                    <a:pt x="244" y="144"/>
                  </a:lnTo>
                  <a:lnTo>
                    <a:pt x="246" y="144"/>
                  </a:lnTo>
                  <a:lnTo>
                    <a:pt x="246" y="142"/>
                  </a:lnTo>
                  <a:lnTo>
                    <a:pt x="248" y="142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0" y="138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3" y="136"/>
                  </a:lnTo>
                  <a:lnTo>
                    <a:pt x="255" y="136"/>
                  </a:lnTo>
                  <a:lnTo>
                    <a:pt x="257" y="136"/>
                  </a:lnTo>
                  <a:lnTo>
                    <a:pt x="261" y="136"/>
                  </a:lnTo>
                  <a:lnTo>
                    <a:pt x="263" y="136"/>
                  </a:lnTo>
                  <a:lnTo>
                    <a:pt x="265" y="136"/>
                  </a:lnTo>
                  <a:lnTo>
                    <a:pt x="267" y="136"/>
                  </a:lnTo>
                  <a:lnTo>
                    <a:pt x="269" y="136"/>
                  </a:lnTo>
                  <a:lnTo>
                    <a:pt x="269" y="136"/>
                  </a:lnTo>
                  <a:lnTo>
                    <a:pt x="271" y="136"/>
                  </a:lnTo>
                  <a:lnTo>
                    <a:pt x="273" y="136"/>
                  </a:lnTo>
                  <a:lnTo>
                    <a:pt x="275" y="136"/>
                  </a:lnTo>
                  <a:lnTo>
                    <a:pt x="276" y="134"/>
                  </a:lnTo>
                  <a:lnTo>
                    <a:pt x="278" y="134"/>
                  </a:lnTo>
                  <a:lnTo>
                    <a:pt x="278" y="132"/>
                  </a:lnTo>
                  <a:lnTo>
                    <a:pt x="280" y="130"/>
                  </a:lnTo>
                  <a:lnTo>
                    <a:pt x="280" y="130"/>
                  </a:lnTo>
                  <a:lnTo>
                    <a:pt x="282" y="128"/>
                  </a:lnTo>
                  <a:lnTo>
                    <a:pt x="284" y="128"/>
                  </a:lnTo>
                  <a:lnTo>
                    <a:pt x="284" y="124"/>
                  </a:lnTo>
                  <a:lnTo>
                    <a:pt x="284" y="123"/>
                  </a:lnTo>
                  <a:lnTo>
                    <a:pt x="284" y="121"/>
                  </a:lnTo>
                  <a:lnTo>
                    <a:pt x="284" y="119"/>
                  </a:lnTo>
                  <a:lnTo>
                    <a:pt x="284" y="117"/>
                  </a:lnTo>
                  <a:lnTo>
                    <a:pt x="284" y="117"/>
                  </a:lnTo>
                  <a:lnTo>
                    <a:pt x="284" y="115"/>
                  </a:lnTo>
                  <a:lnTo>
                    <a:pt x="284" y="113"/>
                  </a:lnTo>
                  <a:lnTo>
                    <a:pt x="284" y="111"/>
                  </a:lnTo>
                  <a:lnTo>
                    <a:pt x="282" y="111"/>
                  </a:lnTo>
                  <a:lnTo>
                    <a:pt x="284" y="111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6" name="Freeform 93"/>
            <p:cNvSpPr>
              <a:spLocks/>
            </p:cNvSpPr>
            <p:nvPr/>
          </p:nvSpPr>
          <p:spPr bwMode="auto">
            <a:xfrm>
              <a:off x="1179" y="1461"/>
              <a:ext cx="566" cy="422"/>
            </a:xfrm>
            <a:custGeom>
              <a:avLst/>
              <a:gdLst/>
              <a:ahLst/>
              <a:cxnLst>
                <a:cxn ang="0">
                  <a:pos x="90" y="297"/>
                </a:cxn>
                <a:cxn ang="0">
                  <a:pos x="127" y="291"/>
                </a:cxn>
                <a:cxn ang="0">
                  <a:pos x="156" y="261"/>
                </a:cxn>
                <a:cxn ang="0">
                  <a:pos x="169" y="163"/>
                </a:cxn>
                <a:cxn ang="0">
                  <a:pos x="205" y="149"/>
                </a:cxn>
                <a:cxn ang="0">
                  <a:pos x="443" y="2"/>
                </a:cxn>
                <a:cxn ang="0">
                  <a:pos x="466" y="7"/>
                </a:cxn>
                <a:cxn ang="0">
                  <a:pos x="489" y="9"/>
                </a:cxn>
                <a:cxn ang="0">
                  <a:pos x="505" y="23"/>
                </a:cxn>
                <a:cxn ang="0">
                  <a:pos x="518" y="32"/>
                </a:cxn>
                <a:cxn ang="0">
                  <a:pos x="539" y="27"/>
                </a:cxn>
                <a:cxn ang="0">
                  <a:pos x="545" y="48"/>
                </a:cxn>
                <a:cxn ang="0">
                  <a:pos x="549" y="71"/>
                </a:cxn>
                <a:cxn ang="0">
                  <a:pos x="562" y="82"/>
                </a:cxn>
                <a:cxn ang="0">
                  <a:pos x="566" y="103"/>
                </a:cxn>
                <a:cxn ang="0">
                  <a:pos x="566" y="123"/>
                </a:cxn>
                <a:cxn ang="0">
                  <a:pos x="555" y="138"/>
                </a:cxn>
                <a:cxn ang="0">
                  <a:pos x="551" y="155"/>
                </a:cxn>
                <a:cxn ang="0">
                  <a:pos x="555" y="184"/>
                </a:cxn>
                <a:cxn ang="0">
                  <a:pos x="557" y="217"/>
                </a:cxn>
                <a:cxn ang="0">
                  <a:pos x="557" y="245"/>
                </a:cxn>
                <a:cxn ang="0">
                  <a:pos x="541" y="265"/>
                </a:cxn>
                <a:cxn ang="0">
                  <a:pos x="522" y="276"/>
                </a:cxn>
                <a:cxn ang="0">
                  <a:pos x="511" y="290"/>
                </a:cxn>
                <a:cxn ang="0">
                  <a:pos x="499" y="305"/>
                </a:cxn>
                <a:cxn ang="0">
                  <a:pos x="486" y="328"/>
                </a:cxn>
                <a:cxn ang="0">
                  <a:pos x="482" y="357"/>
                </a:cxn>
                <a:cxn ang="0">
                  <a:pos x="466" y="366"/>
                </a:cxn>
                <a:cxn ang="0">
                  <a:pos x="451" y="376"/>
                </a:cxn>
                <a:cxn ang="0">
                  <a:pos x="434" y="378"/>
                </a:cxn>
                <a:cxn ang="0">
                  <a:pos x="415" y="374"/>
                </a:cxn>
                <a:cxn ang="0">
                  <a:pos x="395" y="380"/>
                </a:cxn>
                <a:cxn ang="0">
                  <a:pos x="369" y="382"/>
                </a:cxn>
                <a:cxn ang="0">
                  <a:pos x="355" y="384"/>
                </a:cxn>
                <a:cxn ang="0">
                  <a:pos x="342" y="399"/>
                </a:cxn>
                <a:cxn ang="0">
                  <a:pos x="328" y="395"/>
                </a:cxn>
                <a:cxn ang="0">
                  <a:pos x="313" y="387"/>
                </a:cxn>
                <a:cxn ang="0">
                  <a:pos x="301" y="374"/>
                </a:cxn>
                <a:cxn ang="0">
                  <a:pos x="278" y="376"/>
                </a:cxn>
                <a:cxn ang="0">
                  <a:pos x="267" y="389"/>
                </a:cxn>
                <a:cxn ang="0">
                  <a:pos x="250" y="384"/>
                </a:cxn>
                <a:cxn ang="0">
                  <a:pos x="232" y="368"/>
                </a:cxn>
                <a:cxn ang="0">
                  <a:pos x="217" y="355"/>
                </a:cxn>
                <a:cxn ang="0">
                  <a:pos x="204" y="351"/>
                </a:cxn>
                <a:cxn ang="0">
                  <a:pos x="190" y="364"/>
                </a:cxn>
                <a:cxn ang="0">
                  <a:pos x="171" y="362"/>
                </a:cxn>
                <a:cxn ang="0">
                  <a:pos x="152" y="364"/>
                </a:cxn>
                <a:cxn ang="0">
                  <a:pos x="140" y="376"/>
                </a:cxn>
                <a:cxn ang="0">
                  <a:pos x="131" y="397"/>
                </a:cxn>
                <a:cxn ang="0">
                  <a:pos x="121" y="414"/>
                </a:cxn>
                <a:cxn ang="0">
                  <a:pos x="108" y="420"/>
                </a:cxn>
                <a:cxn ang="0">
                  <a:pos x="92" y="410"/>
                </a:cxn>
                <a:cxn ang="0">
                  <a:pos x="77" y="420"/>
                </a:cxn>
                <a:cxn ang="0">
                  <a:pos x="63" y="410"/>
                </a:cxn>
                <a:cxn ang="0">
                  <a:pos x="63" y="395"/>
                </a:cxn>
                <a:cxn ang="0">
                  <a:pos x="48" y="397"/>
                </a:cxn>
                <a:cxn ang="0">
                  <a:pos x="39" y="382"/>
                </a:cxn>
                <a:cxn ang="0">
                  <a:pos x="27" y="364"/>
                </a:cxn>
                <a:cxn ang="0">
                  <a:pos x="14" y="351"/>
                </a:cxn>
                <a:cxn ang="0">
                  <a:pos x="2" y="334"/>
                </a:cxn>
                <a:cxn ang="0">
                  <a:pos x="4" y="311"/>
                </a:cxn>
              </a:cxnLst>
              <a:rect l="0" t="0" r="r" b="b"/>
              <a:pathLst>
                <a:path w="566" h="422">
                  <a:moveTo>
                    <a:pt x="4" y="309"/>
                  </a:moveTo>
                  <a:lnTo>
                    <a:pt x="15" y="309"/>
                  </a:lnTo>
                  <a:lnTo>
                    <a:pt x="27" y="311"/>
                  </a:lnTo>
                  <a:lnTo>
                    <a:pt x="33" y="309"/>
                  </a:lnTo>
                  <a:lnTo>
                    <a:pt x="40" y="309"/>
                  </a:lnTo>
                  <a:lnTo>
                    <a:pt x="46" y="303"/>
                  </a:lnTo>
                  <a:lnTo>
                    <a:pt x="52" y="299"/>
                  </a:lnTo>
                  <a:lnTo>
                    <a:pt x="67" y="299"/>
                  </a:lnTo>
                  <a:lnTo>
                    <a:pt x="81" y="299"/>
                  </a:lnTo>
                  <a:lnTo>
                    <a:pt x="85" y="297"/>
                  </a:lnTo>
                  <a:lnTo>
                    <a:pt x="90" y="297"/>
                  </a:lnTo>
                  <a:lnTo>
                    <a:pt x="92" y="297"/>
                  </a:lnTo>
                  <a:lnTo>
                    <a:pt x="94" y="297"/>
                  </a:lnTo>
                  <a:lnTo>
                    <a:pt x="96" y="295"/>
                  </a:lnTo>
                  <a:lnTo>
                    <a:pt x="98" y="295"/>
                  </a:lnTo>
                  <a:lnTo>
                    <a:pt x="100" y="293"/>
                  </a:lnTo>
                  <a:lnTo>
                    <a:pt x="100" y="293"/>
                  </a:lnTo>
                  <a:lnTo>
                    <a:pt x="102" y="291"/>
                  </a:lnTo>
                  <a:lnTo>
                    <a:pt x="104" y="290"/>
                  </a:lnTo>
                  <a:lnTo>
                    <a:pt x="113" y="290"/>
                  </a:lnTo>
                  <a:lnTo>
                    <a:pt x="119" y="290"/>
                  </a:lnTo>
                  <a:lnTo>
                    <a:pt x="127" y="291"/>
                  </a:lnTo>
                  <a:lnTo>
                    <a:pt x="131" y="291"/>
                  </a:lnTo>
                  <a:lnTo>
                    <a:pt x="136" y="293"/>
                  </a:lnTo>
                  <a:lnTo>
                    <a:pt x="144" y="284"/>
                  </a:lnTo>
                  <a:lnTo>
                    <a:pt x="146" y="280"/>
                  </a:lnTo>
                  <a:lnTo>
                    <a:pt x="148" y="276"/>
                  </a:lnTo>
                  <a:lnTo>
                    <a:pt x="150" y="274"/>
                  </a:lnTo>
                  <a:lnTo>
                    <a:pt x="154" y="270"/>
                  </a:lnTo>
                  <a:lnTo>
                    <a:pt x="154" y="268"/>
                  </a:lnTo>
                  <a:lnTo>
                    <a:pt x="156" y="267"/>
                  </a:lnTo>
                  <a:lnTo>
                    <a:pt x="156" y="265"/>
                  </a:lnTo>
                  <a:lnTo>
                    <a:pt x="156" y="261"/>
                  </a:lnTo>
                  <a:lnTo>
                    <a:pt x="156" y="259"/>
                  </a:lnTo>
                  <a:lnTo>
                    <a:pt x="156" y="255"/>
                  </a:lnTo>
                  <a:lnTo>
                    <a:pt x="154" y="247"/>
                  </a:lnTo>
                  <a:lnTo>
                    <a:pt x="154" y="238"/>
                  </a:lnTo>
                  <a:lnTo>
                    <a:pt x="154" y="220"/>
                  </a:lnTo>
                  <a:lnTo>
                    <a:pt x="154" y="213"/>
                  </a:lnTo>
                  <a:lnTo>
                    <a:pt x="152" y="205"/>
                  </a:lnTo>
                  <a:lnTo>
                    <a:pt x="150" y="186"/>
                  </a:lnTo>
                  <a:lnTo>
                    <a:pt x="150" y="165"/>
                  </a:lnTo>
                  <a:lnTo>
                    <a:pt x="159" y="165"/>
                  </a:lnTo>
                  <a:lnTo>
                    <a:pt x="169" y="163"/>
                  </a:lnTo>
                  <a:lnTo>
                    <a:pt x="173" y="163"/>
                  </a:lnTo>
                  <a:lnTo>
                    <a:pt x="177" y="161"/>
                  </a:lnTo>
                  <a:lnTo>
                    <a:pt x="180" y="161"/>
                  </a:lnTo>
                  <a:lnTo>
                    <a:pt x="182" y="161"/>
                  </a:lnTo>
                  <a:lnTo>
                    <a:pt x="190" y="159"/>
                  </a:lnTo>
                  <a:lnTo>
                    <a:pt x="198" y="155"/>
                  </a:lnTo>
                  <a:lnTo>
                    <a:pt x="204" y="155"/>
                  </a:lnTo>
                  <a:lnTo>
                    <a:pt x="204" y="153"/>
                  </a:lnTo>
                  <a:lnTo>
                    <a:pt x="204" y="151"/>
                  </a:lnTo>
                  <a:lnTo>
                    <a:pt x="205" y="149"/>
                  </a:lnTo>
                  <a:lnTo>
                    <a:pt x="205" y="149"/>
                  </a:lnTo>
                  <a:lnTo>
                    <a:pt x="207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11" y="142"/>
                  </a:lnTo>
                  <a:lnTo>
                    <a:pt x="290" y="84"/>
                  </a:lnTo>
                  <a:lnTo>
                    <a:pt x="434" y="0"/>
                  </a:lnTo>
                  <a:lnTo>
                    <a:pt x="438" y="2"/>
                  </a:lnTo>
                  <a:lnTo>
                    <a:pt x="440" y="2"/>
                  </a:lnTo>
                  <a:lnTo>
                    <a:pt x="443" y="2"/>
                  </a:lnTo>
                  <a:lnTo>
                    <a:pt x="445" y="4"/>
                  </a:lnTo>
                  <a:lnTo>
                    <a:pt x="449" y="4"/>
                  </a:lnTo>
                  <a:lnTo>
                    <a:pt x="451" y="4"/>
                  </a:lnTo>
                  <a:lnTo>
                    <a:pt x="453" y="4"/>
                  </a:lnTo>
                  <a:lnTo>
                    <a:pt x="455" y="4"/>
                  </a:lnTo>
                  <a:lnTo>
                    <a:pt x="457" y="4"/>
                  </a:lnTo>
                  <a:lnTo>
                    <a:pt x="459" y="4"/>
                  </a:lnTo>
                  <a:lnTo>
                    <a:pt x="461" y="4"/>
                  </a:lnTo>
                  <a:lnTo>
                    <a:pt x="463" y="6"/>
                  </a:lnTo>
                  <a:lnTo>
                    <a:pt x="463" y="7"/>
                  </a:lnTo>
                  <a:lnTo>
                    <a:pt x="466" y="7"/>
                  </a:lnTo>
                  <a:lnTo>
                    <a:pt x="466" y="7"/>
                  </a:lnTo>
                  <a:lnTo>
                    <a:pt x="470" y="7"/>
                  </a:lnTo>
                  <a:lnTo>
                    <a:pt x="472" y="7"/>
                  </a:lnTo>
                  <a:lnTo>
                    <a:pt x="474" y="7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2" y="9"/>
                  </a:lnTo>
                  <a:lnTo>
                    <a:pt x="484" y="9"/>
                  </a:lnTo>
                  <a:lnTo>
                    <a:pt x="486" y="9"/>
                  </a:lnTo>
                  <a:lnTo>
                    <a:pt x="487" y="9"/>
                  </a:lnTo>
                  <a:lnTo>
                    <a:pt x="489" y="9"/>
                  </a:lnTo>
                  <a:lnTo>
                    <a:pt x="491" y="9"/>
                  </a:lnTo>
                  <a:lnTo>
                    <a:pt x="493" y="11"/>
                  </a:lnTo>
                  <a:lnTo>
                    <a:pt x="493" y="13"/>
                  </a:lnTo>
                  <a:lnTo>
                    <a:pt x="495" y="15"/>
                  </a:lnTo>
                  <a:lnTo>
                    <a:pt x="497" y="15"/>
                  </a:lnTo>
                  <a:lnTo>
                    <a:pt x="499" y="17"/>
                  </a:lnTo>
                  <a:lnTo>
                    <a:pt x="501" y="19"/>
                  </a:lnTo>
                  <a:lnTo>
                    <a:pt x="501" y="19"/>
                  </a:lnTo>
                  <a:lnTo>
                    <a:pt x="503" y="21"/>
                  </a:lnTo>
                  <a:lnTo>
                    <a:pt x="503" y="21"/>
                  </a:lnTo>
                  <a:lnTo>
                    <a:pt x="505" y="23"/>
                  </a:lnTo>
                  <a:lnTo>
                    <a:pt x="507" y="23"/>
                  </a:lnTo>
                  <a:lnTo>
                    <a:pt x="507" y="25"/>
                  </a:lnTo>
                  <a:lnTo>
                    <a:pt x="509" y="27"/>
                  </a:lnTo>
                  <a:lnTo>
                    <a:pt x="509" y="27"/>
                  </a:lnTo>
                  <a:lnTo>
                    <a:pt x="509" y="30"/>
                  </a:lnTo>
                  <a:lnTo>
                    <a:pt x="511" y="30"/>
                  </a:lnTo>
                  <a:lnTo>
                    <a:pt x="511" y="34"/>
                  </a:lnTo>
                  <a:lnTo>
                    <a:pt x="512" y="34"/>
                  </a:lnTo>
                  <a:lnTo>
                    <a:pt x="514" y="34"/>
                  </a:lnTo>
                  <a:lnTo>
                    <a:pt x="516" y="34"/>
                  </a:lnTo>
                  <a:lnTo>
                    <a:pt x="518" y="32"/>
                  </a:lnTo>
                  <a:lnTo>
                    <a:pt x="520" y="30"/>
                  </a:lnTo>
                  <a:lnTo>
                    <a:pt x="522" y="30"/>
                  </a:lnTo>
                  <a:lnTo>
                    <a:pt x="524" y="30"/>
                  </a:lnTo>
                  <a:lnTo>
                    <a:pt x="526" y="30"/>
                  </a:lnTo>
                  <a:lnTo>
                    <a:pt x="528" y="30"/>
                  </a:lnTo>
                  <a:lnTo>
                    <a:pt x="530" y="30"/>
                  </a:lnTo>
                  <a:lnTo>
                    <a:pt x="532" y="30"/>
                  </a:lnTo>
                  <a:lnTo>
                    <a:pt x="534" y="29"/>
                  </a:lnTo>
                  <a:lnTo>
                    <a:pt x="537" y="29"/>
                  </a:lnTo>
                  <a:lnTo>
                    <a:pt x="537" y="27"/>
                  </a:lnTo>
                  <a:lnTo>
                    <a:pt x="539" y="27"/>
                  </a:lnTo>
                  <a:lnTo>
                    <a:pt x="543" y="27"/>
                  </a:lnTo>
                  <a:lnTo>
                    <a:pt x="545" y="27"/>
                  </a:lnTo>
                  <a:lnTo>
                    <a:pt x="543" y="30"/>
                  </a:lnTo>
                  <a:lnTo>
                    <a:pt x="543" y="32"/>
                  </a:lnTo>
                  <a:lnTo>
                    <a:pt x="543" y="34"/>
                  </a:lnTo>
                  <a:lnTo>
                    <a:pt x="543" y="36"/>
                  </a:lnTo>
                  <a:lnTo>
                    <a:pt x="543" y="38"/>
                  </a:lnTo>
                  <a:lnTo>
                    <a:pt x="543" y="42"/>
                  </a:lnTo>
                  <a:lnTo>
                    <a:pt x="543" y="44"/>
                  </a:lnTo>
                  <a:lnTo>
                    <a:pt x="543" y="46"/>
                  </a:lnTo>
                  <a:lnTo>
                    <a:pt x="545" y="48"/>
                  </a:lnTo>
                  <a:lnTo>
                    <a:pt x="545" y="50"/>
                  </a:lnTo>
                  <a:lnTo>
                    <a:pt x="545" y="52"/>
                  </a:lnTo>
                  <a:lnTo>
                    <a:pt x="545" y="54"/>
                  </a:lnTo>
                  <a:lnTo>
                    <a:pt x="545" y="57"/>
                  </a:lnTo>
                  <a:lnTo>
                    <a:pt x="545" y="59"/>
                  </a:lnTo>
                  <a:lnTo>
                    <a:pt x="545" y="61"/>
                  </a:lnTo>
                  <a:lnTo>
                    <a:pt x="545" y="63"/>
                  </a:lnTo>
                  <a:lnTo>
                    <a:pt x="547" y="65"/>
                  </a:lnTo>
                  <a:lnTo>
                    <a:pt x="547" y="65"/>
                  </a:lnTo>
                  <a:lnTo>
                    <a:pt x="549" y="67"/>
                  </a:lnTo>
                  <a:lnTo>
                    <a:pt x="549" y="71"/>
                  </a:lnTo>
                  <a:lnTo>
                    <a:pt x="551" y="73"/>
                  </a:lnTo>
                  <a:lnTo>
                    <a:pt x="551" y="75"/>
                  </a:lnTo>
                  <a:lnTo>
                    <a:pt x="553" y="75"/>
                  </a:lnTo>
                  <a:lnTo>
                    <a:pt x="553" y="77"/>
                  </a:lnTo>
                  <a:lnTo>
                    <a:pt x="553" y="78"/>
                  </a:lnTo>
                  <a:lnTo>
                    <a:pt x="555" y="78"/>
                  </a:lnTo>
                  <a:lnTo>
                    <a:pt x="557" y="78"/>
                  </a:lnTo>
                  <a:lnTo>
                    <a:pt x="558" y="78"/>
                  </a:lnTo>
                  <a:lnTo>
                    <a:pt x="560" y="80"/>
                  </a:lnTo>
                  <a:lnTo>
                    <a:pt x="560" y="80"/>
                  </a:lnTo>
                  <a:lnTo>
                    <a:pt x="562" y="82"/>
                  </a:lnTo>
                  <a:lnTo>
                    <a:pt x="562" y="86"/>
                  </a:lnTo>
                  <a:lnTo>
                    <a:pt x="562" y="88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4"/>
                  </a:lnTo>
                  <a:lnTo>
                    <a:pt x="566" y="98"/>
                  </a:lnTo>
                  <a:lnTo>
                    <a:pt x="566" y="100"/>
                  </a:lnTo>
                  <a:lnTo>
                    <a:pt x="566" y="101"/>
                  </a:lnTo>
                  <a:lnTo>
                    <a:pt x="566" y="103"/>
                  </a:lnTo>
                  <a:lnTo>
                    <a:pt x="566" y="105"/>
                  </a:lnTo>
                  <a:lnTo>
                    <a:pt x="566" y="107"/>
                  </a:lnTo>
                  <a:lnTo>
                    <a:pt x="564" y="107"/>
                  </a:lnTo>
                  <a:lnTo>
                    <a:pt x="564" y="109"/>
                  </a:lnTo>
                  <a:lnTo>
                    <a:pt x="564" y="113"/>
                  </a:lnTo>
                  <a:lnTo>
                    <a:pt x="564" y="113"/>
                  </a:lnTo>
                  <a:lnTo>
                    <a:pt x="564" y="115"/>
                  </a:lnTo>
                  <a:lnTo>
                    <a:pt x="566" y="117"/>
                  </a:lnTo>
                  <a:lnTo>
                    <a:pt x="566" y="119"/>
                  </a:lnTo>
                  <a:lnTo>
                    <a:pt x="566" y="121"/>
                  </a:lnTo>
                  <a:lnTo>
                    <a:pt x="566" y="123"/>
                  </a:lnTo>
                  <a:lnTo>
                    <a:pt x="566" y="125"/>
                  </a:lnTo>
                  <a:lnTo>
                    <a:pt x="564" y="125"/>
                  </a:lnTo>
                  <a:lnTo>
                    <a:pt x="562" y="126"/>
                  </a:lnTo>
                  <a:lnTo>
                    <a:pt x="562" y="130"/>
                  </a:lnTo>
                  <a:lnTo>
                    <a:pt x="562" y="132"/>
                  </a:lnTo>
                  <a:lnTo>
                    <a:pt x="562" y="134"/>
                  </a:lnTo>
                  <a:lnTo>
                    <a:pt x="560" y="134"/>
                  </a:lnTo>
                  <a:lnTo>
                    <a:pt x="558" y="136"/>
                  </a:lnTo>
                  <a:lnTo>
                    <a:pt x="557" y="136"/>
                  </a:lnTo>
                  <a:lnTo>
                    <a:pt x="557" y="136"/>
                  </a:lnTo>
                  <a:lnTo>
                    <a:pt x="555" y="138"/>
                  </a:lnTo>
                  <a:lnTo>
                    <a:pt x="553" y="138"/>
                  </a:lnTo>
                  <a:lnTo>
                    <a:pt x="553" y="140"/>
                  </a:lnTo>
                  <a:lnTo>
                    <a:pt x="551" y="140"/>
                  </a:lnTo>
                  <a:lnTo>
                    <a:pt x="549" y="142"/>
                  </a:lnTo>
                  <a:lnTo>
                    <a:pt x="549" y="144"/>
                  </a:lnTo>
                  <a:lnTo>
                    <a:pt x="549" y="146"/>
                  </a:lnTo>
                  <a:lnTo>
                    <a:pt x="549" y="148"/>
                  </a:lnTo>
                  <a:lnTo>
                    <a:pt x="549" y="149"/>
                  </a:lnTo>
                  <a:lnTo>
                    <a:pt x="549" y="151"/>
                  </a:lnTo>
                  <a:lnTo>
                    <a:pt x="549" y="153"/>
                  </a:lnTo>
                  <a:lnTo>
                    <a:pt x="551" y="155"/>
                  </a:lnTo>
                  <a:lnTo>
                    <a:pt x="551" y="157"/>
                  </a:lnTo>
                  <a:lnTo>
                    <a:pt x="551" y="159"/>
                  </a:lnTo>
                  <a:lnTo>
                    <a:pt x="551" y="161"/>
                  </a:lnTo>
                  <a:lnTo>
                    <a:pt x="551" y="165"/>
                  </a:lnTo>
                  <a:lnTo>
                    <a:pt x="551" y="169"/>
                  </a:lnTo>
                  <a:lnTo>
                    <a:pt x="553" y="169"/>
                  </a:lnTo>
                  <a:lnTo>
                    <a:pt x="553" y="171"/>
                  </a:lnTo>
                  <a:lnTo>
                    <a:pt x="553" y="174"/>
                  </a:lnTo>
                  <a:lnTo>
                    <a:pt x="555" y="178"/>
                  </a:lnTo>
                  <a:lnTo>
                    <a:pt x="555" y="182"/>
                  </a:lnTo>
                  <a:lnTo>
                    <a:pt x="555" y="184"/>
                  </a:lnTo>
                  <a:lnTo>
                    <a:pt x="555" y="188"/>
                  </a:lnTo>
                  <a:lnTo>
                    <a:pt x="555" y="192"/>
                  </a:lnTo>
                  <a:lnTo>
                    <a:pt x="555" y="194"/>
                  </a:lnTo>
                  <a:lnTo>
                    <a:pt x="555" y="196"/>
                  </a:lnTo>
                  <a:lnTo>
                    <a:pt x="555" y="197"/>
                  </a:lnTo>
                  <a:lnTo>
                    <a:pt x="557" y="201"/>
                  </a:lnTo>
                  <a:lnTo>
                    <a:pt x="557" y="203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7" y="213"/>
                  </a:lnTo>
                  <a:lnTo>
                    <a:pt x="557" y="217"/>
                  </a:lnTo>
                  <a:lnTo>
                    <a:pt x="557" y="222"/>
                  </a:lnTo>
                  <a:lnTo>
                    <a:pt x="558" y="224"/>
                  </a:lnTo>
                  <a:lnTo>
                    <a:pt x="558" y="226"/>
                  </a:lnTo>
                  <a:lnTo>
                    <a:pt x="557" y="230"/>
                  </a:lnTo>
                  <a:lnTo>
                    <a:pt x="557" y="232"/>
                  </a:lnTo>
                  <a:lnTo>
                    <a:pt x="557" y="234"/>
                  </a:lnTo>
                  <a:lnTo>
                    <a:pt x="557" y="238"/>
                  </a:lnTo>
                  <a:lnTo>
                    <a:pt x="557" y="240"/>
                  </a:lnTo>
                  <a:lnTo>
                    <a:pt x="557" y="242"/>
                  </a:lnTo>
                  <a:lnTo>
                    <a:pt x="557" y="243"/>
                  </a:lnTo>
                  <a:lnTo>
                    <a:pt x="557" y="245"/>
                  </a:lnTo>
                  <a:lnTo>
                    <a:pt x="557" y="247"/>
                  </a:lnTo>
                  <a:lnTo>
                    <a:pt x="555" y="249"/>
                  </a:lnTo>
                  <a:lnTo>
                    <a:pt x="555" y="251"/>
                  </a:lnTo>
                  <a:lnTo>
                    <a:pt x="551" y="253"/>
                  </a:lnTo>
                  <a:lnTo>
                    <a:pt x="549" y="255"/>
                  </a:lnTo>
                  <a:lnTo>
                    <a:pt x="549" y="257"/>
                  </a:lnTo>
                  <a:lnTo>
                    <a:pt x="547" y="259"/>
                  </a:lnTo>
                  <a:lnTo>
                    <a:pt x="545" y="259"/>
                  </a:lnTo>
                  <a:lnTo>
                    <a:pt x="543" y="261"/>
                  </a:lnTo>
                  <a:lnTo>
                    <a:pt x="543" y="263"/>
                  </a:lnTo>
                  <a:lnTo>
                    <a:pt x="541" y="265"/>
                  </a:lnTo>
                  <a:lnTo>
                    <a:pt x="539" y="265"/>
                  </a:lnTo>
                  <a:lnTo>
                    <a:pt x="537" y="265"/>
                  </a:lnTo>
                  <a:lnTo>
                    <a:pt x="537" y="265"/>
                  </a:lnTo>
                  <a:lnTo>
                    <a:pt x="535" y="267"/>
                  </a:lnTo>
                  <a:lnTo>
                    <a:pt x="534" y="268"/>
                  </a:lnTo>
                  <a:lnTo>
                    <a:pt x="532" y="270"/>
                  </a:lnTo>
                  <a:lnTo>
                    <a:pt x="528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4" y="274"/>
                  </a:lnTo>
                  <a:lnTo>
                    <a:pt x="522" y="276"/>
                  </a:lnTo>
                  <a:lnTo>
                    <a:pt x="522" y="278"/>
                  </a:lnTo>
                  <a:lnTo>
                    <a:pt x="520" y="278"/>
                  </a:lnTo>
                  <a:lnTo>
                    <a:pt x="518" y="278"/>
                  </a:lnTo>
                  <a:lnTo>
                    <a:pt x="518" y="280"/>
                  </a:lnTo>
                  <a:lnTo>
                    <a:pt x="518" y="282"/>
                  </a:lnTo>
                  <a:lnTo>
                    <a:pt x="516" y="284"/>
                  </a:lnTo>
                  <a:lnTo>
                    <a:pt x="516" y="284"/>
                  </a:lnTo>
                  <a:lnTo>
                    <a:pt x="514" y="284"/>
                  </a:lnTo>
                  <a:lnTo>
                    <a:pt x="514" y="286"/>
                  </a:lnTo>
                  <a:lnTo>
                    <a:pt x="512" y="288"/>
                  </a:lnTo>
                  <a:lnTo>
                    <a:pt x="511" y="290"/>
                  </a:lnTo>
                  <a:lnTo>
                    <a:pt x="511" y="290"/>
                  </a:lnTo>
                  <a:lnTo>
                    <a:pt x="509" y="291"/>
                  </a:lnTo>
                  <a:lnTo>
                    <a:pt x="507" y="291"/>
                  </a:lnTo>
                  <a:lnTo>
                    <a:pt x="507" y="293"/>
                  </a:lnTo>
                  <a:lnTo>
                    <a:pt x="505" y="295"/>
                  </a:lnTo>
                  <a:lnTo>
                    <a:pt x="505" y="295"/>
                  </a:lnTo>
                  <a:lnTo>
                    <a:pt x="503" y="297"/>
                  </a:lnTo>
                  <a:lnTo>
                    <a:pt x="501" y="297"/>
                  </a:lnTo>
                  <a:lnTo>
                    <a:pt x="501" y="299"/>
                  </a:lnTo>
                  <a:lnTo>
                    <a:pt x="499" y="301"/>
                  </a:lnTo>
                  <a:lnTo>
                    <a:pt x="499" y="305"/>
                  </a:lnTo>
                  <a:lnTo>
                    <a:pt x="497" y="307"/>
                  </a:lnTo>
                  <a:lnTo>
                    <a:pt x="497" y="309"/>
                  </a:lnTo>
                  <a:lnTo>
                    <a:pt x="495" y="313"/>
                  </a:lnTo>
                  <a:lnTo>
                    <a:pt x="493" y="314"/>
                  </a:lnTo>
                  <a:lnTo>
                    <a:pt x="493" y="316"/>
                  </a:lnTo>
                  <a:lnTo>
                    <a:pt x="493" y="320"/>
                  </a:lnTo>
                  <a:lnTo>
                    <a:pt x="489" y="320"/>
                  </a:lnTo>
                  <a:lnTo>
                    <a:pt x="489" y="322"/>
                  </a:lnTo>
                  <a:lnTo>
                    <a:pt x="487" y="324"/>
                  </a:lnTo>
                  <a:lnTo>
                    <a:pt x="487" y="326"/>
                  </a:lnTo>
                  <a:lnTo>
                    <a:pt x="486" y="328"/>
                  </a:lnTo>
                  <a:lnTo>
                    <a:pt x="486" y="328"/>
                  </a:lnTo>
                  <a:lnTo>
                    <a:pt x="486" y="334"/>
                  </a:lnTo>
                  <a:lnTo>
                    <a:pt x="484" y="338"/>
                  </a:lnTo>
                  <a:lnTo>
                    <a:pt x="482" y="339"/>
                  </a:lnTo>
                  <a:lnTo>
                    <a:pt x="482" y="341"/>
                  </a:lnTo>
                  <a:lnTo>
                    <a:pt x="482" y="343"/>
                  </a:lnTo>
                  <a:lnTo>
                    <a:pt x="482" y="345"/>
                  </a:lnTo>
                  <a:lnTo>
                    <a:pt x="482" y="349"/>
                  </a:lnTo>
                  <a:lnTo>
                    <a:pt x="482" y="353"/>
                  </a:lnTo>
                  <a:lnTo>
                    <a:pt x="482" y="355"/>
                  </a:lnTo>
                  <a:lnTo>
                    <a:pt x="482" y="357"/>
                  </a:lnTo>
                  <a:lnTo>
                    <a:pt x="482" y="359"/>
                  </a:lnTo>
                  <a:lnTo>
                    <a:pt x="478" y="359"/>
                  </a:lnTo>
                  <a:lnTo>
                    <a:pt x="476" y="359"/>
                  </a:lnTo>
                  <a:lnTo>
                    <a:pt x="476" y="359"/>
                  </a:lnTo>
                  <a:lnTo>
                    <a:pt x="474" y="361"/>
                  </a:lnTo>
                  <a:lnTo>
                    <a:pt x="472" y="361"/>
                  </a:lnTo>
                  <a:lnTo>
                    <a:pt x="470" y="361"/>
                  </a:lnTo>
                  <a:lnTo>
                    <a:pt x="470" y="362"/>
                  </a:lnTo>
                  <a:lnTo>
                    <a:pt x="468" y="362"/>
                  </a:lnTo>
                  <a:lnTo>
                    <a:pt x="466" y="364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7" y="370"/>
                  </a:lnTo>
                  <a:lnTo>
                    <a:pt x="455" y="370"/>
                  </a:lnTo>
                  <a:lnTo>
                    <a:pt x="455" y="370"/>
                  </a:lnTo>
                  <a:lnTo>
                    <a:pt x="453" y="372"/>
                  </a:lnTo>
                  <a:lnTo>
                    <a:pt x="453" y="374"/>
                  </a:lnTo>
                  <a:lnTo>
                    <a:pt x="451" y="374"/>
                  </a:lnTo>
                  <a:lnTo>
                    <a:pt x="451" y="376"/>
                  </a:lnTo>
                  <a:lnTo>
                    <a:pt x="451" y="378"/>
                  </a:lnTo>
                  <a:lnTo>
                    <a:pt x="449" y="378"/>
                  </a:lnTo>
                  <a:lnTo>
                    <a:pt x="447" y="378"/>
                  </a:lnTo>
                  <a:lnTo>
                    <a:pt x="447" y="378"/>
                  </a:lnTo>
                  <a:lnTo>
                    <a:pt x="445" y="380"/>
                  </a:lnTo>
                  <a:lnTo>
                    <a:pt x="443" y="380"/>
                  </a:lnTo>
                  <a:lnTo>
                    <a:pt x="441" y="382"/>
                  </a:lnTo>
                  <a:lnTo>
                    <a:pt x="440" y="380"/>
                  </a:lnTo>
                  <a:lnTo>
                    <a:pt x="438" y="380"/>
                  </a:lnTo>
                  <a:lnTo>
                    <a:pt x="436" y="380"/>
                  </a:lnTo>
                  <a:lnTo>
                    <a:pt x="434" y="378"/>
                  </a:lnTo>
                  <a:lnTo>
                    <a:pt x="434" y="376"/>
                  </a:lnTo>
                  <a:lnTo>
                    <a:pt x="432" y="376"/>
                  </a:lnTo>
                  <a:lnTo>
                    <a:pt x="430" y="376"/>
                  </a:lnTo>
                  <a:lnTo>
                    <a:pt x="428" y="376"/>
                  </a:lnTo>
                  <a:lnTo>
                    <a:pt x="426" y="376"/>
                  </a:lnTo>
                  <a:lnTo>
                    <a:pt x="424" y="376"/>
                  </a:lnTo>
                  <a:lnTo>
                    <a:pt x="422" y="374"/>
                  </a:lnTo>
                  <a:lnTo>
                    <a:pt x="420" y="374"/>
                  </a:lnTo>
                  <a:lnTo>
                    <a:pt x="418" y="374"/>
                  </a:lnTo>
                  <a:lnTo>
                    <a:pt x="417" y="374"/>
                  </a:lnTo>
                  <a:lnTo>
                    <a:pt x="415" y="374"/>
                  </a:lnTo>
                  <a:lnTo>
                    <a:pt x="413" y="376"/>
                  </a:lnTo>
                  <a:lnTo>
                    <a:pt x="411" y="376"/>
                  </a:lnTo>
                  <a:lnTo>
                    <a:pt x="409" y="376"/>
                  </a:lnTo>
                  <a:lnTo>
                    <a:pt x="407" y="376"/>
                  </a:lnTo>
                  <a:lnTo>
                    <a:pt x="405" y="376"/>
                  </a:lnTo>
                  <a:lnTo>
                    <a:pt x="401" y="376"/>
                  </a:lnTo>
                  <a:lnTo>
                    <a:pt x="399" y="378"/>
                  </a:lnTo>
                  <a:lnTo>
                    <a:pt x="399" y="378"/>
                  </a:lnTo>
                  <a:lnTo>
                    <a:pt x="397" y="378"/>
                  </a:lnTo>
                  <a:lnTo>
                    <a:pt x="397" y="380"/>
                  </a:lnTo>
                  <a:lnTo>
                    <a:pt x="395" y="380"/>
                  </a:lnTo>
                  <a:lnTo>
                    <a:pt x="393" y="382"/>
                  </a:lnTo>
                  <a:lnTo>
                    <a:pt x="392" y="382"/>
                  </a:lnTo>
                  <a:lnTo>
                    <a:pt x="388" y="382"/>
                  </a:lnTo>
                  <a:lnTo>
                    <a:pt x="386" y="382"/>
                  </a:lnTo>
                  <a:lnTo>
                    <a:pt x="382" y="382"/>
                  </a:lnTo>
                  <a:lnTo>
                    <a:pt x="380" y="382"/>
                  </a:lnTo>
                  <a:lnTo>
                    <a:pt x="378" y="382"/>
                  </a:lnTo>
                  <a:lnTo>
                    <a:pt x="376" y="382"/>
                  </a:lnTo>
                  <a:lnTo>
                    <a:pt x="372" y="382"/>
                  </a:lnTo>
                  <a:lnTo>
                    <a:pt x="370" y="382"/>
                  </a:lnTo>
                  <a:lnTo>
                    <a:pt x="369" y="382"/>
                  </a:lnTo>
                  <a:lnTo>
                    <a:pt x="367" y="382"/>
                  </a:lnTo>
                  <a:lnTo>
                    <a:pt x="365" y="382"/>
                  </a:lnTo>
                  <a:lnTo>
                    <a:pt x="365" y="380"/>
                  </a:lnTo>
                  <a:lnTo>
                    <a:pt x="363" y="380"/>
                  </a:lnTo>
                  <a:lnTo>
                    <a:pt x="361" y="380"/>
                  </a:lnTo>
                  <a:lnTo>
                    <a:pt x="359" y="378"/>
                  </a:lnTo>
                  <a:lnTo>
                    <a:pt x="359" y="380"/>
                  </a:lnTo>
                  <a:lnTo>
                    <a:pt x="357" y="380"/>
                  </a:lnTo>
                  <a:lnTo>
                    <a:pt x="355" y="382"/>
                  </a:lnTo>
                  <a:lnTo>
                    <a:pt x="355" y="384"/>
                  </a:lnTo>
                  <a:lnTo>
                    <a:pt x="355" y="384"/>
                  </a:lnTo>
                  <a:lnTo>
                    <a:pt x="353" y="384"/>
                  </a:lnTo>
                  <a:lnTo>
                    <a:pt x="353" y="385"/>
                  </a:lnTo>
                  <a:lnTo>
                    <a:pt x="351" y="387"/>
                  </a:lnTo>
                  <a:lnTo>
                    <a:pt x="351" y="389"/>
                  </a:lnTo>
                  <a:lnTo>
                    <a:pt x="349" y="389"/>
                  </a:lnTo>
                  <a:lnTo>
                    <a:pt x="349" y="389"/>
                  </a:lnTo>
                  <a:lnTo>
                    <a:pt x="347" y="393"/>
                  </a:lnTo>
                  <a:lnTo>
                    <a:pt x="346" y="395"/>
                  </a:lnTo>
                  <a:lnTo>
                    <a:pt x="344" y="395"/>
                  </a:lnTo>
                  <a:lnTo>
                    <a:pt x="344" y="399"/>
                  </a:lnTo>
                  <a:lnTo>
                    <a:pt x="342" y="399"/>
                  </a:lnTo>
                  <a:lnTo>
                    <a:pt x="340" y="399"/>
                  </a:lnTo>
                  <a:lnTo>
                    <a:pt x="340" y="401"/>
                  </a:lnTo>
                  <a:lnTo>
                    <a:pt x="338" y="403"/>
                  </a:lnTo>
                  <a:lnTo>
                    <a:pt x="336" y="403"/>
                  </a:lnTo>
                  <a:lnTo>
                    <a:pt x="334" y="403"/>
                  </a:lnTo>
                  <a:lnTo>
                    <a:pt x="332" y="403"/>
                  </a:lnTo>
                  <a:lnTo>
                    <a:pt x="332" y="401"/>
                  </a:lnTo>
                  <a:lnTo>
                    <a:pt x="330" y="401"/>
                  </a:lnTo>
                  <a:lnTo>
                    <a:pt x="330" y="399"/>
                  </a:lnTo>
                  <a:lnTo>
                    <a:pt x="328" y="397"/>
                  </a:lnTo>
                  <a:lnTo>
                    <a:pt x="328" y="395"/>
                  </a:lnTo>
                  <a:lnTo>
                    <a:pt x="326" y="395"/>
                  </a:lnTo>
                  <a:lnTo>
                    <a:pt x="324" y="395"/>
                  </a:lnTo>
                  <a:lnTo>
                    <a:pt x="322" y="395"/>
                  </a:lnTo>
                  <a:lnTo>
                    <a:pt x="322" y="393"/>
                  </a:lnTo>
                  <a:lnTo>
                    <a:pt x="321" y="393"/>
                  </a:lnTo>
                  <a:lnTo>
                    <a:pt x="319" y="393"/>
                  </a:lnTo>
                  <a:lnTo>
                    <a:pt x="319" y="389"/>
                  </a:lnTo>
                  <a:lnTo>
                    <a:pt x="317" y="389"/>
                  </a:lnTo>
                  <a:lnTo>
                    <a:pt x="315" y="389"/>
                  </a:lnTo>
                  <a:lnTo>
                    <a:pt x="315" y="389"/>
                  </a:lnTo>
                  <a:lnTo>
                    <a:pt x="313" y="387"/>
                  </a:lnTo>
                  <a:lnTo>
                    <a:pt x="311" y="387"/>
                  </a:lnTo>
                  <a:lnTo>
                    <a:pt x="311" y="385"/>
                  </a:lnTo>
                  <a:lnTo>
                    <a:pt x="309" y="384"/>
                  </a:lnTo>
                  <a:lnTo>
                    <a:pt x="309" y="384"/>
                  </a:lnTo>
                  <a:lnTo>
                    <a:pt x="309" y="382"/>
                  </a:lnTo>
                  <a:lnTo>
                    <a:pt x="307" y="380"/>
                  </a:lnTo>
                  <a:lnTo>
                    <a:pt x="305" y="378"/>
                  </a:lnTo>
                  <a:lnTo>
                    <a:pt x="305" y="378"/>
                  </a:lnTo>
                  <a:lnTo>
                    <a:pt x="303" y="376"/>
                  </a:lnTo>
                  <a:lnTo>
                    <a:pt x="303" y="376"/>
                  </a:lnTo>
                  <a:lnTo>
                    <a:pt x="301" y="374"/>
                  </a:lnTo>
                  <a:lnTo>
                    <a:pt x="299" y="374"/>
                  </a:lnTo>
                  <a:lnTo>
                    <a:pt x="298" y="372"/>
                  </a:lnTo>
                  <a:lnTo>
                    <a:pt x="294" y="372"/>
                  </a:lnTo>
                  <a:lnTo>
                    <a:pt x="292" y="372"/>
                  </a:lnTo>
                  <a:lnTo>
                    <a:pt x="290" y="372"/>
                  </a:lnTo>
                  <a:lnTo>
                    <a:pt x="288" y="372"/>
                  </a:lnTo>
                  <a:lnTo>
                    <a:pt x="284" y="372"/>
                  </a:lnTo>
                  <a:lnTo>
                    <a:pt x="282" y="372"/>
                  </a:lnTo>
                  <a:lnTo>
                    <a:pt x="282" y="374"/>
                  </a:lnTo>
                  <a:lnTo>
                    <a:pt x="278" y="374"/>
                  </a:lnTo>
                  <a:lnTo>
                    <a:pt x="278" y="376"/>
                  </a:lnTo>
                  <a:lnTo>
                    <a:pt x="276" y="376"/>
                  </a:lnTo>
                  <a:lnTo>
                    <a:pt x="276" y="378"/>
                  </a:lnTo>
                  <a:lnTo>
                    <a:pt x="275" y="380"/>
                  </a:lnTo>
                  <a:lnTo>
                    <a:pt x="273" y="382"/>
                  </a:lnTo>
                  <a:lnTo>
                    <a:pt x="273" y="382"/>
                  </a:lnTo>
                  <a:lnTo>
                    <a:pt x="271" y="382"/>
                  </a:lnTo>
                  <a:lnTo>
                    <a:pt x="271" y="384"/>
                  </a:lnTo>
                  <a:lnTo>
                    <a:pt x="271" y="385"/>
                  </a:lnTo>
                  <a:lnTo>
                    <a:pt x="269" y="387"/>
                  </a:lnTo>
                  <a:lnTo>
                    <a:pt x="267" y="387"/>
                  </a:lnTo>
                  <a:lnTo>
                    <a:pt x="267" y="389"/>
                  </a:lnTo>
                  <a:lnTo>
                    <a:pt x="263" y="389"/>
                  </a:lnTo>
                  <a:lnTo>
                    <a:pt x="261" y="389"/>
                  </a:lnTo>
                  <a:lnTo>
                    <a:pt x="261" y="389"/>
                  </a:lnTo>
                  <a:lnTo>
                    <a:pt x="259" y="387"/>
                  </a:lnTo>
                  <a:lnTo>
                    <a:pt x="259" y="387"/>
                  </a:lnTo>
                  <a:lnTo>
                    <a:pt x="257" y="385"/>
                  </a:lnTo>
                  <a:lnTo>
                    <a:pt x="255" y="387"/>
                  </a:lnTo>
                  <a:lnTo>
                    <a:pt x="253" y="387"/>
                  </a:lnTo>
                  <a:lnTo>
                    <a:pt x="253" y="384"/>
                  </a:lnTo>
                  <a:lnTo>
                    <a:pt x="251" y="384"/>
                  </a:lnTo>
                  <a:lnTo>
                    <a:pt x="250" y="384"/>
                  </a:lnTo>
                  <a:lnTo>
                    <a:pt x="250" y="382"/>
                  </a:lnTo>
                  <a:lnTo>
                    <a:pt x="248" y="382"/>
                  </a:lnTo>
                  <a:lnTo>
                    <a:pt x="244" y="382"/>
                  </a:lnTo>
                  <a:lnTo>
                    <a:pt x="242" y="382"/>
                  </a:lnTo>
                  <a:lnTo>
                    <a:pt x="242" y="380"/>
                  </a:lnTo>
                  <a:lnTo>
                    <a:pt x="242" y="378"/>
                  </a:lnTo>
                  <a:lnTo>
                    <a:pt x="240" y="376"/>
                  </a:lnTo>
                  <a:lnTo>
                    <a:pt x="240" y="376"/>
                  </a:lnTo>
                  <a:lnTo>
                    <a:pt x="236" y="370"/>
                  </a:lnTo>
                  <a:lnTo>
                    <a:pt x="232" y="370"/>
                  </a:lnTo>
                  <a:lnTo>
                    <a:pt x="232" y="368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4"/>
                  </a:lnTo>
                  <a:lnTo>
                    <a:pt x="227" y="364"/>
                  </a:lnTo>
                  <a:lnTo>
                    <a:pt x="225" y="362"/>
                  </a:lnTo>
                  <a:lnTo>
                    <a:pt x="223" y="361"/>
                  </a:lnTo>
                  <a:lnTo>
                    <a:pt x="223" y="359"/>
                  </a:lnTo>
                  <a:lnTo>
                    <a:pt x="223" y="359"/>
                  </a:lnTo>
                  <a:lnTo>
                    <a:pt x="221" y="357"/>
                  </a:lnTo>
                  <a:lnTo>
                    <a:pt x="219" y="355"/>
                  </a:lnTo>
                  <a:lnTo>
                    <a:pt x="217" y="355"/>
                  </a:lnTo>
                  <a:lnTo>
                    <a:pt x="217" y="353"/>
                  </a:lnTo>
                  <a:lnTo>
                    <a:pt x="217" y="353"/>
                  </a:lnTo>
                  <a:lnTo>
                    <a:pt x="215" y="351"/>
                  </a:lnTo>
                  <a:lnTo>
                    <a:pt x="211" y="351"/>
                  </a:lnTo>
                  <a:lnTo>
                    <a:pt x="211" y="349"/>
                  </a:lnTo>
                  <a:lnTo>
                    <a:pt x="211" y="349"/>
                  </a:lnTo>
                  <a:lnTo>
                    <a:pt x="209" y="349"/>
                  </a:lnTo>
                  <a:lnTo>
                    <a:pt x="207" y="349"/>
                  </a:lnTo>
                  <a:lnTo>
                    <a:pt x="205" y="349"/>
                  </a:lnTo>
                  <a:lnTo>
                    <a:pt x="204" y="351"/>
                  </a:lnTo>
                  <a:lnTo>
                    <a:pt x="204" y="351"/>
                  </a:lnTo>
                  <a:lnTo>
                    <a:pt x="202" y="353"/>
                  </a:lnTo>
                  <a:lnTo>
                    <a:pt x="200" y="355"/>
                  </a:lnTo>
                  <a:lnTo>
                    <a:pt x="200" y="355"/>
                  </a:lnTo>
                  <a:lnTo>
                    <a:pt x="198" y="357"/>
                  </a:lnTo>
                  <a:lnTo>
                    <a:pt x="196" y="357"/>
                  </a:lnTo>
                  <a:lnTo>
                    <a:pt x="194" y="359"/>
                  </a:lnTo>
                  <a:lnTo>
                    <a:pt x="194" y="359"/>
                  </a:lnTo>
                  <a:lnTo>
                    <a:pt x="192" y="361"/>
                  </a:lnTo>
                  <a:lnTo>
                    <a:pt x="192" y="361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88" y="364"/>
                  </a:lnTo>
                  <a:lnTo>
                    <a:pt x="186" y="364"/>
                  </a:lnTo>
                  <a:lnTo>
                    <a:pt x="186" y="366"/>
                  </a:lnTo>
                  <a:lnTo>
                    <a:pt x="182" y="366"/>
                  </a:lnTo>
                  <a:lnTo>
                    <a:pt x="180" y="366"/>
                  </a:lnTo>
                  <a:lnTo>
                    <a:pt x="179" y="366"/>
                  </a:lnTo>
                  <a:lnTo>
                    <a:pt x="177" y="366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71" y="364"/>
                  </a:lnTo>
                  <a:lnTo>
                    <a:pt x="171" y="362"/>
                  </a:lnTo>
                  <a:lnTo>
                    <a:pt x="167" y="362"/>
                  </a:lnTo>
                  <a:lnTo>
                    <a:pt x="165" y="361"/>
                  </a:lnTo>
                  <a:lnTo>
                    <a:pt x="163" y="361"/>
                  </a:lnTo>
                  <a:lnTo>
                    <a:pt x="161" y="361"/>
                  </a:lnTo>
                  <a:lnTo>
                    <a:pt x="159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6" y="361"/>
                  </a:lnTo>
                  <a:lnTo>
                    <a:pt x="154" y="362"/>
                  </a:lnTo>
                  <a:lnTo>
                    <a:pt x="154" y="362"/>
                  </a:lnTo>
                  <a:lnTo>
                    <a:pt x="152" y="364"/>
                  </a:lnTo>
                  <a:lnTo>
                    <a:pt x="152" y="364"/>
                  </a:lnTo>
                  <a:lnTo>
                    <a:pt x="150" y="366"/>
                  </a:lnTo>
                  <a:lnTo>
                    <a:pt x="150" y="366"/>
                  </a:lnTo>
                  <a:lnTo>
                    <a:pt x="148" y="366"/>
                  </a:lnTo>
                  <a:lnTo>
                    <a:pt x="146" y="368"/>
                  </a:lnTo>
                  <a:lnTo>
                    <a:pt x="144" y="370"/>
                  </a:lnTo>
                  <a:lnTo>
                    <a:pt x="144" y="370"/>
                  </a:lnTo>
                  <a:lnTo>
                    <a:pt x="142" y="372"/>
                  </a:lnTo>
                  <a:lnTo>
                    <a:pt x="142" y="374"/>
                  </a:lnTo>
                  <a:lnTo>
                    <a:pt x="142" y="376"/>
                  </a:lnTo>
                  <a:lnTo>
                    <a:pt x="140" y="376"/>
                  </a:lnTo>
                  <a:lnTo>
                    <a:pt x="138" y="378"/>
                  </a:lnTo>
                  <a:lnTo>
                    <a:pt x="138" y="382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38" y="389"/>
                  </a:lnTo>
                  <a:lnTo>
                    <a:pt x="138" y="391"/>
                  </a:lnTo>
                  <a:lnTo>
                    <a:pt x="136" y="393"/>
                  </a:lnTo>
                  <a:lnTo>
                    <a:pt x="134" y="393"/>
                  </a:lnTo>
                  <a:lnTo>
                    <a:pt x="133" y="395"/>
                  </a:lnTo>
                  <a:lnTo>
                    <a:pt x="133" y="395"/>
                  </a:lnTo>
                  <a:lnTo>
                    <a:pt x="131" y="397"/>
                  </a:lnTo>
                  <a:lnTo>
                    <a:pt x="131" y="399"/>
                  </a:lnTo>
                  <a:lnTo>
                    <a:pt x="129" y="401"/>
                  </a:lnTo>
                  <a:lnTo>
                    <a:pt x="127" y="401"/>
                  </a:lnTo>
                  <a:lnTo>
                    <a:pt x="127" y="405"/>
                  </a:lnTo>
                  <a:lnTo>
                    <a:pt x="125" y="405"/>
                  </a:lnTo>
                  <a:lnTo>
                    <a:pt x="125" y="405"/>
                  </a:lnTo>
                  <a:lnTo>
                    <a:pt x="125" y="407"/>
                  </a:lnTo>
                  <a:lnTo>
                    <a:pt x="123" y="409"/>
                  </a:lnTo>
                  <a:lnTo>
                    <a:pt x="121" y="410"/>
                  </a:lnTo>
                  <a:lnTo>
                    <a:pt x="121" y="414"/>
                  </a:lnTo>
                  <a:lnTo>
                    <a:pt x="121" y="414"/>
                  </a:lnTo>
                  <a:lnTo>
                    <a:pt x="119" y="416"/>
                  </a:lnTo>
                  <a:lnTo>
                    <a:pt x="119" y="418"/>
                  </a:lnTo>
                  <a:lnTo>
                    <a:pt x="119" y="416"/>
                  </a:lnTo>
                  <a:lnTo>
                    <a:pt x="117" y="416"/>
                  </a:lnTo>
                  <a:lnTo>
                    <a:pt x="117" y="418"/>
                  </a:lnTo>
                  <a:lnTo>
                    <a:pt x="115" y="420"/>
                  </a:lnTo>
                  <a:lnTo>
                    <a:pt x="115" y="422"/>
                  </a:lnTo>
                  <a:lnTo>
                    <a:pt x="111" y="422"/>
                  </a:lnTo>
                  <a:lnTo>
                    <a:pt x="110" y="422"/>
                  </a:lnTo>
                  <a:lnTo>
                    <a:pt x="108" y="422"/>
                  </a:lnTo>
                  <a:lnTo>
                    <a:pt x="108" y="420"/>
                  </a:lnTo>
                  <a:lnTo>
                    <a:pt x="106" y="420"/>
                  </a:lnTo>
                  <a:lnTo>
                    <a:pt x="104" y="418"/>
                  </a:lnTo>
                  <a:lnTo>
                    <a:pt x="104" y="418"/>
                  </a:lnTo>
                  <a:lnTo>
                    <a:pt x="102" y="416"/>
                  </a:lnTo>
                  <a:lnTo>
                    <a:pt x="100" y="416"/>
                  </a:lnTo>
                  <a:lnTo>
                    <a:pt x="100" y="414"/>
                  </a:lnTo>
                  <a:lnTo>
                    <a:pt x="100" y="412"/>
                  </a:lnTo>
                  <a:lnTo>
                    <a:pt x="98" y="410"/>
                  </a:lnTo>
                  <a:lnTo>
                    <a:pt x="96" y="410"/>
                  </a:lnTo>
                  <a:lnTo>
                    <a:pt x="94" y="410"/>
                  </a:lnTo>
                  <a:lnTo>
                    <a:pt x="92" y="410"/>
                  </a:lnTo>
                  <a:lnTo>
                    <a:pt x="90" y="410"/>
                  </a:lnTo>
                  <a:lnTo>
                    <a:pt x="90" y="412"/>
                  </a:lnTo>
                  <a:lnTo>
                    <a:pt x="88" y="412"/>
                  </a:lnTo>
                  <a:lnTo>
                    <a:pt x="86" y="414"/>
                  </a:lnTo>
                  <a:lnTo>
                    <a:pt x="86" y="414"/>
                  </a:lnTo>
                  <a:lnTo>
                    <a:pt x="85" y="416"/>
                  </a:lnTo>
                  <a:lnTo>
                    <a:pt x="83" y="418"/>
                  </a:lnTo>
                  <a:lnTo>
                    <a:pt x="83" y="418"/>
                  </a:lnTo>
                  <a:lnTo>
                    <a:pt x="81" y="418"/>
                  </a:lnTo>
                  <a:lnTo>
                    <a:pt x="79" y="418"/>
                  </a:lnTo>
                  <a:lnTo>
                    <a:pt x="77" y="420"/>
                  </a:lnTo>
                  <a:lnTo>
                    <a:pt x="75" y="420"/>
                  </a:lnTo>
                  <a:lnTo>
                    <a:pt x="73" y="420"/>
                  </a:lnTo>
                  <a:lnTo>
                    <a:pt x="71" y="420"/>
                  </a:lnTo>
                  <a:lnTo>
                    <a:pt x="69" y="420"/>
                  </a:lnTo>
                  <a:lnTo>
                    <a:pt x="67" y="420"/>
                  </a:lnTo>
                  <a:lnTo>
                    <a:pt x="67" y="416"/>
                  </a:lnTo>
                  <a:lnTo>
                    <a:pt x="65" y="416"/>
                  </a:lnTo>
                  <a:lnTo>
                    <a:pt x="65" y="414"/>
                  </a:lnTo>
                  <a:lnTo>
                    <a:pt x="63" y="412"/>
                  </a:lnTo>
                  <a:lnTo>
                    <a:pt x="63" y="410"/>
                  </a:lnTo>
                  <a:lnTo>
                    <a:pt x="63" y="410"/>
                  </a:lnTo>
                  <a:lnTo>
                    <a:pt x="65" y="409"/>
                  </a:lnTo>
                  <a:lnTo>
                    <a:pt x="65" y="407"/>
                  </a:lnTo>
                  <a:lnTo>
                    <a:pt x="65" y="405"/>
                  </a:lnTo>
                  <a:lnTo>
                    <a:pt x="67" y="403"/>
                  </a:lnTo>
                  <a:lnTo>
                    <a:pt x="69" y="401"/>
                  </a:lnTo>
                  <a:lnTo>
                    <a:pt x="67" y="401"/>
                  </a:lnTo>
                  <a:lnTo>
                    <a:pt x="67" y="399"/>
                  </a:lnTo>
                  <a:lnTo>
                    <a:pt x="65" y="397"/>
                  </a:lnTo>
                  <a:lnTo>
                    <a:pt x="65" y="395"/>
                  </a:lnTo>
                  <a:lnTo>
                    <a:pt x="65" y="395"/>
                  </a:lnTo>
                  <a:lnTo>
                    <a:pt x="63" y="395"/>
                  </a:lnTo>
                  <a:lnTo>
                    <a:pt x="62" y="395"/>
                  </a:lnTo>
                  <a:lnTo>
                    <a:pt x="60" y="393"/>
                  </a:lnTo>
                  <a:lnTo>
                    <a:pt x="58" y="393"/>
                  </a:lnTo>
                  <a:lnTo>
                    <a:pt x="56" y="393"/>
                  </a:lnTo>
                  <a:lnTo>
                    <a:pt x="56" y="395"/>
                  </a:lnTo>
                  <a:lnTo>
                    <a:pt x="54" y="395"/>
                  </a:lnTo>
                  <a:lnTo>
                    <a:pt x="54" y="395"/>
                  </a:lnTo>
                  <a:lnTo>
                    <a:pt x="54" y="397"/>
                  </a:lnTo>
                  <a:lnTo>
                    <a:pt x="50" y="397"/>
                  </a:lnTo>
                  <a:lnTo>
                    <a:pt x="50" y="397"/>
                  </a:lnTo>
                  <a:lnTo>
                    <a:pt x="48" y="397"/>
                  </a:lnTo>
                  <a:lnTo>
                    <a:pt x="48" y="395"/>
                  </a:lnTo>
                  <a:lnTo>
                    <a:pt x="46" y="395"/>
                  </a:lnTo>
                  <a:lnTo>
                    <a:pt x="44" y="393"/>
                  </a:lnTo>
                  <a:lnTo>
                    <a:pt x="44" y="391"/>
                  </a:lnTo>
                  <a:lnTo>
                    <a:pt x="44" y="389"/>
                  </a:lnTo>
                  <a:lnTo>
                    <a:pt x="42" y="387"/>
                  </a:lnTo>
                  <a:lnTo>
                    <a:pt x="42" y="387"/>
                  </a:lnTo>
                  <a:lnTo>
                    <a:pt x="40" y="385"/>
                  </a:lnTo>
                  <a:lnTo>
                    <a:pt x="39" y="385"/>
                  </a:lnTo>
                  <a:lnTo>
                    <a:pt x="39" y="384"/>
                  </a:lnTo>
                  <a:lnTo>
                    <a:pt x="39" y="382"/>
                  </a:lnTo>
                  <a:lnTo>
                    <a:pt x="37" y="382"/>
                  </a:lnTo>
                  <a:lnTo>
                    <a:pt x="37" y="378"/>
                  </a:lnTo>
                  <a:lnTo>
                    <a:pt x="37" y="376"/>
                  </a:lnTo>
                  <a:lnTo>
                    <a:pt x="37" y="374"/>
                  </a:lnTo>
                  <a:lnTo>
                    <a:pt x="37" y="372"/>
                  </a:lnTo>
                  <a:lnTo>
                    <a:pt x="37" y="370"/>
                  </a:lnTo>
                  <a:lnTo>
                    <a:pt x="37" y="366"/>
                  </a:lnTo>
                  <a:lnTo>
                    <a:pt x="31" y="366"/>
                  </a:lnTo>
                  <a:lnTo>
                    <a:pt x="29" y="366"/>
                  </a:lnTo>
                  <a:lnTo>
                    <a:pt x="29" y="364"/>
                  </a:lnTo>
                  <a:lnTo>
                    <a:pt x="27" y="364"/>
                  </a:lnTo>
                  <a:lnTo>
                    <a:pt x="25" y="364"/>
                  </a:lnTo>
                  <a:lnTo>
                    <a:pt x="23" y="362"/>
                  </a:lnTo>
                  <a:lnTo>
                    <a:pt x="23" y="361"/>
                  </a:lnTo>
                  <a:lnTo>
                    <a:pt x="21" y="361"/>
                  </a:lnTo>
                  <a:lnTo>
                    <a:pt x="19" y="359"/>
                  </a:lnTo>
                  <a:lnTo>
                    <a:pt x="17" y="359"/>
                  </a:lnTo>
                  <a:lnTo>
                    <a:pt x="17" y="355"/>
                  </a:lnTo>
                  <a:lnTo>
                    <a:pt x="15" y="355"/>
                  </a:lnTo>
                  <a:lnTo>
                    <a:pt x="15" y="353"/>
                  </a:lnTo>
                  <a:lnTo>
                    <a:pt x="14" y="353"/>
                  </a:lnTo>
                  <a:lnTo>
                    <a:pt x="14" y="351"/>
                  </a:lnTo>
                  <a:lnTo>
                    <a:pt x="12" y="351"/>
                  </a:lnTo>
                  <a:lnTo>
                    <a:pt x="10" y="349"/>
                  </a:lnTo>
                  <a:lnTo>
                    <a:pt x="8" y="347"/>
                  </a:lnTo>
                  <a:lnTo>
                    <a:pt x="8" y="345"/>
                  </a:lnTo>
                  <a:lnTo>
                    <a:pt x="8" y="343"/>
                  </a:lnTo>
                  <a:lnTo>
                    <a:pt x="6" y="341"/>
                  </a:lnTo>
                  <a:lnTo>
                    <a:pt x="6" y="339"/>
                  </a:lnTo>
                  <a:lnTo>
                    <a:pt x="4" y="338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2" y="328"/>
                  </a:lnTo>
                  <a:lnTo>
                    <a:pt x="2" y="326"/>
                  </a:lnTo>
                  <a:lnTo>
                    <a:pt x="0" y="322"/>
                  </a:lnTo>
                  <a:lnTo>
                    <a:pt x="2" y="322"/>
                  </a:lnTo>
                  <a:lnTo>
                    <a:pt x="2" y="320"/>
                  </a:lnTo>
                  <a:lnTo>
                    <a:pt x="2" y="318"/>
                  </a:lnTo>
                  <a:lnTo>
                    <a:pt x="2" y="316"/>
                  </a:lnTo>
                  <a:lnTo>
                    <a:pt x="4" y="314"/>
                  </a:lnTo>
                  <a:lnTo>
                    <a:pt x="4" y="311"/>
                  </a:lnTo>
                  <a:lnTo>
                    <a:pt x="2" y="311"/>
                  </a:lnTo>
                  <a:lnTo>
                    <a:pt x="4" y="3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7" name="Freeform 94"/>
            <p:cNvSpPr>
              <a:spLocks/>
            </p:cNvSpPr>
            <p:nvPr/>
          </p:nvSpPr>
          <p:spPr bwMode="auto">
            <a:xfrm>
              <a:off x="1179" y="1461"/>
              <a:ext cx="566" cy="422"/>
            </a:xfrm>
            <a:custGeom>
              <a:avLst/>
              <a:gdLst/>
              <a:ahLst/>
              <a:cxnLst>
                <a:cxn ang="0">
                  <a:pos x="90" y="297"/>
                </a:cxn>
                <a:cxn ang="0">
                  <a:pos x="127" y="291"/>
                </a:cxn>
                <a:cxn ang="0">
                  <a:pos x="156" y="261"/>
                </a:cxn>
                <a:cxn ang="0">
                  <a:pos x="169" y="163"/>
                </a:cxn>
                <a:cxn ang="0">
                  <a:pos x="205" y="149"/>
                </a:cxn>
                <a:cxn ang="0">
                  <a:pos x="443" y="2"/>
                </a:cxn>
                <a:cxn ang="0">
                  <a:pos x="466" y="7"/>
                </a:cxn>
                <a:cxn ang="0">
                  <a:pos x="489" y="9"/>
                </a:cxn>
                <a:cxn ang="0">
                  <a:pos x="505" y="23"/>
                </a:cxn>
                <a:cxn ang="0">
                  <a:pos x="518" y="32"/>
                </a:cxn>
                <a:cxn ang="0">
                  <a:pos x="539" y="27"/>
                </a:cxn>
                <a:cxn ang="0">
                  <a:pos x="545" y="48"/>
                </a:cxn>
                <a:cxn ang="0">
                  <a:pos x="549" y="71"/>
                </a:cxn>
                <a:cxn ang="0">
                  <a:pos x="562" y="82"/>
                </a:cxn>
                <a:cxn ang="0">
                  <a:pos x="566" y="103"/>
                </a:cxn>
                <a:cxn ang="0">
                  <a:pos x="566" y="123"/>
                </a:cxn>
                <a:cxn ang="0">
                  <a:pos x="555" y="138"/>
                </a:cxn>
                <a:cxn ang="0">
                  <a:pos x="551" y="155"/>
                </a:cxn>
                <a:cxn ang="0">
                  <a:pos x="555" y="184"/>
                </a:cxn>
                <a:cxn ang="0">
                  <a:pos x="557" y="217"/>
                </a:cxn>
                <a:cxn ang="0">
                  <a:pos x="557" y="245"/>
                </a:cxn>
                <a:cxn ang="0">
                  <a:pos x="541" y="265"/>
                </a:cxn>
                <a:cxn ang="0">
                  <a:pos x="522" y="276"/>
                </a:cxn>
                <a:cxn ang="0">
                  <a:pos x="511" y="290"/>
                </a:cxn>
                <a:cxn ang="0">
                  <a:pos x="499" y="305"/>
                </a:cxn>
                <a:cxn ang="0">
                  <a:pos x="486" y="328"/>
                </a:cxn>
                <a:cxn ang="0">
                  <a:pos x="482" y="357"/>
                </a:cxn>
                <a:cxn ang="0">
                  <a:pos x="466" y="366"/>
                </a:cxn>
                <a:cxn ang="0">
                  <a:pos x="451" y="376"/>
                </a:cxn>
                <a:cxn ang="0">
                  <a:pos x="434" y="378"/>
                </a:cxn>
                <a:cxn ang="0">
                  <a:pos x="415" y="374"/>
                </a:cxn>
                <a:cxn ang="0">
                  <a:pos x="395" y="380"/>
                </a:cxn>
                <a:cxn ang="0">
                  <a:pos x="369" y="382"/>
                </a:cxn>
                <a:cxn ang="0">
                  <a:pos x="355" y="384"/>
                </a:cxn>
                <a:cxn ang="0">
                  <a:pos x="342" y="399"/>
                </a:cxn>
                <a:cxn ang="0">
                  <a:pos x="328" y="395"/>
                </a:cxn>
                <a:cxn ang="0">
                  <a:pos x="313" y="387"/>
                </a:cxn>
                <a:cxn ang="0">
                  <a:pos x="301" y="374"/>
                </a:cxn>
                <a:cxn ang="0">
                  <a:pos x="278" y="376"/>
                </a:cxn>
                <a:cxn ang="0">
                  <a:pos x="267" y="389"/>
                </a:cxn>
                <a:cxn ang="0">
                  <a:pos x="250" y="384"/>
                </a:cxn>
                <a:cxn ang="0">
                  <a:pos x="232" y="368"/>
                </a:cxn>
                <a:cxn ang="0">
                  <a:pos x="217" y="355"/>
                </a:cxn>
                <a:cxn ang="0">
                  <a:pos x="204" y="351"/>
                </a:cxn>
                <a:cxn ang="0">
                  <a:pos x="190" y="364"/>
                </a:cxn>
                <a:cxn ang="0">
                  <a:pos x="171" y="362"/>
                </a:cxn>
                <a:cxn ang="0">
                  <a:pos x="152" y="364"/>
                </a:cxn>
                <a:cxn ang="0">
                  <a:pos x="140" y="376"/>
                </a:cxn>
                <a:cxn ang="0">
                  <a:pos x="131" y="397"/>
                </a:cxn>
                <a:cxn ang="0">
                  <a:pos x="121" y="414"/>
                </a:cxn>
                <a:cxn ang="0">
                  <a:pos x="108" y="420"/>
                </a:cxn>
                <a:cxn ang="0">
                  <a:pos x="92" y="410"/>
                </a:cxn>
                <a:cxn ang="0">
                  <a:pos x="77" y="420"/>
                </a:cxn>
                <a:cxn ang="0">
                  <a:pos x="63" y="410"/>
                </a:cxn>
                <a:cxn ang="0">
                  <a:pos x="63" y="395"/>
                </a:cxn>
                <a:cxn ang="0">
                  <a:pos x="48" y="397"/>
                </a:cxn>
                <a:cxn ang="0">
                  <a:pos x="39" y="382"/>
                </a:cxn>
                <a:cxn ang="0">
                  <a:pos x="27" y="364"/>
                </a:cxn>
                <a:cxn ang="0">
                  <a:pos x="14" y="351"/>
                </a:cxn>
                <a:cxn ang="0">
                  <a:pos x="2" y="334"/>
                </a:cxn>
                <a:cxn ang="0">
                  <a:pos x="4" y="311"/>
                </a:cxn>
              </a:cxnLst>
              <a:rect l="0" t="0" r="r" b="b"/>
              <a:pathLst>
                <a:path w="566" h="422">
                  <a:moveTo>
                    <a:pt x="4" y="309"/>
                  </a:moveTo>
                  <a:lnTo>
                    <a:pt x="15" y="309"/>
                  </a:lnTo>
                  <a:lnTo>
                    <a:pt x="27" y="311"/>
                  </a:lnTo>
                  <a:lnTo>
                    <a:pt x="33" y="309"/>
                  </a:lnTo>
                  <a:lnTo>
                    <a:pt x="40" y="309"/>
                  </a:lnTo>
                  <a:lnTo>
                    <a:pt x="46" y="303"/>
                  </a:lnTo>
                  <a:lnTo>
                    <a:pt x="52" y="299"/>
                  </a:lnTo>
                  <a:lnTo>
                    <a:pt x="67" y="299"/>
                  </a:lnTo>
                  <a:lnTo>
                    <a:pt x="81" y="299"/>
                  </a:lnTo>
                  <a:lnTo>
                    <a:pt x="85" y="297"/>
                  </a:lnTo>
                  <a:lnTo>
                    <a:pt x="90" y="297"/>
                  </a:lnTo>
                  <a:lnTo>
                    <a:pt x="92" y="297"/>
                  </a:lnTo>
                  <a:lnTo>
                    <a:pt x="94" y="297"/>
                  </a:lnTo>
                  <a:lnTo>
                    <a:pt x="96" y="295"/>
                  </a:lnTo>
                  <a:lnTo>
                    <a:pt x="98" y="295"/>
                  </a:lnTo>
                  <a:lnTo>
                    <a:pt x="100" y="293"/>
                  </a:lnTo>
                  <a:lnTo>
                    <a:pt x="100" y="293"/>
                  </a:lnTo>
                  <a:lnTo>
                    <a:pt x="102" y="291"/>
                  </a:lnTo>
                  <a:lnTo>
                    <a:pt x="104" y="290"/>
                  </a:lnTo>
                  <a:lnTo>
                    <a:pt x="113" y="290"/>
                  </a:lnTo>
                  <a:lnTo>
                    <a:pt x="119" y="290"/>
                  </a:lnTo>
                  <a:lnTo>
                    <a:pt x="127" y="291"/>
                  </a:lnTo>
                  <a:lnTo>
                    <a:pt x="131" y="291"/>
                  </a:lnTo>
                  <a:lnTo>
                    <a:pt x="136" y="293"/>
                  </a:lnTo>
                  <a:lnTo>
                    <a:pt x="144" y="284"/>
                  </a:lnTo>
                  <a:lnTo>
                    <a:pt x="146" y="280"/>
                  </a:lnTo>
                  <a:lnTo>
                    <a:pt x="148" y="276"/>
                  </a:lnTo>
                  <a:lnTo>
                    <a:pt x="150" y="274"/>
                  </a:lnTo>
                  <a:lnTo>
                    <a:pt x="154" y="270"/>
                  </a:lnTo>
                  <a:lnTo>
                    <a:pt x="154" y="268"/>
                  </a:lnTo>
                  <a:lnTo>
                    <a:pt x="156" y="267"/>
                  </a:lnTo>
                  <a:lnTo>
                    <a:pt x="156" y="265"/>
                  </a:lnTo>
                  <a:lnTo>
                    <a:pt x="156" y="261"/>
                  </a:lnTo>
                  <a:lnTo>
                    <a:pt x="156" y="259"/>
                  </a:lnTo>
                  <a:lnTo>
                    <a:pt x="156" y="255"/>
                  </a:lnTo>
                  <a:lnTo>
                    <a:pt x="154" y="247"/>
                  </a:lnTo>
                  <a:lnTo>
                    <a:pt x="154" y="238"/>
                  </a:lnTo>
                  <a:lnTo>
                    <a:pt x="154" y="220"/>
                  </a:lnTo>
                  <a:lnTo>
                    <a:pt x="154" y="213"/>
                  </a:lnTo>
                  <a:lnTo>
                    <a:pt x="152" y="205"/>
                  </a:lnTo>
                  <a:lnTo>
                    <a:pt x="150" y="186"/>
                  </a:lnTo>
                  <a:lnTo>
                    <a:pt x="150" y="165"/>
                  </a:lnTo>
                  <a:lnTo>
                    <a:pt x="159" y="165"/>
                  </a:lnTo>
                  <a:lnTo>
                    <a:pt x="169" y="163"/>
                  </a:lnTo>
                  <a:lnTo>
                    <a:pt x="173" y="163"/>
                  </a:lnTo>
                  <a:lnTo>
                    <a:pt x="177" y="161"/>
                  </a:lnTo>
                  <a:lnTo>
                    <a:pt x="180" y="161"/>
                  </a:lnTo>
                  <a:lnTo>
                    <a:pt x="182" y="161"/>
                  </a:lnTo>
                  <a:lnTo>
                    <a:pt x="190" y="159"/>
                  </a:lnTo>
                  <a:lnTo>
                    <a:pt x="198" y="155"/>
                  </a:lnTo>
                  <a:lnTo>
                    <a:pt x="204" y="155"/>
                  </a:lnTo>
                  <a:lnTo>
                    <a:pt x="204" y="153"/>
                  </a:lnTo>
                  <a:lnTo>
                    <a:pt x="204" y="151"/>
                  </a:lnTo>
                  <a:lnTo>
                    <a:pt x="205" y="149"/>
                  </a:lnTo>
                  <a:lnTo>
                    <a:pt x="205" y="149"/>
                  </a:lnTo>
                  <a:lnTo>
                    <a:pt x="207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11" y="142"/>
                  </a:lnTo>
                  <a:lnTo>
                    <a:pt x="290" y="84"/>
                  </a:lnTo>
                  <a:lnTo>
                    <a:pt x="434" y="0"/>
                  </a:lnTo>
                  <a:lnTo>
                    <a:pt x="438" y="2"/>
                  </a:lnTo>
                  <a:lnTo>
                    <a:pt x="440" y="2"/>
                  </a:lnTo>
                  <a:lnTo>
                    <a:pt x="443" y="2"/>
                  </a:lnTo>
                  <a:lnTo>
                    <a:pt x="445" y="4"/>
                  </a:lnTo>
                  <a:lnTo>
                    <a:pt x="449" y="4"/>
                  </a:lnTo>
                  <a:lnTo>
                    <a:pt x="451" y="4"/>
                  </a:lnTo>
                  <a:lnTo>
                    <a:pt x="453" y="4"/>
                  </a:lnTo>
                  <a:lnTo>
                    <a:pt x="455" y="4"/>
                  </a:lnTo>
                  <a:lnTo>
                    <a:pt x="457" y="4"/>
                  </a:lnTo>
                  <a:lnTo>
                    <a:pt x="459" y="4"/>
                  </a:lnTo>
                  <a:lnTo>
                    <a:pt x="461" y="4"/>
                  </a:lnTo>
                  <a:lnTo>
                    <a:pt x="463" y="6"/>
                  </a:lnTo>
                  <a:lnTo>
                    <a:pt x="463" y="7"/>
                  </a:lnTo>
                  <a:lnTo>
                    <a:pt x="466" y="7"/>
                  </a:lnTo>
                  <a:lnTo>
                    <a:pt x="466" y="7"/>
                  </a:lnTo>
                  <a:lnTo>
                    <a:pt x="470" y="7"/>
                  </a:lnTo>
                  <a:lnTo>
                    <a:pt x="472" y="7"/>
                  </a:lnTo>
                  <a:lnTo>
                    <a:pt x="474" y="7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2" y="9"/>
                  </a:lnTo>
                  <a:lnTo>
                    <a:pt x="484" y="9"/>
                  </a:lnTo>
                  <a:lnTo>
                    <a:pt x="486" y="9"/>
                  </a:lnTo>
                  <a:lnTo>
                    <a:pt x="487" y="9"/>
                  </a:lnTo>
                  <a:lnTo>
                    <a:pt x="489" y="9"/>
                  </a:lnTo>
                  <a:lnTo>
                    <a:pt x="491" y="9"/>
                  </a:lnTo>
                  <a:lnTo>
                    <a:pt x="493" y="11"/>
                  </a:lnTo>
                  <a:lnTo>
                    <a:pt x="493" y="13"/>
                  </a:lnTo>
                  <a:lnTo>
                    <a:pt x="495" y="15"/>
                  </a:lnTo>
                  <a:lnTo>
                    <a:pt x="497" y="15"/>
                  </a:lnTo>
                  <a:lnTo>
                    <a:pt x="499" y="17"/>
                  </a:lnTo>
                  <a:lnTo>
                    <a:pt x="501" y="19"/>
                  </a:lnTo>
                  <a:lnTo>
                    <a:pt x="501" y="19"/>
                  </a:lnTo>
                  <a:lnTo>
                    <a:pt x="503" y="21"/>
                  </a:lnTo>
                  <a:lnTo>
                    <a:pt x="503" y="21"/>
                  </a:lnTo>
                  <a:lnTo>
                    <a:pt x="505" y="23"/>
                  </a:lnTo>
                  <a:lnTo>
                    <a:pt x="507" y="23"/>
                  </a:lnTo>
                  <a:lnTo>
                    <a:pt x="507" y="25"/>
                  </a:lnTo>
                  <a:lnTo>
                    <a:pt x="509" y="27"/>
                  </a:lnTo>
                  <a:lnTo>
                    <a:pt x="509" y="27"/>
                  </a:lnTo>
                  <a:lnTo>
                    <a:pt x="509" y="30"/>
                  </a:lnTo>
                  <a:lnTo>
                    <a:pt x="511" y="30"/>
                  </a:lnTo>
                  <a:lnTo>
                    <a:pt x="511" y="34"/>
                  </a:lnTo>
                  <a:lnTo>
                    <a:pt x="512" y="34"/>
                  </a:lnTo>
                  <a:lnTo>
                    <a:pt x="514" y="34"/>
                  </a:lnTo>
                  <a:lnTo>
                    <a:pt x="516" y="34"/>
                  </a:lnTo>
                  <a:lnTo>
                    <a:pt x="518" y="32"/>
                  </a:lnTo>
                  <a:lnTo>
                    <a:pt x="520" y="30"/>
                  </a:lnTo>
                  <a:lnTo>
                    <a:pt x="522" y="30"/>
                  </a:lnTo>
                  <a:lnTo>
                    <a:pt x="524" y="30"/>
                  </a:lnTo>
                  <a:lnTo>
                    <a:pt x="526" y="30"/>
                  </a:lnTo>
                  <a:lnTo>
                    <a:pt x="528" y="30"/>
                  </a:lnTo>
                  <a:lnTo>
                    <a:pt x="530" y="30"/>
                  </a:lnTo>
                  <a:lnTo>
                    <a:pt x="532" y="30"/>
                  </a:lnTo>
                  <a:lnTo>
                    <a:pt x="534" y="29"/>
                  </a:lnTo>
                  <a:lnTo>
                    <a:pt x="537" y="29"/>
                  </a:lnTo>
                  <a:lnTo>
                    <a:pt x="537" y="27"/>
                  </a:lnTo>
                  <a:lnTo>
                    <a:pt x="539" y="27"/>
                  </a:lnTo>
                  <a:lnTo>
                    <a:pt x="543" y="27"/>
                  </a:lnTo>
                  <a:lnTo>
                    <a:pt x="545" y="27"/>
                  </a:lnTo>
                  <a:lnTo>
                    <a:pt x="543" y="30"/>
                  </a:lnTo>
                  <a:lnTo>
                    <a:pt x="543" y="32"/>
                  </a:lnTo>
                  <a:lnTo>
                    <a:pt x="543" y="34"/>
                  </a:lnTo>
                  <a:lnTo>
                    <a:pt x="543" y="36"/>
                  </a:lnTo>
                  <a:lnTo>
                    <a:pt x="543" y="38"/>
                  </a:lnTo>
                  <a:lnTo>
                    <a:pt x="543" y="42"/>
                  </a:lnTo>
                  <a:lnTo>
                    <a:pt x="543" y="44"/>
                  </a:lnTo>
                  <a:lnTo>
                    <a:pt x="543" y="46"/>
                  </a:lnTo>
                  <a:lnTo>
                    <a:pt x="545" y="48"/>
                  </a:lnTo>
                  <a:lnTo>
                    <a:pt x="545" y="50"/>
                  </a:lnTo>
                  <a:lnTo>
                    <a:pt x="545" y="52"/>
                  </a:lnTo>
                  <a:lnTo>
                    <a:pt x="545" y="54"/>
                  </a:lnTo>
                  <a:lnTo>
                    <a:pt x="545" y="57"/>
                  </a:lnTo>
                  <a:lnTo>
                    <a:pt x="545" y="59"/>
                  </a:lnTo>
                  <a:lnTo>
                    <a:pt x="545" y="61"/>
                  </a:lnTo>
                  <a:lnTo>
                    <a:pt x="545" y="63"/>
                  </a:lnTo>
                  <a:lnTo>
                    <a:pt x="547" y="65"/>
                  </a:lnTo>
                  <a:lnTo>
                    <a:pt x="547" y="65"/>
                  </a:lnTo>
                  <a:lnTo>
                    <a:pt x="549" y="67"/>
                  </a:lnTo>
                  <a:lnTo>
                    <a:pt x="549" y="71"/>
                  </a:lnTo>
                  <a:lnTo>
                    <a:pt x="551" y="73"/>
                  </a:lnTo>
                  <a:lnTo>
                    <a:pt x="551" y="75"/>
                  </a:lnTo>
                  <a:lnTo>
                    <a:pt x="553" y="75"/>
                  </a:lnTo>
                  <a:lnTo>
                    <a:pt x="553" y="77"/>
                  </a:lnTo>
                  <a:lnTo>
                    <a:pt x="553" y="78"/>
                  </a:lnTo>
                  <a:lnTo>
                    <a:pt x="555" y="78"/>
                  </a:lnTo>
                  <a:lnTo>
                    <a:pt x="557" y="78"/>
                  </a:lnTo>
                  <a:lnTo>
                    <a:pt x="558" y="78"/>
                  </a:lnTo>
                  <a:lnTo>
                    <a:pt x="560" y="80"/>
                  </a:lnTo>
                  <a:lnTo>
                    <a:pt x="560" y="80"/>
                  </a:lnTo>
                  <a:lnTo>
                    <a:pt x="562" y="82"/>
                  </a:lnTo>
                  <a:lnTo>
                    <a:pt x="562" y="86"/>
                  </a:lnTo>
                  <a:lnTo>
                    <a:pt x="562" y="88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4"/>
                  </a:lnTo>
                  <a:lnTo>
                    <a:pt x="566" y="98"/>
                  </a:lnTo>
                  <a:lnTo>
                    <a:pt x="566" y="100"/>
                  </a:lnTo>
                  <a:lnTo>
                    <a:pt x="566" y="101"/>
                  </a:lnTo>
                  <a:lnTo>
                    <a:pt x="566" y="103"/>
                  </a:lnTo>
                  <a:lnTo>
                    <a:pt x="566" y="105"/>
                  </a:lnTo>
                  <a:lnTo>
                    <a:pt x="566" y="107"/>
                  </a:lnTo>
                  <a:lnTo>
                    <a:pt x="564" y="107"/>
                  </a:lnTo>
                  <a:lnTo>
                    <a:pt x="564" y="109"/>
                  </a:lnTo>
                  <a:lnTo>
                    <a:pt x="564" y="113"/>
                  </a:lnTo>
                  <a:lnTo>
                    <a:pt x="564" y="113"/>
                  </a:lnTo>
                  <a:lnTo>
                    <a:pt x="564" y="115"/>
                  </a:lnTo>
                  <a:lnTo>
                    <a:pt x="566" y="117"/>
                  </a:lnTo>
                  <a:lnTo>
                    <a:pt x="566" y="119"/>
                  </a:lnTo>
                  <a:lnTo>
                    <a:pt x="566" y="121"/>
                  </a:lnTo>
                  <a:lnTo>
                    <a:pt x="566" y="123"/>
                  </a:lnTo>
                  <a:lnTo>
                    <a:pt x="566" y="125"/>
                  </a:lnTo>
                  <a:lnTo>
                    <a:pt x="564" y="125"/>
                  </a:lnTo>
                  <a:lnTo>
                    <a:pt x="562" y="126"/>
                  </a:lnTo>
                  <a:lnTo>
                    <a:pt x="562" y="130"/>
                  </a:lnTo>
                  <a:lnTo>
                    <a:pt x="562" y="132"/>
                  </a:lnTo>
                  <a:lnTo>
                    <a:pt x="562" y="134"/>
                  </a:lnTo>
                  <a:lnTo>
                    <a:pt x="560" y="134"/>
                  </a:lnTo>
                  <a:lnTo>
                    <a:pt x="558" y="136"/>
                  </a:lnTo>
                  <a:lnTo>
                    <a:pt x="557" y="136"/>
                  </a:lnTo>
                  <a:lnTo>
                    <a:pt x="557" y="136"/>
                  </a:lnTo>
                  <a:lnTo>
                    <a:pt x="555" y="138"/>
                  </a:lnTo>
                  <a:lnTo>
                    <a:pt x="553" y="138"/>
                  </a:lnTo>
                  <a:lnTo>
                    <a:pt x="553" y="140"/>
                  </a:lnTo>
                  <a:lnTo>
                    <a:pt x="551" y="140"/>
                  </a:lnTo>
                  <a:lnTo>
                    <a:pt x="549" y="142"/>
                  </a:lnTo>
                  <a:lnTo>
                    <a:pt x="549" y="144"/>
                  </a:lnTo>
                  <a:lnTo>
                    <a:pt x="549" y="146"/>
                  </a:lnTo>
                  <a:lnTo>
                    <a:pt x="549" y="148"/>
                  </a:lnTo>
                  <a:lnTo>
                    <a:pt x="549" y="149"/>
                  </a:lnTo>
                  <a:lnTo>
                    <a:pt x="549" y="151"/>
                  </a:lnTo>
                  <a:lnTo>
                    <a:pt x="549" y="153"/>
                  </a:lnTo>
                  <a:lnTo>
                    <a:pt x="551" y="155"/>
                  </a:lnTo>
                  <a:lnTo>
                    <a:pt x="551" y="157"/>
                  </a:lnTo>
                  <a:lnTo>
                    <a:pt x="551" y="159"/>
                  </a:lnTo>
                  <a:lnTo>
                    <a:pt x="551" y="161"/>
                  </a:lnTo>
                  <a:lnTo>
                    <a:pt x="551" y="165"/>
                  </a:lnTo>
                  <a:lnTo>
                    <a:pt x="551" y="169"/>
                  </a:lnTo>
                  <a:lnTo>
                    <a:pt x="553" y="169"/>
                  </a:lnTo>
                  <a:lnTo>
                    <a:pt x="553" y="171"/>
                  </a:lnTo>
                  <a:lnTo>
                    <a:pt x="553" y="174"/>
                  </a:lnTo>
                  <a:lnTo>
                    <a:pt x="555" y="178"/>
                  </a:lnTo>
                  <a:lnTo>
                    <a:pt x="555" y="182"/>
                  </a:lnTo>
                  <a:lnTo>
                    <a:pt x="555" y="184"/>
                  </a:lnTo>
                  <a:lnTo>
                    <a:pt x="555" y="188"/>
                  </a:lnTo>
                  <a:lnTo>
                    <a:pt x="555" y="192"/>
                  </a:lnTo>
                  <a:lnTo>
                    <a:pt x="555" y="194"/>
                  </a:lnTo>
                  <a:lnTo>
                    <a:pt x="555" y="196"/>
                  </a:lnTo>
                  <a:lnTo>
                    <a:pt x="555" y="197"/>
                  </a:lnTo>
                  <a:lnTo>
                    <a:pt x="557" y="201"/>
                  </a:lnTo>
                  <a:lnTo>
                    <a:pt x="557" y="203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7" y="213"/>
                  </a:lnTo>
                  <a:lnTo>
                    <a:pt x="557" y="217"/>
                  </a:lnTo>
                  <a:lnTo>
                    <a:pt x="557" y="222"/>
                  </a:lnTo>
                  <a:lnTo>
                    <a:pt x="558" y="224"/>
                  </a:lnTo>
                  <a:lnTo>
                    <a:pt x="558" y="226"/>
                  </a:lnTo>
                  <a:lnTo>
                    <a:pt x="557" y="230"/>
                  </a:lnTo>
                  <a:lnTo>
                    <a:pt x="557" y="232"/>
                  </a:lnTo>
                  <a:lnTo>
                    <a:pt x="557" y="234"/>
                  </a:lnTo>
                  <a:lnTo>
                    <a:pt x="557" y="238"/>
                  </a:lnTo>
                  <a:lnTo>
                    <a:pt x="557" y="240"/>
                  </a:lnTo>
                  <a:lnTo>
                    <a:pt x="557" y="242"/>
                  </a:lnTo>
                  <a:lnTo>
                    <a:pt x="557" y="243"/>
                  </a:lnTo>
                  <a:lnTo>
                    <a:pt x="557" y="245"/>
                  </a:lnTo>
                  <a:lnTo>
                    <a:pt x="557" y="247"/>
                  </a:lnTo>
                  <a:lnTo>
                    <a:pt x="555" y="249"/>
                  </a:lnTo>
                  <a:lnTo>
                    <a:pt x="555" y="251"/>
                  </a:lnTo>
                  <a:lnTo>
                    <a:pt x="551" y="253"/>
                  </a:lnTo>
                  <a:lnTo>
                    <a:pt x="549" y="255"/>
                  </a:lnTo>
                  <a:lnTo>
                    <a:pt x="549" y="257"/>
                  </a:lnTo>
                  <a:lnTo>
                    <a:pt x="547" y="259"/>
                  </a:lnTo>
                  <a:lnTo>
                    <a:pt x="545" y="259"/>
                  </a:lnTo>
                  <a:lnTo>
                    <a:pt x="543" y="261"/>
                  </a:lnTo>
                  <a:lnTo>
                    <a:pt x="543" y="263"/>
                  </a:lnTo>
                  <a:lnTo>
                    <a:pt x="541" y="265"/>
                  </a:lnTo>
                  <a:lnTo>
                    <a:pt x="539" y="265"/>
                  </a:lnTo>
                  <a:lnTo>
                    <a:pt x="537" y="265"/>
                  </a:lnTo>
                  <a:lnTo>
                    <a:pt x="537" y="265"/>
                  </a:lnTo>
                  <a:lnTo>
                    <a:pt x="535" y="267"/>
                  </a:lnTo>
                  <a:lnTo>
                    <a:pt x="534" y="268"/>
                  </a:lnTo>
                  <a:lnTo>
                    <a:pt x="532" y="270"/>
                  </a:lnTo>
                  <a:lnTo>
                    <a:pt x="528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4" y="274"/>
                  </a:lnTo>
                  <a:lnTo>
                    <a:pt x="522" y="276"/>
                  </a:lnTo>
                  <a:lnTo>
                    <a:pt x="522" y="278"/>
                  </a:lnTo>
                  <a:lnTo>
                    <a:pt x="520" y="278"/>
                  </a:lnTo>
                  <a:lnTo>
                    <a:pt x="518" y="278"/>
                  </a:lnTo>
                  <a:lnTo>
                    <a:pt x="518" y="280"/>
                  </a:lnTo>
                  <a:lnTo>
                    <a:pt x="518" y="282"/>
                  </a:lnTo>
                  <a:lnTo>
                    <a:pt x="516" y="284"/>
                  </a:lnTo>
                  <a:lnTo>
                    <a:pt x="516" y="284"/>
                  </a:lnTo>
                  <a:lnTo>
                    <a:pt x="514" y="284"/>
                  </a:lnTo>
                  <a:lnTo>
                    <a:pt x="514" y="286"/>
                  </a:lnTo>
                  <a:lnTo>
                    <a:pt x="512" y="288"/>
                  </a:lnTo>
                  <a:lnTo>
                    <a:pt x="511" y="290"/>
                  </a:lnTo>
                  <a:lnTo>
                    <a:pt x="511" y="290"/>
                  </a:lnTo>
                  <a:lnTo>
                    <a:pt x="509" y="291"/>
                  </a:lnTo>
                  <a:lnTo>
                    <a:pt x="507" y="291"/>
                  </a:lnTo>
                  <a:lnTo>
                    <a:pt x="507" y="293"/>
                  </a:lnTo>
                  <a:lnTo>
                    <a:pt x="505" y="295"/>
                  </a:lnTo>
                  <a:lnTo>
                    <a:pt x="505" y="295"/>
                  </a:lnTo>
                  <a:lnTo>
                    <a:pt x="503" y="297"/>
                  </a:lnTo>
                  <a:lnTo>
                    <a:pt x="501" y="297"/>
                  </a:lnTo>
                  <a:lnTo>
                    <a:pt x="501" y="299"/>
                  </a:lnTo>
                  <a:lnTo>
                    <a:pt x="499" y="301"/>
                  </a:lnTo>
                  <a:lnTo>
                    <a:pt x="499" y="305"/>
                  </a:lnTo>
                  <a:lnTo>
                    <a:pt x="497" y="307"/>
                  </a:lnTo>
                  <a:lnTo>
                    <a:pt x="497" y="309"/>
                  </a:lnTo>
                  <a:lnTo>
                    <a:pt x="495" y="313"/>
                  </a:lnTo>
                  <a:lnTo>
                    <a:pt x="493" y="314"/>
                  </a:lnTo>
                  <a:lnTo>
                    <a:pt x="493" y="316"/>
                  </a:lnTo>
                  <a:lnTo>
                    <a:pt x="493" y="320"/>
                  </a:lnTo>
                  <a:lnTo>
                    <a:pt x="489" y="320"/>
                  </a:lnTo>
                  <a:lnTo>
                    <a:pt x="489" y="322"/>
                  </a:lnTo>
                  <a:lnTo>
                    <a:pt x="487" y="324"/>
                  </a:lnTo>
                  <a:lnTo>
                    <a:pt x="487" y="326"/>
                  </a:lnTo>
                  <a:lnTo>
                    <a:pt x="486" y="328"/>
                  </a:lnTo>
                  <a:lnTo>
                    <a:pt x="486" y="328"/>
                  </a:lnTo>
                  <a:lnTo>
                    <a:pt x="486" y="334"/>
                  </a:lnTo>
                  <a:lnTo>
                    <a:pt x="484" y="338"/>
                  </a:lnTo>
                  <a:lnTo>
                    <a:pt x="482" y="339"/>
                  </a:lnTo>
                  <a:lnTo>
                    <a:pt x="482" y="341"/>
                  </a:lnTo>
                  <a:lnTo>
                    <a:pt x="482" y="343"/>
                  </a:lnTo>
                  <a:lnTo>
                    <a:pt x="482" y="345"/>
                  </a:lnTo>
                  <a:lnTo>
                    <a:pt x="482" y="349"/>
                  </a:lnTo>
                  <a:lnTo>
                    <a:pt x="482" y="353"/>
                  </a:lnTo>
                  <a:lnTo>
                    <a:pt x="482" y="355"/>
                  </a:lnTo>
                  <a:lnTo>
                    <a:pt x="482" y="357"/>
                  </a:lnTo>
                  <a:lnTo>
                    <a:pt x="482" y="359"/>
                  </a:lnTo>
                  <a:lnTo>
                    <a:pt x="478" y="359"/>
                  </a:lnTo>
                  <a:lnTo>
                    <a:pt x="476" y="359"/>
                  </a:lnTo>
                  <a:lnTo>
                    <a:pt x="476" y="359"/>
                  </a:lnTo>
                  <a:lnTo>
                    <a:pt x="474" y="361"/>
                  </a:lnTo>
                  <a:lnTo>
                    <a:pt x="472" y="361"/>
                  </a:lnTo>
                  <a:lnTo>
                    <a:pt x="470" y="361"/>
                  </a:lnTo>
                  <a:lnTo>
                    <a:pt x="470" y="362"/>
                  </a:lnTo>
                  <a:lnTo>
                    <a:pt x="468" y="362"/>
                  </a:lnTo>
                  <a:lnTo>
                    <a:pt x="466" y="364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3" y="366"/>
                  </a:lnTo>
                  <a:lnTo>
                    <a:pt x="463" y="366"/>
                  </a:lnTo>
                  <a:lnTo>
                    <a:pt x="461" y="366"/>
                  </a:lnTo>
                  <a:lnTo>
                    <a:pt x="457" y="370"/>
                  </a:lnTo>
                  <a:lnTo>
                    <a:pt x="455" y="370"/>
                  </a:lnTo>
                  <a:lnTo>
                    <a:pt x="455" y="370"/>
                  </a:lnTo>
                  <a:lnTo>
                    <a:pt x="453" y="372"/>
                  </a:lnTo>
                  <a:lnTo>
                    <a:pt x="453" y="374"/>
                  </a:lnTo>
                  <a:lnTo>
                    <a:pt x="451" y="374"/>
                  </a:lnTo>
                  <a:lnTo>
                    <a:pt x="451" y="376"/>
                  </a:lnTo>
                  <a:lnTo>
                    <a:pt x="451" y="378"/>
                  </a:lnTo>
                  <a:lnTo>
                    <a:pt x="449" y="378"/>
                  </a:lnTo>
                  <a:lnTo>
                    <a:pt x="447" y="378"/>
                  </a:lnTo>
                  <a:lnTo>
                    <a:pt x="447" y="378"/>
                  </a:lnTo>
                  <a:lnTo>
                    <a:pt x="445" y="380"/>
                  </a:lnTo>
                  <a:lnTo>
                    <a:pt x="443" y="380"/>
                  </a:lnTo>
                  <a:lnTo>
                    <a:pt x="441" y="382"/>
                  </a:lnTo>
                  <a:lnTo>
                    <a:pt x="440" y="380"/>
                  </a:lnTo>
                  <a:lnTo>
                    <a:pt x="438" y="380"/>
                  </a:lnTo>
                  <a:lnTo>
                    <a:pt x="436" y="380"/>
                  </a:lnTo>
                  <a:lnTo>
                    <a:pt x="434" y="378"/>
                  </a:lnTo>
                  <a:lnTo>
                    <a:pt x="434" y="376"/>
                  </a:lnTo>
                  <a:lnTo>
                    <a:pt x="432" y="376"/>
                  </a:lnTo>
                  <a:lnTo>
                    <a:pt x="430" y="376"/>
                  </a:lnTo>
                  <a:lnTo>
                    <a:pt x="428" y="376"/>
                  </a:lnTo>
                  <a:lnTo>
                    <a:pt x="426" y="376"/>
                  </a:lnTo>
                  <a:lnTo>
                    <a:pt x="424" y="376"/>
                  </a:lnTo>
                  <a:lnTo>
                    <a:pt x="422" y="374"/>
                  </a:lnTo>
                  <a:lnTo>
                    <a:pt x="420" y="374"/>
                  </a:lnTo>
                  <a:lnTo>
                    <a:pt x="418" y="374"/>
                  </a:lnTo>
                  <a:lnTo>
                    <a:pt x="417" y="374"/>
                  </a:lnTo>
                  <a:lnTo>
                    <a:pt x="415" y="374"/>
                  </a:lnTo>
                  <a:lnTo>
                    <a:pt x="413" y="376"/>
                  </a:lnTo>
                  <a:lnTo>
                    <a:pt x="411" y="376"/>
                  </a:lnTo>
                  <a:lnTo>
                    <a:pt x="409" y="376"/>
                  </a:lnTo>
                  <a:lnTo>
                    <a:pt x="407" y="376"/>
                  </a:lnTo>
                  <a:lnTo>
                    <a:pt x="405" y="376"/>
                  </a:lnTo>
                  <a:lnTo>
                    <a:pt x="401" y="376"/>
                  </a:lnTo>
                  <a:lnTo>
                    <a:pt x="399" y="378"/>
                  </a:lnTo>
                  <a:lnTo>
                    <a:pt x="399" y="378"/>
                  </a:lnTo>
                  <a:lnTo>
                    <a:pt x="397" y="378"/>
                  </a:lnTo>
                  <a:lnTo>
                    <a:pt x="397" y="380"/>
                  </a:lnTo>
                  <a:lnTo>
                    <a:pt x="395" y="380"/>
                  </a:lnTo>
                  <a:lnTo>
                    <a:pt x="393" y="382"/>
                  </a:lnTo>
                  <a:lnTo>
                    <a:pt x="392" y="382"/>
                  </a:lnTo>
                  <a:lnTo>
                    <a:pt x="388" y="382"/>
                  </a:lnTo>
                  <a:lnTo>
                    <a:pt x="386" y="382"/>
                  </a:lnTo>
                  <a:lnTo>
                    <a:pt x="382" y="382"/>
                  </a:lnTo>
                  <a:lnTo>
                    <a:pt x="380" y="382"/>
                  </a:lnTo>
                  <a:lnTo>
                    <a:pt x="378" y="382"/>
                  </a:lnTo>
                  <a:lnTo>
                    <a:pt x="376" y="382"/>
                  </a:lnTo>
                  <a:lnTo>
                    <a:pt x="372" y="382"/>
                  </a:lnTo>
                  <a:lnTo>
                    <a:pt x="370" y="382"/>
                  </a:lnTo>
                  <a:lnTo>
                    <a:pt x="369" y="382"/>
                  </a:lnTo>
                  <a:lnTo>
                    <a:pt x="367" y="382"/>
                  </a:lnTo>
                  <a:lnTo>
                    <a:pt x="365" y="382"/>
                  </a:lnTo>
                  <a:lnTo>
                    <a:pt x="365" y="380"/>
                  </a:lnTo>
                  <a:lnTo>
                    <a:pt x="363" y="380"/>
                  </a:lnTo>
                  <a:lnTo>
                    <a:pt x="361" y="380"/>
                  </a:lnTo>
                  <a:lnTo>
                    <a:pt x="359" y="378"/>
                  </a:lnTo>
                  <a:lnTo>
                    <a:pt x="359" y="380"/>
                  </a:lnTo>
                  <a:lnTo>
                    <a:pt x="357" y="380"/>
                  </a:lnTo>
                  <a:lnTo>
                    <a:pt x="355" y="382"/>
                  </a:lnTo>
                  <a:lnTo>
                    <a:pt x="355" y="384"/>
                  </a:lnTo>
                  <a:lnTo>
                    <a:pt x="355" y="384"/>
                  </a:lnTo>
                  <a:lnTo>
                    <a:pt x="353" y="384"/>
                  </a:lnTo>
                  <a:lnTo>
                    <a:pt x="353" y="385"/>
                  </a:lnTo>
                  <a:lnTo>
                    <a:pt x="351" y="387"/>
                  </a:lnTo>
                  <a:lnTo>
                    <a:pt x="351" y="389"/>
                  </a:lnTo>
                  <a:lnTo>
                    <a:pt x="349" y="389"/>
                  </a:lnTo>
                  <a:lnTo>
                    <a:pt x="349" y="389"/>
                  </a:lnTo>
                  <a:lnTo>
                    <a:pt x="347" y="393"/>
                  </a:lnTo>
                  <a:lnTo>
                    <a:pt x="346" y="395"/>
                  </a:lnTo>
                  <a:lnTo>
                    <a:pt x="344" y="395"/>
                  </a:lnTo>
                  <a:lnTo>
                    <a:pt x="344" y="399"/>
                  </a:lnTo>
                  <a:lnTo>
                    <a:pt x="342" y="399"/>
                  </a:lnTo>
                  <a:lnTo>
                    <a:pt x="340" y="399"/>
                  </a:lnTo>
                  <a:lnTo>
                    <a:pt x="340" y="401"/>
                  </a:lnTo>
                  <a:lnTo>
                    <a:pt x="338" y="403"/>
                  </a:lnTo>
                  <a:lnTo>
                    <a:pt x="336" y="403"/>
                  </a:lnTo>
                  <a:lnTo>
                    <a:pt x="334" y="403"/>
                  </a:lnTo>
                  <a:lnTo>
                    <a:pt x="332" y="403"/>
                  </a:lnTo>
                  <a:lnTo>
                    <a:pt x="332" y="401"/>
                  </a:lnTo>
                  <a:lnTo>
                    <a:pt x="330" y="401"/>
                  </a:lnTo>
                  <a:lnTo>
                    <a:pt x="330" y="399"/>
                  </a:lnTo>
                  <a:lnTo>
                    <a:pt x="328" y="397"/>
                  </a:lnTo>
                  <a:lnTo>
                    <a:pt x="328" y="395"/>
                  </a:lnTo>
                  <a:lnTo>
                    <a:pt x="326" y="395"/>
                  </a:lnTo>
                  <a:lnTo>
                    <a:pt x="324" y="395"/>
                  </a:lnTo>
                  <a:lnTo>
                    <a:pt x="322" y="395"/>
                  </a:lnTo>
                  <a:lnTo>
                    <a:pt x="322" y="393"/>
                  </a:lnTo>
                  <a:lnTo>
                    <a:pt x="321" y="393"/>
                  </a:lnTo>
                  <a:lnTo>
                    <a:pt x="319" y="393"/>
                  </a:lnTo>
                  <a:lnTo>
                    <a:pt x="319" y="389"/>
                  </a:lnTo>
                  <a:lnTo>
                    <a:pt x="317" y="389"/>
                  </a:lnTo>
                  <a:lnTo>
                    <a:pt x="315" y="389"/>
                  </a:lnTo>
                  <a:lnTo>
                    <a:pt x="315" y="389"/>
                  </a:lnTo>
                  <a:lnTo>
                    <a:pt x="313" y="387"/>
                  </a:lnTo>
                  <a:lnTo>
                    <a:pt x="311" y="387"/>
                  </a:lnTo>
                  <a:lnTo>
                    <a:pt x="311" y="385"/>
                  </a:lnTo>
                  <a:lnTo>
                    <a:pt x="309" y="384"/>
                  </a:lnTo>
                  <a:lnTo>
                    <a:pt x="309" y="384"/>
                  </a:lnTo>
                  <a:lnTo>
                    <a:pt x="309" y="382"/>
                  </a:lnTo>
                  <a:lnTo>
                    <a:pt x="307" y="380"/>
                  </a:lnTo>
                  <a:lnTo>
                    <a:pt x="305" y="378"/>
                  </a:lnTo>
                  <a:lnTo>
                    <a:pt x="305" y="378"/>
                  </a:lnTo>
                  <a:lnTo>
                    <a:pt x="303" y="376"/>
                  </a:lnTo>
                  <a:lnTo>
                    <a:pt x="303" y="376"/>
                  </a:lnTo>
                  <a:lnTo>
                    <a:pt x="301" y="374"/>
                  </a:lnTo>
                  <a:lnTo>
                    <a:pt x="299" y="374"/>
                  </a:lnTo>
                  <a:lnTo>
                    <a:pt x="298" y="372"/>
                  </a:lnTo>
                  <a:lnTo>
                    <a:pt x="294" y="372"/>
                  </a:lnTo>
                  <a:lnTo>
                    <a:pt x="292" y="372"/>
                  </a:lnTo>
                  <a:lnTo>
                    <a:pt x="290" y="372"/>
                  </a:lnTo>
                  <a:lnTo>
                    <a:pt x="288" y="372"/>
                  </a:lnTo>
                  <a:lnTo>
                    <a:pt x="284" y="372"/>
                  </a:lnTo>
                  <a:lnTo>
                    <a:pt x="282" y="372"/>
                  </a:lnTo>
                  <a:lnTo>
                    <a:pt x="282" y="374"/>
                  </a:lnTo>
                  <a:lnTo>
                    <a:pt x="278" y="374"/>
                  </a:lnTo>
                  <a:lnTo>
                    <a:pt x="278" y="376"/>
                  </a:lnTo>
                  <a:lnTo>
                    <a:pt x="276" y="376"/>
                  </a:lnTo>
                  <a:lnTo>
                    <a:pt x="276" y="378"/>
                  </a:lnTo>
                  <a:lnTo>
                    <a:pt x="275" y="380"/>
                  </a:lnTo>
                  <a:lnTo>
                    <a:pt x="273" y="382"/>
                  </a:lnTo>
                  <a:lnTo>
                    <a:pt x="273" y="382"/>
                  </a:lnTo>
                  <a:lnTo>
                    <a:pt x="271" y="382"/>
                  </a:lnTo>
                  <a:lnTo>
                    <a:pt x="271" y="384"/>
                  </a:lnTo>
                  <a:lnTo>
                    <a:pt x="271" y="385"/>
                  </a:lnTo>
                  <a:lnTo>
                    <a:pt x="269" y="387"/>
                  </a:lnTo>
                  <a:lnTo>
                    <a:pt x="267" y="387"/>
                  </a:lnTo>
                  <a:lnTo>
                    <a:pt x="267" y="389"/>
                  </a:lnTo>
                  <a:lnTo>
                    <a:pt x="263" y="389"/>
                  </a:lnTo>
                  <a:lnTo>
                    <a:pt x="261" y="389"/>
                  </a:lnTo>
                  <a:lnTo>
                    <a:pt x="261" y="389"/>
                  </a:lnTo>
                  <a:lnTo>
                    <a:pt x="259" y="387"/>
                  </a:lnTo>
                  <a:lnTo>
                    <a:pt x="259" y="387"/>
                  </a:lnTo>
                  <a:lnTo>
                    <a:pt x="257" y="385"/>
                  </a:lnTo>
                  <a:lnTo>
                    <a:pt x="255" y="387"/>
                  </a:lnTo>
                  <a:lnTo>
                    <a:pt x="253" y="387"/>
                  </a:lnTo>
                  <a:lnTo>
                    <a:pt x="253" y="384"/>
                  </a:lnTo>
                  <a:lnTo>
                    <a:pt x="251" y="384"/>
                  </a:lnTo>
                  <a:lnTo>
                    <a:pt x="250" y="384"/>
                  </a:lnTo>
                  <a:lnTo>
                    <a:pt x="250" y="382"/>
                  </a:lnTo>
                  <a:lnTo>
                    <a:pt x="248" y="382"/>
                  </a:lnTo>
                  <a:lnTo>
                    <a:pt x="244" y="382"/>
                  </a:lnTo>
                  <a:lnTo>
                    <a:pt x="242" y="382"/>
                  </a:lnTo>
                  <a:lnTo>
                    <a:pt x="242" y="380"/>
                  </a:lnTo>
                  <a:lnTo>
                    <a:pt x="242" y="378"/>
                  </a:lnTo>
                  <a:lnTo>
                    <a:pt x="240" y="376"/>
                  </a:lnTo>
                  <a:lnTo>
                    <a:pt x="240" y="376"/>
                  </a:lnTo>
                  <a:lnTo>
                    <a:pt x="236" y="370"/>
                  </a:lnTo>
                  <a:lnTo>
                    <a:pt x="232" y="370"/>
                  </a:lnTo>
                  <a:lnTo>
                    <a:pt x="232" y="368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4"/>
                  </a:lnTo>
                  <a:lnTo>
                    <a:pt x="227" y="364"/>
                  </a:lnTo>
                  <a:lnTo>
                    <a:pt x="225" y="362"/>
                  </a:lnTo>
                  <a:lnTo>
                    <a:pt x="223" y="361"/>
                  </a:lnTo>
                  <a:lnTo>
                    <a:pt x="223" y="359"/>
                  </a:lnTo>
                  <a:lnTo>
                    <a:pt x="223" y="359"/>
                  </a:lnTo>
                  <a:lnTo>
                    <a:pt x="221" y="357"/>
                  </a:lnTo>
                  <a:lnTo>
                    <a:pt x="219" y="355"/>
                  </a:lnTo>
                  <a:lnTo>
                    <a:pt x="217" y="355"/>
                  </a:lnTo>
                  <a:lnTo>
                    <a:pt x="217" y="353"/>
                  </a:lnTo>
                  <a:lnTo>
                    <a:pt x="217" y="353"/>
                  </a:lnTo>
                  <a:lnTo>
                    <a:pt x="215" y="351"/>
                  </a:lnTo>
                  <a:lnTo>
                    <a:pt x="211" y="351"/>
                  </a:lnTo>
                  <a:lnTo>
                    <a:pt x="211" y="349"/>
                  </a:lnTo>
                  <a:lnTo>
                    <a:pt x="211" y="349"/>
                  </a:lnTo>
                  <a:lnTo>
                    <a:pt x="209" y="349"/>
                  </a:lnTo>
                  <a:lnTo>
                    <a:pt x="207" y="349"/>
                  </a:lnTo>
                  <a:lnTo>
                    <a:pt x="205" y="349"/>
                  </a:lnTo>
                  <a:lnTo>
                    <a:pt x="204" y="351"/>
                  </a:lnTo>
                  <a:lnTo>
                    <a:pt x="204" y="351"/>
                  </a:lnTo>
                  <a:lnTo>
                    <a:pt x="202" y="353"/>
                  </a:lnTo>
                  <a:lnTo>
                    <a:pt x="200" y="355"/>
                  </a:lnTo>
                  <a:lnTo>
                    <a:pt x="200" y="355"/>
                  </a:lnTo>
                  <a:lnTo>
                    <a:pt x="198" y="357"/>
                  </a:lnTo>
                  <a:lnTo>
                    <a:pt x="196" y="357"/>
                  </a:lnTo>
                  <a:lnTo>
                    <a:pt x="194" y="359"/>
                  </a:lnTo>
                  <a:lnTo>
                    <a:pt x="194" y="359"/>
                  </a:lnTo>
                  <a:lnTo>
                    <a:pt x="192" y="361"/>
                  </a:lnTo>
                  <a:lnTo>
                    <a:pt x="192" y="361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88" y="364"/>
                  </a:lnTo>
                  <a:lnTo>
                    <a:pt x="186" y="364"/>
                  </a:lnTo>
                  <a:lnTo>
                    <a:pt x="186" y="366"/>
                  </a:lnTo>
                  <a:lnTo>
                    <a:pt x="182" y="366"/>
                  </a:lnTo>
                  <a:lnTo>
                    <a:pt x="180" y="366"/>
                  </a:lnTo>
                  <a:lnTo>
                    <a:pt x="179" y="366"/>
                  </a:lnTo>
                  <a:lnTo>
                    <a:pt x="177" y="366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71" y="364"/>
                  </a:lnTo>
                  <a:lnTo>
                    <a:pt x="171" y="362"/>
                  </a:lnTo>
                  <a:lnTo>
                    <a:pt x="167" y="362"/>
                  </a:lnTo>
                  <a:lnTo>
                    <a:pt x="165" y="361"/>
                  </a:lnTo>
                  <a:lnTo>
                    <a:pt x="163" y="361"/>
                  </a:lnTo>
                  <a:lnTo>
                    <a:pt x="161" y="361"/>
                  </a:lnTo>
                  <a:lnTo>
                    <a:pt x="159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6" y="361"/>
                  </a:lnTo>
                  <a:lnTo>
                    <a:pt x="154" y="362"/>
                  </a:lnTo>
                  <a:lnTo>
                    <a:pt x="154" y="362"/>
                  </a:lnTo>
                  <a:lnTo>
                    <a:pt x="152" y="364"/>
                  </a:lnTo>
                  <a:lnTo>
                    <a:pt x="152" y="364"/>
                  </a:lnTo>
                  <a:lnTo>
                    <a:pt x="150" y="366"/>
                  </a:lnTo>
                  <a:lnTo>
                    <a:pt x="150" y="366"/>
                  </a:lnTo>
                  <a:lnTo>
                    <a:pt x="148" y="366"/>
                  </a:lnTo>
                  <a:lnTo>
                    <a:pt x="146" y="368"/>
                  </a:lnTo>
                  <a:lnTo>
                    <a:pt x="144" y="370"/>
                  </a:lnTo>
                  <a:lnTo>
                    <a:pt x="144" y="370"/>
                  </a:lnTo>
                  <a:lnTo>
                    <a:pt x="142" y="372"/>
                  </a:lnTo>
                  <a:lnTo>
                    <a:pt x="142" y="374"/>
                  </a:lnTo>
                  <a:lnTo>
                    <a:pt x="142" y="376"/>
                  </a:lnTo>
                  <a:lnTo>
                    <a:pt x="140" y="376"/>
                  </a:lnTo>
                  <a:lnTo>
                    <a:pt x="138" y="378"/>
                  </a:lnTo>
                  <a:lnTo>
                    <a:pt x="138" y="382"/>
                  </a:lnTo>
                  <a:lnTo>
                    <a:pt x="138" y="384"/>
                  </a:lnTo>
                  <a:lnTo>
                    <a:pt x="138" y="387"/>
                  </a:lnTo>
                  <a:lnTo>
                    <a:pt x="138" y="389"/>
                  </a:lnTo>
                  <a:lnTo>
                    <a:pt x="138" y="391"/>
                  </a:lnTo>
                  <a:lnTo>
                    <a:pt x="136" y="393"/>
                  </a:lnTo>
                  <a:lnTo>
                    <a:pt x="134" y="393"/>
                  </a:lnTo>
                  <a:lnTo>
                    <a:pt x="133" y="395"/>
                  </a:lnTo>
                  <a:lnTo>
                    <a:pt x="133" y="395"/>
                  </a:lnTo>
                  <a:lnTo>
                    <a:pt x="131" y="397"/>
                  </a:lnTo>
                  <a:lnTo>
                    <a:pt x="131" y="399"/>
                  </a:lnTo>
                  <a:lnTo>
                    <a:pt x="129" y="401"/>
                  </a:lnTo>
                  <a:lnTo>
                    <a:pt x="127" y="401"/>
                  </a:lnTo>
                  <a:lnTo>
                    <a:pt x="127" y="405"/>
                  </a:lnTo>
                  <a:lnTo>
                    <a:pt x="125" y="405"/>
                  </a:lnTo>
                  <a:lnTo>
                    <a:pt x="125" y="405"/>
                  </a:lnTo>
                  <a:lnTo>
                    <a:pt x="125" y="407"/>
                  </a:lnTo>
                  <a:lnTo>
                    <a:pt x="123" y="409"/>
                  </a:lnTo>
                  <a:lnTo>
                    <a:pt x="121" y="410"/>
                  </a:lnTo>
                  <a:lnTo>
                    <a:pt x="121" y="414"/>
                  </a:lnTo>
                  <a:lnTo>
                    <a:pt x="121" y="414"/>
                  </a:lnTo>
                  <a:lnTo>
                    <a:pt x="119" y="416"/>
                  </a:lnTo>
                  <a:lnTo>
                    <a:pt x="119" y="418"/>
                  </a:lnTo>
                  <a:lnTo>
                    <a:pt x="119" y="416"/>
                  </a:lnTo>
                  <a:lnTo>
                    <a:pt x="117" y="416"/>
                  </a:lnTo>
                  <a:lnTo>
                    <a:pt x="117" y="418"/>
                  </a:lnTo>
                  <a:lnTo>
                    <a:pt x="115" y="420"/>
                  </a:lnTo>
                  <a:lnTo>
                    <a:pt x="115" y="422"/>
                  </a:lnTo>
                  <a:lnTo>
                    <a:pt x="111" y="422"/>
                  </a:lnTo>
                  <a:lnTo>
                    <a:pt x="110" y="422"/>
                  </a:lnTo>
                  <a:lnTo>
                    <a:pt x="108" y="422"/>
                  </a:lnTo>
                  <a:lnTo>
                    <a:pt x="108" y="420"/>
                  </a:lnTo>
                  <a:lnTo>
                    <a:pt x="106" y="420"/>
                  </a:lnTo>
                  <a:lnTo>
                    <a:pt x="104" y="418"/>
                  </a:lnTo>
                  <a:lnTo>
                    <a:pt x="104" y="418"/>
                  </a:lnTo>
                  <a:lnTo>
                    <a:pt x="102" y="416"/>
                  </a:lnTo>
                  <a:lnTo>
                    <a:pt x="100" y="416"/>
                  </a:lnTo>
                  <a:lnTo>
                    <a:pt x="100" y="414"/>
                  </a:lnTo>
                  <a:lnTo>
                    <a:pt x="100" y="412"/>
                  </a:lnTo>
                  <a:lnTo>
                    <a:pt x="98" y="410"/>
                  </a:lnTo>
                  <a:lnTo>
                    <a:pt x="96" y="410"/>
                  </a:lnTo>
                  <a:lnTo>
                    <a:pt x="94" y="410"/>
                  </a:lnTo>
                  <a:lnTo>
                    <a:pt x="92" y="410"/>
                  </a:lnTo>
                  <a:lnTo>
                    <a:pt x="90" y="410"/>
                  </a:lnTo>
                  <a:lnTo>
                    <a:pt x="90" y="412"/>
                  </a:lnTo>
                  <a:lnTo>
                    <a:pt x="88" y="412"/>
                  </a:lnTo>
                  <a:lnTo>
                    <a:pt x="86" y="414"/>
                  </a:lnTo>
                  <a:lnTo>
                    <a:pt x="86" y="414"/>
                  </a:lnTo>
                  <a:lnTo>
                    <a:pt x="85" y="416"/>
                  </a:lnTo>
                  <a:lnTo>
                    <a:pt x="83" y="418"/>
                  </a:lnTo>
                  <a:lnTo>
                    <a:pt x="83" y="418"/>
                  </a:lnTo>
                  <a:lnTo>
                    <a:pt x="81" y="418"/>
                  </a:lnTo>
                  <a:lnTo>
                    <a:pt x="79" y="418"/>
                  </a:lnTo>
                  <a:lnTo>
                    <a:pt x="77" y="420"/>
                  </a:lnTo>
                  <a:lnTo>
                    <a:pt x="75" y="420"/>
                  </a:lnTo>
                  <a:lnTo>
                    <a:pt x="73" y="420"/>
                  </a:lnTo>
                  <a:lnTo>
                    <a:pt x="71" y="420"/>
                  </a:lnTo>
                  <a:lnTo>
                    <a:pt x="69" y="420"/>
                  </a:lnTo>
                  <a:lnTo>
                    <a:pt x="67" y="420"/>
                  </a:lnTo>
                  <a:lnTo>
                    <a:pt x="67" y="416"/>
                  </a:lnTo>
                  <a:lnTo>
                    <a:pt x="65" y="416"/>
                  </a:lnTo>
                  <a:lnTo>
                    <a:pt x="65" y="414"/>
                  </a:lnTo>
                  <a:lnTo>
                    <a:pt x="63" y="412"/>
                  </a:lnTo>
                  <a:lnTo>
                    <a:pt x="63" y="410"/>
                  </a:lnTo>
                  <a:lnTo>
                    <a:pt x="63" y="410"/>
                  </a:lnTo>
                  <a:lnTo>
                    <a:pt x="65" y="409"/>
                  </a:lnTo>
                  <a:lnTo>
                    <a:pt x="65" y="407"/>
                  </a:lnTo>
                  <a:lnTo>
                    <a:pt x="65" y="405"/>
                  </a:lnTo>
                  <a:lnTo>
                    <a:pt x="67" y="403"/>
                  </a:lnTo>
                  <a:lnTo>
                    <a:pt x="69" y="401"/>
                  </a:lnTo>
                  <a:lnTo>
                    <a:pt x="67" y="401"/>
                  </a:lnTo>
                  <a:lnTo>
                    <a:pt x="67" y="399"/>
                  </a:lnTo>
                  <a:lnTo>
                    <a:pt x="65" y="397"/>
                  </a:lnTo>
                  <a:lnTo>
                    <a:pt x="65" y="395"/>
                  </a:lnTo>
                  <a:lnTo>
                    <a:pt x="65" y="395"/>
                  </a:lnTo>
                  <a:lnTo>
                    <a:pt x="63" y="395"/>
                  </a:lnTo>
                  <a:lnTo>
                    <a:pt x="62" y="395"/>
                  </a:lnTo>
                  <a:lnTo>
                    <a:pt x="60" y="393"/>
                  </a:lnTo>
                  <a:lnTo>
                    <a:pt x="58" y="393"/>
                  </a:lnTo>
                  <a:lnTo>
                    <a:pt x="56" y="393"/>
                  </a:lnTo>
                  <a:lnTo>
                    <a:pt x="56" y="395"/>
                  </a:lnTo>
                  <a:lnTo>
                    <a:pt x="54" y="395"/>
                  </a:lnTo>
                  <a:lnTo>
                    <a:pt x="54" y="395"/>
                  </a:lnTo>
                  <a:lnTo>
                    <a:pt x="54" y="397"/>
                  </a:lnTo>
                  <a:lnTo>
                    <a:pt x="50" y="397"/>
                  </a:lnTo>
                  <a:lnTo>
                    <a:pt x="50" y="397"/>
                  </a:lnTo>
                  <a:lnTo>
                    <a:pt x="48" y="397"/>
                  </a:lnTo>
                  <a:lnTo>
                    <a:pt x="48" y="395"/>
                  </a:lnTo>
                  <a:lnTo>
                    <a:pt x="46" y="395"/>
                  </a:lnTo>
                  <a:lnTo>
                    <a:pt x="44" y="393"/>
                  </a:lnTo>
                  <a:lnTo>
                    <a:pt x="44" y="391"/>
                  </a:lnTo>
                  <a:lnTo>
                    <a:pt x="44" y="389"/>
                  </a:lnTo>
                  <a:lnTo>
                    <a:pt x="42" y="387"/>
                  </a:lnTo>
                  <a:lnTo>
                    <a:pt x="42" y="387"/>
                  </a:lnTo>
                  <a:lnTo>
                    <a:pt x="40" y="385"/>
                  </a:lnTo>
                  <a:lnTo>
                    <a:pt x="39" y="385"/>
                  </a:lnTo>
                  <a:lnTo>
                    <a:pt x="39" y="384"/>
                  </a:lnTo>
                  <a:lnTo>
                    <a:pt x="39" y="382"/>
                  </a:lnTo>
                  <a:lnTo>
                    <a:pt x="37" y="382"/>
                  </a:lnTo>
                  <a:lnTo>
                    <a:pt x="37" y="378"/>
                  </a:lnTo>
                  <a:lnTo>
                    <a:pt x="37" y="376"/>
                  </a:lnTo>
                  <a:lnTo>
                    <a:pt x="37" y="374"/>
                  </a:lnTo>
                  <a:lnTo>
                    <a:pt x="37" y="372"/>
                  </a:lnTo>
                  <a:lnTo>
                    <a:pt x="37" y="370"/>
                  </a:lnTo>
                  <a:lnTo>
                    <a:pt x="37" y="366"/>
                  </a:lnTo>
                  <a:lnTo>
                    <a:pt x="31" y="366"/>
                  </a:lnTo>
                  <a:lnTo>
                    <a:pt x="29" y="366"/>
                  </a:lnTo>
                  <a:lnTo>
                    <a:pt x="29" y="364"/>
                  </a:lnTo>
                  <a:lnTo>
                    <a:pt x="27" y="364"/>
                  </a:lnTo>
                  <a:lnTo>
                    <a:pt x="25" y="364"/>
                  </a:lnTo>
                  <a:lnTo>
                    <a:pt x="23" y="362"/>
                  </a:lnTo>
                  <a:lnTo>
                    <a:pt x="23" y="361"/>
                  </a:lnTo>
                  <a:lnTo>
                    <a:pt x="21" y="361"/>
                  </a:lnTo>
                  <a:lnTo>
                    <a:pt x="19" y="359"/>
                  </a:lnTo>
                  <a:lnTo>
                    <a:pt x="17" y="359"/>
                  </a:lnTo>
                  <a:lnTo>
                    <a:pt x="17" y="355"/>
                  </a:lnTo>
                  <a:lnTo>
                    <a:pt x="15" y="355"/>
                  </a:lnTo>
                  <a:lnTo>
                    <a:pt x="15" y="353"/>
                  </a:lnTo>
                  <a:lnTo>
                    <a:pt x="14" y="353"/>
                  </a:lnTo>
                  <a:lnTo>
                    <a:pt x="14" y="351"/>
                  </a:lnTo>
                  <a:lnTo>
                    <a:pt x="12" y="351"/>
                  </a:lnTo>
                  <a:lnTo>
                    <a:pt x="10" y="349"/>
                  </a:lnTo>
                  <a:lnTo>
                    <a:pt x="8" y="347"/>
                  </a:lnTo>
                  <a:lnTo>
                    <a:pt x="8" y="345"/>
                  </a:lnTo>
                  <a:lnTo>
                    <a:pt x="8" y="343"/>
                  </a:lnTo>
                  <a:lnTo>
                    <a:pt x="6" y="341"/>
                  </a:lnTo>
                  <a:lnTo>
                    <a:pt x="6" y="339"/>
                  </a:lnTo>
                  <a:lnTo>
                    <a:pt x="4" y="338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2" y="328"/>
                  </a:lnTo>
                  <a:lnTo>
                    <a:pt x="2" y="326"/>
                  </a:lnTo>
                  <a:lnTo>
                    <a:pt x="0" y="322"/>
                  </a:lnTo>
                  <a:lnTo>
                    <a:pt x="2" y="322"/>
                  </a:lnTo>
                  <a:lnTo>
                    <a:pt x="2" y="320"/>
                  </a:lnTo>
                  <a:lnTo>
                    <a:pt x="2" y="318"/>
                  </a:lnTo>
                  <a:lnTo>
                    <a:pt x="2" y="316"/>
                  </a:lnTo>
                  <a:lnTo>
                    <a:pt x="4" y="314"/>
                  </a:lnTo>
                  <a:lnTo>
                    <a:pt x="4" y="311"/>
                  </a:lnTo>
                  <a:lnTo>
                    <a:pt x="2" y="311"/>
                  </a:lnTo>
                  <a:lnTo>
                    <a:pt x="4" y="309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8" name="Freeform 95"/>
            <p:cNvSpPr>
              <a:spLocks/>
            </p:cNvSpPr>
            <p:nvPr/>
          </p:nvSpPr>
          <p:spPr bwMode="auto">
            <a:xfrm>
              <a:off x="2058" y="1156"/>
              <a:ext cx="397" cy="368"/>
            </a:xfrm>
            <a:custGeom>
              <a:avLst/>
              <a:gdLst/>
              <a:ahLst/>
              <a:cxnLst>
                <a:cxn ang="0">
                  <a:pos x="340" y="19"/>
                </a:cxn>
                <a:cxn ang="0">
                  <a:pos x="349" y="40"/>
                </a:cxn>
                <a:cxn ang="0">
                  <a:pos x="355" y="55"/>
                </a:cxn>
                <a:cxn ang="0">
                  <a:pos x="361" y="69"/>
                </a:cxn>
                <a:cxn ang="0">
                  <a:pos x="359" y="80"/>
                </a:cxn>
                <a:cxn ang="0">
                  <a:pos x="355" y="92"/>
                </a:cxn>
                <a:cxn ang="0">
                  <a:pos x="351" y="111"/>
                </a:cxn>
                <a:cxn ang="0">
                  <a:pos x="347" y="130"/>
                </a:cxn>
                <a:cxn ang="0">
                  <a:pos x="343" y="144"/>
                </a:cxn>
                <a:cxn ang="0">
                  <a:pos x="326" y="136"/>
                </a:cxn>
                <a:cxn ang="0">
                  <a:pos x="315" y="119"/>
                </a:cxn>
                <a:cxn ang="0">
                  <a:pos x="307" y="105"/>
                </a:cxn>
                <a:cxn ang="0">
                  <a:pos x="295" y="98"/>
                </a:cxn>
                <a:cxn ang="0">
                  <a:pos x="280" y="84"/>
                </a:cxn>
                <a:cxn ang="0">
                  <a:pos x="270" y="84"/>
                </a:cxn>
                <a:cxn ang="0">
                  <a:pos x="272" y="98"/>
                </a:cxn>
                <a:cxn ang="0">
                  <a:pos x="282" y="109"/>
                </a:cxn>
                <a:cxn ang="0">
                  <a:pos x="293" y="122"/>
                </a:cxn>
                <a:cxn ang="0">
                  <a:pos x="305" y="138"/>
                </a:cxn>
                <a:cxn ang="0">
                  <a:pos x="313" y="157"/>
                </a:cxn>
                <a:cxn ang="0">
                  <a:pos x="320" y="172"/>
                </a:cxn>
                <a:cxn ang="0">
                  <a:pos x="330" y="197"/>
                </a:cxn>
                <a:cxn ang="0">
                  <a:pos x="340" y="215"/>
                </a:cxn>
                <a:cxn ang="0">
                  <a:pos x="357" y="236"/>
                </a:cxn>
                <a:cxn ang="0">
                  <a:pos x="374" y="263"/>
                </a:cxn>
                <a:cxn ang="0">
                  <a:pos x="384" y="289"/>
                </a:cxn>
                <a:cxn ang="0">
                  <a:pos x="393" y="307"/>
                </a:cxn>
                <a:cxn ang="0">
                  <a:pos x="395" y="320"/>
                </a:cxn>
                <a:cxn ang="0">
                  <a:pos x="384" y="337"/>
                </a:cxn>
                <a:cxn ang="0">
                  <a:pos x="374" y="351"/>
                </a:cxn>
                <a:cxn ang="0">
                  <a:pos x="359" y="359"/>
                </a:cxn>
                <a:cxn ang="0">
                  <a:pos x="343" y="368"/>
                </a:cxn>
                <a:cxn ang="0">
                  <a:pos x="328" y="364"/>
                </a:cxn>
                <a:cxn ang="0">
                  <a:pos x="317" y="359"/>
                </a:cxn>
                <a:cxn ang="0">
                  <a:pos x="301" y="359"/>
                </a:cxn>
                <a:cxn ang="0">
                  <a:pos x="284" y="359"/>
                </a:cxn>
                <a:cxn ang="0">
                  <a:pos x="265" y="359"/>
                </a:cxn>
                <a:cxn ang="0">
                  <a:pos x="246" y="359"/>
                </a:cxn>
                <a:cxn ang="0">
                  <a:pos x="224" y="359"/>
                </a:cxn>
                <a:cxn ang="0">
                  <a:pos x="203" y="359"/>
                </a:cxn>
                <a:cxn ang="0">
                  <a:pos x="188" y="364"/>
                </a:cxn>
                <a:cxn ang="0">
                  <a:pos x="171" y="366"/>
                </a:cxn>
                <a:cxn ang="0">
                  <a:pos x="152" y="364"/>
                </a:cxn>
                <a:cxn ang="0">
                  <a:pos x="44" y="364"/>
                </a:cxn>
                <a:cxn ang="0">
                  <a:pos x="34" y="366"/>
                </a:cxn>
                <a:cxn ang="0">
                  <a:pos x="23" y="368"/>
                </a:cxn>
                <a:cxn ang="0">
                  <a:pos x="21" y="343"/>
                </a:cxn>
                <a:cxn ang="0">
                  <a:pos x="23" y="226"/>
                </a:cxn>
                <a:cxn ang="0">
                  <a:pos x="15" y="169"/>
                </a:cxn>
                <a:cxn ang="0">
                  <a:pos x="21" y="138"/>
                </a:cxn>
                <a:cxn ang="0">
                  <a:pos x="10" y="92"/>
                </a:cxn>
                <a:cxn ang="0">
                  <a:pos x="0" y="71"/>
                </a:cxn>
                <a:cxn ang="0">
                  <a:pos x="10" y="46"/>
                </a:cxn>
                <a:cxn ang="0">
                  <a:pos x="11" y="13"/>
                </a:cxn>
                <a:cxn ang="0">
                  <a:pos x="77" y="11"/>
                </a:cxn>
                <a:cxn ang="0">
                  <a:pos x="117" y="21"/>
                </a:cxn>
                <a:cxn ang="0">
                  <a:pos x="182" y="28"/>
                </a:cxn>
                <a:cxn ang="0">
                  <a:pos x="201" y="11"/>
                </a:cxn>
                <a:cxn ang="0">
                  <a:pos x="224" y="11"/>
                </a:cxn>
                <a:cxn ang="0">
                  <a:pos x="259" y="7"/>
                </a:cxn>
                <a:cxn ang="0">
                  <a:pos x="276" y="11"/>
                </a:cxn>
                <a:cxn ang="0">
                  <a:pos x="313" y="17"/>
                </a:cxn>
                <a:cxn ang="0">
                  <a:pos x="324" y="7"/>
                </a:cxn>
              </a:cxnLst>
              <a:rect l="0" t="0" r="r" b="b"/>
              <a:pathLst>
                <a:path w="397" h="368">
                  <a:moveTo>
                    <a:pt x="330" y="0"/>
                  </a:moveTo>
                  <a:lnTo>
                    <a:pt x="332" y="4"/>
                  </a:lnTo>
                  <a:lnTo>
                    <a:pt x="334" y="7"/>
                  </a:lnTo>
                  <a:lnTo>
                    <a:pt x="336" y="11"/>
                  </a:lnTo>
                  <a:lnTo>
                    <a:pt x="336" y="13"/>
                  </a:lnTo>
                  <a:lnTo>
                    <a:pt x="338" y="13"/>
                  </a:lnTo>
                  <a:lnTo>
                    <a:pt x="338" y="17"/>
                  </a:lnTo>
                  <a:lnTo>
                    <a:pt x="340" y="19"/>
                  </a:lnTo>
                  <a:lnTo>
                    <a:pt x="340" y="23"/>
                  </a:lnTo>
                  <a:lnTo>
                    <a:pt x="343" y="23"/>
                  </a:lnTo>
                  <a:lnTo>
                    <a:pt x="343" y="27"/>
                  </a:lnTo>
                  <a:lnTo>
                    <a:pt x="343" y="28"/>
                  </a:lnTo>
                  <a:lnTo>
                    <a:pt x="345" y="30"/>
                  </a:lnTo>
                  <a:lnTo>
                    <a:pt x="345" y="34"/>
                  </a:lnTo>
                  <a:lnTo>
                    <a:pt x="347" y="36"/>
                  </a:lnTo>
                  <a:lnTo>
                    <a:pt x="349" y="40"/>
                  </a:lnTo>
                  <a:lnTo>
                    <a:pt x="351" y="44"/>
                  </a:lnTo>
                  <a:lnTo>
                    <a:pt x="351" y="44"/>
                  </a:lnTo>
                  <a:lnTo>
                    <a:pt x="351" y="46"/>
                  </a:lnTo>
                  <a:lnTo>
                    <a:pt x="351" y="50"/>
                  </a:lnTo>
                  <a:lnTo>
                    <a:pt x="353" y="50"/>
                  </a:lnTo>
                  <a:lnTo>
                    <a:pt x="353" y="51"/>
                  </a:lnTo>
                  <a:lnTo>
                    <a:pt x="353" y="53"/>
                  </a:lnTo>
                  <a:lnTo>
                    <a:pt x="355" y="55"/>
                  </a:lnTo>
                  <a:lnTo>
                    <a:pt x="355" y="57"/>
                  </a:lnTo>
                  <a:lnTo>
                    <a:pt x="355" y="59"/>
                  </a:lnTo>
                  <a:lnTo>
                    <a:pt x="357" y="61"/>
                  </a:lnTo>
                  <a:lnTo>
                    <a:pt x="357" y="63"/>
                  </a:lnTo>
                  <a:lnTo>
                    <a:pt x="357" y="65"/>
                  </a:lnTo>
                  <a:lnTo>
                    <a:pt x="359" y="67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3" y="69"/>
                  </a:lnTo>
                  <a:lnTo>
                    <a:pt x="364" y="69"/>
                  </a:lnTo>
                  <a:lnTo>
                    <a:pt x="364" y="73"/>
                  </a:lnTo>
                  <a:lnTo>
                    <a:pt x="363" y="73"/>
                  </a:lnTo>
                  <a:lnTo>
                    <a:pt x="361" y="75"/>
                  </a:lnTo>
                  <a:lnTo>
                    <a:pt x="361" y="76"/>
                  </a:lnTo>
                  <a:lnTo>
                    <a:pt x="361" y="78"/>
                  </a:lnTo>
                  <a:lnTo>
                    <a:pt x="359" y="80"/>
                  </a:lnTo>
                  <a:lnTo>
                    <a:pt x="359" y="80"/>
                  </a:lnTo>
                  <a:lnTo>
                    <a:pt x="357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6"/>
                  </a:lnTo>
                  <a:lnTo>
                    <a:pt x="355" y="90"/>
                  </a:lnTo>
                  <a:lnTo>
                    <a:pt x="355" y="90"/>
                  </a:lnTo>
                  <a:lnTo>
                    <a:pt x="355" y="92"/>
                  </a:lnTo>
                  <a:lnTo>
                    <a:pt x="355" y="96"/>
                  </a:lnTo>
                  <a:lnTo>
                    <a:pt x="355" y="98"/>
                  </a:lnTo>
                  <a:lnTo>
                    <a:pt x="355" y="99"/>
                  </a:lnTo>
                  <a:lnTo>
                    <a:pt x="355" y="101"/>
                  </a:lnTo>
                  <a:lnTo>
                    <a:pt x="355" y="103"/>
                  </a:lnTo>
                  <a:lnTo>
                    <a:pt x="353" y="105"/>
                  </a:lnTo>
                  <a:lnTo>
                    <a:pt x="353" y="107"/>
                  </a:lnTo>
                  <a:lnTo>
                    <a:pt x="351" y="111"/>
                  </a:lnTo>
                  <a:lnTo>
                    <a:pt x="351" y="113"/>
                  </a:lnTo>
                  <a:lnTo>
                    <a:pt x="351" y="115"/>
                  </a:lnTo>
                  <a:lnTo>
                    <a:pt x="351" y="117"/>
                  </a:lnTo>
                  <a:lnTo>
                    <a:pt x="349" y="119"/>
                  </a:lnTo>
                  <a:lnTo>
                    <a:pt x="349" y="122"/>
                  </a:lnTo>
                  <a:lnTo>
                    <a:pt x="349" y="122"/>
                  </a:lnTo>
                  <a:lnTo>
                    <a:pt x="347" y="124"/>
                  </a:lnTo>
                  <a:lnTo>
                    <a:pt x="347" y="130"/>
                  </a:lnTo>
                  <a:lnTo>
                    <a:pt x="345" y="130"/>
                  </a:lnTo>
                  <a:lnTo>
                    <a:pt x="345" y="134"/>
                  </a:lnTo>
                  <a:lnTo>
                    <a:pt x="345" y="136"/>
                  </a:lnTo>
                  <a:lnTo>
                    <a:pt x="345" y="136"/>
                  </a:lnTo>
                  <a:lnTo>
                    <a:pt x="345" y="140"/>
                  </a:lnTo>
                  <a:lnTo>
                    <a:pt x="345" y="142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0" y="144"/>
                  </a:lnTo>
                  <a:lnTo>
                    <a:pt x="338" y="146"/>
                  </a:lnTo>
                  <a:lnTo>
                    <a:pt x="336" y="146"/>
                  </a:lnTo>
                  <a:lnTo>
                    <a:pt x="334" y="146"/>
                  </a:lnTo>
                  <a:lnTo>
                    <a:pt x="330" y="144"/>
                  </a:lnTo>
                  <a:lnTo>
                    <a:pt x="330" y="142"/>
                  </a:lnTo>
                  <a:lnTo>
                    <a:pt x="328" y="140"/>
                  </a:lnTo>
                  <a:lnTo>
                    <a:pt x="326" y="136"/>
                  </a:lnTo>
                  <a:lnTo>
                    <a:pt x="324" y="134"/>
                  </a:lnTo>
                  <a:lnTo>
                    <a:pt x="324" y="130"/>
                  </a:lnTo>
                  <a:lnTo>
                    <a:pt x="320" y="128"/>
                  </a:lnTo>
                  <a:lnTo>
                    <a:pt x="320" y="126"/>
                  </a:lnTo>
                  <a:lnTo>
                    <a:pt x="318" y="124"/>
                  </a:lnTo>
                  <a:lnTo>
                    <a:pt x="317" y="122"/>
                  </a:lnTo>
                  <a:lnTo>
                    <a:pt x="315" y="121"/>
                  </a:lnTo>
                  <a:lnTo>
                    <a:pt x="315" y="119"/>
                  </a:lnTo>
                  <a:lnTo>
                    <a:pt x="313" y="117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1" y="111"/>
                  </a:lnTo>
                  <a:lnTo>
                    <a:pt x="309" y="111"/>
                  </a:lnTo>
                  <a:lnTo>
                    <a:pt x="307" y="111"/>
                  </a:lnTo>
                  <a:lnTo>
                    <a:pt x="307" y="107"/>
                  </a:lnTo>
                  <a:lnTo>
                    <a:pt x="307" y="105"/>
                  </a:lnTo>
                  <a:lnTo>
                    <a:pt x="305" y="105"/>
                  </a:lnTo>
                  <a:lnTo>
                    <a:pt x="305" y="103"/>
                  </a:lnTo>
                  <a:lnTo>
                    <a:pt x="303" y="101"/>
                  </a:lnTo>
                  <a:lnTo>
                    <a:pt x="301" y="101"/>
                  </a:lnTo>
                  <a:lnTo>
                    <a:pt x="299" y="101"/>
                  </a:lnTo>
                  <a:lnTo>
                    <a:pt x="299" y="101"/>
                  </a:lnTo>
                  <a:lnTo>
                    <a:pt x="295" y="99"/>
                  </a:lnTo>
                  <a:lnTo>
                    <a:pt x="295" y="98"/>
                  </a:lnTo>
                  <a:lnTo>
                    <a:pt x="293" y="96"/>
                  </a:lnTo>
                  <a:lnTo>
                    <a:pt x="293" y="96"/>
                  </a:lnTo>
                  <a:lnTo>
                    <a:pt x="290" y="94"/>
                  </a:lnTo>
                  <a:lnTo>
                    <a:pt x="288" y="92"/>
                  </a:lnTo>
                  <a:lnTo>
                    <a:pt x="286" y="90"/>
                  </a:lnTo>
                  <a:lnTo>
                    <a:pt x="284" y="88"/>
                  </a:lnTo>
                  <a:lnTo>
                    <a:pt x="282" y="86"/>
                  </a:lnTo>
                  <a:lnTo>
                    <a:pt x="280" y="84"/>
                  </a:lnTo>
                  <a:lnTo>
                    <a:pt x="278" y="82"/>
                  </a:lnTo>
                  <a:lnTo>
                    <a:pt x="276" y="82"/>
                  </a:lnTo>
                  <a:lnTo>
                    <a:pt x="276" y="82"/>
                  </a:lnTo>
                  <a:lnTo>
                    <a:pt x="274" y="80"/>
                  </a:lnTo>
                  <a:lnTo>
                    <a:pt x="272" y="80"/>
                  </a:lnTo>
                  <a:lnTo>
                    <a:pt x="272" y="78"/>
                  </a:lnTo>
                  <a:lnTo>
                    <a:pt x="270" y="80"/>
                  </a:lnTo>
                  <a:lnTo>
                    <a:pt x="270" y="84"/>
                  </a:lnTo>
                  <a:lnTo>
                    <a:pt x="269" y="84"/>
                  </a:lnTo>
                  <a:lnTo>
                    <a:pt x="269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4"/>
                  </a:lnTo>
                  <a:lnTo>
                    <a:pt x="269" y="96"/>
                  </a:lnTo>
                  <a:lnTo>
                    <a:pt x="272" y="98"/>
                  </a:lnTo>
                  <a:lnTo>
                    <a:pt x="272" y="99"/>
                  </a:lnTo>
                  <a:lnTo>
                    <a:pt x="274" y="101"/>
                  </a:lnTo>
                  <a:lnTo>
                    <a:pt x="274" y="101"/>
                  </a:lnTo>
                  <a:lnTo>
                    <a:pt x="276" y="101"/>
                  </a:lnTo>
                  <a:lnTo>
                    <a:pt x="278" y="105"/>
                  </a:lnTo>
                  <a:lnTo>
                    <a:pt x="278" y="107"/>
                  </a:lnTo>
                  <a:lnTo>
                    <a:pt x="280" y="107"/>
                  </a:lnTo>
                  <a:lnTo>
                    <a:pt x="282" y="109"/>
                  </a:lnTo>
                  <a:lnTo>
                    <a:pt x="284" y="109"/>
                  </a:lnTo>
                  <a:lnTo>
                    <a:pt x="286" y="111"/>
                  </a:lnTo>
                  <a:lnTo>
                    <a:pt x="288" y="111"/>
                  </a:lnTo>
                  <a:lnTo>
                    <a:pt x="290" y="113"/>
                  </a:lnTo>
                  <a:lnTo>
                    <a:pt x="292" y="115"/>
                  </a:lnTo>
                  <a:lnTo>
                    <a:pt x="292" y="117"/>
                  </a:lnTo>
                  <a:lnTo>
                    <a:pt x="293" y="119"/>
                  </a:lnTo>
                  <a:lnTo>
                    <a:pt x="293" y="122"/>
                  </a:lnTo>
                  <a:lnTo>
                    <a:pt x="295" y="122"/>
                  </a:lnTo>
                  <a:lnTo>
                    <a:pt x="295" y="124"/>
                  </a:lnTo>
                  <a:lnTo>
                    <a:pt x="297" y="126"/>
                  </a:lnTo>
                  <a:lnTo>
                    <a:pt x="299" y="128"/>
                  </a:lnTo>
                  <a:lnTo>
                    <a:pt x="301" y="130"/>
                  </a:lnTo>
                  <a:lnTo>
                    <a:pt x="301" y="134"/>
                  </a:lnTo>
                  <a:lnTo>
                    <a:pt x="303" y="136"/>
                  </a:lnTo>
                  <a:lnTo>
                    <a:pt x="305" y="138"/>
                  </a:lnTo>
                  <a:lnTo>
                    <a:pt x="305" y="140"/>
                  </a:lnTo>
                  <a:lnTo>
                    <a:pt x="307" y="142"/>
                  </a:lnTo>
                  <a:lnTo>
                    <a:pt x="307" y="146"/>
                  </a:lnTo>
                  <a:lnTo>
                    <a:pt x="309" y="147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1" y="155"/>
                  </a:lnTo>
                  <a:lnTo>
                    <a:pt x="313" y="157"/>
                  </a:lnTo>
                  <a:lnTo>
                    <a:pt x="315" y="157"/>
                  </a:lnTo>
                  <a:lnTo>
                    <a:pt x="315" y="161"/>
                  </a:lnTo>
                  <a:lnTo>
                    <a:pt x="317" y="163"/>
                  </a:lnTo>
                  <a:lnTo>
                    <a:pt x="317" y="163"/>
                  </a:lnTo>
                  <a:lnTo>
                    <a:pt x="317" y="167"/>
                  </a:lnTo>
                  <a:lnTo>
                    <a:pt x="318" y="169"/>
                  </a:lnTo>
                  <a:lnTo>
                    <a:pt x="320" y="170"/>
                  </a:lnTo>
                  <a:lnTo>
                    <a:pt x="320" y="172"/>
                  </a:lnTo>
                  <a:lnTo>
                    <a:pt x="324" y="178"/>
                  </a:lnTo>
                  <a:lnTo>
                    <a:pt x="324" y="180"/>
                  </a:lnTo>
                  <a:lnTo>
                    <a:pt x="324" y="182"/>
                  </a:lnTo>
                  <a:lnTo>
                    <a:pt x="326" y="184"/>
                  </a:lnTo>
                  <a:lnTo>
                    <a:pt x="326" y="186"/>
                  </a:lnTo>
                  <a:lnTo>
                    <a:pt x="326" y="190"/>
                  </a:lnTo>
                  <a:lnTo>
                    <a:pt x="328" y="192"/>
                  </a:lnTo>
                  <a:lnTo>
                    <a:pt x="330" y="197"/>
                  </a:lnTo>
                  <a:lnTo>
                    <a:pt x="330" y="199"/>
                  </a:lnTo>
                  <a:lnTo>
                    <a:pt x="330" y="203"/>
                  </a:lnTo>
                  <a:lnTo>
                    <a:pt x="332" y="205"/>
                  </a:lnTo>
                  <a:lnTo>
                    <a:pt x="334" y="209"/>
                  </a:lnTo>
                  <a:lnTo>
                    <a:pt x="334" y="211"/>
                  </a:lnTo>
                  <a:lnTo>
                    <a:pt x="336" y="213"/>
                  </a:lnTo>
                  <a:lnTo>
                    <a:pt x="338" y="215"/>
                  </a:lnTo>
                  <a:lnTo>
                    <a:pt x="340" y="215"/>
                  </a:lnTo>
                  <a:lnTo>
                    <a:pt x="343" y="220"/>
                  </a:lnTo>
                  <a:lnTo>
                    <a:pt x="345" y="222"/>
                  </a:lnTo>
                  <a:lnTo>
                    <a:pt x="349" y="224"/>
                  </a:lnTo>
                  <a:lnTo>
                    <a:pt x="349" y="226"/>
                  </a:lnTo>
                  <a:lnTo>
                    <a:pt x="351" y="228"/>
                  </a:lnTo>
                  <a:lnTo>
                    <a:pt x="355" y="230"/>
                  </a:lnTo>
                  <a:lnTo>
                    <a:pt x="355" y="234"/>
                  </a:lnTo>
                  <a:lnTo>
                    <a:pt x="357" y="236"/>
                  </a:lnTo>
                  <a:lnTo>
                    <a:pt x="357" y="238"/>
                  </a:lnTo>
                  <a:lnTo>
                    <a:pt x="361" y="241"/>
                  </a:lnTo>
                  <a:lnTo>
                    <a:pt x="363" y="243"/>
                  </a:lnTo>
                  <a:lnTo>
                    <a:pt x="363" y="247"/>
                  </a:lnTo>
                  <a:lnTo>
                    <a:pt x="366" y="253"/>
                  </a:lnTo>
                  <a:lnTo>
                    <a:pt x="368" y="257"/>
                  </a:lnTo>
                  <a:lnTo>
                    <a:pt x="370" y="259"/>
                  </a:lnTo>
                  <a:lnTo>
                    <a:pt x="374" y="263"/>
                  </a:lnTo>
                  <a:lnTo>
                    <a:pt x="374" y="264"/>
                  </a:lnTo>
                  <a:lnTo>
                    <a:pt x="374" y="268"/>
                  </a:lnTo>
                  <a:lnTo>
                    <a:pt x="376" y="270"/>
                  </a:lnTo>
                  <a:lnTo>
                    <a:pt x="380" y="272"/>
                  </a:lnTo>
                  <a:lnTo>
                    <a:pt x="380" y="276"/>
                  </a:lnTo>
                  <a:lnTo>
                    <a:pt x="382" y="282"/>
                  </a:lnTo>
                  <a:lnTo>
                    <a:pt x="384" y="286"/>
                  </a:lnTo>
                  <a:lnTo>
                    <a:pt x="384" y="289"/>
                  </a:lnTo>
                  <a:lnTo>
                    <a:pt x="386" y="291"/>
                  </a:lnTo>
                  <a:lnTo>
                    <a:pt x="386" y="293"/>
                  </a:lnTo>
                  <a:lnTo>
                    <a:pt x="386" y="295"/>
                  </a:lnTo>
                  <a:lnTo>
                    <a:pt x="388" y="297"/>
                  </a:lnTo>
                  <a:lnTo>
                    <a:pt x="389" y="297"/>
                  </a:lnTo>
                  <a:lnTo>
                    <a:pt x="389" y="301"/>
                  </a:lnTo>
                  <a:lnTo>
                    <a:pt x="389" y="303"/>
                  </a:lnTo>
                  <a:lnTo>
                    <a:pt x="393" y="307"/>
                  </a:lnTo>
                  <a:lnTo>
                    <a:pt x="395" y="309"/>
                  </a:lnTo>
                  <a:lnTo>
                    <a:pt x="395" y="311"/>
                  </a:lnTo>
                  <a:lnTo>
                    <a:pt x="395" y="314"/>
                  </a:lnTo>
                  <a:lnTo>
                    <a:pt x="397" y="314"/>
                  </a:lnTo>
                  <a:lnTo>
                    <a:pt x="397" y="318"/>
                  </a:lnTo>
                  <a:lnTo>
                    <a:pt x="397" y="318"/>
                  </a:lnTo>
                  <a:lnTo>
                    <a:pt x="397" y="320"/>
                  </a:lnTo>
                  <a:lnTo>
                    <a:pt x="395" y="320"/>
                  </a:lnTo>
                  <a:lnTo>
                    <a:pt x="393" y="322"/>
                  </a:lnTo>
                  <a:lnTo>
                    <a:pt x="391" y="324"/>
                  </a:lnTo>
                  <a:lnTo>
                    <a:pt x="391" y="328"/>
                  </a:lnTo>
                  <a:lnTo>
                    <a:pt x="391" y="330"/>
                  </a:lnTo>
                  <a:lnTo>
                    <a:pt x="389" y="332"/>
                  </a:lnTo>
                  <a:lnTo>
                    <a:pt x="388" y="334"/>
                  </a:lnTo>
                  <a:lnTo>
                    <a:pt x="386" y="337"/>
                  </a:lnTo>
                  <a:lnTo>
                    <a:pt x="384" y="337"/>
                  </a:lnTo>
                  <a:lnTo>
                    <a:pt x="384" y="341"/>
                  </a:lnTo>
                  <a:lnTo>
                    <a:pt x="380" y="343"/>
                  </a:lnTo>
                  <a:lnTo>
                    <a:pt x="380" y="345"/>
                  </a:lnTo>
                  <a:lnTo>
                    <a:pt x="380" y="347"/>
                  </a:lnTo>
                  <a:lnTo>
                    <a:pt x="378" y="347"/>
                  </a:lnTo>
                  <a:lnTo>
                    <a:pt x="376" y="349"/>
                  </a:lnTo>
                  <a:lnTo>
                    <a:pt x="374" y="351"/>
                  </a:lnTo>
                  <a:lnTo>
                    <a:pt x="374" y="351"/>
                  </a:lnTo>
                  <a:lnTo>
                    <a:pt x="372" y="353"/>
                  </a:lnTo>
                  <a:lnTo>
                    <a:pt x="370" y="355"/>
                  </a:lnTo>
                  <a:lnTo>
                    <a:pt x="368" y="357"/>
                  </a:lnTo>
                  <a:lnTo>
                    <a:pt x="366" y="357"/>
                  </a:lnTo>
                  <a:lnTo>
                    <a:pt x="364" y="359"/>
                  </a:lnTo>
                  <a:lnTo>
                    <a:pt x="363" y="359"/>
                  </a:lnTo>
                  <a:lnTo>
                    <a:pt x="361" y="359"/>
                  </a:lnTo>
                  <a:lnTo>
                    <a:pt x="359" y="359"/>
                  </a:lnTo>
                  <a:lnTo>
                    <a:pt x="357" y="360"/>
                  </a:lnTo>
                  <a:lnTo>
                    <a:pt x="355" y="360"/>
                  </a:lnTo>
                  <a:lnTo>
                    <a:pt x="355" y="362"/>
                  </a:lnTo>
                  <a:lnTo>
                    <a:pt x="351" y="364"/>
                  </a:lnTo>
                  <a:lnTo>
                    <a:pt x="349" y="364"/>
                  </a:lnTo>
                  <a:lnTo>
                    <a:pt x="349" y="366"/>
                  </a:lnTo>
                  <a:lnTo>
                    <a:pt x="345" y="366"/>
                  </a:lnTo>
                  <a:lnTo>
                    <a:pt x="343" y="368"/>
                  </a:lnTo>
                  <a:lnTo>
                    <a:pt x="341" y="368"/>
                  </a:lnTo>
                  <a:lnTo>
                    <a:pt x="340" y="368"/>
                  </a:lnTo>
                  <a:lnTo>
                    <a:pt x="338" y="366"/>
                  </a:lnTo>
                  <a:lnTo>
                    <a:pt x="336" y="366"/>
                  </a:lnTo>
                  <a:lnTo>
                    <a:pt x="334" y="366"/>
                  </a:lnTo>
                  <a:lnTo>
                    <a:pt x="332" y="366"/>
                  </a:lnTo>
                  <a:lnTo>
                    <a:pt x="330" y="366"/>
                  </a:lnTo>
                  <a:lnTo>
                    <a:pt x="328" y="364"/>
                  </a:lnTo>
                  <a:lnTo>
                    <a:pt x="328" y="364"/>
                  </a:lnTo>
                  <a:lnTo>
                    <a:pt x="328" y="362"/>
                  </a:lnTo>
                  <a:lnTo>
                    <a:pt x="326" y="360"/>
                  </a:lnTo>
                  <a:lnTo>
                    <a:pt x="324" y="359"/>
                  </a:lnTo>
                  <a:lnTo>
                    <a:pt x="324" y="359"/>
                  </a:lnTo>
                  <a:lnTo>
                    <a:pt x="322" y="359"/>
                  </a:lnTo>
                  <a:lnTo>
                    <a:pt x="320" y="359"/>
                  </a:lnTo>
                  <a:lnTo>
                    <a:pt x="317" y="359"/>
                  </a:lnTo>
                  <a:lnTo>
                    <a:pt x="315" y="359"/>
                  </a:lnTo>
                  <a:lnTo>
                    <a:pt x="313" y="359"/>
                  </a:lnTo>
                  <a:lnTo>
                    <a:pt x="311" y="359"/>
                  </a:lnTo>
                  <a:lnTo>
                    <a:pt x="309" y="359"/>
                  </a:lnTo>
                  <a:lnTo>
                    <a:pt x="307" y="357"/>
                  </a:lnTo>
                  <a:lnTo>
                    <a:pt x="305" y="357"/>
                  </a:lnTo>
                  <a:lnTo>
                    <a:pt x="303" y="359"/>
                  </a:lnTo>
                  <a:lnTo>
                    <a:pt x="301" y="359"/>
                  </a:lnTo>
                  <a:lnTo>
                    <a:pt x="299" y="359"/>
                  </a:lnTo>
                  <a:lnTo>
                    <a:pt x="297" y="359"/>
                  </a:lnTo>
                  <a:lnTo>
                    <a:pt x="295" y="360"/>
                  </a:lnTo>
                  <a:lnTo>
                    <a:pt x="293" y="360"/>
                  </a:lnTo>
                  <a:lnTo>
                    <a:pt x="290" y="360"/>
                  </a:lnTo>
                  <a:lnTo>
                    <a:pt x="288" y="360"/>
                  </a:lnTo>
                  <a:lnTo>
                    <a:pt x="288" y="359"/>
                  </a:lnTo>
                  <a:lnTo>
                    <a:pt x="284" y="359"/>
                  </a:lnTo>
                  <a:lnTo>
                    <a:pt x="282" y="359"/>
                  </a:lnTo>
                  <a:lnTo>
                    <a:pt x="280" y="359"/>
                  </a:lnTo>
                  <a:lnTo>
                    <a:pt x="278" y="359"/>
                  </a:lnTo>
                  <a:lnTo>
                    <a:pt x="274" y="359"/>
                  </a:lnTo>
                  <a:lnTo>
                    <a:pt x="272" y="359"/>
                  </a:lnTo>
                  <a:lnTo>
                    <a:pt x="269" y="359"/>
                  </a:lnTo>
                  <a:lnTo>
                    <a:pt x="267" y="359"/>
                  </a:lnTo>
                  <a:lnTo>
                    <a:pt x="265" y="359"/>
                  </a:lnTo>
                  <a:lnTo>
                    <a:pt x="263" y="359"/>
                  </a:lnTo>
                  <a:lnTo>
                    <a:pt x="261" y="359"/>
                  </a:lnTo>
                  <a:lnTo>
                    <a:pt x="257" y="359"/>
                  </a:lnTo>
                  <a:lnTo>
                    <a:pt x="255" y="359"/>
                  </a:lnTo>
                  <a:lnTo>
                    <a:pt x="253" y="359"/>
                  </a:lnTo>
                  <a:lnTo>
                    <a:pt x="251" y="359"/>
                  </a:lnTo>
                  <a:lnTo>
                    <a:pt x="249" y="359"/>
                  </a:lnTo>
                  <a:lnTo>
                    <a:pt x="246" y="359"/>
                  </a:lnTo>
                  <a:lnTo>
                    <a:pt x="244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6" y="359"/>
                  </a:lnTo>
                  <a:lnTo>
                    <a:pt x="234" y="359"/>
                  </a:lnTo>
                  <a:lnTo>
                    <a:pt x="232" y="359"/>
                  </a:lnTo>
                  <a:lnTo>
                    <a:pt x="228" y="359"/>
                  </a:lnTo>
                  <a:lnTo>
                    <a:pt x="224" y="359"/>
                  </a:lnTo>
                  <a:lnTo>
                    <a:pt x="222" y="359"/>
                  </a:lnTo>
                  <a:lnTo>
                    <a:pt x="219" y="359"/>
                  </a:lnTo>
                  <a:lnTo>
                    <a:pt x="217" y="359"/>
                  </a:lnTo>
                  <a:lnTo>
                    <a:pt x="213" y="359"/>
                  </a:lnTo>
                  <a:lnTo>
                    <a:pt x="211" y="359"/>
                  </a:lnTo>
                  <a:lnTo>
                    <a:pt x="207" y="359"/>
                  </a:lnTo>
                  <a:lnTo>
                    <a:pt x="205" y="359"/>
                  </a:lnTo>
                  <a:lnTo>
                    <a:pt x="203" y="359"/>
                  </a:lnTo>
                  <a:lnTo>
                    <a:pt x="201" y="359"/>
                  </a:lnTo>
                  <a:lnTo>
                    <a:pt x="201" y="360"/>
                  </a:lnTo>
                  <a:lnTo>
                    <a:pt x="201" y="362"/>
                  </a:lnTo>
                  <a:lnTo>
                    <a:pt x="199" y="364"/>
                  </a:lnTo>
                  <a:lnTo>
                    <a:pt x="198" y="364"/>
                  </a:lnTo>
                  <a:lnTo>
                    <a:pt x="194" y="364"/>
                  </a:lnTo>
                  <a:lnTo>
                    <a:pt x="190" y="364"/>
                  </a:lnTo>
                  <a:lnTo>
                    <a:pt x="188" y="364"/>
                  </a:lnTo>
                  <a:lnTo>
                    <a:pt x="184" y="364"/>
                  </a:lnTo>
                  <a:lnTo>
                    <a:pt x="182" y="364"/>
                  </a:lnTo>
                  <a:lnTo>
                    <a:pt x="180" y="364"/>
                  </a:lnTo>
                  <a:lnTo>
                    <a:pt x="178" y="364"/>
                  </a:lnTo>
                  <a:lnTo>
                    <a:pt x="176" y="364"/>
                  </a:lnTo>
                  <a:lnTo>
                    <a:pt x="176" y="364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69" y="366"/>
                  </a:lnTo>
                  <a:lnTo>
                    <a:pt x="167" y="366"/>
                  </a:lnTo>
                  <a:lnTo>
                    <a:pt x="163" y="364"/>
                  </a:lnTo>
                  <a:lnTo>
                    <a:pt x="161" y="364"/>
                  </a:lnTo>
                  <a:lnTo>
                    <a:pt x="159" y="364"/>
                  </a:lnTo>
                  <a:lnTo>
                    <a:pt x="157" y="364"/>
                  </a:lnTo>
                  <a:lnTo>
                    <a:pt x="155" y="364"/>
                  </a:lnTo>
                  <a:lnTo>
                    <a:pt x="152" y="364"/>
                  </a:lnTo>
                  <a:lnTo>
                    <a:pt x="150" y="364"/>
                  </a:lnTo>
                  <a:lnTo>
                    <a:pt x="148" y="364"/>
                  </a:lnTo>
                  <a:lnTo>
                    <a:pt x="146" y="366"/>
                  </a:lnTo>
                  <a:lnTo>
                    <a:pt x="50" y="364"/>
                  </a:lnTo>
                  <a:lnTo>
                    <a:pt x="46" y="364"/>
                  </a:lnTo>
                  <a:lnTo>
                    <a:pt x="46" y="364"/>
                  </a:lnTo>
                  <a:lnTo>
                    <a:pt x="44" y="364"/>
                  </a:lnTo>
                  <a:lnTo>
                    <a:pt x="44" y="364"/>
                  </a:lnTo>
                  <a:lnTo>
                    <a:pt x="42" y="364"/>
                  </a:lnTo>
                  <a:lnTo>
                    <a:pt x="42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38" y="364"/>
                  </a:lnTo>
                  <a:lnTo>
                    <a:pt x="34" y="364"/>
                  </a:lnTo>
                  <a:lnTo>
                    <a:pt x="34" y="366"/>
                  </a:lnTo>
                  <a:lnTo>
                    <a:pt x="33" y="366"/>
                  </a:lnTo>
                  <a:lnTo>
                    <a:pt x="31" y="366"/>
                  </a:lnTo>
                  <a:lnTo>
                    <a:pt x="29" y="366"/>
                  </a:lnTo>
                  <a:lnTo>
                    <a:pt x="27" y="366"/>
                  </a:lnTo>
                  <a:lnTo>
                    <a:pt x="27" y="368"/>
                  </a:lnTo>
                  <a:lnTo>
                    <a:pt x="25" y="368"/>
                  </a:lnTo>
                  <a:lnTo>
                    <a:pt x="25" y="368"/>
                  </a:lnTo>
                  <a:lnTo>
                    <a:pt x="23" y="368"/>
                  </a:lnTo>
                  <a:lnTo>
                    <a:pt x="23" y="368"/>
                  </a:lnTo>
                  <a:lnTo>
                    <a:pt x="21" y="368"/>
                  </a:lnTo>
                  <a:lnTo>
                    <a:pt x="17" y="368"/>
                  </a:lnTo>
                  <a:lnTo>
                    <a:pt x="19" y="366"/>
                  </a:lnTo>
                  <a:lnTo>
                    <a:pt x="19" y="362"/>
                  </a:lnTo>
                  <a:lnTo>
                    <a:pt x="21" y="360"/>
                  </a:lnTo>
                  <a:lnTo>
                    <a:pt x="21" y="353"/>
                  </a:lnTo>
                  <a:lnTo>
                    <a:pt x="21" y="343"/>
                  </a:lnTo>
                  <a:lnTo>
                    <a:pt x="21" y="337"/>
                  </a:lnTo>
                  <a:lnTo>
                    <a:pt x="21" y="332"/>
                  </a:lnTo>
                  <a:lnTo>
                    <a:pt x="19" y="324"/>
                  </a:lnTo>
                  <a:lnTo>
                    <a:pt x="17" y="318"/>
                  </a:lnTo>
                  <a:lnTo>
                    <a:pt x="17" y="293"/>
                  </a:lnTo>
                  <a:lnTo>
                    <a:pt x="19" y="270"/>
                  </a:lnTo>
                  <a:lnTo>
                    <a:pt x="21" y="247"/>
                  </a:lnTo>
                  <a:lnTo>
                    <a:pt x="23" y="226"/>
                  </a:lnTo>
                  <a:lnTo>
                    <a:pt x="21" y="224"/>
                  </a:lnTo>
                  <a:lnTo>
                    <a:pt x="21" y="220"/>
                  </a:lnTo>
                  <a:lnTo>
                    <a:pt x="21" y="215"/>
                  </a:lnTo>
                  <a:lnTo>
                    <a:pt x="21" y="209"/>
                  </a:lnTo>
                  <a:lnTo>
                    <a:pt x="19" y="201"/>
                  </a:lnTo>
                  <a:lnTo>
                    <a:pt x="17" y="195"/>
                  </a:lnTo>
                  <a:lnTo>
                    <a:pt x="17" y="188"/>
                  </a:lnTo>
                  <a:lnTo>
                    <a:pt x="15" y="169"/>
                  </a:lnTo>
                  <a:lnTo>
                    <a:pt x="15" y="151"/>
                  </a:lnTo>
                  <a:lnTo>
                    <a:pt x="17" y="149"/>
                  </a:lnTo>
                  <a:lnTo>
                    <a:pt x="19" y="147"/>
                  </a:lnTo>
                  <a:lnTo>
                    <a:pt x="21" y="146"/>
                  </a:lnTo>
                  <a:lnTo>
                    <a:pt x="23" y="146"/>
                  </a:lnTo>
                  <a:lnTo>
                    <a:pt x="23" y="142"/>
                  </a:lnTo>
                  <a:lnTo>
                    <a:pt x="23" y="140"/>
                  </a:lnTo>
                  <a:lnTo>
                    <a:pt x="21" y="138"/>
                  </a:lnTo>
                  <a:lnTo>
                    <a:pt x="21" y="136"/>
                  </a:lnTo>
                  <a:lnTo>
                    <a:pt x="19" y="122"/>
                  </a:lnTo>
                  <a:lnTo>
                    <a:pt x="17" y="111"/>
                  </a:lnTo>
                  <a:lnTo>
                    <a:pt x="15" y="103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4" y="84"/>
                  </a:lnTo>
                  <a:lnTo>
                    <a:pt x="4" y="78"/>
                  </a:lnTo>
                  <a:lnTo>
                    <a:pt x="2" y="76"/>
                  </a:lnTo>
                  <a:lnTo>
                    <a:pt x="2" y="75"/>
                  </a:lnTo>
                  <a:lnTo>
                    <a:pt x="0" y="71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4" y="63"/>
                  </a:lnTo>
                  <a:lnTo>
                    <a:pt x="6" y="59"/>
                  </a:lnTo>
                  <a:lnTo>
                    <a:pt x="8" y="59"/>
                  </a:lnTo>
                  <a:lnTo>
                    <a:pt x="10" y="57"/>
                  </a:lnTo>
                  <a:lnTo>
                    <a:pt x="10" y="51"/>
                  </a:lnTo>
                  <a:lnTo>
                    <a:pt x="10" y="46"/>
                  </a:lnTo>
                  <a:lnTo>
                    <a:pt x="8" y="30"/>
                  </a:lnTo>
                  <a:lnTo>
                    <a:pt x="6" y="27"/>
                  </a:lnTo>
                  <a:lnTo>
                    <a:pt x="6" y="19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3" y="11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29" y="7"/>
                  </a:lnTo>
                  <a:lnTo>
                    <a:pt x="44" y="7"/>
                  </a:lnTo>
                  <a:lnTo>
                    <a:pt x="59" y="9"/>
                  </a:lnTo>
                  <a:lnTo>
                    <a:pt x="73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88" y="13"/>
                  </a:lnTo>
                  <a:lnTo>
                    <a:pt x="96" y="17"/>
                  </a:lnTo>
                  <a:lnTo>
                    <a:pt x="10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7" y="21"/>
                  </a:lnTo>
                  <a:lnTo>
                    <a:pt x="123" y="25"/>
                  </a:lnTo>
                  <a:lnTo>
                    <a:pt x="130" y="30"/>
                  </a:lnTo>
                  <a:lnTo>
                    <a:pt x="138" y="30"/>
                  </a:lnTo>
                  <a:lnTo>
                    <a:pt x="146" y="30"/>
                  </a:lnTo>
                  <a:lnTo>
                    <a:pt x="152" y="30"/>
                  </a:lnTo>
                  <a:lnTo>
                    <a:pt x="159" y="30"/>
                  </a:lnTo>
                  <a:lnTo>
                    <a:pt x="171" y="30"/>
                  </a:lnTo>
                  <a:lnTo>
                    <a:pt x="182" y="28"/>
                  </a:lnTo>
                  <a:lnTo>
                    <a:pt x="182" y="25"/>
                  </a:lnTo>
                  <a:lnTo>
                    <a:pt x="184" y="21"/>
                  </a:lnTo>
                  <a:lnTo>
                    <a:pt x="184" y="19"/>
                  </a:lnTo>
                  <a:lnTo>
                    <a:pt x="188" y="17"/>
                  </a:lnTo>
                  <a:lnTo>
                    <a:pt x="192" y="13"/>
                  </a:lnTo>
                  <a:lnTo>
                    <a:pt x="194" y="13"/>
                  </a:lnTo>
                  <a:lnTo>
                    <a:pt x="196" y="11"/>
                  </a:lnTo>
                  <a:lnTo>
                    <a:pt x="201" y="11"/>
                  </a:lnTo>
                  <a:lnTo>
                    <a:pt x="203" y="13"/>
                  </a:lnTo>
                  <a:lnTo>
                    <a:pt x="207" y="13"/>
                  </a:lnTo>
                  <a:lnTo>
                    <a:pt x="209" y="13"/>
                  </a:lnTo>
                  <a:lnTo>
                    <a:pt x="213" y="13"/>
                  </a:lnTo>
                  <a:lnTo>
                    <a:pt x="217" y="15"/>
                  </a:lnTo>
                  <a:lnTo>
                    <a:pt x="222" y="13"/>
                  </a:lnTo>
                  <a:lnTo>
                    <a:pt x="222" y="13"/>
                  </a:lnTo>
                  <a:lnTo>
                    <a:pt x="224" y="11"/>
                  </a:lnTo>
                  <a:lnTo>
                    <a:pt x="226" y="9"/>
                  </a:lnTo>
                  <a:lnTo>
                    <a:pt x="228" y="7"/>
                  </a:lnTo>
                  <a:lnTo>
                    <a:pt x="230" y="7"/>
                  </a:lnTo>
                  <a:lnTo>
                    <a:pt x="232" y="5"/>
                  </a:lnTo>
                  <a:lnTo>
                    <a:pt x="240" y="5"/>
                  </a:lnTo>
                  <a:lnTo>
                    <a:pt x="246" y="7"/>
                  </a:lnTo>
                  <a:lnTo>
                    <a:pt x="251" y="7"/>
                  </a:lnTo>
                  <a:lnTo>
                    <a:pt x="259" y="7"/>
                  </a:lnTo>
                  <a:lnTo>
                    <a:pt x="261" y="7"/>
                  </a:lnTo>
                  <a:lnTo>
                    <a:pt x="263" y="7"/>
                  </a:lnTo>
                  <a:lnTo>
                    <a:pt x="263" y="5"/>
                  </a:lnTo>
                  <a:lnTo>
                    <a:pt x="265" y="5"/>
                  </a:lnTo>
                  <a:lnTo>
                    <a:pt x="269" y="7"/>
                  </a:lnTo>
                  <a:lnTo>
                    <a:pt x="274" y="9"/>
                  </a:lnTo>
                  <a:lnTo>
                    <a:pt x="274" y="11"/>
                  </a:lnTo>
                  <a:lnTo>
                    <a:pt x="276" y="11"/>
                  </a:lnTo>
                  <a:lnTo>
                    <a:pt x="276" y="13"/>
                  </a:lnTo>
                  <a:lnTo>
                    <a:pt x="278" y="13"/>
                  </a:lnTo>
                  <a:lnTo>
                    <a:pt x="280" y="15"/>
                  </a:lnTo>
                  <a:lnTo>
                    <a:pt x="284" y="17"/>
                  </a:lnTo>
                  <a:lnTo>
                    <a:pt x="292" y="19"/>
                  </a:lnTo>
                  <a:lnTo>
                    <a:pt x="299" y="19"/>
                  </a:lnTo>
                  <a:lnTo>
                    <a:pt x="307" y="17"/>
                  </a:lnTo>
                  <a:lnTo>
                    <a:pt x="313" y="17"/>
                  </a:lnTo>
                  <a:lnTo>
                    <a:pt x="315" y="15"/>
                  </a:lnTo>
                  <a:lnTo>
                    <a:pt x="315" y="13"/>
                  </a:lnTo>
                  <a:lnTo>
                    <a:pt x="317" y="13"/>
                  </a:lnTo>
                  <a:lnTo>
                    <a:pt x="318" y="11"/>
                  </a:lnTo>
                  <a:lnTo>
                    <a:pt x="320" y="9"/>
                  </a:lnTo>
                  <a:lnTo>
                    <a:pt x="322" y="9"/>
                  </a:lnTo>
                  <a:lnTo>
                    <a:pt x="322" y="7"/>
                  </a:lnTo>
                  <a:lnTo>
                    <a:pt x="324" y="7"/>
                  </a:lnTo>
                  <a:lnTo>
                    <a:pt x="326" y="5"/>
                  </a:lnTo>
                  <a:lnTo>
                    <a:pt x="328" y="5"/>
                  </a:lnTo>
                  <a:lnTo>
                    <a:pt x="328" y="4"/>
                  </a:lnTo>
                  <a:lnTo>
                    <a:pt x="330" y="2"/>
                  </a:lnTo>
                  <a:lnTo>
                    <a:pt x="33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09" name="Freeform 96"/>
            <p:cNvSpPr>
              <a:spLocks/>
            </p:cNvSpPr>
            <p:nvPr/>
          </p:nvSpPr>
          <p:spPr bwMode="auto">
            <a:xfrm>
              <a:off x="2058" y="1156"/>
              <a:ext cx="397" cy="368"/>
            </a:xfrm>
            <a:custGeom>
              <a:avLst/>
              <a:gdLst/>
              <a:ahLst/>
              <a:cxnLst>
                <a:cxn ang="0">
                  <a:pos x="340" y="19"/>
                </a:cxn>
                <a:cxn ang="0">
                  <a:pos x="349" y="40"/>
                </a:cxn>
                <a:cxn ang="0">
                  <a:pos x="355" y="55"/>
                </a:cxn>
                <a:cxn ang="0">
                  <a:pos x="361" y="69"/>
                </a:cxn>
                <a:cxn ang="0">
                  <a:pos x="359" y="80"/>
                </a:cxn>
                <a:cxn ang="0">
                  <a:pos x="355" y="92"/>
                </a:cxn>
                <a:cxn ang="0">
                  <a:pos x="351" y="111"/>
                </a:cxn>
                <a:cxn ang="0">
                  <a:pos x="347" y="130"/>
                </a:cxn>
                <a:cxn ang="0">
                  <a:pos x="343" y="144"/>
                </a:cxn>
                <a:cxn ang="0">
                  <a:pos x="326" y="136"/>
                </a:cxn>
                <a:cxn ang="0">
                  <a:pos x="315" y="119"/>
                </a:cxn>
                <a:cxn ang="0">
                  <a:pos x="307" y="105"/>
                </a:cxn>
                <a:cxn ang="0">
                  <a:pos x="295" y="98"/>
                </a:cxn>
                <a:cxn ang="0">
                  <a:pos x="280" y="84"/>
                </a:cxn>
                <a:cxn ang="0">
                  <a:pos x="270" y="84"/>
                </a:cxn>
                <a:cxn ang="0">
                  <a:pos x="272" y="98"/>
                </a:cxn>
                <a:cxn ang="0">
                  <a:pos x="282" y="109"/>
                </a:cxn>
                <a:cxn ang="0">
                  <a:pos x="293" y="122"/>
                </a:cxn>
                <a:cxn ang="0">
                  <a:pos x="305" y="138"/>
                </a:cxn>
                <a:cxn ang="0">
                  <a:pos x="313" y="157"/>
                </a:cxn>
                <a:cxn ang="0">
                  <a:pos x="320" y="172"/>
                </a:cxn>
                <a:cxn ang="0">
                  <a:pos x="330" y="197"/>
                </a:cxn>
                <a:cxn ang="0">
                  <a:pos x="340" y="215"/>
                </a:cxn>
                <a:cxn ang="0">
                  <a:pos x="357" y="236"/>
                </a:cxn>
                <a:cxn ang="0">
                  <a:pos x="374" y="263"/>
                </a:cxn>
                <a:cxn ang="0">
                  <a:pos x="384" y="289"/>
                </a:cxn>
                <a:cxn ang="0">
                  <a:pos x="393" y="307"/>
                </a:cxn>
                <a:cxn ang="0">
                  <a:pos x="395" y="320"/>
                </a:cxn>
                <a:cxn ang="0">
                  <a:pos x="384" y="337"/>
                </a:cxn>
                <a:cxn ang="0">
                  <a:pos x="374" y="351"/>
                </a:cxn>
                <a:cxn ang="0">
                  <a:pos x="359" y="359"/>
                </a:cxn>
                <a:cxn ang="0">
                  <a:pos x="343" y="368"/>
                </a:cxn>
                <a:cxn ang="0">
                  <a:pos x="328" y="364"/>
                </a:cxn>
                <a:cxn ang="0">
                  <a:pos x="317" y="359"/>
                </a:cxn>
                <a:cxn ang="0">
                  <a:pos x="301" y="359"/>
                </a:cxn>
                <a:cxn ang="0">
                  <a:pos x="284" y="359"/>
                </a:cxn>
                <a:cxn ang="0">
                  <a:pos x="265" y="359"/>
                </a:cxn>
                <a:cxn ang="0">
                  <a:pos x="246" y="359"/>
                </a:cxn>
                <a:cxn ang="0">
                  <a:pos x="224" y="359"/>
                </a:cxn>
                <a:cxn ang="0">
                  <a:pos x="203" y="359"/>
                </a:cxn>
                <a:cxn ang="0">
                  <a:pos x="188" y="364"/>
                </a:cxn>
                <a:cxn ang="0">
                  <a:pos x="171" y="366"/>
                </a:cxn>
                <a:cxn ang="0">
                  <a:pos x="152" y="364"/>
                </a:cxn>
                <a:cxn ang="0">
                  <a:pos x="44" y="364"/>
                </a:cxn>
                <a:cxn ang="0">
                  <a:pos x="34" y="366"/>
                </a:cxn>
                <a:cxn ang="0">
                  <a:pos x="23" y="368"/>
                </a:cxn>
                <a:cxn ang="0">
                  <a:pos x="21" y="343"/>
                </a:cxn>
                <a:cxn ang="0">
                  <a:pos x="23" y="226"/>
                </a:cxn>
                <a:cxn ang="0">
                  <a:pos x="15" y="169"/>
                </a:cxn>
                <a:cxn ang="0">
                  <a:pos x="21" y="138"/>
                </a:cxn>
                <a:cxn ang="0">
                  <a:pos x="10" y="92"/>
                </a:cxn>
                <a:cxn ang="0">
                  <a:pos x="0" y="71"/>
                </a:cxn>
                <a:cxn ang="0">
                  <a:pos x="10" y="46"/>
                </a:cxn>
                <a:cxn ang="0">
                  <a:pos x="11" y="13"/>
                </a:cxn>
                <a:cxn ang="0">
                  <a:pos x="77" y="11"/>
                </a:cxn>
                <a:cxn ang="0">
                  <a:pos x="117" y="21"/>
                </a:cxn>
                <a:cxn ang="0">
                  <a:pos x="182" y="28"/>
                </a:cxn>
                <a:cxn ang="0">
                  <a:pos x="201" y="11"/>
                </a:cxn>
                <a:cxn ang="0">
                  <a:pos x="224" y="11"/>
                </a:cxn>
                <a:cxn ang="0">
                  <a:pos x="259" y="7"/>
                </a:cxn>
                <a:cxn ang="0">
                  <a:pos x="276" y="11"/>
                </a:cxn>
                <a:cxn ang="0">
                  <a:pos x="313" y="17"/>
                </a:cxn>
                <a:cxn ang="0">
                  <a:pos x="324" y="7"/>
                </a:cxn>
              </a:cxnLst>
              <a:rect l="0" t="0" r="r" b="b"/>
              <a:pathLst>
                <a:path w="397" h="368">
                  <a:moveTo>
                    <a:pt x="330" y="0"/>
                  </a:moveTo>
                  <a:lnTo>
                    <a:pt x="332" y="4"/>
                  </a:lnTo>
                  <a:lnTo>
                    <a:pt x="334" y="7"/>
                  </a:lnTo>
                  <a:lnTo>
                    <a:pt x="336" y="11"/>
                  </a:lnTo>
                  <a:lnTo>
                    <a:pt x="336" y="13"/>
                  </a:lnTo>
                  <a:lnTo>
                    <a:pt x="338" y="13"/>
                  </a:lnTo>
                  <a:lnTo>
                    <a:pt x="338" y="17"/>
                  </a:lnTo>
                  <a:lnTo>
                    <a:pt x="340" y="19"/>
                  </a:lnTo>
                  <a:lnTo>
                    <a:pt x="340" y="23"/>
                  </a:lnTo>
                  <a:lnTo>
                    <a:pt x="343" y="23"/>
                  </a:lnTo>
                  <a:lnTo>
                    <a:pt x="343" y="27"/>
                  </a:lnTo>
                  <a:lnTo>
                    <a:pt x="343" y="28"/>
                  </a:lnTo>
                  <a:lnTo>
                    <a:pt x="345" y="30"/>
                  </a:lnTo>
                  <a:lnTo>
                    <a:pt x="345" y="34"/>
                  </a:lnTo>
                  <a:lnTo>
                    <a:pt x="347" y="36"/>
                  </a:lnTo>
                  <a:lnTo>
                    <a:pt x="349" y="40"/>
                  </a:lnTo>
                  <a:lnTo>
                    <a:pt x="351" y="44"/>
                  </a:lnTo>
                  <a:lnTo>
                    <a:pt x="351" y="44"/>
                  </a:lnTo>
                  <a:lnTo>
                    <a:pt x="351" y="46"/>
                  </a:lnTo>
                  <a:lnTo>
                    <a:pt x="351" y="50"/>
                  </a:lnTo>
                  <a:lnTo>
                    <a:pt x="353" y="50"/>
                  </a:lnTo>
                  <a:lnTo>
                    <a:pt x="353" y="51"/>
                  </a:lnTo>
                  <a:lnTo>
                    <a:pt x="353" y="53"/>
                  </a:lnTo>
                  <a:lnTo>
                    <a:pt x="355" y="55"/>
                  </a:lnTo>
                  <a:lnTo>
                    <a:pt x="355" y="57"/>
                  </a:lnTo>
                  <a:lnTo>
                    <a:pt x="355" y="59"/>
                  </a:lnTo>
                  <a:lnTo>
                    <a:pt x="357" y="61"/>
                  </a:lnTo>
                  <a:lnTo>
                    <a:pt x="357" y="63"/>
                  </a:lnTo>
                  <a:lnTo>
                    <a:pt x="357" y="65"/>
                  </a:lnTo>
                  <a:lnTo>
                    <a:pt x="359" y="67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3" y="69"/>
                  </a:lnTo>
                  <a:lnTo>
                    <a:pt x="364" y="69"/>
                  </a:lnTo>
                  <a:lnTo>
                    <a:pt x="364" y="73"/>
                  </a:lnTo>
                  <a:lnTo>
                    <a:pt x="363" y="73"/>
                  </a:lnTo>
                  <a:lnTo>
                    <a:pt x="361" y="75"/>
                  </a:lnTo>
                  <a:lnTo>
                    <a:pt x="361" y="76"/>
                  </a:lnTo>
                  <a:lnTo>
                    <a:pt x="361" y="78"/>
                  </a:lnTo>
                  <a:lnTo>
                    <a:pt x="359" y="80"/>
                  </a:lnTo>
                  <a:lnTo>
                    <a:pt x="359" y="80"/>
                  </a:lnTo>
                  <a:lnTo>
                    <a:pt x="357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6"/>
                  </a:lnTo>
                  <a:lnTo>
                    <a:pt x="355" y="90"/>
                  </a:lnTo>
                  <a:lnTo>
                    <a:pt x="355" y="90"/>
                  </a:lnTo>
                  <a:lnTo>
                    <a:pt x="355" y="92"/>
                  </a:lnTo>
                  <a:lnTo>
                    <a:pt x="355" y="96"/>
                  </a:lnTo>
                  <a:lnTo>
                    <a:pt x="355" y="98"/>
                  </a:lnTo>
                  <a:lnTo>
                    <a:pt x="355" y="99"/>
                  </a:lnTo>
                  <a:lnTo>
                    <a:pt x="355" y="101"/>
                  </a:lnTo>
                  <a:lnTo>
                    <a:pt x="355" y="103"/>
                  </a:lnTo>
                  <a:lnTo>
                    <a:pt x="353" y="105"/>
                  </a:lnTo>
                  <a:lnTo>
                    <a:pt x="353" y="107"/>
                  </a:lnTo>
                  <a:lnTo>
                    <a:pt x="351" y="111"/>
                  </a:lnTo>
                  <a:lnTo>
                    <a:pt x="351" y="113"/>
                  </a:lnTo>
                  <a:lnTo>
                    <a:pt x="351" y="115"/>
                  </a:lnTo>
                  <a:lnTo>
                    <a:pt x="351" y="117"/>
                  </a:lnTo>
                  <a:lnTo>
                    <a:pt x="349" y="119"/>
                  </a:lnTo>
                  <a:lnTo>
                    <a:pt x="349" y="122"/>
                  </a:lnTo>
                  <a:lnTo>
                    <a:pt x="349" y="122"/>
                  </a:lnTo>
                  <a:lnTo>
                    <a:pt x="347" y="124"/>
                  </a:lnTo>
                  <a:lnTo>
                    <a:pt x="347" y="130"/>
                  </a:lnTo>
                  <a:lnTo>
                    <a:pt x="345" y="130"/>
                  </a:lnTo>
                  <a:lnTo>
                    <a:pt x="345" y="134"/>
                  </a:lnTo>
                  <a:lnTo>
                    <a:pt x="345" y="136"/>
                  </a:lnTo>
                  <a:lnTo>
                    <a:pt x="345" y="136"/>
                  </a:lnTo>
                  <a:lnTo>
                    <a:pt x="345" y="140"/>
                  </a:lnTo>
                  <a:lnTo>
                    <a:pt x="345" y="142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0" y="144"/>
                  </a:lnTo>
                  <a:lnTo>
                    <a:pt x="338" y="146"/>
                  </a:lnTo>
                  <a:lnTo>
                    <a:pt x="336" y="146"/>
                  </a:lnTo>
                  <a:lnTo>
                    <a:pt x="334" y="146"/>
                  </a:lnTo>
                  <a:lnTo>
                    <a:pt x="330" y="144"/>
                  </a:lnTo>
                  <a:lnTo>
                    <a:pt x="330" y="142"/>
                  </a:lnTo>
                  <a:lnTo>
                    <a:pt x="328" y="140"/>
                  </a:lnTo>
                  <a:lnTo>
                    <a:pt x="326" y="136"/>
                  </a:lnTo>
                  <a:lnTo>
                    <a:pt x="324" y="134"/>
                  </a:lnTo>
                  <a:lnTo>
                    <a:pt x="324" y="130"/>
                  </a:lnTo>
                  <a:lnTo>
                    <a:pt x="320" y="128"/>
                  </a:lnTo>
                  <a:lnTo>
                    <a:pt x="320" y="126"/>
                  </a:lnTo>
                  <a:lnTo>
                    <a:pt x="318" y="124"/>
                  </a:lnTo>
                  <a:lnTo>
                    <a:pt x="317" y="122"/>
                  </a:lnTo>
                  <a:lnTo>
                    <a:pt x="315" y="121"/>
                  </a:lnTo>
                  <a:lnTo>
                    <a:pt x="315" y="119"/>
                  </a:lnTo>
                  <a:lnTo>
                    <a:pt x="313" y="117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1" y="111"/>
                  </a:lnTo>
                  <a:lnTo>
                    <a:pt x="309" y="111"/>
                  </a:lnTo>
                  <a:lnTo>
                    <a:pt x="307" y="111"/>
                  </a:lnTo>
                  <a:lnTo>
                    <a:pt x="307" y="107"/>
                  </a:lnTo>
                  <a:lnTo>
                    <a:pt x="307" y="105"/>
                  </a:lnTo>
                  <a:lnTo>
                    <a:pt x="305" y="105"/>
                  </a:lnTo>
                  <a:lnTo>
                    <a:pt x="305" y="103"/>
                  </a:lnTo>
                  <a:lnTo>
                    <a:pt x="303" y="101"/>
                  </a:lnTo>
                  <a:lnTo>
                    <a:pt x="301" y="101"/>
                  </a:lnTo>
                  <a:lnTo>
                    <a:pt x="299" y="101"/>
                  </a:lnTo>
                  <a:lnTo>
                    <a:pt x="299" y="101"/>
                  </a:lnTo>
                  <a:lnTo>
                    <a:pt x="295" y="99"/>
                  </a:lnTo>
                  <a:lnTo>
                    <a:pt x="295" y="98"/>
                  </a:lnTo>
                  <a:lnTo>
                    <a:pt x="293" y="96"/>
                  </a:lnTo>
                  <a:lnTo>
                    <a:pt x="293" y="96"/>
                  </a:lnTo>
                  <a:lnTo>
                    <a:pt x="290" y="94"/>
                  </a:lnTo>
                  <a:lnTo>
                    <a:pt x="288" y="92"/>
                  </a:lnTo>
                  <a:lnTo>
                    <a:pt x="286" y="90"/>
                  </a:lnTo>
                  <a:lnTo>
                    <a:pt x="284" y="88"/>
                  </a:lnTo>
                  <a:lnTo>
                    <a:pt x="282" y="86"/>
                  </a:lnTo>
                  <a:lnTo>
                    <a:pt x="280" y="84"/>
                  </a:lnTo>
                  <a:lnTo>
                    <a:pt x="278" y="82"/>
                  </a:lnTo>
                  <a:lnTo>
                    <a:pt x="276" y="82"/>
                  </a:lnTo>
                  <a:lnTo>
                    <a:pt x="276" y="82"/>
                  </a:lnTo>
                  <a:lnTo>
                    <a:pt x="274" y="80"/>
                  </a:lnTo>
                  <a:lnTo>
                    <a:pt x="272" y="80"/>
                  </a:lnTo>
                  <a:lnTo>
                    <a:pt x="272" y="78"/>
                  </a:lnTo>
                  <a:lnTo>
                    <a:pt x="270" y="80"/>
                  </a:lnTo>
                  <a:lnTo>
                    <a:pt x="270" y="84"/>
                  </a:lnTo>
                  <a:lnTo>
                    <a:pt x="269" y="84"/>
                  </a:lnTo>
                  <a:lnTo>
                    <a:pt x="269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4"/>
                  </a:lnTo>
                  <a:lnTo>
                    <a:pt x="269" y="96"/>
                  </a:lnTo>
                  <a:lnTo>
                    <a:pt x="272" y="98"/>
                  </a:lnTo>
                  <a:lnTo>
                    <a:pt x="272" y="99"/>
                  </a:lnTo>
                  <a:lnTo>
                    <a:pt x="274" y="101"/>
                  </a:lnTo>
                  <a:lnTo>
                    <a:pt x="274" y="101"/>
                  </a:lnTo>
                  <a:lnTo>
                    <a:pt x="276" y="101"/>
                  </a:lnTo>
                  <a:lnTo>
                    <a:pt x="278" y="105"/>
                  </a:lnTo>
                  <a:lnTo>
                    <a:pt x="278" y="107"/>
                  </a:lnTo>
                  <a:lnTo>
                    <a:pt x="280" y="107"/>
                  </a:lnTo>
                  <a:lnTo>
                    <a:pt x="282" y="109"/>
                  </a:lnTo>
                  <a:lnTo>
                    <a:pt x="284" y="109"/>
                  </a:lnTo>
                  <a:lnTo>
                    <a:pt x="286" y="111"/>
                  </a:lnTo>
                  <a:lnTo>
                    <a:pt x="288" y="111"/>
                  </a:lnTo>
                  <a:lnTo>
                    <a:pt x="290" y="113"/>
                  </a:lnTo>
                  <a:lnTo>
                    <a:pt x="292" y="115"/>
                  </a:lnTo>
                  <a:lnTo>
                    <a:pt x="292" y="117"/>
                  </a:lnTo>
                  <a:lnTo>
                    <a:pt x="293" y="119"/>
                  </a:lnTo>
                  <a:lnTo>
                    <a:pt x="293" y="122"/>
                  </a:lnTo>
                  <a:lnTo>
                    <a:pt x="295" y="122"/>
                  </a:lnTo>
                  <a:lnTo>
                    <a:pt x="295" y="124"/>
                  </a:lnTo>
                  <a:lnTo>
                    <a:pt x="297" y="126"/>
                  </a:lnTo>
                  <a:lnTo>
                    <a:pt x="299" y="128"/>
                  </a:lnTo>
                  <a:lnTo>
                    <a:pt x="301" y="130"/>
                  </a:lnTo>
                  <a:lnTo>
                    <a:pt x="301" y="134"/>
                  </a:lnTo>
                  <a:lnTo>
                    <a:pt x="303" y="136"/>
                  </a:lnTo>
                  <a:lnTo>
                    <a:pt x="305" y="138"/>
                  </a:lnTo>
                  <a:lnTo>
                    <a:pt x="305" y="140"/>
                  </a:lnTo>
                  <a:lnTo>
                    <a:pt x="307" y="142"/>
                  </a:lnTo>
                  <a:lnTo>
                    <a:pt x="307" y="146"/>
                  </a:lnTo>
                  <a:lnTo>
                    <a:pt x="309" y="147"/>
                  </a:lnTo>
                  <a:lnTo>
                    <a:pt x="311" y="149"/>
                  </a:lnTo>
                  <a:lnTo>
                    <a:pt x="311" y="151"/>
                  </a:lnTo>
                  <a:lnTo>
                    <a:pt x="311" y="155"/>
                  </a:lnTo>
                  <a:lnTo>
                    <a:pt x="313" y="157"/>
                  </a:lnTo>
                  <a:lnTo>
                    <a:pt x="315" y="157"/>
                  </a:lnTo>
                  <a:lnTo>
                    <a:pt x="315" y="161"/>
                  </a:lnTo>
                  <a:lnTo>
                    <a:pt x="317" y="163"/>
                  </a:lnTo>
                  <a:lnTo>
                    <a:pt x="317" y="163"/>
                  </a:lnTo>
                  <a:lnTo>
                    <a:pt x="317" y="167"/>
                  </a:lnTo>
                  <a:lnTo>
                    <a:pt x="318" y="169"/>
                  </a:lnTo>
                  <a:lnTo>
                    <a:pt x="320" y="170"/>
                  </a:lnTo>
                  <a:lnTo>
                    <a:pt x="320" y="172"/>
                  </a:lnTo>
                  <a:lnTo>
                    <a:pt x="324" y="178"/>
                  </a:lnTo>
                  <a:lnTo>
                    <a:pt x="324" y="180"/>
                  </a:lnTo>
                  <a:lnTo>
                    <a:pt x="324" y="182"/>
                  </a:lnTo>
                  <a:lnTo>
                    <a:pt x="326" y="184"/>
                  </a:lnTo>
                  <a:lnTo>
                    <a:pt x="326" y="186"/>
                  </a:lnTo>
                  <a:lnTo>
                    <a:pt x="326" y="190"/>
                  </a:lnTo>
                  <a:lnTo>
                    <a:pt x="328" y="192"/>
                  </a:lnTo>
                  <a:lnTo>
                    <a:pt x="330" y="197"/>
                  </a:lnTo>
                  <a:lnTo>
                    <a:pt x="330" y="199"/>
                  </a:lnTo>
                  <a:lnTo>
                    <a:pt x="330" y="203"/>
                  </a:lnTo>
                  <a:lnTo>
                    <a:pt x="332" y="205"/>
                  </a:lnTo>
                  <a:lnTo>
                    <a:pt x="334" y="209"/>
                  </a:lnTo>
                  <a:lnTo>
                    <a:pt x="334" y="211"/>
                  </a:lnTo>
                  <a:lnTo>
                    <a:pt x="336" y="213"/>
                  </a:lnTo>
                  <a:lnTo>
                    <a:pt x="338" y="215"/>
                  </a:lnTo>
                  <a:lnTo>
                    <a:pt x="340" y="215"/>
                  </a:lnTo>
                  <a:lnTo>
                    <a:pt x="343" y="220"/>
                  </a:lnTo>
                  <a:lnTo>
                    <a:pt x="345" y="222"/>
                  </a:lnTo>
                  <a:lnTo>
                    <a:pt x="349" y="224"/>
                  </a:lnTo>
                  <a:lnTo>
                    <a:pt x="349" y="226"/>
                  </a:lnTo>
                  <a:lnTo>
                    <a:pt x="351" y="228"/>
                  </a:lnTo>
                  <a:lnTo>
                    <a:pt x="355" y="230"/>
                  </a:lnTo>
                  <a:lnTo>
                    <a:pt x="355" y="234"/>
                  </a:lnTo>
                  <a:lnTo>
                    <a:pt x="357" y="236"/>
                  </a:lnTo>
                  <a:lnTo>
                    <a:pt x="357" y="238"/>
                  </a:lnTo>
                  <a:lnTo>
                    <a:pt x="361" y="241"/>
                  </a:lnTo>
                  <a:lnTo>
                    <a:pt x="363" y="243"/>
                  </a:lnTo>
                  <a:lnTo>
                    <a:pt x="363" y="247"/>
                  </a:lnTo>
                  <a:lnTo>
                    <a:pt x="366" y="253"/>
                  </a:lnTo>
                  <a:lnTo>
                    <a:pt x="368" y="257"/>
                  </a:lnTo>
                  <a:lnTo>
                    <a:pt x="370" y="259"/>
                  </a:lnTo>
                  <a:lnTo>
                    <a:pt x="374" y="263"/>
                  </a:lnTo>
                  <a:lnTo>
                    <a:pt x="374" y="264"/>
                  </a:lnTo>
                  <a:lnTo>
                    <a:pt x="374" y="268"/>
                  </a:lnTo>
                  <a:lnTo>
                    <a:pt x="376" y="270"/>
                  </a:lnTo>
                  <a:lnTo>
                    <a:pt x="380" y="272"/>
                  </a:lnTo>
                  <a:lnTo>
                    <a:pt x="380" y="276"/>
                  </a:lnTo>
                  <a:lnTo>
                    <a:pt x="382" y="282"/>
                  </a:lnTo>
                  <a:lnTo>
                    <a:pt x="384" y="286"/>
                  </a:lnTo>
                  <a:lnTo>
                    <a:pt x="384" y="289"/>
                  </a:lnTo>
                  <a:lnTo>
                    <a:pt x="386" y="291"/>
                  </a:lnTo>
                  <a:lnTo>
                    <a:pt x="386" y="293"/>
                  </a:lnTo>
                  <a:lnTo>
                    <a:pt x="386" y="295"/>
                  </a:lnTo>
                  <a:lnTo>
                    <a:pt x="388" y="297"/>
                  </a:lnTo>
                  <a:lnTo>
                    <a:pt x="389" y="297"/>
                  </a:lnTo>
                  <a:lnTo>
                    <a:pt x="389" y="301"/>
                  </a:lnTo>
                  <a:lnTo>
                    <a:pt x="389" y="303"/>
                  </a:lnTo>
                  <a:lnTo>
                    <a:pt x="393" y="307"/>
                  </a:lnTo>
                  <a:lnTo>
                    <a:pt x="395" y="309"/>
                  </a:lnTo>
                  <a:lnTo>
                    <a:pt x="395" y="311"/>
                  </a:lnTo>
                  <a:lnTo>
                    <a:pt x="395" y="314"/>
                  </a:lnTo>
                  <a:lnTo>
                    <a:pt x="397" y="314"/>
                  </a:lnTo>
                  <a:lnTo>
                    <a:pt x="397" y="318"/>
                  </a:lnTo>
                  <a:lnTo>
                    <a:pt x="397" y="318"/>
                  </a:lnTo>
                  <a:lnTo>
                    <a:pt x="397" y="320"/>
                  </a:lnTo>
                  <a:lnTo>
                    <a:pt x="395" y="320"/>
                  </a:lnTo>
                  <a:lnTo>
                    <a:pt x="393" y="322"/>
                  </a:lnTo>
                  <a:lnTo>
                    <a:pt x="391" y="324"/>
                  </a:lnTo>
                  <a:lnTo>
                    <a:pt x="391" y="328"/>
                  </a:lnTo>
                  <a:lnTo>
                    <a:pt x="391" y="330"/>
                  </a:lnTo>
                  <a:lnTo>
                    <a:pt x="389" y="332"/>
                  </a:lnTo>
                  <a:lnTo>
                    <a:pt x="388" y="334"/>
                  </a:lnTo>
                  <a:lnTo>
                    <a:pt x="386" y="337"/>
                  </a:lnTo>
                  <a:lnTo>
                    <a:pt x="384" y="337"/>
                  </a:lnTo>
                  <a:lnTo>
                    <a:pt x="384" y="341"/>
                  </a:lnTo>
                  <a:lnTo>
                    <a:pt x="380" y="343"/>
                  </a:lnTo>
                  <a:lnTo>
                    <a:pt x="380" y="345"/>
                  </a:lnTo>
                  <a:lnTo>
                    <a:pt x="380" y="347"/>
                  </a:lnTo>
                  <a:lnTo>
                    <a:pt x="378" y="347"/>
                  </a:lnTo>
                  <a:lnTo>
                    <a:pt x="376" y="349"/>
                  </a:lnTo>
                  <a:lnTo>
                    <a:pt x="374" y="351"/>
                  </a:lnTo>
                  <a:lnTo>
                    <a:pt x="374" y="351"/>
                  </a:lnTo>
                  <a:lnTo>
                    <a:pt x="372" y="353"/>
                  </a:lnTo>
                  <a:lnTo>
                    <a:pt x="370" y="355"/>
                  </a:lnTo>
                  <a:lnTo>
                    <a:pt x="368" y="357"/>
                  </a:lnTo>
                  <a:lnTo>
                    <a:pt x="366" y="357"/>
                  </a:lnTo>
                  <a:lnTo>
                    <a:pt x="364" y="359"/>
                  </a:lnTo>
                  <a:lnTo>
                    <a:pt x="363" y="359"/>
                  </a:lnTo>
                  <a:lnTo>
                    <a:pt x="361" y="359"/>
                  </a:lnTo>
                  <a:lnTo>
                    <a:pt x="359" y="359"/>
                  </a:lnTo>
                  <a:lnTo>
                    <a:pt x="357" y="360"/>
                  </a:lnTo>
                  <a:lnTo>
                    <a:pt x="355" y="360"/>
                  </a:lnTo>
                  <a:lnTo>
                    <a:pt x="355" y="362"/>
                  </a:lnTo>
                  <a:lnTo>
                    <a:pt x="351" y="364"/>
                  </a:lnTo>
                  <a:lnTo>
                    <a:pt x="349" y="364"/>
                  </a:lnTo>
                  <a:lnTo>
                    <a:pt x="349" y="366"/>
                  </a:lnTo>
                  <a:lnTo>
                    <a:pt x="345" y="366"/>
                  </a:lnTo>
                  <a:lnTo>
                    <a:pt x="343" y="368"/>
                  </a:lnTo>
                  <a:lnTo>
                    <a:pt x="341" y="368"/>
                  </a:lnTo>
                  <a:lnTo>
                    <a:pt x="340" y="368"/>
                  </a:lnTo>
                  <a:lnTo>
                    <a:pt x="338" y="366"/>
                  </a:lnTo>
                  <a:lnTo>
                    <a:pt x="336" y="366"/>
                  </a:lnTo>
                  <a:lnTo>
                    <a:pt x="334" y="366"/>
                  </a:lnTo>
                  <a:lnTo>
                    <a:pt x="332" y="366"/>
                  </a:lnTo>
                  <a:lnTo>
                    <a:pt x="330" y="366"/>
                  </a:lnTo>
                  <a:lnTo>
                    <a:pt x="328" y="364"/>
                  </a:lnTo>
                  <a:lnTo>
                    <a:pt x="328" y="364"/>
                  </a:lnTo>
                  <a:lnTo>
                    <a:pt x="328" y="362"/>
                  </a:lnTo>
                  <a:lnTo>
                    <a:pt x="326" y="360"/>
                  </a:lnTo>
                  <a:lnTo>
                    <a:pt x="324" y="359"/>
                  </a:lnTo>
                  <a:lnTo>
                    <a:pt x="324" y="359"/>
                  </a:lnTo>
                  <a:lnTo>
                    <a:pt x="322" y="359"/>
                  </a:lnTo>
                  <a:lnTo>
                    <a:pt x="320" y="359"/>
                  </a:lnTo>
                  <a:lnTo>
                    <a:pt x="317" y="359"/>
                  </a:lnTo>
                  <a:lnTo>
                    <a:pt x="315" y="359"/>
                  </a:lnTo>
                  <a:lnTo>
                    <a:pt x="313" y="359"/>
                  </a:lnTo>
                  <a:lnTo>
                    <a:pt x="311" y="359"/>
                  </a:lnTo>
                  <a:lnTo>
                    <a:pt x="309" y="359"/>
                  </a:lnTo>
                  <a:lnTo>
                    <a:pt x="307" y="357"/>
                  </a:lnTo>
                  <a:lnTo>
                    <a:pt x="305" y="357"/>
                  </a:lnTo>
                  <a:lnTo>
                    <a:pt x="303" y="359"/>
                  </a:lnTo>
                  <a:lnTo>
                    <a:pt x="301" y="359"/>
                  </a:lnTo>
                  <a:lnTo>
                    <a:pt x="299" y="359"/>
                  </a:lnTo>
                  <a:lnTo>
                    <a:pt x="297" y="359"/>
                  </a:lnTo>
                  <a:lnTo>
                    <a:pt x="295" y="360"/>
                  </a:lnTo>
                  <a:lnTo>
                    <a:pt x="293" y="360"/>
                  </a:lnTo>
                  <a:lnTo>
                    <a:pt x="290" y="360"/>
                  </a:lnTo>
                  <a:lnTo>
                    <a:pt x="288" y="360"/>
                  </a:lnTo>
                  <a:lnTo>
                    <a:pt x="288" y="359"/>
                  </a:lnTo>
                  <a:lnTo>
                    <a:pt x="284" y="359"/>
                  </a:lnTo>
                  <a:lnTo>
                    <a:pt x="282" y="359"/>
                  </a:lnTo>
                  <a:lnTo>
                    <a:pt x="280" y="359"/>
                  </a:lnTo>
                  <a:lnTo>
                    <a:pt x="278" y="359"/>
                  </a:lnTo>
                  <a:lnTo>
                    <a:pt x="274" y="359"/>
                  </a:lnTo>
                  <a:lnTo>
                    <a:pt x="272" y="359"/>
                  </a:lnTo>
                  <a:lnTo>
                    <a:pt x="269" y="359"/>
                  </a:lnTo>
                  <a:lnTo>
                    <a:pt x="267" y="359"/>
                  </a:lnTo>
                  <a:lnTo>
                    <a:pt x="265" y="359"/>
                  </a:lnTo>
                  <a:lnTo>
                    <a:pt x="263" y="359"/>
                  </a:lnTo>
                  <a:lnTo>
                    <a:pt x="261" y="359"/>
                  </a:lnTo>
                  <a:lnTo>
                    <a:pt x="257" y="359"/>
                  </a:lnTo>
                  <a:lnTo>
                    <a:pt x="255" y="359"/>
                  </a:lnTo>
                  <a:lnTo>
                    <a:pt x="253" y="359"/>
                  </a:lnTo>
                  <a:lnTo>
                    <a:pt x="251" y="359"/>
                  </a:lnTo>
                  <a:lnTo>
                    <a:pt x="249" y="359"/>
                  </a:lnTo>
                  <a:lnTo>
                    <a:pt x="246" y="359"/>
                  </a:lnTo>
                  <a:lnTo>
                    <a:pt x="244" y="359"/>
                  </a:lnTo>
                  <a:lnTo>
                    <a:pt x="242" y="359"/>
                  </a:lnTo>
                  <a:lnTo>
                    <a:pt x="240" y="359"/>
                  </a:lnTo>
                  <a:lnTo>
                    <a:pt x="236" y="359"/>
                  </a:lnTo>
                  <a:lnTo>
                    <a:pt x="234" y="359"/>
                  </a:lnTo>
                  <a:lnTo>
                    <a:pt x="232" y="359"/>
                  </a:lnTo>
                  <a:lnTo>
                    <a:pt x="228" y="359"/>
                  </a:lnTo>
                  <a:lnTo>
                    <a:pt x="224" y="359"/>
                  </a:lnTo>
                  <a:lnTo>
                    <a:pt x="222" y="359"/>
                  </a:lnTo>
                  <a:lnTo>
                    <a:pt x="219" y="359"/>
                  </a:lnTo>
                  <a:lnTo>
                    <a:pt x="217" y="359"/>
                  </a:lnTo>
                  <a:lnTo>
                    <a:pt x="213" y="359"/>
                  </a:lnTo>
                  <a:lnTo>
                    <a:pt x="211" y="359"/>
                  </a:lnTo>
                  <a:lnTo>
                    <a:pt x="207" y="359"/>
                  </a:lnTo>
                  <a:lnTo>
                    <a:pt x="205" y="359"/>
                  </a:lnTo>
                  <a:lnTo>
                    <a:pt x="203" y="359"/>
                  </a:lnTo>
                  <a:lnTo>
                    <a:pt x="201" y="359"/>
                  </a:lnTo>
                  <a:lnTo>
                    <a:pt x="201" y="360"/>
                  </a:lnTo>
                  <a:lnTo>
                    <a:pt x="201" y="362"/>
                  </a:lnTo>
                  <a:lnTo>
                    <a:pt x="199" y="364"/>
                  </a:lnTo>
                  <a:lnTo>
                    <a:pt x="198" y="364"/>
                  </a:lnTo>
                  <a:lnTo>
                    <a:pt x="194" y="364"/>
                  </a:lnTo>
                  <a:lnTo>
                    <a:pt x="190" y="364"/>
                  </a:lnTo>
                  <a:lnTo>
                    <a:pt x="188" y="364"/>
                  </a:lnTo>
                  <a:lnTo>
                    <a:pt x="184" y="364"/>
                  </a:lnTo>
                  <a:lnTo>
                    <a:pt x="182" y="364"/>
                  </a:lnTo>
                  <a:lnTo>
                    <a:pt x="180" y="364"/>
                  </a:lnTo>
                  <a:lnTo>
                    <a:pt x="178" y="364"/>
                  </a:lnTo>
                  <a:lnTo>
                    <a:pt x="176" y="364"/>
                  </a:lnTo>
                  <a:lnTo>
                    <a:pt x="176" y="364"/>
                  </a:lnTo>
                  <a:lnTo>
                    <a:pt x="173" y="366"/>
                  </a:lnTo>
                  <a:lnTo>
                    <a:pt x="171" y="366"/>
                  </a:lnTo>
                  <a:lnTo>
                    <a:pt x="169" y="366"/>
                  </a:lnTo>
                  <a:lnTo>
                    <a:pt x="167" y="366"/>
                  </a:lnTo>
                  <a:lnTo>
                    <a:pt x="163" y="364"/>
                  </a:lnTo>
                  <a:lnTo>
                    <a:pt x="161" y="364"/>
                  </a:lnTo>
                  <a:lnTo>
                    <a:pt x="159" y="364"/>
                  </a:lnTo>
                  <a:lnTo>
                    <a:pt x="157" y="364"/>
                  </a:lnTo>
                  <a:lnTo>
                    <a:pt x="155" y="364"/>
                  </a:lnTo>
                  <a:lnTo>
                    <a:pt x="152" y="364"/>
                  </a:lnTo>
                  <a:lnTo>
                    <a:pt x="150" y="364"/>
                  </a:lnTo>
                  <a:lnTo>
                    <a:pt x="148" y="364"/>
                  </a:lnTo>
                  <a:lnTo>
                    <a:pt x="146" y="366"/>
                  </a:lnTo>
                  <a:lnTo>
                    <a:pt x="50" y="364"/>
                  </a:lnTo>
                  <a:lnTo>
                    <a:pt x="46" y="364"/>
                  </a:lnTo>
                  <a:lnTo>
                    <a:pt x="46" y="364"/>
                  </a:lnTo>
                  <a:lnTo>
                    <a:pt x="44" y="364"/>
                  </a:lnTo>
                  <a:lnTo>
                    <a:pt x="44" y="364"/>
                  </a:lnTo>
                  <a:lnTo>
                    <a:pt x="42" y="364"/>
                  </a:lnTo>
                  <a:lnTo>
                    <a:pt x="42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40" y="364"/>
                  </a:lnTo>
                  <a:lnTo>
                    <a:pt x="38" y="364"/>
                  </a:lnTo>
                  <a:lnTo>
                    <a:pt x="34" y="364"/>
                  </a:lnTo>
                  <a:lnTo>
                    <a:pt x="34" y="366"/>
                  </a:lnTo>
                  <a:lnTo>
                    <a:pt x="33" y="366"/>
                  </a:lnTo>
                  <a:lnTo>
                    <a:pt x="31" y="366"/>
                  </a:lnTo>
                  <a:lnTo>
                    <a:pt x="29" y="366"/>
                  </a:lnTo>
                  <a:lnTo>
                    <a:pt x="27" y="366"/>
                  </a:lnTo>
                  <a:lnTo>
                    <a:pt x="27" y="368"/>
                  </a:lnTo>
                  <a:lnTo>
                    <a:pt x="25" y="368"/>
                  </a:lnTo>
                  <a:lnTo>
                    <a:pt x="25" y="368"/>
                  </a:lnTo>
                  <a:lnTo>
                    <a:pt x="23" y="368"/>
                  </a:lnTo>
                  <a:lnTo>
                    <a:pt x="23" y="368"/>
                  </a:lnTo>
                  <a:lnTo>
                    <a:pt x="21" y="368"/>
                  </a:lnTo>
                  <a:lnTo>
                    <a:pt x="17" y="368"/>
                  </a:lnTo>
                  <a:lnTo>
                    <a:pt x="19" y="366"/>
                  </a:lnTo>
                  <a:lnTo>
                    <a:pt x="19" y="362"/>
                  </a:lnTo>
                  <a:lnTo>
                    <a:pt x="21" y="360"/>
                  </a:lnTo>
                  <a:lnTo>
                    <a:pt x="21" y="353"/>
                  </a:lnTo>
                  <a:lnTo>
                    <a:pt x="21" y="343"/>
                  </a:lnTo>
                  <a:lnTo>
                    <a:pt x="21" y="337"/>
                  </a:lnTo>
                  <a:lnTo>
                    <a:pt x="21" y="332"/>
                  </a:lnTo>
                  <a:lnTo>
                    <a:pt x="19" y="324"/>
                  </a:lnTo>
                  <a:lnTo>
                    <a:pt x="17" y="318"/>
                  </a:lnTo>
                  <a:lnTo>
                    <a:pt x="17" y="293"/>
                  </a:lnTo>
                  <a:lnTo>
                    <a:pt x="19" y="270"/>
                  </a:lnTo>
                  <a:lnTo>
                    <a:pt x="21" y="247"/>
                  </a:lnTo>
                  <a:lnTo>
                    <a:pt x="23" y="226"/>
                  </a:lnTo>
                  <a:lnTo>
                    <a:pt x="21" y="224"/>
                  </a:lnTo>
                  <a:lnTo>
                    <a:pt x="21" y="220"/>
                  </a:lnTo>
                  <a:lnTo>
                    <a:pt x="21" y="215"/>
                  </a:lnTo>
                  <a:lnTo>
                    <a:pt x="21" y="209"/>
                  </a:lnTo>
                  <a:lnTo>
                    <a:pt x="19" y="201"/>
                  </a:lnTo>
                  <a:lnTo>
                    <a:pt x="17" y="195"/>
                  </a:lnTo>
                  <a:lnTo>
                    <a:pt x="17" y="188"/>
                  </a:lnTo>
                  <a:lnTo>
                    <a:pt x="15" y="169"/>
                  </a:lnTo>
                  <a:lnTo>
                    <a:pt x="15" y="151"/>
                  </a:lnTo>
                  <a:lnTo>
                    <a:pt x="17" y="149"/>
                  </a:lnTo>
                  <a:lnTo>
                    <a:pt x="19" y="147"/>
                  </a:lnTo>
                  <a:lnTo>
                    <a:pt x="21" y="146"/>
                  </a:lnTo>
                  <a:lnTo>
                    <a:pt x="23" y="146"/>
                  </a:lnTo>
                  <a:lnTo>
                    <a:pt x="23" y="142"/>
                  </a:lnTo>
                  <a:lnTo>
                    <a:pt x="23" y="140"/>
                  </a:lnTo>
                  <a:lnTo>
                    <a:pt x="21" y="138"/>
                  </a:lnTo>
                  <a:lnTo>
                    <a:pt x="21" y="136"/>
                  </a:lnTo>
                  <a:lnTo>
                    <a:pt x="19" y="122"/>
                  </a:lnTo>
                  <a:lnTo>
                    <a:pt x="17" y="111"/>
                  </a:lnTo>
                  <a:lnTo>
                    <a:pt x="15" y="103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4" y="84"/>
                  </a:lnTo>
                  <a:lnTo>
                    <a:pt x="4" y="78"/>
                  </a:lnTo>
                  <a:lnTo>
                    <a:pt x="2" y="76"/>
                  </a:lnTo>
                  <a:lnTo>
                    <a:pt x="2" y="75"/>
                  </a:lnTo>
                  <a:lnTo>
                    <a:pt x="0" y="71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4" y="63"/>
                  </a:lnTo>
                  <a:lnTo>
                    <a:pt x="6" y="59"/>
                  </a:lnTo>
                  <a:lnTo>
                    <a:pt x="8" y="59"/>
                  </a:lnTo>
                  <a:lnTo>
                    <a:pt x="10" y="57"/>
                  </a:lnTo>
                  <a:lnTo>
                    <a:pt x="10" y="51"/>
                  </a:lnTo>
                  <a:lnTo>
                    <a:pt x="10" y="46"/>
                  </a:lnTo>
                  <a:lnTo>
                    <a:pt x="8" y="30"/>
                  </a:lnTo>
                  <a:lnTo>
                    <a:pt x="6" y="27"/>
                  </a:lnTo>
                  <a:lnTo>
                    <a:pt x="6" y="19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3" y="11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29" y="7"/>
                  </a:lnTo>
                  <a:lnTo>
                    <a:pt x="44" y="7"/>
                  </a:lnTo>
                  <a:lnTo>
                    <a:pt x="59" y="9"/>
                  </a:lnTo>
                  <a:lnTo>
                    <a:pt x="73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88" y="13"/>
                  </a:lnTo>
                  <a:lnTo>
                    <a:pt x="96" y="17"/>
                  </a:lnTo>
                  <a:lnTo>
                    <a:pt x="10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7" y="21"/>
                  </a:lnTo>
                  <a:lnTo>
                    <a:pt x="123" y="25"/>
                  </a:lnTo>
                  <a:lnTo>
                    <a:pt x="130" y="30"/>
                  </a:lnTo>
                  <a:lnTo>
                    <a:pt x="138" y="30"/>
                  </a:lnTo>
                  <a:lnTo>
                    <a:pt x="146" y="30"/>
                  </a:lnTo>
                  <a:lnTo>
                    <a:pt x="152" y="30"/>
                  </a:lnTo>
                  <a:lnTo>
                    <a:pt x="159" y="30"/>
                  </a:lnTo>
                  <a:lnTo>
                    <a:pt x="171" y="30"/>
                  </a:lnTo>
                  <a:lnTo>
                    <a:pt x="182" y="28"/>
                  </a:lnTo>
                  <a:lnTo>
                    <a:pt x="182" y="25"/>
                  </a:lnTo>
                  <a:lnTo>
                    <a:pt x="184" y="21"/>
                  </a:lnTo>
                  <a:lnTo>
                    <a:pt x="184" y="19"/>
                  </a:lnTo>
                  <a:lnTo>
                    <a:pt x="188" y="17"/>
                  </a:lnTo>
                  <a:lnTo>
                    <a:pt x="192" y="13"/>
                  </a:lnTo>
                  <a:lnTo>
                    <a:pt x="194" y="13"/>
                  </a:lnTo>
                  <a:lnTo>
                    <a:pt x="196" y="11"/>
                  </a:lnTo>
                  <a:lnTo>
                    <a:pt x="201" y="11"/>
                  </a:lnTo>
                  <a:lnTo>
                    <a:pt x="203" y="13"/>
                  </a:lnTo>
                  <a:lnTo>
                    <a:pt x="207" y="13"/>
                  </a:lnTo>
                  <a:lnTo>
                    <a:pt x="209" y="13"/>
                  </a:lnTo>
                  <a:lnTo>
                    <a:pt x="213" y="13"/>
                  </a:lnTo>
                  <a:lnTo>
                    <a:pt x="217" y="15"/>
                  </a:lnTo>
                  <a:lnTo>
                    <a:pt x="222" y="13"/>
                  </a:lnTo>
                  <a:lnTo>
                    <a:pt x="222" y="13"/>
                  </a:lnTo>
                  <a:lnTo>
                    <a:pt x="224" y="11"/>
                  </a:lnTo>
                  <a:lnTo>
                    <a:pt x="226" y="9"/>
                  </a:lnTo>
                  <a:lnTo>
                    <a:pt x="228" y="7"/>
                  </a:lnTo>
                  <a:lnTo>
                    <a:pt x="230" y="7"/>
                  </a:lnTo>
                  <a:lnTo>
                    <a:pt x="232" y="5"/>
                  </a:lnTo>
                  <a:lnTo>
                    <a:pt x="240" y="5"/>
                  </a:lnTo>
                  <a:lnTo>
                    <a:pt x="246" y="7"/>
                  </a:lnTo>
                  <a:lnTo>
                    <a:pt x="251" y="7"/>
                  </a:lnTo>
                  <a:lnTo>
                    <a:pt x="259" y="7"/>
                  </a:lnTo>
                  <a:lnTo>
                    <a:pt x="261" y="7"/>
                  </a:lnTo>
                  <a:lnTo>
                    <a:pt x="263" y="7"/>
                  </a:lnTo>
                  <a:lnTo>
                    <a:pt x="263" y="5"/>
                  </a:lnTo>
                  <a:lnTo>
                    <a:pt x="265" y="5"/>
                  </a:lnTo>
                  <a:lnTo>
                    <a:pt x="269" y="7"/>
                  </a:lnTo>
                  <a:lnTo>
                    <a:pt x="274" y="9"/>
                  </a:lnTo>
                  <a:lnTo>
                    <a:pt x="274" y="11"/>
                  </a:lnTo>
                  <a:lnTo>
                    <a:pt x="276" y="11"/>
                  </a:lnTo>
                  <a:lnTo>
                    <a:pt x="276" y="13"/>
                  </a:lnTo>
                  <a:lnTo>
                    <a:pt x="278" y="13"/>
                  </a:lnTo>
                  <a:lnTo>
                    <a:pt x="280" y="15"/>
                  </a:lnTo>
                  <a:lnTo>
                    <a:pt x="284" y="17"/>
                  </a:lnTo>
                  <a:lnTo>
                    <a:pt x="292" y="19"/>
                  </a:lnTo>
                  <a:lnTo>
                    <a:pt x="299" y="19"/>
                  </a:lnTo>
                  <a:lnTo>
                    <a:pt x="307" y="17"/>
                  </a:lnTo>
                  <a:lnTo>
                    <a:pt x="313" y="17"/>
                  </a:lnTo>
                  <a:lnTo>
                    <a:pt x="315" y="15"/>
                  </a:lnTo>
                  <a:lnTo>
                    <a:pt x="315" y="13"/>
                  </a:lnTo>
                  <a:lnTo>
                    <a:pt x="317" y="13"/>
                  </a:lnTo>
                  <a:lnTo>
                    <a:pt x="318" y="11"/>
                  </a:lnTo>
                  <a:lnTo>
                    <a:pt x="320" y="9"/>
                  </a:lnTo>
                  <a:lnTo>
                    <a:pt x="322" y="9"/>
                  </a:lnTo>
                  <a:lnTo>
                    <a:pt x="322" y="7"/>
                  </a:lnTo>
                  <a:lnTo>
                    <a:pt x="324" y="7"/>
                  </a:lnTo>
                  <a:lnTo>
                    <a:pt x="326" y="5"/>
                  </a:lnTo>
                  <a:lnTo>
                    <a:pt x="328" y="5"/>
                  </a:lnTo>
                  <a:lnTo>
                    <a:pt x="328" y="4"/>
                  </a:lnTo>
                  <a:lnTo>
                    <a:pt x="330" y="2"/>
                  </a:lnTo>
                  <a:lnTo>
                    <a:pt x="330" y="0"/>
                  </a:lnTo>
                </a:path>
              </a:pathLst>
            </a:custGeom>
            <a:grp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10" name="Freeform 97"/>
            <p:cNvSpPr>
              <a:spLocks/>
            </p:cNvSpPr>
            <p:nvPr/>
          </p:nvSpPr>
          <p:spPr bwMode="auto">
            <a:xfrm>
              <a:off x="2716" y="2756"/>
              <a:ext cx="292" cy="510"/>
            </a:xfrm>
            <a:custGeom>
              <a:avLst/>
              <a:gdLst/>
              <a:ahLst/>
              <a:cxnLst>
                <a:cxn ang="0">
                  <a:pos x="48" y="491"/>
                </a:cxn>
                <a:cxn ang="0">
                  <a:pos x="40" y="464"/>
                </a:cxn>
                <a:cxn ang="0">
                  <a:pos x="19" y="441"/>
                </a:cxn>
                <a:cxn ang="0">
                  <a:pos x="6" y="422"/>
                </a:cxn>
                <a:cxn ang="0">
                  <a:pos x="0" y="401"/>
                </a:cxn>
                <a:cxn ang="0">
                  <a:pos x="13" y="380"/>
                </a:cxn>
                <a:cxn ang="0">
                  <a:pos x="27" y="353"/>
                </a:cxn>
                <a:cxn ang="0">
                  <a:pos x="48" y="326"/>
                </a:cxn>
                <a:cxn ang="0">
                  <a:pos x="54" y="311"/>
                </a:cxn>
                <a:cxn ang="0">
                  <a:pos x="60" y="297"/>
                </a:cxn>
                <a:cxn ang="0">
                  <a:pos x="58" y="274"/>
                </a:cxn>
                <a:cxn ang="0">
                  <a:pos x="48" y="257"/>
                </a:cxn>
                <a:cxn ang="0">
                  <a:pos x="48" y="244"/>
                </a:cxn>
                <a:cxn ang="0">
                  <a:pos x="48" y="211"/>
                </a:cxn>
                <a:cxn ang="0">
                  <a:pos x="54" y="184"/>
                </a:cxn>
                <a:cxn ang="0">
                  <a:pos x="75" y="155"/>
                </a:cxn>
                <a:cxn ang="0">
                  <a:pos x="94" y="136"/>
                </a:cxn>
                <a:cxn ang="0">
                  <a:pos x="115" y="136"/>
                </a:cxn>
                <a:cxn ang="0">
                  <a:pos x="129" y="136"/>
                </a:cxn>
                <a:cxn ang="0">
                  <a:pos x="169" y="129"/>
                </a:cxn>
                <a:cxn ang="0">
                  <a:pos x="177" y="102"/>
                </a:cxn>
                <a:cxn ang="0">
                  <a:pos x="182" y="88"/>
                </a:cxn>
                <a:cxn ang="0">
                  <a:pos x="196" y="67"/>
                </a:cxn>
                <a:cxn ang="0">
                  <a:pos x="230" y="67"/>
                </a:cxn>
                <a:cxn ang="0">
                  <a:pos x="238" y="54"/>
                </a:cxn>
                <a:cxn ang="0">
                  <a:pos x="238" y="40"/>
                </a:cxn>
                <a:cxn ang="0">
                  <a:pos x="240" y="23"/>
                </a:cxn>
                <a:cxn ang="0">
                  <a:pos x="251" y="4"/>
                </a:cxn>
                <a:cxn ang="0">
                  <a:pos x="261" y="19"/>
                </a:cxn>
                <a:cxn ang="0">
                  <a:pos x="271" y="40"/>
                </a:cxn>
                <a:cxn ang="0">
                  <a:pos x="282" y="63"/>
                </a:cxn>
                <a:cxn ang="0">
                  <a:pos x="284" y="83"/>
                </a:cxn>
                <a:cxn ang="0">
                  <a:pos x="292" y="102"/>
                </a:cxn>
                <a:cxn ang="0">
                  <a:pos x="292" y="119"/>
                </a:cxn>
                <a:cxn ang="0">
                  <a:pos x="292" y="150"/>
                </a:cxn>
                <a:cxn ang="0">
                  <a:pos x="274" y="155"/>
                </a:cxn>
                <a:cxn ang="0">
                  <a:pos x="265" y="150"/>
                </a:cxn>
                <a:cxn ang="0">
                  <a:pos x="265" y="129"/>
                </a:cxn>
                <a:cxn ang="0">
                  <a:pos x="265" y="129"/>
                </a:cxn>
                <a:cxn ang="0">
                  <a:pos x="257" y="155"/>
                </a:cxn>
                <a:cxn ang="0">
                  <a:pos x="257" y="169"/>
                </a:cxn>
                <a:cxn ang="0">
                  <a:pos x="255" y="188"/>
                </a:cxn>
                <a:cxn ang="0">
                  <a:pos x="244" y="225"/>
                </a:cxn>
                <a:cxn ang="0">
                  <a:pos x="230" y="271"/>
                </a:cxn>
                <a:cxn ang="0">
                  <a:pos x="217" y="278"/>
                </a:cxn>
                <a:cxn ang="0">
                  <a:pos x="196" y="313"/>
                </a:cxn>
                <a:cxn ang="0">
                  <a:pos x="182" y="353"/>
                </a:cxn>
                <a:cxn ang="0">
                  <a:pos x="178" y="382"/>
                </a:cxn>
                <a:cxn ang="0">
                  <a:pos x="177" y="393"/>
                </a:cxn>
                <a:cxn ang="0">
                  <a:pos x="165" y="415"/>
                </a:cxn>
                <a:cxn ang="0">
                  <a:pos x="163" y="428"/>
                </a:cxn>
                <a:cxn ang="0">
                  <a:pos x="150" y="464"/>
                </a:cxn>
                <a:cxn ang="0">
                  <a:pos x="131" y="491"/>
                </a:cxn>
                <a:cxn ang="0">
                  <a:pos x="113" y="505"/>
                </a:cxn>
                <a:cxn ang="0">
                  <a:pos x="92" y="503"/>
                </a:cxn>
                <a:cxn ang="0">
                  <a:pos x="75" y="509"/>
                </a:cxn>
              </a:cxnLst>
              <a:rect l="0" t="0" r="r" b="b"/>
              <a:pathLst>
                <a:path w="292" h="510">
                  <a:moveTo>
                    <a:pt x="61" y="509"/>
                  </a:moveTo>
                  <a:lnTo>
                    <a:pt x="56" y="501"/>
                  </a:lnTo>
                  <a:lnTo>
                    <a:pt x="48" y="491"/>
                  </a:lnTo>
                  <a:lnTo>
                    <a:pt x="42" y="482"/>
                  </a:lnTo>
                  <a:lnTo>
                    <a:pt x="40" y="474"/>
                  </a:lnTo>
                  <a:lnTo>
                    <a:pt x="40" y="464"/>
                  </a:lnTo>
                  <a:lnTo>
                    <a:pt x="40" y="455"/>
                  </a:lnTo>
                  <a:lnTo>
                    <a:pt x="35" y="447"/>
                  </a:lnTo>
                  <a:lnTo>
                    <a:pt x="19" y="441"/>
                  </a:lnTo>
                  <a:lnTo>
                    <a:pt x="17" y="436"/>
                  </a:lnTo>
                  <a:lnTo>
                    <a:pt x="12" y="428"/>
                  </a:lnTo>
                  <a:lnTo>
                    <a:pt x="6" y="422"/>
                  </a:lnTo>
                  <a:lnTo>
                    <a:pt x="0" y="420"/>
                  </a:lnTo>
                  <a:lnTo>
                    <a:pt x="0" y="415"/>
                  </a:lnTo>
                  <a:lnTo>
                    <a:pt x="0" y="401"/>
                  </a:lnTo>
                  <a:lnTo>
                    <a:pt x="0" y="388"/>
                  </a:lnTo>
                  <a:lnTo>
                    <a:pt x="6" y="384"/>
                  </a:lnTo>
                  <a:lnTo>
                    <a:pt x="13" y="380"/>
                  </a:lnTo>
                  <a:lnTo>
                    <a:pt x="17" y="370"/>
                  </a:lnTo>
                  <a:lnTo>
                    <a:pt x="19" y="359"/>
                  </a:lnTo>
                  <a:lnTo>
                    <a:pt x="27" y="353"/>
                  </a:lnTo>
                  <a:lnTo>
                    <a:pt x="40" y="345"/>
                  </a:lnTo>
                  <a:lnTo>
                    <a:pt x="48" y="340"/>
                  </a:lnTo>
                  <a:lnTo>
                    <a:pt x="48" y="326"/>
                  </a:lnTo>
                  <a:lnTo>
                    <a:pt x="52" y="324"/>
                  </a:lnTo>
                  <a:lnTo>
                    <a:pt x="54" y="319"/>
                  </a:lnTo>
                  <a:lnTo>
                    <a:pt x="54" y="311"/>
                  </a:lnTo>
                  <a:lnTo>
                    <a:pt x="54" y="305"/>
                  </a:lnTo>
                  <a:lnTo>
                    <a:pt x="58" y="303"/>
                  </a:lnTo>
                  <a:lnTo>
                    <a:pt x="60" y="297"/>
                  </a:lnTo>
                  <a:lnTo>
                    <a:pt x="61" y="292"/>
                  </a:lnTo>
                  <a:lnTo>
                    <a:pt x="61" y="286"/>
                  </a:lnTo>
                  <a:lnTo>
                    <a:pt x="58" y="274"/>
                  </a:lnTo>
                  <a:lnTo>
                    <a:pt x="54" y="265"/>
                  </a:lnTo>
                  <a:lnTo>
                    <a:pt x="50" y="261"/>
                  </a:lnTo>
                  <a:lnTo>
                    <a:pt x="48" y="257"/>
                  </a:lnTo>
                  <a:lnTo>
                    <a:pt x="48" y="251"/>
                  </a:lnTo>
                  <a:lnTo>
                    <a:pt x="48" y="248"/>
                  </a:lnTo>
                  <a:lnTo>
                    <a:pt x="48" y="244"/>
                  </a:lnTo>
                  <a:lnTo>
                    <a:pt x="48" y="238"/>
                  </a:lnTo>
                  <a:lnTo>
                    <a:pt x="48" y="225"/>
                  </a:lnTo>
                  <a:lnTo>
                    <a:pt x="48" y="211"/>
                  </a:lnTo>
                  <a:lnTo>
                    <a:pt x="54" y="211"/>
                  </a:lnTo>
                  <a:lnTo>
                    <a:pt x="54" y="198"/>
                  </a:lnTo>
                  <a:lnTo>
                    <a:pt x="54" y="184"/>
                  </a:lnTo>
                  <a:lnTo>
                    <a:pt x="61" y="177"/>
                  </a:lnTo>
                  <a:lnTo>
                    <a:pt x="75" y="169"/>
                  </a:lnTo>
                  <a:lnTo>
                    <a:pt x="75" y="155"/>
                  </a:lnTo>
                  <a:lnTo>
                    <a:pt x="75" y="142"/>
                  </a:lnTo>
                  <a:lnTo>
                    <a:pt x="88" y="136"/>
                  </a:lnTo>
                  <a:lnTo>
                    <a:pt x="94" y="136"/>
                  </a:lnTo>
                  <a:lnTo>
                    <a:pt x="102" y="136"/>
                  </a:lnTo>
                  <a:lnTo>
                    <a:pt x="108" y="136"/>
                  </a:lnTo>
                  <a:lnTo>
                    <a:pt x="115" y="136"/>
                  </a:lnTo>
                  <a:lnTo>
                    <a:pt x="121" y="136"/>
                  </a:lnTo>
                  <a:lnTo>
                    <a:pt x="125" y="136"/>
                  </a:lnTo>
                  <a:lnTo>
                    <a:pt x="129" y="136"/>
                  </a:lnTo>
                  <a:lnTo>
                    <a:pt x="142" y="136"/>
                  </a:lnTo>
                  <a:lnTo>
                    <a:pt x="155" y="136"/>
                  </a:lnTo>
                  <a:lnTo>
                    <a:pt x="169" y="129"/>
                  </a:lnTo>
                  <a:lnTo>
                    <a:pt x="177" y="123"/>
                  </a:lnTo>
                  <a:lnTo>
                    <a:pt x="177" y="111"/>
                  </a:lnTo>
                  <a:lnTo>
                    <a:pt x="177" y="102"/>
                  </a:lnTo>
                  <a:lnTo>
                    <a:pt x="182" y="102"/>
                  </a:lnTo>
                  <a:lnTo>
                    <a:pt x="182" y="96"/>
                  </a:lnTo>
                  <a:lnTo>
                    <a:pt x="182" y="88"/>
                  </a:lnTo>
                  <a:lnTo>
                    <a:pt x="182" y="79"/>
                  </a:lnTo>
                  <a:lnTo>
                    <a:pt x="182" y="67"/>
                  </a:lnTo>
                  <a:lnTo>
                    <a:pt x="196" y="67"/>
                  </a:lnTo>
                  <a:lnTo>
                    <a:pt x="207" y="71"/>
                  </a:lnTo>
                  <a:lnTo>
                    <a:pt x="223" y="75"/>
                  </a:lnTo>
                  <a:lnTo>
                    <a:pt x="230" y="67"/>
                  </a:lnTo>
                  <a:lnTo>
                    <a:pt x="238" y="61"/>
                  </a:lnTo>
                  <a:lnTo>
                    <a:pt x="238" y="58"/>
                  </a:lnTo>
                  <a:lnTo>
                    <a:pt x="238" y="54"/>
                  </a:lnTo>
                  <a:lnTo>
                    <a:pt x="238" y="48"/>
                  </a:lnTo>
                  <a:lnTo>
                    <a:pt x="238" y="44"/>
                  </a:lnTo>
                  <a:lnTo>
                    <a:pt x="238" y="40"/>
                  </a:lnTo>
                  <a:lnTo>
                    <a:pt x="238" y="35"/>
                  </a:lnTo>
                  <a:lnTo>
                    <a:pt x="238" y="29"/>
                  </a:lnTo>
                  <a:lnTo>
                    <a:pt x="240" y="23"/>
                  </a:lnTo>
                  <a:lnTo>
                    <a:pt x="244" y="21"/>
                  </a:lnTo>
                  <a:lnTo>
                    <a:pt x="244" y="0"/>
                  </a:lnTo>
                  <a:lnTo>
                    <a:pt x="251" y="4"/>
                  </a:lnTo>
                  <a:lnTo>
                    <a:pt x="257" y="8"/>
                  </a:lnTo>
                  <a:lnTo>
                    <a:pt x="259" y="13"/>
                  </a:lnTo>
                  <a:lnTo>
                    <a:pt x="261" y="19"/>
                  </a:lnTo>
                  <a:lnTo>
                    <a:pt x="267" y="25"/>
                  </a:lnTo>
                  <a:lnTo>
                    <a:pt x="271" y="27"/>
                  </a:lnTo>
                  <a:lnTo>
                    <a:pt x="271" y="40"/>
                  </a:lnTo>
                  <a:lnTo>
                    <a:pt x="274" y="52"/>
                  </a:lnTo>
                  <a:lnTo>
                    <a:pt x="278" y="61"/>
                  </a:lnTo>
                  <a:lnTo>
                    <a:pt x="282" y="63"/>
                  </a:lnTo>
                  <a:lnTo>
                    <a:pt x="284" y="69"/>
                  </a:lnTo>
                  <a:lnTo>
                    <a:pt x="284" y="75"/>
                  </a:lnTo>
                  <a:lnTo>
                    <a:pt x="284" y="83"/>
                  </a:lnTo>
                  <a:lnTo>
                    <a:pt x="288" y="88"/>
                  </a:lnTo>
                  <a:lnTo>
                    <a:pt x="292" y="96"/>
                  </a:lnTo>
                  <a:lnTo>
                    <a:pt x="292" y="102"/>
                  </a:lnTo>
                  <a:lnTo>
                    <a:pt x="292" y="109"/>
                  </a:lnTo>
                  <a:lnTo>
                    <a:pt x="292" y="115"/>
                  </a:lnTo>
                  <a:lnTo>
                    <a:pt x="292" y="119"/>
                  </a:lnTo>
                  <a:lnTo>
                    <a:pt x="292" y="123"/>
                  </a:lnTo>
                  <a:lnTo>
                    <a:pt x="292" y="136"/>
                  </a:lnTo>
                  <a:lnTo>
                    <a:pt x="292" y="150"/>
                  </a:lnTo>
                  <a:lnTo>
                    <a:pt x="278" y="150"/>
                  </a:lnTo>
                  <a:lnTo>
                    <a:pt x="276" y="154"/>
                  </a:lnTo>
                  <a:lnTo>
                    <a:pt x="274" y="155"/>
                  </a:lnTo>
                  <a:lnTo>
                    <a:pt x="269" y="155"/>
                  </a:lnTo>
                  <a:lnTo>
                    <a:pt x="265" y="155"/>
                  </a:lnTo>
                  <a:lnTo>
                    <a:pt x="265" y="150"/>
                  </a:lnTo>
                  <a:lnTo>
                    <a:pt x="265" y="142"/>
                  </a:lnTo>
                  <a:lnTo>
                    <a:pt x="265" y="136"/>
                  </a:lnTo>
                  <a:lnTo>
                    <a:pt x="265" y="129"/>
                  </a:lnTo>
                  <a:lnTo>
                    <a:pt x="265" y="123"/>
                  </a:lnTo>
                  <a:lnTo>
                    <a:pt x="265" y="127"/>
                  </a:lnTo>
                  <a:lnTo>
                    <a:pt x="265" y="129"/>
                  </a:lnTo>
                  <a:lnTo>
                    <a:pt x="265" y="142"/>
                  </a:lnTo>
                  <a:lnTo>
                    <a:pt x="265" y="155"/>
                  </a:lnTo>
                  <a:lnTo>
                    <a:pt x="257" y="155"/>
                  </a:lnTo>
                  <a:lnTo>
                    <a:pt x="257" y="159"/>
                  </a:lnTo>
                  <a:lnTo>
                    <a:pt x="257" y="163"/>
                  </a:lnTo>
                  <a:lnTo>
                    <a:pt x="257" y="169"/>
                  </a:lnTo>
                  <a:lnTo>
                    <a:pt x="257" y="177"/>
                  </a:lnTo>
                  <a:lnTo>
                    <a:pt x="257" y="182"/>
                  </a:lnTo>
                  <a:lnTo>
                    <a:pt x="255" y="188"/>
                  </a:lnTo>
                  <a:lnTo>
                    <a:pt x="251" y="190"/>
                  </a:lnTo>
                  <a:lnTo>
                    <a:pt x="248" y="209"/>
                  </a:lnTo>
                  <a:lnTo>
                    <a:pt x="244" y="225"/>
                  </a:lnTo>
                  <a:lnTo>
                    <a:pt x="244" y="244"/>
                  </a:lnTo>
                  <a:lnTo>
                    <a:pt x="238" y="257"/>
                  </a:lnTo>
                  <a:lnTo>
                    <a:pt x="230" y="271"/>
                  </a:lnTo>
                  <a:lnTo>
                    <a:pt x="223" y="278"/>
                  </a:lnTo>
                  <a:lnTo>
                    <a:pt x="221" y="278"/>
                  </a:lnTo>
                  <a:lnTo>
                    <a:pt x="217" y="278"/>
                  </a:lnTo>
                  <a:lnTo>
                    <a:pt x="207" y="294"/>
                  </a:lnTo>
                  <a:lnTo>
                    <a:pt x="196" y="305"/>
                  </a:lnTo>
                  <a:lnTo>
                    <a:pt x="196" y="313"/>
                  </a:lnTo>
                  <a:lnTo>
                    <a:pt x="196" y="319"/>
                  </a:lnTo>
                  <a:lnTo>
                    <a:pt x="190" y="336"/>
                  </a:lnTo>
                  <a:lnTo>
                    <a:pt x="182" y="353"/>
                  </a:lnTo>
                  <a:lnTo>
                    <a:pt x="182" y="367"/>
                  </a:lnTo>
                  <a:lnTo>
                    <a:pt x="182" y="380"/>
                  </a:lnTo>
                  <a:lnTo>
                    <a:pt x="178" y="382"/>
                  </a:lnTo>
                  <a:lnTo>
                    <a:pt x="177" y="384"/>
                  </a:lnTo>
                  <a:lnTo>
                    <a:pt x="177" y="388"/>
                  </a:lnTo>
                  <a:lnTo>
                    <a:pt x="177" y="393"/>
                  </a:lnTo>
                  <a:lnTo>
                    <a:pt x="173" y="403"/>
                  </a:lnTo>
                  <a:lnTo>
                    <a:pt x="169" y="415"/>
                  </a:lnTo>
                  <a:lnTo>
                    <a:pt x="165" y="415"/>
                  </a:lnTo>
                  <a:lnTo>
                    <a:pt x="163" y="418"/>
                  </a:lnTo>
                  <a:lnTo>
                    <a:pt x="163" y="422"/>
                  </a:lnTo>
                  <a:lnTo>
                    <a:pt x="163" y="428"/>
                  </a:lnTo>
                  <a:lnTo>
                    <a:pt x="159" y="438"/>
                  </a:lnTo>
                  <a:lnTo>
                    <a:pt x="155" y="447"/>
                  </a:lnTo>
                  <a:lnTo>
                    <a:pt x="150" y="464"/>
                  </a:lnTo>
                  <a:lnTo>
                    <a:pt x="144" y="478"/>
                  </a:lnTo>
                  <a:lnTo>
                    <a:pt x="132" y="491"/>
                  </a:lnTo>
                  <a:lnTo>
                    <a:pt x="131" y="491"/>
                  </a:lnTo>
                  <a:lnTo>
                    <a:pt x="123" y="495"/>
                  </a:lnTo>
                  <a:lnTo>
                    <a:pt x="117" y="501"/>
                  </a:lnTo>
                  <a:lnTo>
                    <a:pt x="113" y="505"/>
                  </a:lnTo>
                  <a:lnTo>
                    <a:pt x="111" y="505"/>
                  </a:lnTo>
                  <a:lnTo>
                    <a:pt x="108" y="499"/>
                  </a:lnTo>
                  <a:lnTo>
                    <a:pt x="92" y="503"/>
                  </a:lnTo>
                  <a:lnTo>
                    <a:pt x="81" y="505"/>
                  </a:lnTo>
                  <a:lnTo>
                    <a:pt x="77" y="507"/>
                  </a:lnTo>
                  <a:lnTo>
                    <a:pt x="75" y="509"/>
                  </a:lnTo>
                  <a:lnTo>
                    <a:pt x="69" y="510"/>
                  </a:lnTo>
                  <a:lnTo>
                    <a:pt x="61" y="5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11" name="Freeform 98"/>
            <p:cNvSpPr>
              <a:spLocks/>
            </p:cNvSpPr>
            <p:nvPr/>
          </p:nvSpPr>
          <p:spPr bwMode="auto">
            <a:xfrm>
              <a:off x="2727" y="2739"/>
              <a:ext cx="292" cy="510"/>
            </a:xfrm>
            <a:custGeom>
              <a:avLst/>
              <a:gdLst/>
              <a:ahLst/>
              <a:cxnLst>
                <a:cxn ang="0">
                  <a:pos x="48" y="491"/>
                </a:cxn>
                <a:cxn ang="0">
                  <a:pos x="40" y="464"/>
                </a:cxn>
                <a:cxn ang="0">
                  <a:pos x="19" y="441"/>
                </a:cxn>
                <a:cxn ang="0">
                  <a:pos x="6" y="422"/>
                </a:cxn>
                <a:cxn ang="0">
                  <a:pos x="0" y="401"/>
                </a:cxn>
                <a:cxn ang="0">
                  <a:pos x="13" y="380"/>
                </a:cxn>
                <a:cxn ang="0">
                  <a:pos x="27" y="353"/>
                </a:cxn>
                <a:cxn ang="0">
                  <a:pos x="48" y="326"/>
                </a:cxn>
                <a:cxn ang="0">
                  <a:pos x="54" y="311"/>
                </a:cxn>
                <a:cxn ang="0">
                  <a:pos x="60" y="297"/>
                </a:cxn>
                <a:cxn ang="0">
                  <a:pos x="58" y="274"/>
                </a:cxn>
                <a:cxn ang="0">
                  <a:pos x="48" y="257"/>
                </a:cxn>
                <a:cxn ang="0">
                  <a:pos x="48" y="244"/>
                </a:cxn>
                <a:cxn ang="0">
                  <a:pos x="48" y="211"/>
                </a:cxn>
                <a:cxn ang="0">
                  <a:pos x="54" y="184"/>
                </a:cxn>
                <a:cxn ang="0">
                  <a:pos x="75" y="155"/>
                </a:cxn>
                <a:cxn ang="0">
                  <a:pos x="94" y="136"/>
                </a:cxn>
                <a:cxn ang="0">
                  <a:pos x="115" y="136"/>
                </a:cxn>
                <a:cxn ang="0">
                  <a:pos x="129" y="136"/>
                </a:cxn>
                <a:cxn ang="0">
                  <a:pos x="169" y="129"/>
                </a:cxn>
                <a:cxn ang="0">
                  <a:pos x="177" y="102"/>
                </a:cxn>
                <a:cxn ang="0">
                  <a:pos x="182" y="88"/>
                </a:cxn>
                <a:cxn ang="0">
                  <a:pos x="196" y="67"/>
                </a:cxn>
                <a:cxn ang="0">
                  <a:pos x="230" y="67"/>
                </a:cxn>
                <a:cxn ang="0">
                  <a:pos x="238" y="54"/>
                </a:cxn>
                <a:cxn ang="0">
                  <a:pos x="238" y="40"/>
                </a:cxn>
                <a:cxn ang="0">
                  <a:pos x="240" y="23"/>
                </a:cxn>
                <a:cxn ang="0">
                  <a:pos x="251" y="4"/>
                </a:cxn>
                <a:cxn ang="0">
                  <a:pos x="261" y="19"/>
                </a:cxn>
                <a:cxn ang="0">
                  <a:pos x="271" y="40"/>
                </a:cxn>
                <a:cxn ang="0">
                  <a:pos x="282" y="63"/>
                </a:cxn>
                <a:cxn ang="0">
                  <a:pos x="284" y="83"/>
                </a:cxn>
                <a:cxn ang="0">
                  <a:pos x="292" y="102"/>
                </a:cxn>
                <a:cxn ang="0">
                  <a:pos x="292" y="119"/>
                </a:cxn>
                <a:cxn ang="0">
                  <a:pos x="292" y="150"/>
                </a:cxn>
                <a:cxn ang="0">
                  <a:pos x="274" y="155"/>
                </a:cxn>
                <a:cxn ang="0">
                  <a:pos x="265" y="150"/>
                </a:cxn>
                <a:cxn ang="0">
                  <a:pos x="265" y="129"/>
                </a:cxn>
                <a:cxn ang="0">
                  <a:pos x="265" y="129"/>
                </a:cxn>
                <a:cxn ang="0">
                  <a:pos x="257" y="155"/>
                </a:cxn>
                <a:cxn ang="0">
                  <a:pos x="257" y="169"/>
                </a:cxn>
                <a:cxn ang="0">
                  <a:pos x="255" y="188"/>
                </a:cxn>
                <a:cxn ang="0">
                  <a:pos x="244" y="225"/>
                </a:cxn>
                <a:cxn ang="0">
                  <a:pos x="230" y="271"/>
                </a:cxn>
                <a:cxn ang="0">
                  <a:pos x="217" y="278"/>
                </a:cxn>
                <a:cxn ang="0">
                  <a:pos x="196" y="313"/>
                </a:cxn>
                <a:cxn ang="0">
                  <a:pos x="182" y="353"/>
                </a:cxn>
                <a:cxn ang="0">
                  <a:pos x="178" y="382"/>
                </a:cxn>
                <a:cxn ang="0">
                  <a:pos x="177" y="393"/>
                </a:cxn>
                <a:cxn ang="0">
                  <a:pos x="165" y="415"/>
                </a:cxn>
                <a:cxn ang="0">
                  <a:pos x="163" y="428"/>
                </a:cxn>
                <a:cxn ang="0">
                  <a:pos x="150" y="464"/>
                </a:cxn>
                <a:cxn ang="0">
                  <a:pos x="131" y="491"/>
                </a:cxn>
                <a:cxn ang="0">
                  <a:pos x="113" y="505"/>
                </a:cxn>
                <a:cxn ang="0">
                  <a:pos x="92" y="503"/>
                </a:cxn>
                <a:cxn ang="0">
                  <a:pos x="75" y="509"/>
                </a:cxn>
              </a:cxnLst>
              <a:rect l="0" t="0" r="r" b="b"/>
              <a:pathLst>
                <a:path w="292" h="510">
                  <a:moveTo>
                    <a:pt x="61" y="509"/>
                  </a:moveTo>
                  <a:lnTo>
                    <a:pt x="56" y="501"/>
                  </a:lnTo>
                  <a:lnTo>
                    <a:pt x="48" y="491"/>
                  </a:lnTo>
                  <a:lnTo>
                    <a:pt x="42" y="482"/>
                  </a:lnTo>
                  <a:lnTo>
                    <a:pt x="40" y="474"/>
                  </a:lnTo>
                  <a:lnTo>
                    <a:pt x="40" y="464"/>
                  </a:lnTo>
                  <a:lnTo>
                    <a:pt x="40" y="455"/>
                  </a:lnTo>
                  <a:lnTo>
                    <a:pt x="35" y="447"/>
                  </a:lnTo>
                  <a:lnTo>
                    <a:pt x="19" y="441"/>
                  </a:lnTo>
                  <a:lnTo>
                    <a:pt x="17" y="436"/>
                  </a:lnTo>
                  <a:lnTo>
                    <a:pt x="12" y="428"/>
                  </a:lnTo>
                  <a:lnTo>
                    <a:pt x="6" y="422"/>
                  </a:lnTo>
                  <a:lnTo>
                    <a:pt x="0" y="420"/>
                  </a:lnTo>
                  <a:lnTo>
                    <a:pt x="0" y="415"/>
                  </a:lnTo>
                  <a:lnTo>
                    <a:pt x="0" y="401"/>
                  </a:lnTo>
                  <a:lnTo>
                    <a:pt x="0" y="388"/>
                  </a:lnTo>
                  <a:lnTo>
                    <a:pt x="6" y="384"/>
                  </a:lnTo>
                  <a:lnTo>
                    <a:pt x="13" y="380"/>
                  </a:lnTo>
                  <a:lnTo>
                    <a:pt x="17" y="370"/>
                  </a:lnTo>
                  <a:lnTo>
                    <a:pt x="19" y="359"/>
                  </a:lnTo>
                  <a:lnTo>
                    <a:pt x="27" y="353"/>
                  </a:lnTo>
                  <a:lnTo>
                    <a:pt x="40" y="345"/>
                  </a:lnTo>
                  <a:lnTo>
                    <a:pt x="48" y="340"/>
                  </a:lnTo>
                  <a:lnTo>
                    <a:pt x="48" y="326"/>
                  </a:lnTo>
                  <a:lnTo>
                    <a:pt x="52" y="324"/>
                  </a:lnTo>
                  <a:lnTo>
                    <a:pt x="54" y="319"/>
                  </a:lnTo>
                  <a:lnTo>
                    <a:pt x="54" y="311"/>
                  </a:lnTo>
                  <a:lnTo>
                    <a:pt x="54" y="305"/>
                  </a:lnTo>
                  <a:lnTo>
                    <a:pt x="58" y="303"/>
                  </a:lnTo>
                  <a:lnTo>
                    <a:pt x="60" y="297"/>
                  </a:lnTo>
                  <a:lnTo>
                    <a:pt x="61" y="292"/>
                  </a:lnTo>
                  <a:lnTo>
                    <a:pt x="61" y="286"/>
                  </a:lnTo>
                  <a:lnTo>
                    <a:pt x="58" y="274"/>
                  </a:lnTo>
                  <a:lnTo>
                    <a:pt x="54" y="265"/>
                  </a:lnTo>
                  <a:lnTo>
                    <a:pt x="50" y="261"/>
                  </a:lnTo>
                  <a:lnTo>
                    <a:pt x="48" y="257"/>
                  </a:lnTo>
                  <a:lnTo>
                    <a:pt x="48" y="251"/>
                  </a:lnTo>
                  <a:lnTo>
                    <a:pt x="48" y="248"/>
                  </a:lnTo>
                  <a:lnTo>
                    <a:pt x="48" y="244"/>
                  </a:lnTo>
                  <a:lnTo>
                    <a:pt x="48" y="238"/>
                  </a:lnTo>
                  <a:lnTo>
                    <a:pt x="48" y="225"/>
                  </a:lnTo>
                  <a:lnTo>
                    <a:pt x="48" y="211"/>
                  </a:lnTo>
                  <a:lnTo>
                    <a:pt x="54" y="211"/>
                  </a:lnTo>
                  <a:lnTo>
                    <a:pt x="54" y="198"/>
                  </a:lnTo>
                  <a:lnTo>
                    <a:pt x="54" y="184"/>
                  </a:lnTo>
                  <a:lnTo>
                    <a:pt x="61" y="177"/>
                  </a:lnTo>
                  <a:lnTo>
                    <a:pt x="75" y="169"/>
                  </a:lnTo>
                  <a:lnTo>
                    <a:pt x="75" y="155"/>
                  </a:lnTo>
                  <a:lnTo>
                    <a:pt x="75" y="142"/>
                  </a:lnTo>
                  <a:lnTo>
                    <a:pt x="88" y="136"/>
                  </a:lnTo>
                  <a:lnTo>
                    <a:pt x="94" y="136"/>
                  </a:lnTo>
                  <a:lnTo>
                    <a:pt x="102" y="136"/>
                  </a:lnTo>
                  <a:lnTo>
                    <a:pt x="108" y="136"/>
                  </a:lnTo>
                  <a:lnTo>
                    <a:pt x="115" y="136"/>
                  </a:lnTo>
                  <a:lnTo>
                    <a:pt x="121" y="136"/>
                  </a:lnTo>
                  <a:lnTo>
                    <a:pt x="125" y="136"/>
                  </a:lnTo>
                  <a:lnTo>
                    <a:pt x="129" y="136"/>
                  </a:lnTo>
                  <a:lnTo>
                    <a:pt x="142" y="136"/>
                  </a:lnTo>
                  <a:lnTo>
                    <a:pt x="155" y="136"/>
                  </a:lnTo>
                  <a:lnTo>
                    <a:pt x="169" y="129"/>
                  </a:lnTo>
                  <a:lnTo>
                    <a:pt x="177" y="123"/>
                  </a:lnTo>
                  <a:lnTo>
                    <a:pt x="177" y="111"/>
                  </a:lnTo>
                  <a:lnTo>
                    <a:pt x="177" y="102"/>
                  </a:lnTo>
                  <a:lnTo>
                    <a:pt x="182" y="102"/>
                  </a:lnTo>
                  <a:lnTo>
                    <a:pt x="182" y="96"/>
                  </a:lnTo>
                  <a:lnTo>
                    <a:pt x="182" y="88"/>
                  </a:lnTo>
                  <a:lnTo>
                    <a:pt x="182" y="79"/>
                  </a:lnTo>
                  <a:lnTo>
                    <a:pt x="182" y="67"/>
                  </a:lnTo>
                  <a:lnTo>
                    <a:pt x="196" y="67"/>
                  </a:lnTo>
                  <a:lnTo>
                    <a:pt x="207" y="71"/>
                  </a:lnTo>
                  <a:lnTo>
                    <a:pt x="223" y="75"/>
                  </a:lnTo>
                  <a:lnTo>
                    <a:pt x="230" y="67"/>
                  </a:lnTo>
                  <a:lnTo>
                    <a:pt x="238" y="61"/>
                  </a:lnTo>
                  <a:lnTo>
                    <a:pt x="238" y="58"/>
                  </a:lnTo>
                  <a:lnTo>
                    <a:pt x="238" y="54"/>
                  </a:lnTo>
                  <a:lnTo>
                    <a:pt x="238" y="48"/>
                  </a:lnTo>
                  <a:lnTo>
                    <a:pt x="238" y="44"/>
                  </a:lnTo>
                  <a:lnTo>
                    <a:pt x="238" y="40"/>
                  </a:lnTo>
                  <a:lnTo>
                    <a:pt x="238" y="35"/>
                  </a:lnTo>
                  <a:lnTo>
                    <a:pt x="238" y="29"/>
                  </a:lnTo>
                  <a:lnTo>
                    <a:pt x="240" y="23"/>
                  </a:lnTo>
                  <a:lnTo>
                    <a:pt x="244" y="21"/>
                  </a:lnTo>
                  <a:lnTo>
                    <a:pt x="244" y="0"/>
                  </a:lnTo>
                  <a:lnTo>
                    <a:pt x="251" y="4"/>
                  </a:lnTo>
                  <a:lnTo>
                    <a:pt x="257" y="8"/>
                  </a:lnTo>
                  <a:lnTo>
                    <a:pt x="259" y="13"/>
                  </a:lnTo>
                  <a:lnTo>
                    <a:pt x="261" y="19"/>
                  </a:lnTo>
                  <a:lnTo>
                    <a:pt x="267" y="25"/>
                  </a:lnTo>
                  <a:lnTo>
                    <a:pt x="271" y="27"/>
                  </a:lnTo>
                  <a:lnTo>
                    <a:pt x="271" y="40"/>
                  </a:lnTo>
                  <a:lnTo>
                    <a:pt x="274" y="52"/>
                  </a:lnTo>
                  <a:lnTo>
                    <a:pt x="278" y="61"/>
                  </a:lnTo>
                  <a:lnTo>
                    <a:pt x="282" y="63"/>
                  </a:lnTo>
                  <a:lnTo>
                    <a:pt x="284" y="69"/>
                  </a:lnTo>
                  <a:lnTo>
                    <a:pt x="284" y="75"/>
                  </a:lnTo>
                  <a:lnTo>
                    <a:pt x="284" y="83"/>
                  </a:lnTo>
                  <a:lnTo>
                    <a:pt x="288" y="88"/>
                  </a:lnTo>
                  <a:lnTo>
                    <a:pt x="292" y="96"/>
                  </a:lnTo>
                  <a:lnTo>
                    <a:pt x="292" y="102"/>
                  </a:lnTo>
                  <a:lnTo>
                    <a:pt x="292" y="109"/>
                  </a:lnTo>
                  <a:lnTo>
                    <a:pt x="292" y="115"/>
                  </a:lnTo>
                  <a:lnTo>
                    <a:pt x="292" y="119"/>
                  </a:lnTo>
                  <a:lnTo>
                    <a:pt x="292" y="123"/>
                  </a:lnTo>
                  <a:lnTo>
                    <a:pt x="292" y="136"/>
                  </a:lnTo>
                  <a:lnTo>
                    <a:pt x="292" y="150"/>
                  </a:lnTo>
                  <a:lnTo>
                    <a:pt x="278" y="150"/>
                  </a:lnTo>
                  <a:lnTo>
                    <a:pt x="276" y="154"/>
                  </a:lnTo>
                  <a:lnTo>
                    <a:pt x="274" y="155"/>
                  </a:lnTo>
                  <a:lnTo>
                    <a:pt x="269" y="155"/>
                  </a:lnTo>
                  <a:lnTo>
                    <a:pt x="265" y="155"/>
                  </a:lnTo>
                  <a:lnTo>
                    <a:pt x="265" y="150"/>
                  </a:lnTo>
                  <a:lnTo>
                    <a:pt x="265" y="142"/>
                  </a:lnTo>
                  <a:lnTo>
                    <a:pt x="265" y="136"/>
                  </a:lnTo>
                  <a:lnTo>
                    <a:pt x="265" y="129"/>
                  </a:lnTo>
                  <a:lnTo>
                    <a:pt x="265" y="123"/>
                  </a:lnTo>
                  <a:lnTo>
                    <a:pt x="265" y="127"/>
                  </a:lnTo>
                  <a:lnTo>
                    <a:pt x="265" y="129"/>
                  </a:lnTo>
                  <a:lnTo>
                    <a:pt x="265" y="142"/>
                  </a:lnTo>
                  <a:lnTo>
                    <a:pt x="265" y="155"/>
                  </a:lnTo>
                  <a:lnTo>
                    <a:pt x="257" y="155"/>
                  </a:lnTo>
                  <a:lnTo>
                    <a:pt x="257" y="159"/>
                  </a:lnTo>
                  <a:lnTo>
                    <a:pt x="257" y="163"/>
                  </a:lnTo>
                  <a:lnTo>
                    <a:pt x="257" y="169"/>
                  </a:lnTo>
                  <a:lnTo>
                    <a:pt x="257" y="177"/>
                  </a:lnTo>
                  <a:lnTo>
                    <a:pt x="257" y="182"/>
                  </a:lnTo>
                  <a:lnTo>
                    <a:pt x="255" y="188"/>
                  </a:lnTo>
                  <a:lnTo>
                    <a:pt x="251" y="190"/>
                  </a:lnTo>
                  <a:lnTo>
                    <a:pt x="248" y="209"/>
                  </a:lnTo>
                  <a:lnTo>
                    <a:pt x="244" y="225"/>
                  </a:lnTo>
                  <a:lnTo>
                    <a:pt x="244" y="244"/>
                  </a:lnTo>
                  <a:lnTo>
                    <a:pt x="238" y="257"/>
                  </a:lnTo>
                  <a:lnTo>
                    <a:pt x="230" y="271"/>
                  </a:lnTo>
                  <a:lnTo>
                    <a:pt x="223" y="278"/>
                  </a:lnTo>
                  <a:lnTo>
                    <a:pt x="221" y="278"/>
                  </a:lnTo>
                  <a:lnTo>
                    <a:pt x="217" y="278"/>
                  </a:lnTo>
                  <a:lnTo>
                    <a:pt x="207" y="294"/>
                  </a:lnTo>
                  <a:lnTo>
                    <a:pt x="196" y="305"/>
                  </a:lnTo>
                  <a:lnTo>
                    <a:pt x="196" y="313"/>
                  </a:lnTo>
                  <a:lnTo>
                    <a:pt x="196" y="319"/>
                  </a:lnTo>
                  <a:lnTo>
                    <a:pt x="190" y="336"/>
                  </a:lnTo>
                  <a:lnTo>
                    <a:pt x="182" y="353"/>
                  </a:lnTo>
                  <a:lnTo>
                    <a:pt x="182" y="367"/>
                  </a:lnTo>
                  <a:lnTo>
                    <a:pt x="182" y="380"/>
                  </a:lnTo>
                  <a:lnTo>
                    <a:pt x="178" y="382"/>
                  </a:lnTo>
                  <a:lnTo>
                    <a:pt x="177" y="384"/>
                  </a:lnTo>
                  <a:lnTo>
                    <a:pt x="177" y="388"/>
                  </a:lnTo>
                  <a:lnTo>
                    <a:pt x="177" y="393"/>
                  </a:lnTo>
                  <a:lnTo>
                    <a:pt x="173" y="403"/>
                  </a:lnTo>
                  <a:lnTo>
                    <a:pt x="169" y="415"/>
                  </a:lnTo>
                  <a:lnTo>
                    <a:pt x="165" y="415"/>
                  </a:lnTo>
                  <a:lnTo>
                    <a:pt x="163" y="418"/>
                  </a:lnTo>
                  <a:lnTo>
                    <a:pt x="163" y="422"/>
                  </a:lnTo>
                  <a:lnTo>
                    <a:pt x="163" y="428"/>
                  </a:lnTo>
                  <a:lnTo>
                    <a:pt x="159" y="438"/>
                  </a:lnTo>
                  <a:lnTo>
                    <a:pt x="155" y="447"/>
                  </a:lnTo>
                  <a:lnTo>
                    <a:pt x="150" y="464"/>
                  </a:lnTo>
                  <a:lnTo>
                    <a:pt x="144" y="478"/>
                  </a:lnTo>
                  <a:lnTo>
                    <a:pt x="132" y="491"/>
                  </a:lnTo>
                  <a:lnTo>
                    <a:pt x="131" y="491"/>
                  </a:lnTo>
                  <a:lnTo>
                    <a:pt x="123" y="495"/>
                  </a:lnTo>
                  <a:lnTo>
                    <a:pt x="117" y="501"/>
                  </a:lnTo>
                  <a:lnTo>
                    <a:pt x="113" y="505"/>
                  </a:lnTo>
                  <a:lnTo>
                    <a:pt x="111" y="505"/>
                  </a:lnTo>
                  <a:lnTo>
                    <a:pt x="108" y="499"/>
                  </a:lnTo>
                  <a:lnTo>
                    <a:pt x="92" y="503"/>
                  </a:lnTo>
                  <a:lnTo>
                    <a:pt x="81" y="505"/>
                  </a:lnTo>
                  <a:lnTo>
                    <a:pt x="77" y="507"/>
                  </a:lnTo>
                  <a:lnTo>
                    <a:pt x="75" y="509"/>
                  </a:lnTo>
                  <a:lnTo>
                    <a:pt x="69" y="510"/>
                  </a:lnTo>
                  <a:lnTo>
                    <a:pt x="61" y="509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12" name="Freeform 99"/>
            <p:cNvSpPr>
              <a:spLocks/>
            </p:cNvSpPr>
            <p:nvPr/>
          </p:nvSpPr>
          <p:spPr bwMode="auto">
            <a:xfrm>
              <a:off x="2081" y="2890"/>
              <a:ext cx="301" cy="252"/>
            </a:xfrm>
            <a:custGeom>
              <a:avLst/>
              <a:gdLst/>
              <a:ahLst/>
              <a:cxnLst>
                <a:cxn ang="0">
                  <a:pos x="173" y="6"/>
                </a:cxn>
                <a:cxn ang="0">
                  <a:pos x="161" y="2"/>
                </a:cxn>
                <a:cxn ang="0">
                  <a:pos x="150" y="0"/>
                </a:cxn>
                <a:cxn ang="0">
                  <a:pos x="138" y="6"/>
                </a:cxn>
                <a:cxn ang="0">
                  <a:pos x="127" y="21"/>
                </a:cxn>
                <a:cxn ang="0">
                  <a:pos x="123" y="35"/>
                </a:cxn>
                <a:cxn ang="0">
                  <a:pos x="115" y="43"/>
                </a:cxn>
                <a:cxn ang="0">
                  <a:pos x="105" y="48"/>
                </a:cxn>
                <a:cxn ang="0">
                  <a:pos x="82" y="48"/>
                </a:cxn>
                <a:cxn ang="0">
                  <a:pos x="75" y="58"/>
                </a:cxn>
                <a:cxn ang="0">
                  <a:pos x="71" y="69"/>
                </a:cxn>
                <a:cxn ang="0">
                  <a:pos x="63" y="73"/>
                </a:cxn>
                <a:cxn ang="0">
                  <a:pos x="48" y="77"/>
                </a:cxn>
                <a:cxn ang="0">
                  <a:pos x="21" y="77"/>
                </a:cxn>
                <a:cxn ang="0">
                  <a:pos x="6" y="83"/>
                </a:cxn>
                <a:cxn ang="0">
                  <a:pos x="2" y="89"/>
                </a:cxn>
                <a:cxn ang="0">
                  <a:pos x="0" y="98"/>
                </a:cxn>
                <a:cxn ang="0">
                  <a:pos x="2" y="106"/>
                </a:cxn>
                <a:cxn ang="0">
                  <a:pos x="10" y="110"/>
                </a:cxn>
                <a:cxn ang="0">
                  <a:pos x="17" y="131"/>
                </a:cxn>
                <a:cxn ang="0">
                  <a:pos x="50" y="150"/>
                </a:cxn>
                <a:cxn ang="0">
                  <a:pos x="65" y="154"/>
                </a:cxn>
                <a:cxn ang="0">
                  <a:pos x="73" y="165"/>
                </a:cxn>
                <a:cxn ang="0">
                  <a:pos x="75" y="171"/>
                </a:cxn>
                <a:cxn ang="0">
                  <a:pos x="73" y="177"/>
                </a:cxn>
                <a:cxn ang="0">
                  <a:pos x="79" y="186"/>
                </a:cxn>
                <a:cxn ang="0">
                  <a:pos x="90" y="192"/>
                </a:cxn>
                <a:cxn ang="0">
                  <a:pos x="100" y="200"/>
                </a:cxn>
                <a:cxn ang="0">
                  <a:pos x="100" y="213"/>
                </a:cxn>
                <a:cxn ang="0">
                  <a:pos x="104" y="221"/>
                </a:cxn>
                <a:cxn ang="0">
                  <a:pos x="125" y="229"/>
                </a:cxn>
                <a:cxn ang="0">
                  <a:pos x="132" y="234"/>
                </a:cxn>
                <a:cxn ang="0">
                  <a:pos x="140" y="242"/>
                </a:cxn>
                <a:cxn ang="0">
                  <a:pos x="140" y="246"/>
                </a:cxn>
                <a:cxn ang="0">
                  <a:pos x="152" y="248"/>
                </a:cxn>
                <a:cxn ang="0">
                  <a:pos x="161" y="250"/>
                </a:cxn>
                <a:cxn ang="0">
                  <a:pos x="180" y="250"/>
                </a:cxn>
                <a:cxn ang="0">
                  <a:pos x="234" y="250"/>
                </a:cxn>
                <a:cxn ang="0">
                  <a:pos x="251" y="242"/>
                </a:cxn>
                <a:cxn ang="0">
                  <a:pos x="259" y="231"/>
                </a:cxn>
                <a:cxn ang="0">
                  <a:pos x="265" y="223"/>
                </a:cxn>
                <a:cxn ang="0">
                  <a:pos x="272" y="211"/>
                </a:cxn>
                <a:cxn ang="0">
                  <a:pos x="278" y="196"/>
                </a:cxn>
                <a:cxn ang="0">
                  <a:pos x="282" y="177"/>
                </a:cxn>
                <a:cxn ang="0">
                  <a:pos x="284" y="156"/>
                </a:cxn>
                <a:cxn ang="0">
                  <a:pos x="286" y="142"/>
                </a:cxn>
                <a:cxn ang="0">
                  <a:pos x="294" y="127"/>
                </a:cxn>
                <a:cxn ang="0">
                  <a:pos x="301" y="112"/>
                </a:cxn>
                <a:cxn ang="0">
                  <a:pos x="301" y="98"/>
                </a:cxn>
                <a:cxn ang="0">
                  <a:pos x="297" y="85"/>
                </a:cxn>
                <a:cxn ang="0">
                  <a:pos x="299" y="69"/>
                </a:cxn>
                <a:cxn ang="0">
                  <a:pos x="295" y="62"/>
                </a:cxn>
                <a:cxn ang="0">
                  <a:pos x="280" y="52"/>
                </a:cxn>
                <a:cxn ang="0">
                  <a:pos x="263" y="41"/>
                </a:cxn>
                <a:cxn ang="0">
                  <a:pos x="240" y="35"/>
                </a:cxn>
                <a:cxn ang="0">
                  <a:pos x="221" y="27"/>
                </a:cxn>
                <a:cxn ang="0">
                  <a:pos x="207" y="23"/>
                </a:cxn>
                <a:cxn ang="0">
                  <a:pos x="199" y="16"/>
                </a:cxn>
              </a:cxnLst>
              <a:rect l="0" t="0" r="r" b="b"/>
              <a:pathLst>
                <a:path w="301" h="252">
                  <a:moveTo>
                    <a:pt x="199" y="6"/>
                  </a:moveTo>
                  <a:lnTo>
                    <a:pt x="173" y="6"/>
                  </a:lnTo>
                  <a:lnTo>
                    <a:pt x="167" y="4"/>
                  </a:lnTo>
                  <a:lnTo>
                    <a:pt x="161" y="2"/>
                  </a:lnTo>
                  <a:lnTo>
                    <a:pt x="155" y="2"/>
                  </a:lnTo>
                  <a:lnTo>
                    <a:pt x="150" y="0"/>
                  </a:lnTo>
                  <a:lnTo>
                    <a:pt x="144" y="4"/>
                  </a:lnTo>
                  <a:lnTo>
                    <a:pt x="138" y="6"/>
                  </a:lnTo>
                  <a:lnTo>
                    <a:pt x="132" y="14"/>
                  </a:lnTo>
                  <a:lnTo>
                    <a:pt x="127" y="21"/>
                  </a:lnTo>
                  <a:lnTo>
                    <a:pt x="125" y="27"/>
                  </a:lnTo>
                  <a:lnTo>
                    <a:pt x="123" y="35"/>
                  </a:lnTo>
                  <a:lnTo>
                    <a:pt x="119" y="41"/>
                  </a:lnTo>
                  <a:lnTo>
                    <a:pt x="115" y="43"/>
                  </a:lnTo>
                  <a:lnTo>
                    <a:pt x="111" y="46"/>
                  </a:lnTo>
                  <a:lnTo>
                    <a:pt x="105" y="48"/>
                  </a:lnTo>
                  <a:lnTo>
                    <a:pt x="94" y="48"/>
                  </a:lnTo>
                  <a:lnTo>
                    <a:pt x="82" y="48"/>
                  </a:lnTo>
                  <a:lnTo>
                    <a:pt x="79" y="54"/>
                  </a:lnTo>
                  <a:lnTo>
                    <a:pt x="75" y="58"/>
                  </a:lnTo>
                  <a:lnTo>
                    <a:pt x="73" y="64"/>
                  </a:lnTo>
                  <a:lnTo>
                    <a:pt x="71" y="69"/>
                  </a:lnTo>
                  <a:lnTo>
                    <a:pt x="69" y="71"/>
                  </a:lnTo>
                  <a:lnTo>
                    <a:pt x="63" y="73"/>
                  </a:lnTo>
                  <a:lnTo>
                    <a:pt x="56" y="75"/>
                  </a:lnTo>
                  <a:lnTo>
                    <a:pt x="48" y="77"/>
                  </a:lnTo>
                  <a:lnTo>
                    <a:pt x="31" y="77"/>
                  </a:lnTo>
                  <a:lnTo>
                    <a:pt x="21" y="77"/>
                  </a:lnTo>
                  <a:lnTo>
                    <a:pt x="13" y="79"/>
                  </a:lnTo>
                  <a:lnTo>
                    <a:pt x="6" y="83"/>
                  </a:lnTo>
                  <a:lnTo>
                    <a:pt x="4" y="85"/>
                  </a:lnTo>
                  <a:lnTo>
                    <a:pt x="2" y="89"/>
                  </a:lnTo>
                  <a:lnTo>
                    <a:pt x="0" y="92"/>
                  </a:lnTo>
                  <a:lnTo>
                    <a:pt x="0" y="98"/>
                  </a:lnTo>
                  <a:lnTo>
                    <a:pt x="0" y="102"/>
                  </a:lnTo>
                  <a:lnTo>
                    <a:pt x="2" y="106"/>
                  </a:lnTo>
                  <a:lnTo>
                    <a:pt x="6" y="108"/>
                  </a:lnTo>
                  <a:lnTo>
                    <a:pt x="10" y="110"/>
                  </a:lnTo>
                  <a:lnTo>
                    <a:pt x="13" y="119"/>
                  </a:lnTo>
                  <a:lnTo>
                    <a:pt x="17" y="131"/>
                  </a:lnTo>
                  <a:lnTo>
                    <a:pt x="33" y="140"/>
                  </a:lnTo>
                  <a:lnTo>
                    <a:pt x="50" y="150"/>
                  </a:lnTo>
                  <a:lnTo>
                    <a:pt x="58" y="154"/>
                  </a:lnTo>
                  <a:lnTo>
                    <a:pt x="65" y="154"/>
                  </a:lnTo>
                  <a:lnTo>
                    <a:pt x="71" y="158"/>
                  </a:lnTo>
                  <a:lnTo>
                    <a:pt x="73" y="165"/>
                  </a:lnTo>
                  <a:lnTo>
                    <a:pt x="79" y="171"/>
                  </a:lnTo>
                  <a:lnTo>
                    <a:pt x="75" y="171"/>
                  </a:lnTo>
                  <a:lnTo>
                    <a:pt x="73" y="173"/>
                  </a:lnTo>
                  <a:lnTo>
                    <a:pt x="73" y="177"/>
                  </a:lnTo>
                  <a:lnTo>
                    <a:pt x="75" y="179"/>
                  </a:lnTo>
                  <a:lnTo>
                    <a:pt x="79" y="186"/>
                  </a:lnTo>
                  <a:lnTo>
                    <a:pt x="81" y="190"/>
                  </a:lnTo>
                  <a:lnTo>
                    <a:pt x="90" y="192"/>
                  </a:lnTo>
                  <a:lnTo>
                    <a:pt x="100" y="194"/>
                  </a:lnTo>
                  <a:lnTo>
                    <a:pt x="100" y="200"/>
                  </a:lnTo>
                  <a:lnTo>
                    <a:pt x="100" y="206"/>
                  </a:lnTo>
                  <a:lnTo>
                    <a:pt x="100" y="213"/>
                  </a:lnTo>
                  <a:lnTo>
                    <a:pt x="102" y="217"/>
                  </a:lnTo>
                  <a:lnTo>
                    <a:pt x="104" y="221"/>
                  </a:lnTo>
                  <a:lnTo>
                    <a:pt x="113" y="225"/>
                  </a:lnTo>
                  <a:lnTo>
                    <a:pt x="125" y="229"/>
                  </a:lnTo>
                  <a:lnTo>
                    <a:pt x="129" y="231"/>
                  </a:lnTo>
                  <a:lnTo>
                    <a:pt x="132" y="234"/>
                  </a:lnTo>
                  <a:lnTo>
                    <a:pt x="136" y="238"/>
                  </a:lnTo>
                  <a:lnTo>
                    <a:pt x="140" y="242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6" y="248"/>
                  </a:lnTo>
                  <a:lnTo>
                    <a:pt x="152" y="248"/>
                  </a:lnTo>
                  <a:lnTo>
                    <a:pt x="155" y="248"/>
                  </a:lnTo>
                  <a:lnTo>
                    <a:pt x="161" y="250"/>
                  </a:lnTo>
                  <a:lnTo>
                    <a:pt x="169" y="252"/>
                  </a:lnTo>
                  <a:lnTo>
                    <a:pt x="180" y="250"/>
                  </a:lnTo>
                  <a:lnTo>
                    <a:pt x="226" y="252"/>
                  </a:lnTo>
                  <a:lnTo>
                    <a:pt x="234" y="250"/>
                  </a:lnTo>
                  <a:lnTo>
                    <a:pt x="242" y="246"/>
                  </a:lnTo>
                  <a:lnTo>
                    <a:pt x="251" y="242"/>
                  </a:lnTo>
                  <a:lnTo>
                    <a:pt x="257" y="236"/>
                  </a:lnTo>
                  <a:lnTo>
                    <a:pt x="259" y="231"/>
                  </a:lnTo>
                  <a:lnTo>
                    <a:pt x="261" y="227"/>
                  </a:lnTo>
                  <a:lnTo>
                    <a:pt x="265" y="223"/>
                  </a:lnTo>
                  <a:lnTo>
                    <a:pt x="269" y="219"/>
                  </a:lnTo>
                  <a:lnTo>
                    <a:pt x="272" y="211"/>
                  </a:lnTo>
                  <a:lnTo>
                    <a:pt x="276" y="204"/>
                  </a:lnTo>
                  <a:lnTo>
                    <a:pt x="278" y="196"/>
                  </a:lnTo>
                  <a:lnTo>
                    <a:pt x="280" y="186"/>
                  </a:lnTo>
                  <a:lnTo>
                    <a:pt x="282" y="177"/>
                  </a:lnTo>
                  <a:lnTo>
                    <a:pt x="284" y="167"/>
                  </a:lnTo>
                  <a:lnTo>
                    <a:pt x="284" y="156"/>
                  </a:lnTo>
                  <a:lnTo>
                    <a:pt x="280" y="146"/>
                  </a:lnTo>
                  <a:lnTo>
                    <a:pt x="286" y="142"/>
                  </a:lnTo>
                  <a:lnTo>
                    <a:pt x="290" y="137"/>
                  </a:lnTo>
                  <a:lnTo>
                    <a:pt x="294" y="127"/>
                  </a:lnTo>
                  <a:lnTo>
                    <a:pt x="297" y="117"/>
                  </a:lnTo>
                  <a:lnTo>
                    <a:pt x="301" y="112"/>
                  </a:lnTo>
                  <a:lnTo>
                    <a:pt x="301" y="106"/>
                  </a:lnTo>
                  <a:lnTo>
                    <a:pt x="301" y="98"/>
                  </a:lnTo>
                  <a:lnTo>
                    <a:pt x="299" y="92"/>
                  </a:lnTo>
                  <a:lnTo>
                    <a:pt x="297" y="85"/>
                  </a:lnTo>
                  <a:lnTo>
                    <a:pt x="299" y="75"/>
                  </a:lnTo>
                  <a:lnTo>
                    <a:pt x="299" y="69"/>
                  </a:lnTo>
                  <a:lnTo>
                    <a:pt x="297" y="66"/>
                  </a:lnTo>
                  <a:lnTo>
                    <a:pt x="295" y="62"/>
                  </a:lnTo>
                  <a:lnTo>
                    <a:pt x="292" y="60"/>
                  </a:lnTo>
                  <a:lnTo>
                    <a:pt x="280" y="52"/>
                  </a:lnTo>
                  <a:lnTo>
                    <a:pt x="272" y="44"/>
                  </a:lnTo>
                  <a:lnTo>
                    <a:pt x="263" y="41"/>
                  </a:lnTo>
                  <a:lnTo>
                    <a:pt x="253" y="41"/>
                  </a:lnTo>
                  <a:lnTo>
                    <a:pt x="240" y="35"/>
                  </a:lnTo>
                  <a:lnTo>
                    <a:pt x="226" y="31"/>
                  </a:lnTo>
                  <a:lnTo>
                    <a:pt x="221" y="27"/>
                  </a:lnTo>
                  <a:lnTo>
                    <a:pt x="215" y="25"/>
                  </a:lnTo>
                  <a:lnTo>
                    <a:pt x="207" y="23"/>
                  </a:lnTo>
                  <a:lnTo>
                    <a:pt x="201" y="23"/>
                  </a:lnTo>
                  <a:lnTo>
                    <a:pt x="199" y="16"/>
                  </a:lnTo>
                  <a:lnTo>
                    <a:pt x="199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13" name="Freeform 100"/>
            <p:cNvSpPr>
              <a:spLocks/>
            </p:cNvSpPr>
            <p:nvPr/>
          </p:nvSpPr>
          <p:spPr bwMode="auto">
            <a:xfrm>
              <a:off x="2081" y="2890"/>
              <a:ext cx="301" cy="252"/>
            </a:xfrm>
            <a:custGeom>
              <a:avLst/>
              <a:gdLst/>
              <a:ahLst/>
              <a:cxnLst>
                <a:cxn ang="0">
                  <a:pos x="173" y="6"/>
                </a:cxn>
                <a:cxn ang="0">
                  <a:pos x="161" y="2"/>
                </a:cxn>
                <a:cxn ang="0">
                  <a:pos x="150" y="0"/>
                </a:cxn>
                <a:cxn ang="0">
                  <a:pos x="138" y="6"/>
                </a:cxn>
                <a:cxn ang="0">
                  <a:pos x="127" y="21"/>
                </a:cxn>
                <a:cxn ang="0">
                  <a:pos x="123" y="35"/>
                </a:cxn>
                <a:cxn ang="0">
                  <a:pos x="115" y="43"/>
                </a:cxn>
                <a:cxn ang="0">
                  <a:pos x="105" y="48"/>
                </a:cxn>
                <a:cxn ang="0">
                  <a:pos x="82" y="48"/>
                </a:cxn>
                <a:cxn ang="0">
                  <a:pos x="75" y="58"/>
                </a:cxn>
                <a:cxn ang="0">
                  <a:pos x="71" y="69"/>
                </a:cxn>
                <a:cxn ang="0">
                  <a:pos x="63" y="73"/>
                </a:cxn>
                <a:cxn ang="0">
                  <a:pos x="48" y="77"/>
                </a:cxn>
                <a:cxn ang="0">
                  <a:pos x="21" y="77"/>
                </a:cxn>
                <a:cxn ang="0">
                  <a:pos x="6" y="83"/>
                </a:cxn>
                <a:cxn ang="0">
                  <a:pos x="2" y="89"/>
                </a:cxn>
                <a:cxn ang="0">
                  <a:pos x="0" y="98"/>
                </a:cxn>
                <a:cxn ang="0">
                  <a:pos x="2" y="106"/>
                </a:cxn>
                <a:cxn ang="0">
                  <a:pos x="10" y="110"/>
                </a:cxn>
                <a:cxn ang="0">
                  <a:pos x="17" y="131"/>
                </a:cxn>
                <a:cxn ang="0">
                  <a:pos x="50" y="150"/>
                </a:cxn>
                <a:cxn ang="0">
                  <a:pos x="65" y="154"/>
                </a:cxn>
                <a:cxn ang="0">
                  <a:pos x="73" y="165"/>
                </a:cxn>
                <a:cxn ang="0">
                  <a:pos x="75" y="171"/>
                </a:cxn>
                <a:cxn ang="0">
                  <a:pos x="73" y="177"/>
                </a:cxn>
                <a:cxn ang="0">
                  <a:pos x="79" y="186"/>
                </a:cxn>
                <a:cxn ang="0">
                  <a:pos x="90" y="192"/>
                </a:cxn>
                <a:cxn ang="0">
                  <a:pos x="100" y="200"/>
                </a:cxn>
                <a:cxn ang="0">
                  <a:pos x="100" y="213"/>
                </a:cxn>
                <a:cxn ang="0">
                  <a:pos x="104" y="221"/>
                </a:cxn>
                <a:cxn ang="0">
                  <a:pos x="125" y="229"/>
                </a:cxn>
                <a:cxn ang="0">
                  <a:pos x="132" y="234"/>
                </a:cxn>
                <a:cxn ang="0">
                  <a:pos x="140" y="242"/>
                </a:cxn>
                <a:cxn ang="0">
                  <a:pos x="140" y="246"/>
                </a:cxn>
                <a:cxn ang="0">
                  <a:pos x="152" y="248"/>
                </a:cxn>
                <a:cxn ang="0">
                  <a:pos x="161" y="250"/>
                </a:cxn>
                <a:cxn ang="0">
                  <a:pos x="180" y="250"/>
                </a:cxn>
                <a:cxn ang="0">
                  <a:pos x="234" y="250"/>
                </a:cxn>
                <a:cxn ang="0">
                  <a:pos x="251" y="242"/>
                </a:cxn>
                <a:cxn ang="0">
                  <a:pos x="259" y="231"/>
                </a:cxn>
                <a:cxn ang="0">
                  <a:pos x="265" y="223"/>
                </a:cxn>
                <a:cxn ang="0">
                  <a:pos x="272" y="211"/>
                </a:cxn>
                <a:cxn ang="0">
                  <a:pos x="278" y="196"/>
                </a:cxn>
                <a:cxn ang="0">
                  <a:pos x="282" y="177"/>
                </a:cxn>
                <a:cxn ang="0">
                  <a:pos x="284" y="156"/>
                </a:cxn>
                <a:cxn ang="0">
                  <a:pos x="286" y="142"/>
                </a:cxn>
                <a:cxn ang="0">
                  <a:pos x="294" y="127"/>
                </a:cxn>
                <a:cxn ang="0">
                  <a:pos x="301" y="112"/>
                </a:cxn>
                <a:cxn ang="0">
                  <a:pos x="301" y="98"/>
                </a:cxn>
                <a:cxn ang="0">
                  <a:pos x="297" y="85"/>
                </a:cxn>
                <a:cxn ang="0">
                  <a:pos x="299" y="69"/>
                </a:cxn>
                <a:cxn ang="0">
                  <a:pos x="295" y="62"/>
                </a:cxn>
                <a:cxn ang="0">
                  <a:pos x="280" y="52"/>
                </a:cxn>
                <a:cxn ang="0">
                  <a:pos x="263" y="41"/>
                </a:cxn>
                <a:cxn ang="0">
                  <a:pos x="240" y="35"/>
                </a:cxn>
                <a:cxn ang="0">
                  <a:pos x="221" y="27"/>
                </a:cxn>
                <a:cxn ang="0">
                  <a:pos x="207" y="23"/>
                </a:cxn>
                <a:cxn ang="0">
                  <a:pos x="199" y="16"/>
                </a:cxn>
              </a:cxnLst>
              <a:rect l="0" t="0" r="r" b="b"/>
              <a:pathLst>
                <a:path w="301" h="252">
                  <a:moveTo>
                    <a:pt x="199" y="6"/>
                  </a:moveTo>
                  <a:lnTo>
                    <a:pt x="173" y="6"/>
                  </a:lnTo>
                  <a:lnTo>
                    <a:pt x="167" y="4"/>
                  </a:lnTo>
                  <a:lnTo>
                    <a:pt x="161" y="2"/>
                  </a:lnTo>
                  <a:lnTo>
                    <a:pt x="155" y="2"/>
                  </a:lnTo>
                  <a:lnTo>
                    <a:pt x="150" y="0"/>
                  </a:lnTo>
                  <a:lnTo>
                    <a:pt x="144" y="4"/>
                  </a:lnTo>
                  <a:lnTo>
                    <a:pt x="138" y="6"/>
                  </a:lnTo>
                  <a:lnTo>
                    <a:pt x="132" y="14"/>
                  </a:lnTo>
                  <a:lnTo>
                    <a:pt x="127" y="21"/>
                  </a:lnTo>
                  <a:lnTo>
                    <a:pt x="125" y="27"/>
                  </a:lnTo>
                  <a:lnTo>
                    <a:pt x="123" y="35"/>
                  </a:lnTo>
                  <a:lnTo>
                    <a:pt x="119" y="41"/>
                  </a:lnTo>
                  <a:lnTo>
                    <a:pt x="115" y="43"/>
                  </a:lnTo>
                  <a:lnTo>
                    <a:pt x="111" y="46"/>
                  </a:lnTo>
                  <a:lnTo>
                    <a:pt x="105" y="48"/>
                  </a:lnTo>
                  <a:lnTo>
                    <a:pt x="94" y="48"/>
                  </a:lnTo>
                  <a:lnTo>
                    <a:pt x="82" y="48"/>
                  </a:lnTo>
                  <a:lnTo>
                    <a:pt x="79" y="54"/>
                  </a:lnTo>
                  <a:lnTo>
                    <a:pt x="75" y="58"/>
                  </a:lnTo>
                  <a:lnTo>
                    <a:pt x="73" y="64"/>
                  </a:lnTo>
                  <a:lnTo>
                    <a:pt x="71" y="69"/>
                  </a:lnTo>
                  <a:lnTo>
                    <a:pt x="69" y="71"/>
                  </a:lnTo>
                  <a:lnTo>
                    <a:pt x="63" y="73"/>
                  </a:lnTo>
                  <a:lnTo>
                    <a:pt x="56" y="75"/>
                  </a:lnTo>
                  <a:lnTo>
                    <a:pt x="48" y="77"/>
                  </a:lnTo>
                  <a:lnTo>
                    <a:pt x="31" y="77"/>
                  </a:lnTo>
                  <a:lnTo>
                    <a:pt x="21" y="77"/>
                  </a:lnTo>
                  <a:lnTo>
                    <a:pt x="13" y="79"/>
                  </a:lnTo>
                  <a:lnTo>
                    <a:pt x="6" y="83"/>
                  </a:lnTo>
                  <a:lnTo>
                    <a:pt x="4" y="85"/>
                  </a:lnTo>
                  <a:lnTo>
                    <a:pt x="2" y="89"/>
                  </a:lnTo>
                  <a:lnTo>
                    <a:pt x="0" y="92"/>
                  </a:lnTo>
                  <a:lnTo>
                    <a:pt x="0" y="98"/>
                  </a:lnTo>
                  <a:lnTo>
                    <a:pt x="0" y="102"/>
                  </a:lnTo>
                  <a:lnTo>
                    <a:pt x="2" y="106"/>
                  </a:lnTo>
                  <a:lnTo>
                    <a:pt x="6" y="108"/>
                  </a:lnTo>
                  <a:lnTo>
                    <a:pt x="10" y="110"/>
                  </a:lnTo>
                  <a:lnTo>
                    <a:pt x="13" y="119"/>
                  </a:lnTo>
                  <a:lnTo>
                    <a:pt x="17" y="131"/>
                  </a:lnTo>
                  <a:lnTo>
                    <a:pt x="33" y="140"/>
                  </a:lnTo>
                  <a:lnTo>
                    <a:pt x="50" y="150"/>
                  </a:lnTo>
                  <a:lnTo>
                    <a:pt x="58" y="154"/>
                  </a:lnTo>
                  <a:lnTo>
                    <a:pt x="65" y="154"/>
                  </a:lnTo>
                  <a:lnTo>
                    <a:pt x="71" y="158"/>
                  </a:lnTo>
                  <a:lnTo>
                    <a:pt x="73" y="165"/>
                  </a:lnTo>
                  <a:lnTo>
                    <a:pt x="79" y="171"/>
                  </a:lnTo>
                  <a:lnTo>
                    <a:pt x="75" y="171"/>
                  </a:lnTo>
                  <a:lnTo>
                    <a:pt x="73" y="173"/>
                  </a:lnTo>
                  <a:lnTo>
                    <a:pt x="73" y="177"/>
                  </a:lnTo>
                  <a:lnTo>
                    <a:pt x="75" y="179"/>
                  </a:lnTo>
                  <a:lnTo>
                    <a:pt x="79" y="186"/>
                  </a:lnTo>
                  <a:lnTo>
                    <a:pt x="81" y="190"/>
                  </a:lnTo>
                  <a:lnTo>
                    <a:pt x="90" y="192"/>
                  </a:lnTo>
                  <a:lnTo>
                    <a:pt x="100" y="194"/>
                  </a:lnTo>
                  <a:lnTo>
                    <a:pt x="100" y="200"/>
                  </a:lnTo>
                  <a:lnTo>
                    <a:pt x="100" y="206"/>
                  </a:lnTo>
                  <a:lnTo>
                    <a:pt x="100" y="213"/>
                  </a:lnTo>
                  <a:lnTo>
                    <a:pt x="102" y="217"/>
                  </a:lnTo>
                  <a:lnTo>
                    <a:pt x="104" y="221"/>
                  </a:lnTo>
                  <a:lnTo>
                    <a:pt x="113" y="225"/>
                  </a:lnTo>
                  <a:lnTo>
                    <a:pt x="125" y="229"/>
                  </a:lnTo>
                  <a:lnTo>
                    <a:pt x="129" y="231"/>
                  </a:lnTo>
                  <a:lnTo>
                    <a:pt x="132" y="234"/>
                  </a:lnTo>
                  <a:lnTo>
                    <a:pt x="136" y="238"/>
                  </a:lnTo>
                  <a:lnTo>
                    <a:pt x="140" y="242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6" y="248"/>
                  </a:lnTo>
                  <a:lnTo>
                    <a:pt x="152" y="248"/>
                  </a:lnTo>
                  <a:lnTo>
                    <a:pt x="155" y="248"/>
                  </a:lnTo>
                  <a:lnTo>
                    <a:pt x="161" y="250"/>
                  </a:lnTo>
                  <a:lnTo>
                    <a:pt x="169" y="252"/>
                  </a:lnTo>
                  <a:lnTo>
                    <a:pt x="180" y="250"/>
                  </a:lnTo>
                  <a:lnTo>
                    <a:pt x="226" y="252"/>
                  </a:lnTo>
                  <a:lnTo>
                    <a:pt x="234" y="250"/>
                  </a:lnTo>
                  <a:lnTo>
                    <a:pt x="242" y="246"/>
                  </a:lnTo>
                  <a:lnTo>
                    <a:pt x="251" y="242"/>
                  </a:lnTo>
                  <a:lnTo>
                    <a:pt x="257" y="236"/>
                  </a:lnTo>
                  <a:lnTo>
                    <a:pt x="259" y="231"/>
                  </a:lnTo>
                  <a:lnTo>
                    <a:pt x="261" y="227"/>
                  </a:lnTo>
                  <a:lnTo>
                    <a:pt x="265" y="223"/>
                  </a:lnTo>
                  <a:lnTo>
                    <a:pt x="269" y="219"/>
                  </a:lnTo>
                  <a:lnTo>
                    <a:pt x="272" y="211"/>
                  </a:lnTo>
                  <a:lnTo>
                    <a:pt x="276" y="204"/>
                  </a:lnTo>
                  <a:lnTo>
                    <a:pt x="278" y="196"/>
                  </a:lnTo>
                  <a:lnTo>
                    <a:pt x="280" y="186"/>
                  </a:lnTo>
                  <a:lnTo>
                    <a:pt x="282" y="177"/>
                  </a:lnTo>
                  <a:lnTo>
                    <a:pt x="284" y="167"/>
                  </a:lnTo>
                  <a:lnTo>
                    <a:pt x="284" y="156"/>
                  </a:lnTo>
                  <a:lnTo>
                    <a:pt x="280" y="146"/>
                  </a:lnTo>
                  <a:lnTo>
                    <a:pt x="286" y="142"/>
                  </a:lnTo>
                  <a:lnTo>
                    <a:pt x="290" y="137"/>
                  </a:lnTo>
                  <a:lnTo>
                    <a:pt x="294" y="127"/>
                  </a:lnTo>
                  <a:lnTo>
                    <a:pt x="297" y="117"/>
                  </a:lnTo>
                  <a:lnTo>
                    <a:pt x="301" y="112"/>
                  </a:lnTo>
                  <a:lnTo>
                    <a:pt x="301" y="106"/>
                  </a:lnTo>
                  <a:lnTo>
                    <a:pt x="301" y="98"/>
                  </a:lnTo>
                  <a:lnTo>
                    <a:pt x="299" y="92"/>
                  </a:lnTo>
                  <a:lnTo>
                    <a:pt x="297" y="85"/>
                  </a:lnTo>
                  <a:lnTo>
                    <a:pt x="299" y="75"/>
                  </a:lnTo>
                  <a:lnTo>
                    <a:pt x="299" y="69"/>
                  </a:lnTo>
                  <a:lnTo>
                    <a:pt x="297" y="66"/>
                  </a:lnTo>
                  <a:lnTo>
                    <a:pt x="295" y="62"/>
                  </a:lnTo>
                  <a:lnTo>
                    <a:pt x="292" y="60"/>
                  </a:lnTo>
                  <a:lnTo>
                    <a:pt x="280" y="52"/>
                  </a:lnTo>
                  <a:lnTo>
                    <a:pt x="272" y="44"/>
                  </a:lnTo>
                  <a:lnTo>
                    <a:pt x="263" y="41"/>
                  </a:lnTo>
                  <a:lnTo>
                    <a:pt x="253" y="41"/>
                  </a:lnTo>
                  <a:lnTo>
                    <a:pt x="240" y="35"/>
                  </a:lnTo>
                  <a:lnTo>
                    <a:pt x="226" y="31"/>
                  </a:lnTo>
                  <a:lnTo>
                    <a:pt x="221" y="27"/>
                  </a:lnTo>
                  <a:lnTo>
                    <a:pt x="215" y="25"/>
                  </a:lnTo>
                  <a:lnTo>
                    <a:pt x="207" y="23"/>
                  </a:lnTo>
                  <a:lnTo>
                    <a:pt x="201" y="23"/>
                  </a:lnTo>
                  <a:lnTo>
                    <a:pt x="199" y="16"/>
                  </a:lnTo>
                  <a:lnTo>
                    <a:pt x="199" y="6"/>
                  </a:lnTo>
                </a:path>
              </a:pathLst>
            </a:custGeom>
            <a:noFill/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14" name="Freeform 101"/>
            <p:cNvSpPr>
              <a:spLocks/>
            </p:cNvSpPr>
            <p:nvPr/>
          </p:nvSpPr>
          <p:spPr bwMode="auto">
            <a:xfrm>
              <a:off x="722" y="1403"/>
              <a:ext cx="613" cy="551"/>
            </a:xfrm>
            <a:custGeom>
              <a:avLst/>
              <a:gdLst/>
              <a:ahLst/>
              <a:cxnLst>
                <a:cxn ang="0">
                  <a:pos x="277" y="2"/>
                </a:cxn>
                <a:cxn ang="0">
                  <a:pos x="265" y="2"/>
                </a:cxn>
                <a:cxn ang="0">
                  <a:pos x="248" y="0"/>
                </a:cxn>
                <a:cxn ang="0">
                  <a:pos x="256" y="315"/>
                </a:cxn>
                <a:cxn ang="0">
                  <a:pos x="71" y="349"/>
                </a:cxn>
                <a:cxn ang="0">
                  <a:pos x="62" y="338"/>
                </a:cxn>
                <a:cxn ang="0">
                  <a:pos x="41" y="344"/>
                </a:cxn>
                <a:cxn ang="0">
                  <a:pos x="31" y="365"/>
                </a:cxn>
                <a:cxn ang="0">
                  <a:pos x="12" y="374"/>
                </a:cxn>
                <a:cxn ang="0">
                  <a:pos x="4" y="392"/>
                </a:cxn>
                <a:cxn ang="0">
                  <a:pos x="10" y="409"/>
                </a:cxn>
                <a:cxn ang="0">
                  <a:pos x="12" y="430"/>
                </a:cxn>
                <a:cxn ang="0">
                  <a:pos x="25" y="442"/>
                </a:cxn>
                <a:cxn ang="0">
                  <a:pos x="29" y="465"/>
                </a:cxn>
                <a:cxn ang="0">
                  <a:pos x="41" y="474"/>
                </a:cxn>
                <a:cxn ang="0">
                  <a:pos x="56" y="482"/>
                </a:cxn>
                <a:cxn ang="0">
                  <a:pos x="77" y="472"/>
                </a:cxn>
                <a:cxn ang="0">
                  <a:pos x="98" y="470"/>
                </a:cxn>
                <a:cxn ang="0">
                  <a:pos x="114" y="463"/>
                </a:cxn>
                <a:cxn ang="0">
                  <a:pos x="125" y="476"/>
                </a:cxn>
                <a:cxn ang="0">
                  <a:pos x="133" y="499"/>
                </a:cxn>
                <a:cxn ang="0">
                  <a:pos x="135" y="518"/>
                </a:cxn>
                <a:cxn ang="0">
                  <a:pos x="144" y="532"/>
                </a:cxn>
                <a:cxn ang="0">
                  <a:pos x="152" y="549"/>
                </a:cxn>
                <a:cxn ang="0">
                  <a:pos x="169" y="547"/>
                </a:cxn>
                <a:cxn ang="0">
                  <a:pos x="187" y="545"/>
                </a:cxn>
                <a:cxn ang="0">
                  <a:pos x="202" y="538"/>
                </a:cxn>
                <a:cxn ang="0">
                  <a:pos x="219" y="528"/>
                </a:cxn>
                <a:cxn ang="0">
                  <a:pos x="233" y="539"/>
                </a:cxn>
                <a:cxn ang="0">
                  <a:pos x="246" y="530"/>
                </a:cxn>
                <a:cxn ang="0">
                  <a:pos x="246" y="513"/>
                </a:cxn>
                <a:cxn ang="0">
                  <a:pos x="246" y="495"/>
                </a:cxn>
                <a:cxn ang="0">
                  <a:pos x="263" y="488"/>
                </a:cxn>
                <a:cxn ang="0">
                  <a:pos x="279" y="482"/>
                </a:cxn>
                <a:cxn ang="0">
                  <a:pos x="288" y="465"/>
                </a:cxn>
                <a:cxn ang="0">
                  <a:pos x="298" y="442"/>
                </a:cxn>
                <a:cxn ang="0">
                  <a:pos x="321" y="443"/>
                </a:cxn>
                <a:cxn ang="0">
                  <a:pos x="338" y="417"/>
                </a:cxn>
                <a:cxn ang="0">
                  <a:pos x="361" y="409"/>
                </a:cxn>
                <a:cxn ang="0">
                  <a:pos x="377" y="401"/>
                </a:cxn>
                <a:cxn ang="0">
                  <a:pos x="390" y="390"/>
                </a:cxn>
                <a:cxn ang="0">
                  <a:pos x="413" y="365"/>
                </a:cxn>
                <a:cxn ang="0">
                  <a:pos x="438" y="371"/>
                </a:cxn>
                <a:cxn ang="0">
                  <a:pos x="463" y="367"/>
                </a:cxn>
                <a:cxn ang="0">
                  <a:pos x="494" y="363"/>
                </a:cxn>
                <a:cxn ang="0">
                  <a:pos x="520" y="357"/>
                </a:cxn>
                <a:cxn ang="0">
                  <a:pos x="547" y="353"/>
                </a:cxn>
                <a:cxn ang="0">
                  <a:pos x="574" y="348"/>
                </a:cxn>
                <a:cxn ang="0">
                  <a:pos x="601" y="348"/>
                </a:cxn>
                <a:cxn ang="0">
                  <a:pos x="611" y="317"/>
                </a:cxn>
                <a:cxn ang="0">
                  <a:pos x="609" y="290"/>
                </a:cxn>
                <a:cxn ang="0">
                  <a:pos x="609" y="259"/>
                </a:cxn>
                <a:cxn ang="0">
                  <a:pos x="607" y="230"/>
                </a:cxn>
                <a:cxn ang="0">
                  <a:pos x="595" y="223"/>
                </a:cxn>
                <a:cxn ang="0">
                  <a:pos x="570" y="221"/>
                </a:cxn>
                <a:cxn ang="0">
                  <a:pos x="567" y="202"/>
                </a:cxn>
                <a:cxn ang="0">
                  <a:pos x="553" y="190"/>
                </a:cxn>
                <a:cxn ang="0">
                  <a:pos x="534" y="181"/>
                </a:cxn>
                <a:cxn ang="0">
                  <a:pos x="522" y="165"/>
                </a:cxn>
              </a:cxnLst>
              <a:rect l="0" t="0" r="r" b="b"/>
              <a:pathLst>
                <a:path w="613" h="551">
                  <a:moveTo>
                    <a:pt x="298" y="0"/>
                  </a:moveTo>
                  <a:lnTo>
                    <a:pt x="292" y="2"/>
                  </a:lnTo>
                  <a:lnTo>
                    <a:pt x="290" y="2"/>
                  </a:lnTo>
                  <a:lnTo>
                    <a:pt x="288" y="2"/>
                  </a:lnTo>
                  <a:lnTo>
                    <a:pt x="284" y="2"/>
                  </a:lnTo>
                  <a:lnTo>
                    <a:pt x="283" y="2"/>
                  </a:lnTo>
                  <a:lnTo>
                    <a:pt x="279" y="2"/>
                  </a:lnTo>
                  <a:lnTo>
                    <a:pt x="277" y="2"/>
                  </a:lnTo>
                  <a:lnTo>
                    <a:pt x="275" y="2"/>
                  </a:lnTo>
                  <a:lnTo>
                    <a:pt x="273" y="2"/>
                  </a:lnTo>
                  <a:lnTo>
                    <a:pt x="271" y="2"/>
                  </a:lnTo>
                  <a:lnTo>
                    <a:pt x="269" y="2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5" y="2"/>
                  </a:lnTo>
                  <a:lnTo>
                    <a:pt x="261" y="2"/>
                  </a:lnTo>
                  <a:lnTo>
                    <a:pt x="260" y="2"/>
                  </a:lnTo>
                  <a:lnTo>
                    <a:pt x="258" y="0"/>
                  </a:lnTo>
                  <a:lnTo>
                    <a:pt x="256" y="0"/>
                  </a:lnTo>
                  <a:lnTo>
                    <a:pt x="254" y="0"/>
                  </a:lnTo>
                  <a:lnTo>
                    <a:pt x="252" y="0"/>
                  </a:lnTo>
                  <a:lnTo>
                    <a:pt x="250" y="0"/>
                  </a:lnTo>
                  <a:lnTo>
                    <a:pt x="248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4" y="0"/>
                  </a:lnTo>
                  <a:lnTo>
                    <a:pt x="240" y="0"/>
                  </a:lnTo>
                  <a:lnTo>
                    <a:pt x="238" y="0"/>
                  </a:lnTo>
                  <a:lnTo>
                    <a:pt x="246" y="298"/>
                  </a:lnTo>
                  <a:lnTo>
                    <a:pt x="256" y="315"/>
                  </a:lnTo>
                  <a:lnTo>
                    <a:pt x="248" y="353"/>
                  </a:lnTo>
                  <a:lnTo>
                    <a:pt x="116" y="351"/>
                  </a:lnTo>
                  <a:lnTo>
                    <a:pt x="98" y="340"/>
                  </a:lnTo>
                  <a:lnTo>
                    <a:pt x="85" y="342"/>
                  </a:lnTo>
                  <a:lnTo>
                    <a:pt x="83" y="342"/>
                  </a:lnTo>
                  <a:lnTo>
                    <a:pt x="79" y="346"/>
                  </a:lnTo>
                  <a:lnTo>
                    <a:pt x="75" y="349"/>
                  </a:lnTo>
                  <a:lnTo>
                    <a:pt x="71" y="349"/>
                  </a:lnTo>
                  <a:lnTo>
                    <a:pt x="71" y="351"/>
                  </a:lnTo>
                  <a:lnTo>
                    <a:pt x="70" y="353"/>
                  </a:lnTo>
                  <a:lnTo>
                    <a:pt x="68" y="353"/>
                  </a:lnTo>
                  <a:lnTo>
                    <a:pt x="66" y="349"/>
                  </a:lnTo>
                  <a:lnTo>
                    <a:pt x="66" y="344"/>
                  </a:lnTo>
                  <a:lnTo>
                    <a:pt x="66" y="340"/>
                  </a:lnTo>
                  <a:lnTo>
                    <a:pt x="64" y="338"/>
                  </a:lnTo>
                  <a:lnTo>
                    <a:pt x="62" y="338"/>
                  </a:lnTo>
                  <a:lnTo>
                    <a:pt x="58" y="338"/>
                  </a:lnTo>
                  <a:lnTo>
                    <a:pt x="56" y="338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48" y="338"/>
                  </a:lnTo>
                  <a:lnTo>
                    <a:pt x="45" y="340"/>
                  </a:lnTo>
                  <a:lnTo>
                    <a:pt x="41" y="342"/>
                  </a:lnTo>
                  <a:lnTo>
                    <a:pt x="41" y="344"/>
                  </a:lnTo>
                  <a:lnTo>
                    <a:pt x="39" y="346"/>
                  </a:lnTo>
                  <a:lnTo>
                    <a:pt x="37" y="349"/>
                  </a:lnTo>
                  <a:lnTo>
                    <a:pt x="37" y="353"/>
                  </a:lnTo>
                  <a:lnTo>
                    <a:pt x="37" y="355"/>
                  </a:lnTo>
                  <a:lnTo>
                    <a:pt x="35" y="359"/>
                  </a:lnTo>
                  <a:lnTo>
                    <a:pt x="33" y="361"/>
                  </a:lnTo>
                  <a:lnTo>
                    <a:pt x="33" y="365"/>
                  </a:lnTo>
                  <a:lnTo>
                    <a:pt x="31" y="365"/>
                  </a:lnTo>
                  <a:lnTo>
                    <a:pt x="29" y="367"/>
                  </a:lnTo>
                  <a:lnTo>
                    <a:pt x="25" y="367"/>
                  </a:lnTo>
                  <a:lnTo>
                    <a:pt x="25" y="369"/>
                  </a:lnTo>
                  <a:lnTo>
                    <a:pt x="23" y="371"/>
                  </a:lnTo>
                  <a:lnTo>
                    <a:pt x="20" y="372"/>
                  </a:lnTo>
                  <a:lnTo>
                    <a:pt x="18" y="372"/>
                  </a:lnTo>
                  <a:lnTo>
                    <a:pt x="16" y="372"/>
                  </a:lnTo>
                  <a:lnTo>
                    <a:pt x="12" y="374"/>
                  </a:lnTo>
                  <a:lnTo>
                    <a:pt x="12" y="378"/>
                  </a:lnTo>
                  <a:lnTo>
                    <a:pt x="8" y="378"/>
                  </a:lnTo>
                  <a:lnTo>
                    <a:pt x="4" y="378"/>
                  </a:lnTo>
                  <a:lnTo>
                    <a:pt x="2" y="382"/>
                  </a:lnTo>
                  <a:lnTo>
                    <a:pt x="0" y="382"/>
                  </a:lnTo>
                  <a:lnTo>
                    <a:pt x="0" y="388"/>
                  </a:lnTo>
                  <a:lnTo>
                    <a:pt x="2" y="390"/>
                  </a:lnTo>
                  <a:lnTo>
                    <a:pt x="4" y="392"/>
                  </a:lnTo>
                  <a:lnTo>
                    <a:pt x="4" y="394"/>
                  </a:lnTo>
                  <a:lnTo>
                    <a:pt x="4" y="397"/>
                  </a:lnTo>
                  <a:lnTo>
                    <a:pt x="4" y="399"/>
                  </a:lnTo>
                  <a:lnTo>
                    <a:pt x="4" y="399"/>
                  </a:lnTo>
                  <a:lnTo>
                    <a:pt x="6" y="401"/>
                  </a:lnTo>
                  <a:lnTo>
                    <a:pt x="10" y="401"/>
                  </a:lnTo>
                  <a:lnTo>
                    <a:pt x="10" y="407"/>
                  </a:lnTo>
                  <a:lnTo>
                    <a:pt x="10" y="409"/>
                  </a:lnTo>
                  <a:lnTo>
                    <a:pt x="10" y="415"/>
                  </a:lnTo>
                  <a:lnTo>
                    <a:pt x="10" y="417"/>
                  </a:lnTo>
                  <a:lnTo>
                    <a:pt x="10" y="420"/>
                  </a:lnTo>
                  <a:lnTo>
                    <a:pt x="12" y="420"/>
                  </a:lnTo>
                  <a:lnTo>
                    <a:pt x="12" y="422"/>
                  </a:lnTo>
                  <a:lnTo>
                    <a:pt x="12" y="426"/>
                  </a:lnTo>
                  <a:lnTo>
                    <a:pt x="12" y="428"/>
                  </a:lnTo>
                  <a:lnTo>
                    <a:pt x="12" y="430"/>
                  </a:lnTo>
                  <a:lnTo>
                    <a:pt x="18" y="430"/>
                  </a:lnTo>
                  <a:lnTo>
                    <a:pt x="18" y="432"/>
                  </a:lnTo>
                  <a:lnTo>
                    <a:pt x="20" y="434"/>
                  </a:lnTo>
                  <a:lnTo>
                    <a:pt x="22" y="434"/>
                  </a:lnTo>
                  <a:lnTo>
                    <a:pt x="22" y="438"/>
                  </a:lnTo>
                  <a:lnTo>
                    <a:pt x="23" y="440"/>
                  </a:lnTo>
                  <a:lnTo>
                    <a:pt x="25" y="440"/>
                  </a:lnTo>
                  <a:lnTo>
                    <a:pt x="25" y="442"/>
                  </a:lnTo>
                  <a:lnTo>
                    <a:pt x="27" y="443"/>
                  </a:lnTo>
                  <a:lnTo>
                    <a:pt x="29" y="445"/>
                  </a:lnTo>
                  <a:lnTo>
                    <a:pt x="29" y="449"/>
                  </a:lnTo>
                  <a:lnTo>
                    <a:pt x="29" y="451"/>
                  </a:lnTo>
                  <a:lnTo>
                    <a:pt x="29" y="455"/>
                  </a:lnTo>
                  <a:lnTo>
                    <a:pt x="29" y="459"/>
                  </a:lnTo>
                  <a:lnTo>
                    <a:pt x="29" y="461"/>
                  </a:lnTo>
                  <a:lnTo>
                    <a:pt x="29" y="465"/>
                  </a:lnTo>
                  <a:lnTo>
                    <a:pt x="33" y="467"/>
                  </a:lnTo>
                  <a:lnTo>
                    <a:pt x="33" y="470"/>
                  </a:lnTo>
                  <a:lnTo>
                    <a:pt x="35" y="470"/>
                  </a:lnTo>
                  <a:lnTo>
                    <a:pt x="35" y="472"/>
                  </a:lnTo>
                  <a:lnTo>
                    <a:pt x="35" y="474"/>
                  </a:lnTo>
                  <a:lnTo>
                    <a:pt x="37" y="476"/>
                  </a:lnTo>
                  <a:lnTo>
                    <a:pt x="39" y="476"/>
                  </a:lnTo>
                  <a:lnTo>
                    <a:pt x="41" y="474"/>
                  </a:lnTo>
                  <a:lnTo>
                    <a:pt x="45" y="474"/>
                  </a:lnTo>
                  <a:lnTo>
                    <a:pt x="48" y="474"/>
                  </a:lnTo>
                  <a:lnTo>
                    <a:pt x="50" y="478"/>
                  </a:lnTo>
                  <a:lnTo>
                    <a:pt x="54" y="482"/>
                  </a:lnTo>
                  <a:lnTo>
                    <a:pt x="54" y="484"/>
                  </a:lnTo>
                  <a:lnTo>
                    <a:pt x="54" y="484"/>
                  </a:lnTo>
                  <a:lnTo>
                    <a:pt x="56" y="482"/>
                  </a:lnTo>
                  <a:lnTo>
                    <a:pt x="56" y="482"/>
                  </a:lnTo>
                  <a:lnTo>
                    <a:pt x="58" y="482"/>
                  </a:lnTo>
                  <a:lnTo>
                    <a:pt x="62" y="480"/>
                  </a:lnTo>
                  <a:lnTo>
                    <a:pt x="64" y="480"/>
                  </a:lnTo>
                  <a:lnTo>
                    <a:pt x="68" y="476"/>
                  </a:lnTo>
                  <a:lnTo>
                    <a:pt x="70" y="476"/>
                  </a:lnTo>
                  <a:lnTo>
                    <a:pt x="73" y="474"/>
                  </a:lnTo>
                  <a:lnTo>
                    <a:pt x="75" y="472"/>
                  </a:lnTo>
                  <a:lnTo>
                    <a:pt x="77" y="472"/>
                  </a:lnTo>
                  <a:lnTo>
                    <a:pt x="79" y="472"/>
                  </a:lnTo>
                  <a:lnTo>
                    <a:pt x="83" y="472"/>
                  </a:lnTo>
                  <a:lnTo>
                    <a:pt x="85" y="474"/>
                  </a:lnTo>
                  <a:lnTo>
                    <a:pt x="89" y="474"/>
                  </a:lnTo>
                  <a:lnTo>
                    <a:pt x="93" y="474"/>
                  </a:lnTo>
                  <a:lnTo>
                    <a:pt x="94" y="474"/>
                  </a:lnTo>
                  <a:lnTo>
                    <a:pt x="98" y="472"/>
                  </a:lnTo>
                  <a:lnTo>
                    <a:pt x="98" y="470"/>
                  </a:lnTo>
                  <a:lnTo>
                    <a:pt x="100" y="468"/>
                  </a:lnTo>
                  <a:lnTo>
                    <a:pt x="102" y="465"/>
                  </a:lnTo>
                  <a:lnTo>
                    <a:pt x="100" y="463"/>
                  </a:lnTo>
                  <a:lnTo>
                    <a:pt x="104" y="461"/>
                  </a:lnTo>
                  <a:lnTo>
                    <a:pt x="106" y="461"/>
                  </a:lnTo>
                  <a:lnTo>
                    <a:pt x="110" y="461"/>
                  </a:lnTo>
                  <a:lnTo>
                    <a:pt x="114" y="461"/>
                  </a:lnTo>
                  <a:lnTo>
                    <a:pt x="114" y="463"/>
                  </a:lnTo>
                  <a:lnTo>
                    <a:pt x="116" y="465"/>
                  </a:lnTo>
                  <a:lnTo>
                    <a:pt x="118" y="467"/>
                  </a:lnTo>
                  <a:lnTo>
                    <a:pt x="118" y="468"/>
                  </a:lnTo>
                  <a:lnTo>
                    <a:pt x="119" y="470"/>
                  </a:lnTo>
                  <a:lnTo>
                    <a:pt x="121" y="472"/>
                  </a:lnTo>
                  <a:lnTo>
                    <a:pt x="121" y="474"/>
                  </a:lnTo>
                  <a:lnTo>
                    <a:pt x="123" y="476"/>
                  </a:lnTo>
                  <a:lnTo>
                    <a:pt x="125" y="476"/>
                  </a:lnTo>
                  <a:lnTo>
                    <a:pt x="127" y="480"/>
                  </a:lnTo>
                  <a:lnTo>
                    <a:pt x="129" y="484"/>
                  </a:lnTo>
                  <a:lnTo>
                    <a:pt x="131" y="486"/>
                  </a:lnTo>
                  <a:lnTo>
                    <a:pt x="131" y="488"/>
                  </a:lnTo>
                  <a:lnTo>
                    <a:pt x="131" y="490"/>
                  </a:lnTo>
                  <a:lnTo>
                    <a:pt x="133" y="493"/>
                  </a:lnTo>
                  <a:lnTo>
                    <a:pt x="133" y="495"/>
                  </a:lnTo>
                  <a:lnTo>
                    <a:pt x="133" y="499"/>
                  </a:lnTo>
                  <a:lnTo>
                    <a:pt x="133" y="501"/>
                  </a:lnTo>
                  <a:lnTo>
                    <a:pt x="133" y="503"/>
                  </a:lnTo>
                  <a:lnTo>
                    <a:pt x="131" y="505"/>
                  </a:lnTo>
                  <a:lnTo>
                    <a:pt x="131" y="507"/>
                  </a:lnTo>
                  <a:lnTo>
                    <a:pt x="129" y="509"/>
                  </a:lnTo>
                  <a:lnTo>
                    <a:pt x="129" y="514"/>
                  </a:lnTo>
                  <a:lnTo>
                    <a:pt x="131" y="518"/>
                  </a:lnTo>
                  <a:lnTo>
                    <a:pt x="135" y="518"/>
                  </a:lnTo>
                  <a:lnTo>
                    <a:pt x="135" y="518"/>
                  </a:lnTo>
                  <a:lnTo>
                    <a:pt x="137" y="518"/>
                  </a:lnTo>
                  <a:lnTo>
                    <a:pt x="137" y="524"/>
                  </a:lnTo>
                  <a:lnTo>
                    <a:pt x="139" y="526"/>
                  </a:lnTo>
                  <a:lnTo>
                    <a:pt x="139" y="528"/>
                  </a:lnTo>
                  <a:lnTo>
                    <a:pt x="142" y="528"/>
                  </a:lnTo>
                  <a:lnTo>
                    <a:pt x="142" y="530"/>
                  </a:lnTo>
                  <a:lnTo>
                    <a:pt x="144" y="532"/>
                  </a:lnTo>
                  <a:lnTo>
                    <a:pt x="144" y="534"/>
                  </a:lnTo>
                  <a:lnTo>
                    <a:pt x="144" y="536"/>
                  </a:lnTo>
                  <a:lnTo>
                    <a:pt x="144" y="539"/>
                  </a:lnTo>
                  <a:lnTo>
                    <a:pt x="146" y="539"/>
                  </a:lnTo>
                  <a:lnTo>
                    <a:pt x="148" y="543"/>
                  </a:lnTo>
                  <a:lnTo>
                    <a:pt x="150" y="545"/>
                  </a:lnTo>
                  <a:lnTo>
                    <a:pt x="150" y="547"/>
                  </a:lnTo>
                  <a:lnTo>
                    <a:pt x="152" y="549"/>
                  </a:lnTo>
                  <a:lnTo>
                    <a:pt x="154" y="551"/>
                  </a:lnTo>
                  <a:lnTo>
                    <a:pt x="158" y="551"/>
                  </a:lnTo>
                  <a:lnTo>
                    <a:pt x="156" y="549"/>
                  </a:lnTo>
                  <a:lnTo>
                    <a:pt x="158" y="547"/>
                  </a:lnTo>
                  <a:lnTo>
                    <a:pt x="160" y="547"/>
                  </a:lnTo>
                  <a:lnTo>
                    <a:pt x="164" y="547"/>
                  </a:lnTo>
                  <a:lnTo>
                    <a:pt x="165" y="547"/>
                  </a:lnTo>
                  <a:lnTo>
                    <a:pt x="169" y="547"/>
                  </a:lnTo>
                  <a:lnTo>
                    <a:pt x="171" y="547"/>
                  </a:lnTo>
                  <a:lnTo>
                    <a:pt x="175" y="545"/>
                  </a:lnTo>
                  <a:lnTo>
                    <a:pt x="173" y="543"/>
                  </a:lnTo>
                  <a:lnTo>
                    <a:pt x="177" y="543"/>
                  </a:lnTo>
                  <a:lnTo>
                    <a:pt x="179" y="543"/>
                  </a:lnTo>
                  <a:lnTo>
                    <a:pt x="183" y="543"/>
                  </a:lnTo>
                  <a:lnTo>
                    <a:pt x="185" y="545"/>
                  </a:lnTo>
                  <a:lnTo>
                    <a:pt x="187" y="545"/>
                  </a:lnTo>
                  <a:lnTo>
                    <a:pt x="190" y="545"/>
                  </a:lnTo>
                  <a:lnTo>
                    <a:pt x="194" y="545"/>
                  </a:lnTo>
                  <a:lnTo>
                    <a:pt x="196" y="547"/>
                  </a:lnTo>
                  <a:lnTo>
                    <a:pt x="200" y="547"/>
                  </a:lnTo>
                  <a:lnTo>
                    <a:pt x="202" y="547"/>
                  </a:lnTo>
                  <a:lnTo>
                    <a:pt x="202" y="545"/>
                  </a:lnTo>
                  <a:lnTo>
                    <a:pt x="202" y="539"/>
                  </a:lnTo>
                  <a:lnTo>
                    <a:pt x="202" y="538"/>
                  </a:lnTo>
                  <a:lnTo>
                    <a:pt x="202" y="534"/>
                  </a:lnTo>
                  <a:lnTo>
                    <a:pt x="204" y="532"/>
                  </a:lnTo>
                  <a:lnTo>
                    <a:pt x="206" y="530"/>
                  </a:lnTo>
                  <a:lnTo>
                    <a:pt x="208" y="528"/>
                  </a:lnTo>
                  <a:lnTo>
                    <a:pt x="210" y="528"/>
                  </a:lnTo>
                  <a:lnTo>
                    <a:pt x="213" y="528"/>
                  </a:lnTo>
                  <a:lnTo>
                    <a:pt x="215" y="528"/>
                  </a:lnTo>
                  <a:lnTo>
                    <a:pt x="219" y="528"/>
                  </a:lnTo>
                  <a:lnTo>
                    <a:pt x="221" y="528"/>
                  </a:lnTo>
                  <a:lnTo>
                    <a:pt x="223" y="530"/>
                  </a:lnTo>
                  <a:lnTo>
                    <a:pt x="223" y="532"/>
                  </a:lnTo>
                  <a:lnTo>
                    <a:pt x="223" y="536"/>
                  </a:lnTo>
                  <a:lnTo>
                    <a:pt x="223" y="538"/>
                  </a:lnTo>
                  <a:lnTo>
                    <a:pt x="227" y="539"/>
                  </a:lnTo>
                  <a:lnTo>
                    <a:pt x="231" y="539"/>
                  </a:lnTo>
                  <a:lnTo>
                    <a:pt x="233" y="539"/>
                  </a:lnTo>
                  <a:lnTo>
                    <a:pt x="236" y="539"/>
                  </a:lnTo>
                  <a:lnTo>
                    <a:pt x="236" y="536"/>
                  </a:lnTo>
                  <a:lnTo>
                    <a:pt x="238" y="534"/>
                  </a:lnTo>
                  <a:lnTo>
                    <a:pt x="240" y="534"/>
                  </a:lnTo>
                  <a:lnTo>
                    <a:pt x="242" y="534"/>
                  </a:lnTo>
                  <a:lnTo>
                    <a:pt x="244" y="532"/>
                  </a:lnTo>
                  <a:lnTo>
                    <a:pt x="246" y="532"/>
                  </a:lnTo>
                  <a:lnTo>
                    <a:pt x="246" y="530"/>
                  </a:lnTo>
                  <a:lnTo>
                    <a:pt x="246" y="526"/>
                  </a:lnTo>
                  <a:lnTo>
                    <a:pt x="248" y="524"/>
                  </a:lnTo>
                  <a:lnTo>
                    <a:pt x="246" y="522"/>
                  </a:lnTo>
                  <a:lnTo>
                    <a:pt x="246" y="522"/>
                  </a:lnTo>
                  <a:lnTo>
                    <a:pt x="246" y="518"/>
                  </a:lnTo>
                  <a:lnTo>
                    <a:pt x="246" y="516"/>
                  </a:lnTo>
                  <a:lnTo>
                    <a:pt x="246" y="514"/>
                  </a:lnTo>
                  <a:lnTo>
                    <a:pt x="246" y="513"/>
                  </a:lnTo>
                  <a:lnTo>
                    <a:pt x="246" y="511"/>
                  </a:lnTo>
                  <a:lnTo>
                    <a:pt x="250" y="511"/>
                  </a:lnTo>
                  <a:lnTo>
                    <a:pt x="250" y="507"/>
                  </a:lnTo>
                  <a:lnTo>
                    <a:pt x="250" y="503"/>
                  </a:lnTo>
                  <a:lnTo>
                    <a:pt x="250" y="501"/>
                  </a:lnTo>
                  <a:lnTo>
                    <a:pt x="246" y="501"/>
                  </a:lnTo>
                  <a:lnTo>
                    <a:pt x="246" y="497"/>
                  </a:lnTo>
                  <a:lnTo>
                    <a:pt x="246" y="495"/>
                  </a:lnTo>
                  <a:lnTo>
                    <a:pt x="248" y="495"/>
                  </a:lnTo>
                  <a:lnTo>
                    <a:pt x="250" y="493"/>
                  </a:lnTo>
                  <a:lnTo>
                    <a:pt x="252" y="491"/>
                  </a:lnTo>
                  <a:lnTo>
                    <a:pt x="254" y="490"/>
                  </a:lnTo>
                  <a:lnTo>
                    <a:pt x="254" y="488"/>
                  </a:lnTo>
                  <a:lnTo>
                    <a:pt x="258" y="488"/>
                  </a:lnTo>
                  <a:lnTo>
                    <a:pt x="260" y="488"/>
                  </a:lnTo>
                  <a:lnTo>
                    <a:pt x="263" y="488"/>
                  </a:lnTo>
                  <a:lnTo>
                    <a:pt x="265" y="488"/>
                  </a:lnTo>
                  <a:lnTo>
                    <a:pt x="267" y="488"/>
                  </a:lnTo>
                  <a:lnTo>
                    <a:pt x="271" y="488"/>
                  </a:lnTo>
                  <a:lnTo>
                    <a:pt x="273" y="488"/>
                  </a:lnTo>
                  <a:lnTo>
                    <a:pt x="275" y="486"/>
                  </a:lnTo>
                  <a:lnTo>
                    <a:pt x="277" y="486"/>
                  </a:lnTo>
                  <a:lnTo>
                    <a:pt x="279" y="484"/>
                  </a:lnTo>
                  <a:lnTo>
                    <a:pt x="279" y="482"/>
                  </a:lnTo>
                  <a:lnTo>
                    <a:pt x="281" y="480"/>
                  </a:lnTo>
                  <a:lnTo>
                    <a:pt x="283" y="480"/>
                  </a:lnTo>
                  <a:lnTo>
                    <a:pt x="283" y="476"/>
                  </a:lnTo>
                  <a:lnTo>
                    <a:pt x="283" y="474"/>
                  </a:lnTo>
                  <a:lnTo>
                    <a:pt x="283" y="470"/>
                  </a:lnTo>
                  <a:lnTo>
                    <a:pt x="283" y="467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90" y="463"/>
                  </a:lnTo>
                  <a:lnTo>
                    <a:pt x="290" y="459"/>
                  </a:lnTo>
                  <a:lnTo>
                    <a:pt x="290" y="455"/>
                  </a:lnTo>
                  <a:lnTo>
                    <a:pt x="290" y="451"/>
                  </a:lnTo>
                  <a:lnTo>
                    <a:pt x="290" y="447"/>
                  </a:lnTo>
                  <a:lnTo>
                    <a:pt x="292" y="445"/>
                  </a:lnTo>
                  <a:lnTo>
                    <a:pt x="296" y="445"/>
                  </a:lnTo>
                  <a:lnTo>
                    <a:pt x="298" y="442"/>
                  </a:lnTo>
                  <a:lnTo>
                    <a:pt x="302" y="442"/>
                  </a:lnTo>
                  <a:lnTo>
                    <a:pt x="304" y="440"/>
                  </a:lnTo>
                  <a:lnTo>
                    <a:pt x="306" y="440"/>
                  </a:lnTo>
                  <a:lnTo>
                    <a:pt x="309" y="440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21" y="443"/>
                  </a:lnTo>
                  <a:lnTo>
                    <a:pt x="325" y="438"/>
                  </a:lnTo>
                  <a:lnTo>
                    <a:pt x="330" y="438"/>
                  </a:lnTo>
                  <a:lnTo>
                    <a:pt x="330" y="434"/>
                  </a:lnTo>
                  <a:lnTo>
                    <a:pt x="332" y="432"/>
                  </a:lnTo>
                  <a:lnTo>
                    <a:pt x="332" y="428"/>
                  </a:lnTo>
                  <a:lnTo>
                    <a:pt x="334" y="424"/>
                  </a:lnTo>
                  <a:lnTo>
                    <a:pt x="338" y="420"/>
                  </a:lnTo>
                  <a:lnTo>
                    <a:pt x="338" y="417"/>
                  </a:lnTo>
                  <a:lnTo>
                    <a:pt x="340" y="415"/>
                  </a:lnTo>
                  <a:lnTo>
                    <a:pt x="342" y="415"/>
                  </a:lnTo>
                  <a:lnTo>
                    <a:pt x="346" y="413"/>
                  </a:lnTo>
                  <a:lnTo>
                    <a:pt x="348" y="409"/>
                  </a:lnTo>
                  <a:lnTo>
                    <a:pt x="350" y="409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61" y="409"/>
                  </a:lnTo>
                  <a:lnTo>
                    <a:pt x="361" y="411"/>
                  </a:lnTo>
                  <a:lnTo>
                    <a:pt x="365" y="415"/>
                  </a:lnTo>
                  <a:lnTo>
                    <a:pt x="369" y="415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5" y="411"/>
                  </a:lnTo>
                  <a:lnTo>
                    <a:pt x="377" y="405"/>
                  </a:lnTo>
                  <a:lnTo>
                    <a:pt x="377" y="401"/>
                  </a:lnTo>
                  <a:lnTo>
                    <a:pt x="377" y="397"/>
                  </a:lnTo>
                  <a:lnTo>
                    <a:pt x="377" y="394"/>
                  </a:lnTo>
                  <a:lnTo>
                    <a:pt x="377" y="394"/>
                  </a:lnTo>
                  <a:lnTo>
                    <a:pt x="377" y="392"/>
                  </a:lnTo>
                  <a:lnTo>
                    <a:pt x="380" y="390"/>
                  </a:lnTo>
                  <a:lnTo>
                    <a:pt x="384" y="390"/>
                  </a:lnTo>
                  <a:lnTo>
                    <a:pt x="386" y="390"/>
                  </a:lnTo>
                  <a:lnTo>
                    <a:pt x="390" y="390"/>
                  </a:lnTo>
                  <a:lnTo>
                    <a:pt x="392" y="386"/>
                  </a:lnTo>
                  <a:lnTo>
                    <a:pt x="396" y="382"/>
                  </a:lnTo>
                  <a:lnTo>
                    <a:pt x="398" y="378"/>
                  </a:lnTo>
                  <a:lnTo>
                    <a:pt x="401" y="374"/>
                  </a:lnTo>
                  <a:lnTo>
                    <a:pt x="405" y="372"/>
                  </a:lnTo>
                  <a:lnTo>
                    <a:pt x="409" y="371"/>
                  </a:lnTo>
                  <a:lnTo>
                    <a:pt x="411" y="369"/>
                  </a:lnTo>
                  <a:lnTo>
                    <a:pt x="413" y="365"/>
                  </a:lnTo>
                  <a:lnTo>
                    <a:pt x="415" y="367"/>
                  </a:lnTo>
                  <a:lnTo>
                    <a:pt x="421" y="369"/>
                  </a:lnTo>
                  <a:lnTo>
                    <a:pt x="423" y="369"/>
                  </a:lnTo>
                  <a:lnTo>
                    <a:pt x="426" y="369"/>
                  </a:lnTo>
                  <a:lnTo>
                    <a:pt x="428" y="371"/>
                  </a:lnTo>
                  <a:lnTo>
                    <a:pt x="432" y="371"/>
                  </a:lnTo>
                  <a:lnTo>
                    <a:pt x="434" y="371"/>
                  </a:lnTo>
                  <a:lnTo>
                    <a:pt x="438" y="371"/>
                  </a:lnTo>
                  <a:lnTo>
                    <a:pt x="442" y="371"/>
                  </a:lnTo>
                  <a:lnTo>
                    <a:pt x="446" y="371"/>
                  </a:lnTo>
                  <a:lnTo>
                    <a:pt x="449" y="371"/>
                  </a:lnTo>
                  <a:lnTo>
                    <a:pt x="453" y="371"/>
                  </a:lnTo>
                  <a:lnTo>
                    <a:pt x="455" y="369"/>
                  </a:lnTo>
                  <a:lnTo>
                    <a:pt x="459" y="369"/>
                  </a:lnTo>
                  <a:lnTo>
                    <a:pt x="459" y="367"/>
                  </a:lnTo>
                  <a:lnTo>
                    <a:pt x="463" y="367"/>
                  </a:lnTo>
                  <a:lnTo>
                    <a:pt x="467" y="367"/>
                  </a:lnTo>
                  <a:lnTo>
                    <a:pt x="471" y="367"/>
                  </a:lnTo>
                  <a:lnTo>
                    <a:pt x="474" y="367"/>
                  </a:lnTo>
                  <a:lnTo>
                    <a:pt x="478" y="372"/>
                  </a:lnTo>
                  <a:lnTo>
                    <a:pt x="484" y="367"/>
                  </a:lnTo>
                  <a:lnTo>
                    <a:pt x="486" y="365"/>
                  </a:lnTo>
                  <a:lnTo>
                    <a:pt x="492" y="365"/>
                  </a:lnTo>
                  <a:lnTo>
                    <a:pt x="494" y="363"/>
                  </a:lnTo>
                  <a:lnTo>
                    <a:pt x="497" y="363"/>
                  </a:lnTo>
                  <a:lnTo>
                    <a:pt x="501" y="363"/>
                  </a:lnTo>
                  <a:lnTo>
                    <a:pt x="505" y="363"/>
                  </a:lnTo>
                  <a:lnTo>
                    <a:pt x="509" y="359"/>
                  </a:lnTo>
                  <a:lnTo>
                    <a:pt x="511" y="359"/>
                  </a:lnTo>
                  <a:lnTo>
                    <a:pt x="513" y="357"/>
                  </a:lnTo>
                  <a:lnTo>
                    <a:pt x="517" y="357"/>
                  </a:lnTo>
                  <a:lnTo>
                    <a:pt x="520" y="357"/>
                  </a:lnTo>
                  <a:lnTo>
                    <a:pt x="524" y="357"/>
                  </a:lnTo>
                  <a:lnTo>
                    <a:pt x="528" y="357"/>
                  </a:lnTo>
                  <a:lnTo>
                    <a:pt x="532" y="357"/>
                  </a:lnTo>
                  <a:lnTo>
                    <a:pt x="536" y="357"/>
                  </a:lnTo>
                  <a:lnTo>
                    <a:pt x="538" y="357"/>
                  </a:lnTo>
                  <a:lnTo>
                    <a:pt x="542" y="355"/>
                  </a:lnTo>
                  <a:lnTo>
                    <a:pt x="545" y="355"/>
                  </a:lnTo>
                  <a:lnTo>
                    <a:pt x="547" y="353"/>
                  </a:lnTo>
                  <a:lnTo>
                    <a:pt x="551" y="353"/>
                  </a:lnTo>
                  <a:lnTo>
                    <a:pt x="553" y="349"/>
                  </a:lnTo>
                  <a:lnTo>
                    <a:pt x="557" y="349"/>
                  </a:lnTo>
                  <a:lnTo>
                    <a:pt x="561" y="348"/>
                  </a:lnTo>
                  <a:lnTo>
                    <a:pt x="565" y="346"/>
                  </a:lnTo>
                  <a:lnTo>
                    <a:pt x="568" y="346"/>
                  </a:lnTo>
                  <a:lnTo>
                    <a:pt x="570" y="348"/>
                  </a:lnTo>
                  <a:lnTo>
                    <a:pt x="574" y="348"/>
                  </a:lnTo>
                  <a:lnTo>
                    <a:pt x="578" y="349"/>
                  </a:lnTo>
                  <a:lnTo>
                    <a:pt x="582" y="349"/>
                  </a:lnTo>
                  <a:lnTo>
                    <a:pt x="584" y="349"/>
                  </a:lnTo>
                  <a:lnTo>
                    <a:pt x="588" y="349"/>
                  </a:lnTo>
                  <a:lnTo>
                    <a:pt x="590" y="349"/>
                  </a:lnTo>
                  <a:lnTo>
                    <a:pt x="593" y="349"/>
                  </a:lnTo>
                  <a:lnTo>
                    <a:pt x="595" y="349"/>
                  </a:lnTo>
                  <a:lnTo>
                    <a:pt x="601" y="348"/>
                  </a:lnTo>
                  <a:lnTo>
                    <a:pt x="603" y="344"/>
                  </a:lnTo>
                  <a:lnTo>
                    <a:pt x="605" y="340"/>
                  </a:lnTo>
                  <a:lnTo>
                    <a:pt x="607" y="336"/>
                  </a:lnTo>
                  <a:lnTo>
                    <a:pt x="609" y="334"/>
                  </a:lnTo>
                  <a:lnTo>
                    <a:pt x="611" y="328"/>
                  </a:lnTo>
                  <a:lnTo>
                    <a:pt x="613" y="326"/>
                  </a:lnTo>
                  <a:lnTo>
                    <a:pt x="613" y="321"/>
                  </a:lnTo>
                  <a:lnTo>
                    <a:pt x="611" y="317"/>
                  </a:lnTo>
                  <a:lnTo>
                    <a:pt x="611" y="313"/>
                  </a:lnTo>
                  <a:lnTo>
                    <a:pt x="611" y="309"/>
                  </a:lnTo>
                  <a:lnTo>
                    <a:pt x="611" y="305"/>
                  </a:lnTo>
                  <a:lnTo>
                    <a:pt x="611" y="303"/>
                  </a:lnTo>
                  <a:lnTo>
                    <a:pt x="611" y="300"/>
                  </a:lnTo>
                  <a:lnTo>
                    <a:pt x="611" y="298"/>
                  </a:lnTo>
                  <a:lnTo>
                    <a:pt x="609" y="292"/>
                  </a:lnTo>
                  <a:lnTo>
                    <a:pt x="609" y="290"/>
                  </a:lnTo>
                  <a:lnTo>
                    <a:pt x="609" y="284"/>
                  </a:lnTo>
                  <a:lnTo>
                    <a:pt x="609" y="280"/>
                  </a:lnTo>
                  <a:lnTo>
                    <a:pt x="609" y="277"/>
                  </a:lnTo>
                  <a:lnTo>
                    <a:pt x="609" y="275"/>
                  </a:lnTo>
                  <a:lnTo>
                    <a:pt x="609" y="269"/>
                  </a:lnTo>
                  <a:lnTo>
                    <a:pt x="609" y="267"/>
                  </a:lnTo>
                  <a:lnTo>
                    <a:pt x="609" y="263"/>
                  </a:lnTo>
                  <a:lnTo>
                    <a:pt x="609" y="259"/>
                  </a:lnTo>
                  <a:lnTo>
                    <a:pt x="609" y="255"/>
                  </a:lnTo>
                  <a:lnTo>
                    <a:pt x="611" y="252"/>
                  </a:lnTo>
                  <a:lnTo>
                    <a:pt x="609" y="248"/>
                  </a:lnTo>
                  <a:lnTo>
                    <a:pt x="609" y="244"/>
                  </a:lnTo>
                  <a:lnTo>
                    <a:pt x="609" y="240"/>
                  </a:lnTo>
                  <a:lnTo>
                    <a:pt x="607" y="236"/>
                  </a:lnTo>
                  <a:lnTo>
                    <a:pt x="607" y="232"/>
                  </a:lnTo>
                  <a:lnTo>
                    <a:pt x="607" y="230"/>
                  </a:lnTo>
                  <a:lnTo>
                    <a:pt x="607" y="227"/>
                  </a:lnTo>
                  <a:lnTo>
                    <a:pt x="607" y="223"/>
                  </a:lnTo>
                  <a:lnTo>
                    <a:pt x="607" y="221"/>
                  </a:lnTo>
                  <a:lnTo>
                    <a:pt x="603" y="221"/>
                  </a:lnTo>
                  <a:lnTo>
                    <a:pt x="601" y="221"/>
                  </a:lnTo>
                  <a:lnTo>
                    <a:pt x="599" y="221"/>
                  </a:lnTo>
                  <a:lnTo>
                    <a:pt x="595" y="221"/>
                  </a:lnTo>
                  <a:lnTo>
                    <a:pt x="595" y="223"/>
                  </a:lnTo>
                  <a:lnTo>
                    <a:pt x="591" y="223"/>
                  </a:lnTo>
                  <a:lnTo>
                    <a:pt x="588" y="223"/>
                  </a:lnTo>
                  <a:lnTo>
                    <a:pt x="586" y="223"/>
                  </a:lnTo>
                  <a:lnTo>
                    <a:pt x="582" y="223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2" y="223"/>
                  </a:lnTo>
                  <a:lnTo>
                    <a:pt x="570" y="221"/>
                  </a:lnTo>
                  <a:lnTo>
                    <a:pt x="568" y="219"/>
                  </a:lnTo>
                  <a:lnTo>
                    <a:pt x="568" y="217"/>
                  </a:lnTo>
                  <a:lnTo>
                    <a:pt x="567" y="217"/>
                  </a:lnTo>
                  <a:lnTo>
                    <a:pt x="568" y="211"/>
                  </a:lnTo>
                  <a:lnTo>
                    <a:pt x="568" y="209"/>
                  </a:lnTo>
                  <a:lnTo>
                    <a:pt x="568" y="206"/>
                  </a:lnTo>
                  <a:lnTo>
                    <a:pt x="567" y="204"/>
                  </a:lnTo>
                  <a:lnTo>
                    <a:pt x="567" y="202"/>
                  </a:lnTo>
                  <a:lnTo>
                    <a:pt x="565" y="202"/>
                  </a:lnTo>
                  <a:lnTo>
                    <a:pt x="565" y="198"/>
                  </a:lnTo>
                  <a:lnTo>
                    <a:pt x="563" y="198"/>
                  </a:lnTo>
                  <a:lnTo>
                    <a:pt x="559" y="198"/>
                  </a:lnTo>
                  <a:lnTo>
                    <a:pt x="559" y="196"/>
                  </a:lnTo>
                  <a:lnTo>
                    <a:pt x="557" y="194"/>
                  </a:lnTo>
                  <a:lnTo>
                    <a:pt x="555" y="192"/>
                  </a:lnTo>
                  <a:lnTo>
                    <a:pt x="553" y="190"/>
                  </a:lnTo>
                  <a:lnTo>
                    <a:pt x="551" y="190"/>
                  </a:lnTo>
                  <a:lnTo>
                    <a:pt x="549" y="188"/>
                  </a:lnTo>
                  <a:lnTo>
                    <a:pt x="547" y="186"/>
                  </a:lnTo>
                  <a:lnTo>
                    <a:pt x="545" y="184"/>
                  </a:lnTo>
                  <a:lnTo>
                    <a:pt x="543" y="183"/>
                  </a:lnTo>
                  <a:lnTo>
                    <a:pt x="540" y="183"/>
                  </a:lnTo>
                  <a:lnTo>
                    <a:pt x="538" y="183"/>
                  </a:lnTo>
                  <a:lnTo>
                    <a:pt x="534" y="181"/>
                  </a:lnTo>
                  <a:lnTo>
                    <a:pt x="532" y="179"/>
                  </a:lnTo>
                  <a:lnTo>
                    <a:pt x="530" y="177"/>
                  </a:lnTo>
                  <a:lnTo>
                    <a:pt x="526" y="177"/>
                  </a:lnTo>
                  <a:lnTo>
                    <a:pt x="526" y="175"/>
                  </a:lnTo>
                  <a:lnTo>
                    <a:pt x="524" y="175"/>
                  </a:lnTo>
                  <a:lnTo>
                    <a:pt x="526" y="173"/>
                  </a:lnTo>
                  <a:lnTo>
                    <a:pt x="524" y="167"/>
                  </a:lnTo>
                  <a:lnTo>
                    <a:pt x="522" y="165"/>
                  </a:lnTo>
                  <a:lnTo>
                    <a:pt x="520" y="163"/>
                  </a:lnTo>
                  <a:lnTo>
                    <a:pt x="519" y="159"/>
                  </a:lnTo>
                  <a:lnTo>
                    <a:pt x="29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  <p:sp>
          <p:nvSpPr>
            <p:cNvPr id="115" name="Freeform 102"/>
            <p:cNvSpPr>
              <a:spLocks/>
            </p:cNvSpPr>
            <p:nvPr/>
          </p:nvSpPr>
          <p:spPr bwMode="auto">
            <a:xfrm>
              <a:off x="722" y="1403"/>
              <a:ext cx="613" cy="551"/>
            </a:xfrm>
            <a:custGeom>
              <a:avLst/>
              <a:gdLst/>
              <a:ahLst/>
              <a:cxnLst>
                <a:cxn ang="0">
                  <a:pos x="277" y="2"/>
                </a:cxn>
                <a:cxn ang="0">
                  <a:pos x="265" y="2"/>
                </a:cxn>
                <a:cxn ang="0">
                  <a:pos x="248" y="0"/>
                </a:cxn>
                <a:cxn ang="0">
                  <a:pos x="256" y="315"/>
                </a:cxn>
                <a:cxn ang="0">
                  <a:pos x="71" y="349"/>
                </a:cxn>
                <a:cxn ang="0">
                  <a:pos x="62" y="338"/>
                </a:cxn>
                <a:cxn ang="0">
                  <a:pos x="41" y="344"/>
                </a:cxn>
                <a:cxn ang="0">
                  <a:pos x="31" y="365"/>
                </a:cxn>
                <a:cxn ang="0">
                  <a:pos x="12" y="374"/>
                </a:cxn>
                <a:cxn ang="0">
                  <a:pos x="4" y="392"/>
                </a:cxn>
                <a:cxn ang="0">
                  <a:pos x="10" y="409"/>
                </a:cxn>
                <a:cxn ang="0">
                  <a:pos x="12" y="430"/>
                </a:cxn>
                <a:cxn ang="0">
                  <a:pos x="25" y="442"/>
                </a:cxn>
                <a:cxn ang="0">
                  <a:pos x="29" y="465"/>
                </a:cxn>
                <a:cxn ang="0">
                  <a:pos x="41" y="474"/>
                </a:cxn>
                <a:cxn ang="0">
                  <a:pos x="56" y="482"/>
                </a:cxn>
                <a:cxn ang="0">
                  <a:pos x="77" y="472"/>
                </a:cxn>
                <a:cxn ang="0">
                  <a:pos x="98" y="470"/>
                </a:cxn>
                <a:cxn ang="0">
                  <a:pos x="114" y="463"/>
                </a:cxn>
                <a:cxn ang="0">
                  <a:pos x="125" y="476"/>
                </a:cxn>
                <a:cxn ang="0">
                  <a:pos x="133" y="499"/>
                </a:cxn>
                <a:cxn ang="0">
                  <a:pos x="135" y="518"/>
                </a:cxn>
                <a:cxn ang="0">
                  <a:pos x="144" y="532"/>
                </a:cxn>
                <a:cxn ang="0">
                  <a:pos x="152" y="549"/>
                </a:cxn>
                <a:cxn ang="0">
                  <a:pos x="169" y="547"/>
                </a:cxn>
                <a:cxn ang="0">
                  <a:pos x="187" y="545"/>
                </a:cxn>
                <a:cxn ang="0">
                  <a:pos x="202" y="538"/>
                </a:cxn>
                <a:cxn ang="0">
                  <a:pos x="219" y="528"/>
                </a:cxn>
                <a:cxn ang="0">
                  <a:pos x="233" y="539"/>
                </a:cxn>
                <a:cxn ang="0">
                  <a:pos x="246" y="530"/>
                </a:cxn>
                <a:cxn ang="0">
                  <a:pos x="246" y="513"/>
                </a:cxn>
                <a:cxn ang="0">
                  <a:pos x="246" y="495"/>
                </a:cxn>
                <a:cxn ang="0">
                  <a:pos x="263" y="488"/>
                </a:cxn>
                <a:cxn ang="0">
                  <a:pos x="279" y="482"/>
                </a:cxn>
                <a:cxn ang="0">
                  <a:pos x="288" y="465"/>
                </a:cxn>
                <a:cxn ang="0">
                  <a:pos x="298" y="442"/>
                </a:cxn>
                <a:cxn ang="0">
                  <a:pos x="321" y="443"/>
                </a:cxn>
                <a:cxn ang="0">
                  <a:pos x="338" y="417"/>
                </a:cxn>
                <a:cxn ang="0">
                  <a:pos x="361" y="409"/>
                </a:cxn>
                <a:cxn ang="0">
                  <a:pos x="377" y="401"/>
                </a:cxn>
                <a:cxn ang="0">
                  <a:pos x="390" y="390"/>
                </a:cxn>
                <a:cxn ang="0">
                  <a:pos x="413" y="365"/>
                </a:cxn>
                <a:cxn ang="0">
                  <a:pos x="438" y="371"/>
                </a:cxn>
                <a:cxn ang="0">
                  <a:pos x="463" y="367"/>
                </a:cxn>
                <a:cxn ang="0">
                  <a:pos x="494" y="363"/>
                </a:cxn>
                <a:cxn ang="0">
                  <a:pos x="520" y="357"/>
                </a:cxn>
                <a:cxn ang="0">
                  <a:pos x="547" y="353"/>
                </a:cxn>
                <a:cxn ang="0">
                  <a:pos x="574" y="348"/>
                </a:cxn>
                <a:cxn ang="0">
                  <a:pos x="601" y="348"/>
                </a:cxn>
                <a:cxn ang="0">
                  <a:pos x="611" y="317"/>
                </a:cxn>
                <a:cxn ang="0">
                  <a:pos x="609" y="290"/>
                </a:cxn>
                <a:cxn ang="0">
                  <a:pos x="609" y="259"/>
                </a:cxn>
                <a:cxn ang="0">
                  <a:pos x="607" y="230"/>
                </a:cxn>
                <a:cxn ang="0">
                  <a:pos x="595" y="223"/>
                </a:cxn>
                <a:cxn ang="0">
                  <a:pos x="570" y="221"/>
                </a:cxn>
                <a:cxn ang="0">
                  <a:pos x="567" y="202"/>
                </a:cxn>
                <a:cxn ang="0">
                  <a:pos x="553" y="190"/>
                </a:cxn>
                <a:cxn ang="0">
                  <a:pos x="534" y="181"/>
                </a:cxn>
                <a:cxn ang="0">
                  <a:pos x="522" y="165"/>
                </a:cxn>
              </a:cxnLst>
              <a:rect l="0" t="0" r="r" b="b"/>
              <a:pathLst>
                <a:path w="613" h="551">
                  <a:moveTo>
                    <a:pt x="298" y="0"/>
                  </a:moveTo>
                  <a:lnTo>
                    <a:pt x="292" y="2"/>
                  </a:lnTo>
                  <a:lnTo>
                    <a:pt x="290" y="2"/>
                  </a:lnTo>
                  <a:lnTo>
                    <a:pt x="288" y="2"/>
                  </a:lnTo>
                  <a:lnTo>
                    <a:pt x="284" y="2"/>
                  </a:lnTo>
                  <a:lnTo>
                    <a:pt x="283" y="2"/>
                  </a:lnTo>
                  <a:lnTo>
                    <a:pt x="279" y="2"/>
                  </a:lnTo>
                  <a:lnTo>
                    <a:pt x="277" y="2"/>
                  </a:lnTo>
                  <a:lnTo>
                    <a:pt x="275" y="2"/>
                  </a:lnTo>
                  <a:lnTo>
                    <a:pt x="273" y="2"/>
                  </a:lnTo>
                  <a:lnTo>
                    <a:pt x="271" y="2"/>
                  </a:lnTo>
                  <a:lnTo>
                    <a:pt x="269" y="2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7" y="2"/>
                  </a:lnTo>
                  <a:lnTo>
                    <a:pt x="265" y="2"/>
                  </a:lnTo>
                  <a:lnTo>
                    <a:pt x="261" y="2"/>
                  </a:lnTo>
                  <a:lnTo>
                    <a:pt x="260" y="2"/>
                  </a:lnTo>
                  <a:lnTo>
                    <a:pt x="258" y="0"/>
                  </a:lnTo>
                  <a:lnTo>
                    <a:pt x="256" y="0"/>
                  </a:lnTo>
                  <a:lnTo>
                    <a:pt x="254" y="0"/>
                  </a:lnTo>
                  <a:lnTo>
                    <a:pt x="252" y="0"/>
                  </a:lnTo>
                  <a:lnTo>
                    <a:pt x="250" y="0"/>
                  </a:lnTo>
                  <a:lnTo>
                    <a:pt x="248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6" y="0"/>
                  </a:lnTo>
                  <a:lnTo>
                    <a:pt x="244" y="0"/>
                  </a:lnTo>
                  <a:lnTo>
                    <a:pt x="240" y="0"/>
                  </a:lnTo>
                  <a:lnTo>
                    <a:pt x="238" y="0"/>
                  </a:lnTo>
                  <a:lnTo>
                    <a:pt x="246" y="298"/>
                  </a:lnTo>
                  <a:lnTo>
                    <a:pt x="256" y="315"/>
                  </a:lnTo>
                  <a:lnTo>
                    <a:pt x="248" y="353"/>
                  </a:lnTo>
                  <a:lnTo>
                    <a:pt x="116" y="351"/>
                  </a:lnTo>
                  <a:lnTo>
                    <a:pt x="98" y="340"/>
                  </a:lnTo>
                  <a:lnTo>
                    <a:pt x="85" y="342"/>
                  </a:lnTo>
                  <a:lnTo>
                    <a:pt x="83" y="342"/>
                  </a:lnTo>
                  <a:lnTo>
                    <a:pt x="79" y="346"/>
                  </a:lnTo>
                  <a:lnTo>
                    <a:pt x="75" y="349"/>
                  </a:lnTo>
                  <a:lnTo>
                    <a:pt x="71" y="349"/>
                  </a:lnTo>
                  <a:lnTo>
                    <a:pt x="71" y="351"/>
                  </a:lnTo>
                  <a:lnTo>
                    <a:pt x="70" y="353"/>
                  </a:lnTo>
                  <a:lnTo>
                    <a:pt x="68" y="353"/>
                  </a:lnTo>
                  <a:lnTo>
                    <a:pt x="66" y="349"/>
                  </a:lnTo>
                  <a:lnTo>
                    <a:pt x="66" y="344"/>
                  </a:lnTo>
                  <a:lnTo>
                    <a:pt x="66" y="340"/>
                  </a:lnTo>
                  <a:lnTo>
                    <a:pt x="64" y="338"/>
                  </a:lnTo>
                  <a:lnTo>
                    <a:pt x="62" y="338"/>
                  </a:lnTo>
                  <a:lnTo>
                    <a:pt x="58" y="338"/>
                  </a:lnTo>
                  <a:lnTo>
                    <a:pt x="56" y="338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48" y="338"/>
                  </a:lnTo>
                  <a:lnTo>
                    <a:pt x="45" y="340"/>
                  </a:lnTo>
                  <a:lnTo>
                    <a:pt x="41" y="342"/>
                  </a:lnTo>
                  <a:lnTo>
                    <a:pt x="41" y="344"/>
                  </a:lnTo>
                  <a:lnTo>
                    <a:pt x="39" y="346"/>
                  </a:lnTo>
                  <a:lnTo>
                    <a:pt x="37" y="349"/>
                  </a:lnTo>
                  <a:lnTo>
                    <a:pt x="37" y="353"/>
                  </a:lnTo>
                  <a:lnTo>
                    <a:pt x="37" y="355"/>
                  </a:lnTo>
                  <a:lnTo>
                    <a:pt x="35" y="359"/>
                  </a:lnTo>
                  <a:lnTo>
                    <a:pt x="33" y="361"/>
                  </a:lnTo>
                  <a:lnTo>
                    <a:pt x="33" y="365"/>
                  </a:lnTo>
                  <a:lnTo>
                    <a:pt x="31" y="365"/>
                  </a:lnTo>
                  <a:lnTo>
                    <a:pt x="29" y="367"/>
                  </a:lnTo>
                  <a:lnTo>
                    <a:pt x="25" y="367"/>
                  </a:lnTo>
                  <a:lnTo>
                    <a:pt x="25" y="369"/>
                  </a:lnTo>
                  <a:lnTo>
                    <a:pt x="23" y="371"/>
                  </a:lnTo>
                  <a:lnTo>
                    <a:pt x="20" y="372"/>
                  </a:lnTo>
                  <a:lnTo>
                    <a:pt x="18" y="372"/>
                  </a:lnTo>
                  <a:lnTo>
                    <a:pt x="16" y="372"/>
                  </a:lnTo>
                  <a:lnTo>
                    <a:pt x="12" y="374"/>
                  </a:lnTo>
                  <a:lnTo>
                    <a:pt x="12" y="378"/>
                  </a:lnTo>
                  <a:lnTo>
                    <a:pt x="8" y="378"/>
                  </a:lnTo>
                  <a:lnTo>
                    <a:pt x="4" y="378"/>
                  </a:lnTo>
                  <a:lnTo>
                    <a:pt x="2" y="382"/>
                  </a:lnTo>
                  <a:lnTo>
                    <a:pt x="0" y="382"/>
                  </a:lnTo>
                  <a:lnTo>
                    <a:pt x="0" y="388"/>
                  </a:lnTo>
                  <a:lnTo>
                    <a:pt x="2" y="390"/>
                  </a:lnTo>
                  <a:lnTo>
                    <a:pt x="4" y="392"/>
                  </a:lnTo>
                  <a:lnTo>
                    <a:pt x="4" y="394"/>
                  </a:lnTo>
                  <a:lnTo>
                    <a:pt x="4" y="397"/>
                  </a:lnTo>
                  <a:lnTo>
                    <a:pt x="4" y="399"/>
                  </a:lnTo>
                  <a:lnTo>
                    <a:pt x="4" y="399"/>
                  </a:lnTo>
                  <a:lnTo>
                    <a:pt x="6" y="401"/>
                  </a:lnTo>
                  <a:lnTo>
                    <a:pt x="10" y="401"/>
                  </a:lnTo>
                  <a:lnTo>
                    <a:pt x="10" y="407"/>
                  </a:lnTo>
                  <a:lnTo>
                    <a:pt x="10" y="409"/>
                  </a:lnTo>
                  <a:lnTo>
                    <a:pt x="10" y="415"/>
                  </a:lnTo>
                  <a:lnTo>
                    <a:pt x="10" y="417"/>
                  </a:lnTo>
                  <a:lnTo>
                    <a:pt x="10" y="420"/>
                  </a:lnTo>
                  <a:lnTo>
                    <a:pt x="12" y="420"/>
                  </a:lnTo>
                  <a:lnTo>
                    <a:pt x="12" y="422"/>
                  </a:lnTo>
                  <a:lnTo>
                    <a:pt x="12" y="426"/>
                  </a:lnTo>
                  <a:lnTo>
                    <a:pt x="12" y="428"/>
                  </a:lnTo>
                  <a:lnTo>
                    <a:pt x="12" y="430"/>
                  </a:lnTo>
                  <a:lnTo>
                    <a:pt x="18" y="430"/>
                  </a:lnTo>
                  <a:lnTo>
                    <a:pt x="18" y="432"/>
                  </a:lnTo>
                  <a:lnTo>
                    <a:pt x="20" y="434"/>
                  </a:lnTo>
                  <a:lnTo>
                    <a:pt x="22" y="434"/>
                  </a:lnTo>
                  <a:lnTo>
                    <a:pt x="22" y="438"/>
                  </a:lnTo>
                  <a:lnTo>
                    <a:pt x="23" y="440"/>
                  </a:lnTo>
                  <a:lnTo>
                    <a:pt x="25" y="440"/>
                  </a:lnTo>
                  <a:lnTo>
                    <a:pt x="25" y="442"/>
                  </a:lnTo>
                  <a:lnTo>
                    <a:pt x="27" y="443"/>
                  </a:lnTo>
                  <a:lnTo>
                    <a:pt x="29" y="445"/>
                  </a:lnTo>
                  <a:lnTo>
                    <a:pt x="29" y="449"/>
                  </a:lnTo>
                  <a:lnTo>
                    <a:pt x="29" y="451"/>
                  </a:lnTo>
                  <a:lnTo>
                    <a:pt x="29" y="455"/>
                  </a:lnTo>
                  <a:lnTo>
                    <a:pt x="29" y="459"/>
                  </a:lnTo>
                  <a:lnTo>
                    <a:pt x="29" y="461"/>
                  </a:lnTo>
                  <a:lnTo>
                    <a:pt x="29" y="465"/>
                  </a:lnTo>
                  <a:lnTo>
                    <a:pt x="33" y="467"/>
                  </a:lnTo>
                  <a:lnTo>
                    <a:pt x="33" y="470"/>
                  </a:lnTo>
                  <a:lnTo>
                    <a:pt x="35" y="470"/>
                  </a:lnTo>
                  <a:lnTo>
                    <a:pt x="35" y="472"/>
                  </a:lnTo>
                  <a:lnTo>
                    <a:pt x="35" y="474"/>
                  </a:lnTo>
                  <a:lnTo>
                    <a:pt x="37" y="476"/>
                  </a:lnTo>
                  <a:lnTo>
                    <a:pt x="39" y="476"/>
                  </a:lnTo>
                  <a:lnTo>
                    <a:pt x="41" y="474"/>
                  </a:lnTo>
                  <a:lnTo>
                    <a:pt x="45" y="474"/>
                  </a:lnTo>
                  <a:lnTo>
                    <a:pt x="48" y="474"/>
                  </a:lnTo>
                  <a:lnTo>
                    <a:pt x="50" y="478"/>
                  </a:lnTo>
                  <a:lnTo>
                    <a:pt x="54" y="482"/>
                  </a:lnTo>
                  <a:lnTo>
                    <a:pt x="54" y="484"/>
                  </a:lnTo>
                  <a:lnTo>
                    <a:pt x="54" y="484"/>
                  </a:lnTo>
                  <a:lnTo>
                    <a:pt x="56" y="482"/>
                  </a:lnTo>
                  <a:lnTo>
                    <a:pt x="56" y="482"/>
                  </a:lnTo>
                  <a:lnTo>
                    <a:pt x="58" y="482"/>
                  </a:lnTo>
                  <a:lnTo>
                    <a:pt x="62" y="480"/>
                  </a:lnTo>
                  <a:lnTo>
                    <a:pt x="64" y="480"/>
                  </a:lnTo>
                  <a:lnTo>
                    <a:pt x="68" y="476"/>
                  </a:lnTo>
                  <a:lnTo>
                    <a:pt x="70" y="476"/>
                  </a:lnTo>
                  <a:lnTo>
                    <a:pt x="73" y="474"/>
                  </a:lnTo>
                  <a:lnTo>
                    <a:pt x="75" y="472"/>
                  </a:lnTo>
                  <a:lnTo>
                    <a:pt x="77" y="472"/>
                  </a:lnTo>
                  <a:lnTo>
                    <a:pt x="79" y="472"/>
                  </a:lnTo>
                  <a:lnTo>
                    <a:pt x="83" y="472"/>
                  </a:lnTo>
                  <a:lnTo>
                    <a:pt x="85" y="474"/>
                  </a:lnTo>
                  <a:lnTo>
                    <a:pt x="89" y="474"/>
                  </a:lnTo>
                  <a:lnTo>
                    <a:pt x="93" y="474"/>
                  </a:lnTo>
                  <a:lnTo>
                    <a:pt x="94" y="474"/>
                  </a:lnTo>
                  <a:lnTo>
                    <a:pt x="98" y="472"/>
                  </a:lnTo>
                  <a:lnTo>
                    <a:pt x="98" y="470"/>
                  </a:lnTo>
                  <a:lnTo>
                    <a:pt x="100" y="468"/>
                  </a:lnTo>
                  <a:lnTo>
                    <a:pt x="102" y="465"/>
                  </a:lnTo>
                  <a:lnTo>
                    <a:pt x="100" y="463"/>
                  </a:lnTo>
                  <a:lnTo>
                    <a:pt x="104" y="461"/>
                  </a:lnTo>
                  <a:lnTo>
                    <a:pt x="106" y="461"/>
                  </a:lnTo>
                  <a:lnTo>
                    <a:pt x="110" y="461"/>
                  </a:lnTo>
                  <a:lnTo>
                    <a:pt x="114" y="461"/>
                  </a:lnTo>
                  <a:lnTo>
                    <a:pt x="114" y="463"/>
                  </a:lnTo>
                  <a:lnTo>
                    <a:pt x="116" y="465"/>
                  </a:lnTo>
                  <a:lnTo>
                    <a:pt x="118" y="467"/>
                  </a:lnTo>
                  <a:lnTo>
                    <a:pt x="118" y="468"/>
                  </a:lnTo>
                  <a:lnTo>
                    <a:pt x="119" y="470"/>
                  </a:lnTo>
                  <a:lnTo>
                    <a:pt x="121" y="472"/>
                  </a:lnTo>
                  <a:lnTo>
                    <a:pt x="121" y="474"/>
                  </a:lnTo>
                  <a:lnTo>
                    <a:pt x="123" y="476"/>
                  </a:lnTo>
                  <a:lnTo>
                    <a:pt x="125" y="476"/>
                  </a:lnTo>
                  <a:lnTo>
                    <a:pt x="127" y="480"/>
                  </a:lnTo>
                  <a:lnTo>
                    <a:pt x="129" y="484"/>
                  </a:lnTo>
                  <a:lnTo>
                    <a:pt x="131" y="486"/>
                  </a:lnTo>
                  <a:lnTo>
                    <a:pt x="131" y="488"/>
                  </a:lnTo>
                  <a:lnTo>
                    <a:pt x="131" y="490"/>
                  </a:lnTo>
                  <a:lnTo>
                    <a:pt x="133" y="493"/>
                  </a:lnTo>
                  <a:lnTo>
                    <a:pt x="133" y="495"/>
                  </a:lnTo>
                  <a:lnTo>
                    <a:pt x="133" y="499"/>
                  </a:lnTo>
                  <a:lnTo>
                    <a:pt x="133" y="501"/>
                  </a:lnTo>
                  <a:lnTo>
                    <a:pt x="133" y="503"/>
                  </a:lnTo>
                  <a:lnTo>
                    <a:pt x="131" y="505"/>
                  </a:lnTo>
                  <a:lnTo>
                    <a:pt x="131" y="507"/>
                  </a:lnTo>
                  <a:lnTo>
                    <a:pt x="129" y="509"/>
                  </a:lnTo>
                  <a:lnTo>
                    <a:pt x="129" y="514"/>
                  </a:lnTo>
                  <a:lnTo>
                    <a:pt x="131" y="518"/>
                  </a:lnTo>
                  <a:lnTo>
                    <a:pt x="135" y="518"/>
                  </a:lnTo>
                  <a:lnTo>
                    <a:pt x="135" y="518"/>
                  </a:lnTo>
                  <a:lnTo>
                    <a:pt x="137" y="518"/>
                  </a:lnTo>
                  <a:lnTo>
                    <a:pt x="137" y="524"/>
                  </a:lnTo>
                  <a:lnTo>
                    <a:pt x="139" y="526"/>
                  </a:lnTo>
                  <a:lnTo>
                    <a:pt x="139" y="528"/>
                  </a:lnTo>
                  <a:lnTo>
                    <a:pt x="142" y="528"/>
                  </a:lnTo>
                  <a:lnTo>
                    <a:pt x="142" y="530"/>
                  </a:lnTo>
                  <a:lnTo>
                    <a:pt x="144" y="532"/>
                  </a:lnTo>
                  <a:lnTo>
                    <a:pt x="144" y="534"/>
                  </a:lnTo>
                  <a:lnTo>
                    <a:pt x="144" y="536"/>
                  </a:lnTo>
                  <a:lnTo>
                    <a:pt x="144" y="539"/>
                  </a:lnTo>
                  <a:lnTo>
                    <a:pt x="146" y="539"/>
                  </a:lnTo>
                  <a:lnTo>
                    <a:pt x="148" y="543"/>
                  </a:lnTo>
                  <a:lnTo>
                    <a:pt x="150" y="545"/>
                  </a:lnTo>
                  <a:lnTo>
                    <a:pt x="150" y="547"/>
                  </a:lnTo>
                  <a:lnTo>
                    <a:pt x="152" y="549"/>
                  </a:lnTo>
                  <a:lnTo>
                    <a:pt x="154" y="551"/>
                  </a:lnTo>
                  <a:lnTo>
                    <a:pt x="158" y="551"/>
                  </a:lnTo>
                  <a:lnTo>
                    <a:pt x="156" y="549"/>
                  </a:lnTo>
                  <a:lnTo>
                    <a:pt x="158" y="547"/>
                  </a:lnTo>
                  <a:lnTo>
                    <a:pt x="160" y="547"/>
                  </a:lnTo>
                  <a:lnTo>
                    <a:pt x="164" y="547"/>
                  </a:lnTo>
                  <a:lnTo>
                    <a:pt x="165" y="547"/>
                  </a:lnTo>
                  <a:lnTo>
                    <a:pt x="169" y="547"/>
                  </a:lnTo>
                  <a:lnTo>
                    <a:pt x="171" y="547"/>
                  </a:lnTo>
                  <a:lnTo>
                    <a:pt x="175" y="545"/>
                  </a:lnTo>
                  <a:lnTo>
                    <a:pt x="173" y="543"/>
                  </a:lnTo>
                  <a:lnTo>
                    <a:pt x="177" y="543"/>
                  </a:lnTo>
                  <a:lnTo>
                    <a:pt x="179" y="543"/>
                  </a:lnTo>
                  <a:lnTo>
                    <a:pt x="183" y="543"/>
                  </a:lnTo>
                  <a:lnTo>
                    <a:pt x="185" y="545"/>
                  </a:lnTo>
                  <a:lnTo>
                    <a:pt x="187" y="545"/>
                  </a:lnTo>
                  <a:lnTo>
                    <a:pt x="190" y="545"/>
                  </a:lnTo>
                  <a:lnTo>
                    <a:pt x="194" y="545"/>
                  </a:lnTo>
                  <a:lnTo>
                    <a:pt x="196" y="547"/>
                  </a:lnTo>
                  <a:lnTo>
                    <a:pt x="200" y="547"/>
                  </a:lnTo>
                  <a:lnTo>
                    <a:pt x="202" y="547"/>
                  </a:lnTo>
                  <a:lnTo>
                    <a:pt x="202" y="545"/>
                  </a:lnTo>
                  <a:lnTo>
                    <a:pt x="202" y="539"/>
                  </a:lnTo>
                  <a:lnTo>
                    <a:pt x="202" y="538"/>
                  </a:lnTo>
                  <a:lnTo>
                    <a:pt x="202" y="534"/>
                  </a:lnTo>
                  <a:lnTo>
                    <a:pt x="204" y="532"/>
                  </a:lnTo>
                  <a:lnTo>
                    <a:pt x="206" y="530"/>
                  </a:lnTo>
                  <a:lnTo>
                    <a:pt x="208" y="528"/>
                  </a:lnTo>
                  <a:lnTo>
                    <a:pt x="210" y="528"/>
                  </a:lnTo>
                  <a:lnTo>
                    <a:pt x="213" y="528"/>
                  </a:lnTo>
                  <a:lnTo>
                    <a:pt x="215" y="528"/>
                  </a:lnTo>
                  <a:lnTo>
                    <a:pt x="219" y="528"/>
                  </a:lnTo>
                  <a:lnTo>
                    <a:pt x="221" y="528"/>
                  </a:lnTo>
                  <a:lnTo>
                    <a:pt x="223" y="530"/>
                  </a:lnTo>
                  <a:lnTo>
                    <a:pt x="223" y="532"/>
                  </a:lnTo>
                  <a:lnTo>
                    <a:pt x="223" y="536"/>
                  </a:lnTo>
                  <a:lnTo>
                    <a:pt x="223" y="538"/>
                  </a:lnTo>
                  <a:lnTo>
                    <a:pt x="227" y="539"/>
                  </a:lnTo>
                  <a:lnTo>
                    <a:pt x="231" y="539"/>
                  </a:lnTo>
                  <a:lnTo>
                    <a:pt x="233" y="539"/>
                  </a:lnTo>
                  <a:lnTo>
                    <a:pt x="236" y="539"/>
                  </a:lnTo>
                  <a:lnTo>
                    <a:pt x="236" y="536"/>
                  </a:lnTo>
                  <a:lnTo>
                    <a:pt x="238" y="534"/>
                  </a:lnTo>
                  <a:lnTo>
                    <a:pt x="240" y="534"/>
                  </a:lnTo>
                  <a:lnTo>
                    <a:pt x="242" y="534"/>
                  </a:lnTo>
                  <a:lnTo>
                    <a:pt x="244" y="532"/>
                  </a:lnTo>
                  <a:lnTo>
                    <a:pt x="246" y="532"/>
                  </a:lnTo>
                  <a:lnTo>
                    <a:pt x="246" y="530"/>
                  </a:lnTo>
                  <a:lnTo>
                    <a:pt x="246" y="526"/>
                  </a:lnTo>
                  <a:lnTo>
                    <a:pt x="248" y="524"/>
                  </a:lnTo>
                  <a:lnTo>
                    <a:pt x="246" y="522"/>
                  </a:lnTo>
                  <a:lnTo>
                    <a:pt x="246" y="522"/>
                  </a:lnTo>
                  <a:lnTo>
                    <a:pt x="246" y="518"/>
                  </a:lnTo>
                  <a:lnTo>
                    <a:pt x="246" y="516"/>
                  </a:lnTo>
                  <a:lnTo>
                    <a:pt x="246" y="514"/>
                  </a:lnTo>
                  <a:lnTo>
                    <a:pt x="246" y="513"/>
                  </a:lnTo>
                  <a:lnTo>
                    <a:pt x="246" y="511"/>
                  </a:lnTo>
                  <a:lnTo>
                    <a:pt x="250" y="511"/>
                  </a:lnTo>
                  <a:lnTo>
                    <a:pt x="250" y="507"/>
                  </a:lnTo>
                  <a:lnTo>
                    <a:pt x="250" y="503"/>
                  </a:lnTo>
                  <a:lnTo>
                    <a:pt x="250" y="501"/>
                  </a:lnTo>
                  <a:lnTo>
                    <a:pt x="246" y="501"/>
                  </a:lnTo>
                  <a:lnTo>
                    <a:pt x="246" y="497"/>
                  </a:lnTo>
                  <a:lnTo>
                    <a:pt x="246" y="495"/>
                  </a:lnTo>
                  <a:lnTo>
                    <a:pt x="248" y="495"/>
                  </a:lnTo>
                  <a:lnTo>
                    <a:pt x="250" y="493"/>
                  </a:lnTo>
                  <a:lnTo>
                    <a:pt x="252" y="491"/>
                  </a:lnTo>
                  <a:lnTo>
                    <a:pt x="254" y="490"/>
                  </a:lnTo>
                  <a:lnTo>
                    <a:pt x="254" y="488"/>
                  </a:lnTo>
                  <a:lnTo>
                    <a:pt x="258" y="488"/>
                  </a:lnTo>
                  <a:lnTo>
                    <a:pt x="260" y="488"/>
                  </a:lnTo>
                  <a:lnTo>
                    <a:pt x="263" y="488"/>
                  </a:lnTo>
                  <a:lnTo>
                    <a:pt x="265" y="488"/>
                  </a:lnTo>
                  <a:lnTo>
                    <a:pt x="267" y="488"/>
                  </a:lnTo>
                  <a:lnTo>
                    <a:pt x="271" y="488"/>
                  </a:lnTo>
                  <a:lnTo>
                    <a:pt x="273" y="488"/>
                  </a:lnTo>
                  <a:lnTo>
                    <a:pt x="275" y="486"/>
                  </a:lnTo>
                  <a:lnTo>
                    <a:pt x="277" y="486"/>
                  </a:lnTo>
                  <a:lnTo>
                    <a:pt x="279" y="484"/>
                  </a:lnTo>
                  <a:lnTo>
                    <a:pt x="279" y="482"/>
                  </a:lnTo>
                  <a:lnTo>
                    <a:pt x="281" y="480"/>
                  </a:lnTo>
                  <a:lnTo>
                    <a:pt x="283" y="480"/>
                  </a:lnTo>
                  <a:lnTo>
                    <a:pt x="283" y="476"/>
                  </a:lnTo>
                  <a:lnTo>
                    <a:pt x="283" y="474"/>
                  </a:lnTo>
                  <a:lnTo>
                    <a:pt x="283" y="470"/>
                  </a:lnTo>
                  <a:lnTo>
                    <a:pt x="283" y="467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90" y="463"/>
                  </a:lnTo>
                  <a:lnTo>
                    <a:pt x="290" y="459"/>
                  </a:lnTo>
                  <a:lnTo>
                    <a:pt x="290" y="455"/>
                  </a:lnTo>
                  <a:lnTo>
                    <a:pt x="290" y="451"/>
                  </a:lnTo>
                  <a:lnTo>
                    <a:pt x="290" y="447"/>
                  </a:lnTo>
                  <a:lnTo>
                    <a:pt x="292" y="445"/>
                  </a:lnTo>
                  <a:lnTo>
                    <a:pt x="296" y="445"/>
                  </a:lnTo>
                  <a:lnTo>
                    <a:pt x="298" y="442"/>
                  </a:lnTo>
                  <a:lnTo>
                    <a:pt x="302" y="442"/>
                  </a:lnTo>
                  <a:lnTo>
                    <a:pt x="304" y="440"/>
                  </a:lnTo>
                  <a:lnTo>
                    <a:pt x="306" y="440"/>
                  </a:lnTo>
                  <a:lnTo>
                    <a:pt x="309" y="440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21" y="443"/>
                  </a:lnTo>
                  <a:lnTo>
                    <a:pt x="325" y="438"/>
                  </a:lnTo>
                  <a:lnTo>
                    <a:pt x="330" y="438"/>
                  </a:lnTo>
                  <a:lnTo>
                    <a:pt x="330" y="434"/>
                  </a:lnTo>
                  <a:lnTo>
                    <a:pt x="332" y="432"/>
                  </a:lnTo>
                  <a:lnTo>
                    <a:pt x="332" y="428"/>
                  </a:lnTo>
                  <a:lnTo>
                    <a:pt x="334" y="424"/>
                  </a:lnTo>
                  <a:lnTo>
                    <a:pt x="338" y="420"/>
                  </a:lnTo>
                  <a:lnTo>
                    <a:pt x="338" y="417"/>
                  </a:lnTo>
                  <a:lnTo>
                    <a:pt x="340" y="415"/>
                  </a:lnTo>
                  <a:lnTo>
                    <a:pt x="342" y="415"/>
                  </a:lnTo>
                  <a:lnTo>
                    <a:pt x="346" y="413"/>
                  </a:lnTo>
                  <a:lnTo>
                    <a:pt x="348" y="409"/>
                  </a:lnTo>
                  <a:lnTo>
                    <a:pt x="350" y="409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61" y="409"/>
                  </a:lnTo>
                  <a:lnTo>
                    <a:pt x="361" y="411"/>
                  </a:lnTo>
                  <a:lnTo>
                    <a:pt x="365" y="415"/>
                  </a:lnTo>
                  <a:lnTo>
                    <a:pt x="369" y="415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5" y="411"/>
                  </a:lnTo>
                  <a:lnTo>
                    <a:pt x="377" y="405"/>
                  </a:lnTo>
                  <a:lnTo>
                    <a:pt x="377" y="401"/>
                  </a:lnTo>
                  <a:lnTo>
                    <a:pt x="377" y="397"/>
                  </a:lnTo>
                  <a:lnTo>
                    <a:pt x="377" y="394"/>
                  </a:lnTo>
                  <a:lnTo>
                    <a:pt x="377" y="394"/>
                  </a:lnTo>
                  <a:lnTo>
                    <a:pt x="377" y="392"/>
                  </a:lnTo>
                  <a:lnTo>
                    <a:pt x="380" y="390"/>
                  </a:lnTo>
                  <a:lnTo>
                    <a:pt x="384" y="390"/>
                  </a:lnTo>
                  <a:lnTo>
                    <a:pt x="386" y="390"/>
                  </a:lnTo>
                  <a:lnTo>
                    <a:pt x="390" y="390"/>
                  </a:lnTo>
                  <a:lnTo>
                    <a:pt x="392" y="386"/>
                  </a:lnTo>
                  <a:lnTo>
                    <a:pt x="396" y="382"/>
                  </a:lnTo>
                  <a:lnTo>
                    <a:pt x="398" y="378"/>
                  </a:lnTo>
                  <a:lnTo>
                    <a:pt x="401" y="374"/>
                  </a:lnTo>
                  <a:lnTo>
                    <a:pt x="405" y="372"/>
                  </a:lnTo>
                  <a:lnTo>
                    <a:pt x="409" y="371"/>
                  </a:lnTo>
                  <a:lnTo>
                    <a:pt x="411" y="369"/>
                  </a:lnTo>
                  <a:lnTo>
                    <a:pt x="413" y="365"/>
                  </a:lnTo>
                  <a:lnTo>
                    <a:pt x="415" y="367"/>
                  </a:lnTo>
                  <a:lnTo>
                    <a:pt x="421" y="369"/>
                  </a:lnTo>
                  <a:lnTo>
                    <a:pt x="423" y="369"/>
                  </a:lnTo>
                  <a:lnTo>
                    <a:pt x="426" y="369"/>
                  </a:lnTo>
                  <a:lnTo>
                    <a:pt x="428" y="371"/>
                  </a:lnTo>
                  <a:lnTo>
                    <a:pt x="432" y="371"/>
                  </a:lnTo>
                  <a:lnTo>
                    <a:pt x="434" y="371"/>
                  </a:lnTo>
                  <a:lnTo>
                    <a:pt x="438" y="371"/>
                  </a:lnTo>
                  <a:lnTo>
                    <a:pt x="442" y="371"/>
                  </a:lnTo>
                  <a:lnTo>
                    <a:pt x="446" y="371"/>
                  </a:lnTo>
                  <a:lnTo>
                    <a:pt x="449" y="371"/>
                  </a:lnTo>
                  <a:lnTo>
                    <a:pt x="453" y="371"/>
                  </a:lnTo>
                  <a:lnTo>
                    <a:pt x="455" y="369"/>
                  </a:lnTo>
                  <a:lnTo>
                    <a:pt x="459" y="369"/>
                  </a:lnTo>
                  <a:lnTo>
                    <a:pt x="459" y="367"/>
                  </a:lnTo>
                  <a:lnTo>
                    <a:pt x="463" y="367"/>
                  </a:lnTo>
                  <a:lnTo>
                    <a:pt x="467" y="367"/>
                  </a:lnTo>
                  <a:lnTo>
                    <a:pt x="471" y="367"/>
                  </a:lnTo>
                  <a:lnTo>
                    <a:pt x="474" y="367"/>
                  </a:lnTo>
                  <a:lnTo>
                    <a:pt x="478" y="372"/>
                  </a:lnTo>
                  <a:lnTo>
                    <a:pt x="484" y="367"/>
                  </a:lnTo>
                  <a:lnTo>
                    <a:pt x="486" y="365"/>
                  </a:lnTo>
                  <a:lnTo>
                    <a:pt x="492" y="365"/>
                  </a:lnTo>
                  <a:lnTo>
                    <a:pt x="494" y="363"/>
                  </a:lnTo>
                  <a:lnTo>
                    <a:pt x="497" y="363"/>
                  </a:lnTo>
                  <a:lnTo>
                    <a:pt x="501" y="363"/>
                  </a:lnTo>
                  <a:lnTo>
                    <a:pt x="505" y="363"/>
                  </a:lnTo>
                  <a:lnTo>
                    <a:pt x="509" y="359"/>
                  </a:lnTo>
                  <a:lnTo>
                    <a:pt x="511" y="359"/>
                  </a:lnTo>
                  <a:lnTo>
                    <a:pt x="513" y="357"/>
                  </a:lnTo>
                  <a:lnTo>
                    <a:pt x="517" y="357"/>
                  </a:lnTo>
                  <a:lnTo>
                    <a:pt x="520" y="357"/>
                  </a:lnTo>
                  <a:lnTo>
                    <a:pt x="524" y="357"/>
                  </a:lnTo>
                  <a:lnTo>
                    <a:pt x="528" y="357"/>
                  </a:lnTo>
                  <a:lnTo>
                    <a:pt x="532" y="357"/>
                  </a:lnTo>
                  <a:lnTo>
                    <a:pt x="536" y="357"/>
                  </a:lnTo>
                  <a:lnTo>
                    <a:pt x="538" y="357"/>
                  </a:lnTo>
                  <a:lnTo>
                    <a:pt x="542" y="355"/>
                  </a:lnTo>
                  <a:lnTo>
                    <a:pt x="545" y="355"/>
                  </a:lnTo>
                  <a:lnTo>
                    <a:pt x="547" y="353"/>
                  </a:lnTo>
                  <a:lnTo>
                    <a:pt x="551" y="353"/>
                  </a:lnTo>
                  <a:lnTo>
                    <a:pt x="553" y="349"/>
                  </a:lnTo>
                  <a:lnTo>
                    <a:pt x="557" y="349"/>
                  </a:lnTo>
                  <a:lnTo>
                    <a:pt x="561" y="348"/>
                  </a:lnTo>
                  <a:lnTo>
                    <a:pt x="565" y="346"/>
                  </a:lnTo>
                  <a:lnTo>
                    <a:pt x="568" y="346"/>
                  </a:lnTo>
                  <a:lnTo>
                    <a:pt x="570" y="348"/>
                  </a:lnTo>
                  <a:lnTo>
                    <a:pt x="574" y="348"/>
                  </a:lnTo>
                  <a:lnTo>
                    <a:pt x="578" y="349"/>
                  </a:lnTo>
                  <a:lnTo>
                    <a:pt x="582" y="349"/>
                  </a:lnTo>
                  <a:lnTo>
                    <a:pt x="584" y="349"/>
                  </a:lnTo>
                  <a:lnTo>
                    <a:pt x="588" y="349"/>
                  </a:lnTo>
                  <a:lnTo>
                    <a:pt x="590" y="349"/>
                  </a:lnTo>
                  <a:lnTo>
                    <a:pt x="593" y="349"/>
                  </a:lnTo>
                  <a:lnTo>
                    <a:pt x="595" y="349"/>
                  </a:lnTo>
                  <a:lnTo>
                    <a:pt x="601" y="348"/>
                  </a:lnTo>
                  <a:lnTo>
                    <a:pt x="603" y="344"/>
                  </a:lnTo>
                  <a:lnTo>
                    <a:pt x="605" y="340"/>
                  </a:lnTo>
                  <a:lnTo>
                    <a:pt x="607" y="336"/>
                  </a:lnTo>
                  <a:lnTo>
                    <a:pt x="609" y="334"/>
                  </a:lnTo>
                  <a:lnTo>
                    <a:pt x="611" y="328"/>
                  </a:lnTo>
                  <a:lnTo>
                    <a:pt x="613" y="326"/>
                  </a:lnTo>
                  <a:lnTo>
                    <a:pt x="613" y="321"/>
                  </a:lnTo>
                  <a:lnTo>
                    <a:pt x="611" y="317"/>
                  </a:lnTo>
                  <a:lnTo>
                    <a:pt x="611" y="313"/>
                  </a:lnTo>
                  <a:lnTo>
                    <a:pt x="611" y="309"/>
                  </a:lnTo>
                  <a:lnTo>
                    <a:pt x="611" y="305"/>
                  </a:lnTo>
                  <a:lnTo>
                    <a:pt x="611" y="303"/>
                  </a:lnTo>
                  <a:lnTo>
                    <a:pt x="611" y="300"/>
                  </a:lnTo>
                  <a:lnTo>
                    <a:pt x="611" y="298"/>
                  </a:lnTo>
                  <a:lnTo>
                    <a:pt x="609" y="292"/>
                  </a:lnTo>
                  <a:lnTo>
                    <a:pt x="609" y="290"/>
                  </a:lnTo>
                  <a:lnTo>
                    <a:pt x="609" y="284"/>
                  </a:lnTo>
                  <a:lnTo>
                    <a:pt x="609" y="280"/>
                  </a:lnTo>
                  <a:lnTo>
                    <a:pt x="609" y="277"/>
                  </a:lnTo>
                  <a:lnTo>
                    <a:pt x="609" y="275"/>
                  </a:lnTo>
                  <a:lnTo>
                    <a:pt x="609" y="269"/>
                  </a:lnTo>
                  <a:lnTo>
                    <a:pt x="609" y="267"/>
                  </a:lnTo>
                  <a:lnTo>
                    <a:pt x="609" y="263"/>
                  </a:lnTo>
                  <a:lnTo>
                    <a:pt x="609" y="259"/>
                  </a:lnTo>
                  <a:lnTo>
                    <a:pt x="609" y="255"/>
                  </a:lnTo>
                  <a:lnTo>
                    <a:pt x="611" y="252"/>
                  </a:lnTo>
                  <a:lnTo>
                    <a:pt x="609" y="248"/>
                  </a:lnTo>
                  <a:lnTo>
                    <a:pt x="609" y="244"/>
                  </a:lnTo>
                  <a:lnTo>
                    <a:pt x="609" y="240"/>
                  </a:lnTo>
                  <a:lnTo>
                    <a:pt x="607" y="236"/>
                  </a:lnTo>
                  <a:lnTo>
                    <a:pt x="607" y="232"/>
                  </a:lnTo>
                  <a:lnTo>
                    <a:pt x="607" y="230"/>
                  </a:lnTo>
                  <a:lnTo>
                    <a:pt x="607" y="227"/>
                  </a:lnTo>
                  <a:lnTo>
                    <a:pt x="607" y="223"/>
                  </a:lnTo>
                  <a:lnTo>
                    <a:pt x="607" y="221"/>
                  </a:lnTo>
                  <a:lnTo>
                    <a:pt x="603" y="221"/>
                  </a:lnTo>
                  <a:lnTo>
                    <a:pt x="601" y="221"/>
                  </a:lnTo>
                  <a:lnTo>
                    <a:pt x="599" y="221"/>
                  </a:lnTo>
                  <a:lnTo>
                    <a:pt x="595" y="221"/>
                  </a:lnTo>
                  <a:lnTo>
                    <a:pt x="595" y="223"/>
                  </a:lnTo>
                  <a:lnTo>
                    <a:pt x="591" y="223"/>
                  </a:lnTo>
                  <a:lnTo>
                    <a:pt x="588" y="223"/>
                  </a:lnTo>
                  <a:lnTo>
                    <a:pt x="586" y="223"/>
                  </a:lnTo>
                  <a:lnTo>
                    <a:pt x="582" y="223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2" y="223"/>
                  </a:lnTo>
                  <a:lnTo>
                    <a:pt x="570" y="221"/>
                  </a:lnTo>
                  <a:lnTo>
                    <a:pt x="568" y="219"/>
                  </a:lnTo>
                  <a:lnTo>
                    <a:pt x="568" y="217"/>
                  </a:lnTo>
                  <a:lnTo>
                    <a:pt x="567" y="217"/>
                  </a:lnTo>
                  <a:lnTo>
                    <a:pt x="568" y="211"/>
                  </a:lnTo>
                  <a:lnTo>
                    <a:pt x="568" y="209"/>
                  </a:lnTo>
                  <a:lnTo>
                    <a:pt x="568" y="206"/>
                  </a:lnTo>
                  <a:lnTo>
                    <a:pt x="567" y="204"/>
                  </a:lnTo>
                  <a:lnTo>
                    <a:pt x="567" y="202"/>
                  </a:lnTo>
                  <a:lnTo>
                    <a:pt x="565" y="202"/>
                  </a:lnTo>
                  <a:lnTo>
                    <a:pt x="565" y="198"/>
                  </a:lnTo>
                  <a:lnTo>
                    <a:pt x="563" y="198"/>
                  </a:lnTo>
                  <a:lnTo>
                    <a:pt x="559" y="198"/>
                  </a:lnTo>
                  <a:lnTo>
                    <a:pt x="559" y="196"/>
                  </a:lnTo>
                  <a:lnTo>
                    <a:pt x="557" y="194"/>
                  </a:lnTo>
                  <a:lnTo>
                    <a:pt x="555" y="192"/>
                  </a:lnTo>
                  <a:lnTo>
                    <a:pt x="553" y="190"/>
                  </a:lnTo>
                  <a:lnTo>
                    <a:pt x="551" y="190"/>
                  </a:lnTo>
                  <a:lnTo>
                    <a:pt x="549" y="188"/>
                  </a:lnTo>
                  <a:lnTo>
                    <a:pt x="547" y="186"/>
                  </a:lnTo>
                  <a:lnTo>
                    <a:pt x="545" y="184"/>
                  </a:lnTo>
                  <a:lnTo>
                    <a:pt x="543" y="183"/>
                  </a:lnTo>
                  <a:lnTo>
                    <a:pt x="540" y="183"/>
                  </a:lnTo>
                  <a:lnTo>
                    <a:pt x="538" y="183"/>
                  </a:lnTo>
                  <a:lnTo>
                    <a:pt x="534" y="181"/>
                  </a:lnTo>
                  <a:lnTo>
                    <a:pt x="532" y="179"/>
                  </a:lnTo>
                  <a:lnTo>
                    <a:pt x="530" y="177"/>
                  </a:lnTo>
                  <a:lnTo>
                    <a:pt x="526" y="177"/>
                  </a:lnTo>
                  <a:lnTo>
                    <a:pt x="526" y="175"/>
                  </a:lnTo>
                  <a:lnTo>
                    <a:pt x="524" y="175"/>
                  </a:lnTo>
                  <a:lnTo>
                    <a:pt x="526" y="173"/>
                  </a:lnTo>
                  <a:lnTo>
                    <a:pt x="524" y="167"/>
                  </a:lnTo>
                  <a:lnTo>
                    <a:pt x="522" y="165"/>
                  </a:lnTo>
                  <a:lnTo>
                    <a:pt x="520" y="163"/>
                  </a:lnTo>
                  <a:lnTo>
                    <a:pt x="519" y="159"/>
                  </a:lnTo>
                  <a:lnTo>
                    <a:pt x="298" y="0"/>
                  </a:lnTo>
                </a:path>
              </a:pathLst>
            </a:custGeom>
            <a:solidFill>
              <a:srgbClr val="FFFF99"/>
            </a:solidFill>
            <a:ln w="3175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>
                <a:solidFill>
                  <a:srgbClr val="FFFF00"/>
                </a:solidFill>
              </a:endParaRPr>
            </a:p>
          </p:txBody>
        </p:sp>
      </p:grpSp>
      <p:sp>
        <p:nvSpPr>
          <p:cNvPr id="116" name="Rectangle 115"/>
          <p:cNvSpPr/>
          <p:nvPr/>
        </p:nvSpPr>
        <p:spPr>
          <a:xfrm>
            <a:off x="3851920" y="1071546"/>
            <a:ext cx="5292080" cy="51419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Fas-Afrika Ortaklığı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Güney-Güney İşbirliği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Siyasi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Ekonomik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Ticari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Finans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Sosyal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Kültürel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Lojistik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Açılım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11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30" name="Grup 20"/>
          <p:cNvGrpSpPr>
            <a:grpSpLocks/>
          </p:cNvGrpSpPr>
          <p:nvPr/>
        </p:nvGrpSpPr>
        <p:grpSpPr bwMode="auto">
          <a:xfrm>
            <a:off x="1824086" y="1149350"/>
            <a:ext cx="5340350" cy="5360987"/>
            <a:chOff x="1463675" y="776288"/>
            <a:chExt cx="5678488" cy="5700712"/>
          </a:xfrm>
          <a:solidFill>
            <a:schemeClr val="accent2"/>
          </a:solidFill>
        </p:grpSpPr>
        <p:grpSp>
          <p:nvGrpSpPr>
            <p:cNvPr id="22550" name="Grup 21"/>
            <p:cNvGrpSpPr>
              <a:grpSpLocks/>
            </p:cNvGrpSpPr>
            <p:nvPr/>
          </p:nvGrpSpPr>
          <p:grpSpPr bwMode="auto">
            <a:xfrm>
              <a:off x="1463675" y="776288"/>
              <a:ext cx="5287169" cy="5700712"/>
              <a:chOff x="1463675" y="776288"/>
              <a:chExt cx="5287169" cy="5700712"/>
            </a:xfrm>
            <a:grpFill/>
          </p:grpSpPr>
          <p:grpSp>
            <p:nvGrpSpPr>
              <p:cNvPr id="22552" name="Grup 23"/>
              <p:cNvGrpSpPr>
                <a:grpSpLocks/>
              </p:cNvGrpSpPr>
              <p:nvPr/>
            </p:nvGrpSpPr>
            <p:grpSpPr bwMode="auto">
              <a:xfrm>
                <a:off x="1463675" y="776288"/>
                <a:ext cx="4473575" cy="5700712"/>
                <a:chOff x="1463675" y="776288"/>
                <a:chExt cx="4473575" cy="5700712"/>
              </a:xfrm>
              <a:grpFill/>
            </p:grpSpPr>
            <p:sp>
              <p:nvSpPr>
                <p:cNvPr id="22554" name="Freeform 6"/>
                <p:cNvSpPr>
                  <a:spLocks/>
                </p:cNvSpPr>
                <p:nvPr/>
              </p:nvSpPr>
              <p:spPr bwMode="auto">
                <a:xfrm>
                  <a:off x="2970213" y="1990725"/>
                  <a:ext cx="1266825" cy="1363663"/>
                </a:xfrm>
                <a:custGeom>
                  <a:avLst/>
                  <a:gdLst>
                    <a:gd name="T0" fmla="*/ 2147483646 w 798"/>
                    <a:gd name="T1" fmla="*/ 2147483646 h 859"/>
                    <a:gd name="T2" fmla="*/ 2147483646 w 798"/>
                    <a:gd name="T3" fmla="*/ 2147483646 h 859"/>
                    <a:gd name="T4" fmla="*/ 2147483646 w 798"/>
                    <a:gd name="T5" fmla="*/ 2147483646 h 859"/>
                    <a:gd name="T6" fmla="*/ 2147483646 w 798"/>
                    <a:gd name="T7" fmla="*/ 2147483646 h 859"/>
                    <a:gd name="T8" fmla="*/ 2147483646 w 798"/>
                    <a:gd name="T9" fmla="*/ 2147483646 h 859"/>
                    <a:gd name="T10" fmla="*/ 0 w 798"/>
                    <a:gd name="T11" fmla="*/ 2147483646 h 859"/>
                    <a:gd name="T12" fmla="*/ 2147483646 w 798"/>
                    <a:gd name="T13" fmla="*/ 2147483646 h 859"/>
                    <a:gd name="T14" fmla="*/ 2147483646 w 798"/>
                    <a:gd name="T15" fmla="*/ 2147483646 h 859"/>
                    <a:gd name="T16" fmla="*/ 2147483646 w 798"/>
                    <a:gd name="T17" fmla="*/ 2147483646 h 859"/>
                    <a:gd name="T18" fmla="*/ 2147483646 w 798"/>
                    <a:gd name="T19" fmla="*/ 2147483646 h 859"/>
                    <a:gd name="T20" fmla="*/ 2147483646 w 798"/>
                    <a:gd name="T21" fmla="*/ 2147483646 h 859"/>
                    <a:gd name="T22" fmla="*/ 2147483646 w 798"/>
                    <a:gd name="T23" fmla="*/ 2147483646 h 859"/>
                    <a:gd name="T24" fmla="*/ 2147483646 w 798"/>
                    <a:gd name="T25" fmla="*/ 2147483646 h 859"/>
                    <a:gd name="T26" fmla="*/ 2147483646 w 798"/>
                    <a:gd name="T27" fmla="*/ 0 h 859"/>
                    <a:gd name="T28" fmla="*/ 2147483646 w 798"/>
                    <a:gd name="T29" fmla="*/ 2147483646 h 859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798" h="859">
                      <a:moveTo>
                        <a:pt x="693" y="38"/>
                      </a:moveTo>
                      <a:lnTo>
                        <a:pt x="200" y="196"/>
                      </a:lnTo>
                      <a:lnTo>
                        <a:pt x="109" y="346"/>
                      </a:lnTo>
                      <a:lnTo>
                        <a:pt x="24" y="399"/>
                      </a:lnTo>
                      <a:lnTo>
                        <a:pt x="41" y="525"/>
                      </a:lnTo>
                      <a:lnTo>
                        <a:pt x="0" y="601"/>
                      </a:lnTo>
                      <a:lnTo>
                        <a:pt x="27" y="663"/>
                      </a:lnTo>
                      <a:lnTo>
                        <a:pt x="65" y="859"/>
                      </a:lnTo>
                      <a:lnTo>
                        <a:pt x="143" y="859"/>
                      </a:lnTo>
                      <a:lnTo>
                        <a:pt x="133" y="514"/>
                      </a:lnTo>
                      <a:lnTo>
                        <a:pt x="194" y="473"/>
                      </a:lnTo>
                      <a:lnTo>
                        <a:pt x="620" y="476"/>
                      </a:lnTo>
                      <a:lnTo>
                        <a:pt x="728" y="269"/>
                      </a:lnTo>
                      <a:lnTo>
                        <a:pt x="798" y="0"/>
                      </a:lnTo>
                      <a:lnTo>
                        <a:pt x="693" y="38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55" name="Freeform 7"/>
                <p:cNvSpPr>
                  <a:spLocks/>
                </p:cNvSpPr>
                <p:nvPr/>
              </p:nvSpPr>
              <p:spPr bwMode="auto">
                <a:xfrm>
                  <a:off x="1847850" y="1831975"/>
                  <a:ext cx="1444625" cy="1187450"/>
                </a:xfrm>
                <a:custGeom>
                  <a:avLst/>
                  <a:gdLst>
                    <a:gd name="T0" fmla="*/ 2147483646 w 910"/>
                    <a:gd name="T1" fmla="*/ 0 h 748"/>
                    <a:gd name="T2" fmla="*/ 2147483646 w 910"/>
                    <a:gd name="T3" fmla="*/ 2147483646 h 748"/>
                    <a:gd name="T4" fmla="*/ 2147483646 w 910"/>
                    <a:gd name="T5" fmla="*/ 2147483646 h 748"/>
                    <a:gd name="T6" fmla="*/ 0 w 910"/>
                    <a:gd name="T7" fmla="*/ 2147483646 h 748"/>
                    <a:gd name="T8" fmla="*/ 2147483646 w 910"/>
                    <a:gd name="T9" fmla="*/ 2147483646 h 748"/>
                    <a:gd name="T10" fmla="*/ 2147483646 w 910"/>
                    <a:gd name="T11" fmla="*/ 2147483646 h 748"/>
                    <a:gd name="T12" fmla="*/ 2147483646 w 910"/>
                    <a:gd name="T13" fmla="*/ 2147483646 h 748"/>
                    <a:gd name="T14" fmla="*/ 2147483646 w 910"/>
                    <a:gd name="T15" fmla="*/ 2147483646 h 748"/>
                    <a:gd name="T16" fmla="*/ 2147483646 w 910"/>
                    <a:gd name="T17" fmla="*/ 2147483646 h 748"/>
                    <a:gd name="T18" fmla="*/ 2147483646 w 910"/>
                    <a:gd name="T19" fmla="*/ 2147483646 h 748"/>
                    <a:gd name="T20" fmla="*/ 2147483646 w 910"/>
                    <a:gd name="T21" fmla="*/ 2147483646 h 748"/>
                    <a:gd name="T22" fmla="*/ 2147483646 w 910"/>
                    <a:gd name="T23" fmla="*/ 2147483646 h 748"/>
                    <a:gd name="T24" fmla="*/ 2147483646 w 910"/>
                    <a:gd name="T25" fmla="*/ 0 h 74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910" h="748">
                      <a:moveTo>
                        <a:pt x="379" y="0"/>
                      </a:moveTo>
                      <a:lnTo>
                        <a:pt x="271" y="85"/>
                      </a:lnTo>
                      <a:lnTo>
                        <a:pt x="317" y="462"/>
                      </a:lnTo>
                      <a:lnTo>
                        <a:pt x="0" y="466"/>
                      </a:lnTo>
                      <a:lnTo>
                        <a:pt x="10" y="604"/>
                      </a:lnTo>
                      <a:lnTo>
                        <a:pt x="234" y="615"/>
                      </a:lnTo>
                      <a:lnTo>
                        <a:pt x="253" y="748"/>
                      </a:lnTo>
                      <a:lnTo>
                        <a:pt x="359" y="748"/>
                      </a:lnTo>
                      <a:lnTo>
                        <a:pt x="412" y="612"/>
                      </a:lnTo>
                      <a:lnTo>
                        <a:pt x="497" y="620"/>
                      </a:lnTo>
                      <a:lnTo>
                        <a:pt x="819" y="454"/>
                      </a:lnTo>
                      <a:lnTo>
                        <a:pt x="910" y="299"/>
                      </a:lnTo>
                      <a:lnTo>
                        <a:pt x="379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56" name="Freeform 8"/>
                <p:cNvSpPr>
                  <a:spLocks/>
                </p:cNvSpPr>
                <p:nvPr/>
              </p:nvSpPr>
              <p:spPr bwMode="auto">
                <a:xfrm>
                  <a:off x="2157413" y="795338"/>
                  <a:ext cx="655637" cy="773112"/>
                </a:xfrm>
                <a:custGeom>
                  <a:avLst/>
                  <a:gdLst>
                    <a:gd name="T0" fmla="*/ 2147483646 w 413"/>
                    <a:gd name="T1" fmla="*/ 0 h 487"/>
                    <a:gd name="T2" fmla="*/ 2147483646 w 413"/>
                    <a:gd name="T3" fmla="*/ 2147483646 h 487"/>
                    <a:gd name="T4" fmla="*/ 2147483646 w 413"/>
                    <a:gd name="T5" fmla="*/ 2147483646 h 487"/>
                    <a:gd name="T6" fmla="*/ 0 w 413"/>
                    <a:gd name="T7" fmla="*/ 2147483646 h 487"/>
                    <a:gd name="T8" fmla="*/ 2147483646 w 413"/>
                    <a:gd name="T9" fmla="*/ 2147483646 h 487"/>
                    <a:gd name="T10" fmla="*/ 2147483646 w 413"/>
                    <a:gd name="T11" fmla="*/ 2147483646 h 487"/>
                    <a:gd name="T12" fmla="*/ 2147483646 w 413"/>
                    <a:gd name="T13" fmla="*/ 2147483646 h 487"/>
                    <a:gd name="T14" fmla="*/ 2147483646 w 413"/>
                    <a:gd name="T15" fmla="*/ 0 h 48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413" h="487">
                      <a:moveTo>
                        <a:pt x="413" y="0"/>
                      </a:moveTo>
                      <a:lnTo>
                        <a:pt x="348" y="104"/>
                      </a:lnTo>
                      <a:lnTo>
                        <a:pt x="68" y="280"/>
                      </a:lnTo>
                      <a:lnTo>
                        <a:pt x="0" y="459"/>
                      </a:lnTo>
                      <a:lnTo>
                        <a:pt x="106" y="487"/>
                      </a:lnTo>
                      <a:lnTo>
                        <a:pt x="115" y="435"/>
                      </a:lnTo>
                      <a:lnTo>
                        <a:pt x="378" y="255"/>
                      </a:lnTo>
                      <a:lnTo>
                        <a:pt x="413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57" name="Freeform 9"/>
                <p:cNvSpPr>
                  <a:spLocks/>
                </p:cNvSpPr>
                <p:nvPr/>
              </p:nvSpPr>
              <p:spPr bwMode="auto">
                <a:xfrm>
                  <a:off x="1597025" y="1524000"/>
                  <a:ext cx="731838" cy="630238"/>
                </a:xfrm>
                <a:custGeom>
                  <a:avLst/>
                  <a:gdLst>
                    <a:gd name="T0" fmla="*/ 2147483646 w 461"/>
                    <a:gd name="T1" fmla="*/ 0 h 397"/>
                    <a:gd name="T2" fmla="*/ 2147483646 w 461"/>
                    <a:gd name="T3" fmla="*/ 2147483646 h 397"/>
                    <a:gd name="T4" fmla="*/ 2147483646 w 461"/>
                    <a:gd name="T5" fmla="*/ 2147483646 h 397"/>
                    <a:gd name="T6" fmla="*/ 2147483646 w 461"/>
                    <a:gd name="T7" fmla="*/ 2147483646 h 397"/>
                    <a:gd name="T8" fmla="*/ 2147483646 w 461"/>
                    <a:gd name="T9" fmla="*/ 2147483646 h 397"/>
                    <a:gd name="T10" fmla="*/ 2147483646 w 461"/>
                    <a:gd name="T11" fmla="*/ 2147483646 h 397"/>
                    <a:gd name="T12" fmla="*/ 0 w 461"/>
                    <a:gd name="T13" fmla="*/ 2147483646 h 397"/>
                    <a:gd name="T14" fmla="*/ 2147483646 w 461"/>
                    <a:gd name="T15" fmla="*/ 2147483646 h 397"/>
                    <a:gd name="T16" fmla="*/ 2147483646 w 461"/>
                    <a:gd name="T17" fmla="*/ 0 h 39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61" h="397">
                      <a:moveTo>
                        <a:pt x="353" y="0"/>
                      </a:moveTo>
                      <a:lnTo>
                        <a:pt x="461" y="26"/>
                      </a:lnTo>
                      <a:lnTo>
                        <a:pt x="392" y="100"/>
                      </a:lnTo>
                      <a:lnTo>
                        <a:pt x="342" y="166"/>
                      </a:lnTo>
                      <a:lnTo>
                        <a:pt x="245" y="166"/>
                      </a:lnTo>
                      <a:lnTo>
                        <a:pt x="141" y="397"/>
                      </a:lnTo>
                      <a:lnTo>
                        <a:pt x="0" y="363"/>
                      </a:lnTo>
                      <a:lnTo>
                        <a:pt x="136" y="116"/>
                      </a:lnTo>
                      <a:lnTo>
                        <a:pt x="353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58" name="Freeform 10"/>
                <p:cNvSpPr>
                  <a:spLocks/>
                </p:cNvSpPr>
                <p:nvPr/>
              </p:nvSpPr>
              <p:spPr bwMode="auto">
                <a:xfrm>
                  <a:off x="3513138" y="928688"/>
                  <a:ext cx="344487" cy="523875"/>
                </a:xfrm>
                <a:custGeom>
                  <a:avLst/>
                  <a:gdLst>
                    <a:gd name="T0" fmla="*/ 2147483646 w 217"/>
                    <a:gd name="T1" fmla="*/ 2147483646 h 330"/>
                    <a:gd name="T2" fmla="*/ 2147483646 w 217"/>
                    <a:gd name="T3" fmla="*/ 0 h 330"/>
                    <a:gd name="T4" fmla="*/ 2147483646 w 217"/>
                    <a:gd name="T5" fmla="*/ 2147483646 h 330"/>
                    <a:gd name="T6" fmla="*/ 2147483646 w 217"/>
                    <a:gd name="T7" fmla="*/ 2147483646 h 330"/>
                    <a:gd name="T8" fmla="*/ 2147483646 w 217"/>
                    <a:gd name="T9" fmla="*/ 2147483646 h 330"/>
                    <a:gd name="T10" fmla="*/ 0 w 217"/>
                    <a:gd name="T11" fmla="*/ 2147483646 h 330"/>
                    <a:gd name="T12" fmla="*/ 2147483646 w 217"/>
                    <a:gd name="T13" fmla="*/ 2147483646 h 330"/>
                    <a:gd name="T14" fmla="*/ 2147483646 w 217"/>
                    <a:gd name="T15" fmla="*/ 2147483646 h 33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17" h="330">
                      <a:moveTo>
                        <a:pt x="5" y="28"/>
                      </a:moveTo>
                      <a:lnTo>
                        <a:pt x="194" y="0"/>
                      </a:lnTo>
                      <a:lnTo>
                        <a:pt x="217" y="203"/>
                      </a:lnTo>
                      <a:lnTo>
                        <a:pt x="145" y="330"/>
                      </a:lnTo>
                      <a:lnTo>
                        <a:pt x="36" y="208"/>
                      </a:lnTo>
                      <a:lnTo>
                        <a:pt x="0" y="175"/>
                      </a:lnTo>
                      <a:lnTo>
                        <a:pt x="32" y="120"/>
                      </a:lnTo>
                      <a:lnTo>
                        <a:pt x="5" y="28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59" name="Freeform 11"/>
                <p:cNvSpPr>
                  <a:spLocks/>
                </p:cNvSpPr>
                <p:nvPr/>
              </p:nvSpPr>
              <p:spPr bwMode="auto">
                <a:xfrm>
                  <a:off x="1493838" y="1684338"/>
                  <a:ext cx="962025" cy="901700"/>
                </a:xfrm>
                <a:custGeom>
                  <a:avLst/>
                  <a:gdLst>
                    <a:gd name="T0" fmla="*/ 2147483646 w 606"/>
                    <a:gd name="T1" fmla="*/ 0 h 568"/>
                    <a:gd name="T2" fmla="*/ 2147483646 w 606"/>
                    <a:gd name="T3" fmla="*/ 2147483646 h 568"/>
                    <a:gd name="T4" fmla="*/ 2147483646 w 606"/>
                    <a:gd name="T5" fmla="*/ 2147483646 h 568"/>
                    <a:gd name="T6" fmla="*/ 2147483646 w 606"/>
                    <a:gd name="T7" fmla="*/ 2147483646 h 568"/>
                    <a:gd name="T8" fmla="*/ 2147483646 w 606"/>
                    <a:gd name="T9" fmla="*/ 2147483646 h 568"/>
                    <a:gd name="T10" fmla="*/ 2147483646 w 606"/>
                    <a:gd name="T11" fmla="*/ 2147483646 h 568"/>
                    <a:gd name="T12" fmla="*/ 0 w 606"/>
                    <a:gd name="T13" fmla="*/ 2147483646 h 568"/>
                    <a:gd name="T14" fmla="*/ 2147483646 w 606"/>
                    <a:gd name="T15" fmla="*/ 2147483646 h 568"/>
                    <a:gd name="T16" fmla="*/ 2147483646 w 606"/>
                    <a:gd name="T17" fmla="*/ 2147483646 h 568"/>
                    <a:gd name="T18" fmla="*/ 2147483646 w 606"/>
                    <a:gd name="T19" fmla="*/ 2147483646 h 568"/>
                    <a:gd name="T20" fmla="*/ 2147483646 w 606"/>
                    <a:gd name="T21" fmla="*/ 2147483646 h 568"/>
                    <a:gd name="T22" fmla="*/ 2147483646 w 606"/>
                    <a:gd name="T23" fmla="*/ 2147483646 h 568"/>
                    <a:gd name="T24" fmla="*/ 2147483646 w 606"/>
                    <a:gd name="T25" fmla="*/ 0 h 56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606" h="568">
                      <a:moveTo>
                        <a:pt x="456" y="0"/>
                      </a:moveTo>
                      <a:lnTo>
                        <a:pt x="606" y="93"/>
                      </a:lnTo>
                      <a:lnTo>
                        <a:pt x="500" y="174"/>
                      </a:lnTo>
                      <a:lnTo>
                        <a:pt x="546" y="561"/>
                      </a:lnTo>
                      <a:lnTo>
                        <a:pt x="227" y="561"/>
                      </a:lnTo>
                      <a:lnTo>
                        <a:pt x="143" y="525"/>
                      </a:lnTo>
                      <a:lnTo>
                        <a:pt x="0" y="568"/>
                      </a:lnTo>
                      <a:lnTo>
                        <a:pt x="62" y="411"/>
                      </a:lnTo>
                      <a:lnTo>
                        <a:pt x="65" y="262"/>
                      </a:lnTo>
                      <a:lnTo>
                        <a:pt x="206" y="293"/>
                      </a:lnTo>
                      <a:lnTo>
                        <a:pt x="310" y="64"/>
                      </a:lnTo>
                      <a:lnTo>
                        <a:pt x="407" y="64"/>
                      </a:lnTo>
                      <a:lnTo>
                        <a:pt x="456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0" name="Freeform 12"/>
                <p:cNvSpPr>
                  <a:spLocks/>
                </p:cNvSpPr>
                <p:nvPr/>
              </p:nvSpPr>
              <p:spPr bwMode="auto">
                <a:xfrm>
                  <a:off x="2209800" y="776288"/>
                  <a:ext cx="1849438" cy="1512887"/>
                </a:xfrm>
                <a:custGeom>
                  <a:avLst/>
                  <a:gdLst>
                    <a:gd name="T0" fmla="*/ 2147483646 w 1165"/>
                    <a:gd name="T1" fmla="*/ 0 h 953"/>
                    <a:gd name="T2" fmla="*/ 2147483646 w 1165"/>
                    <a:gd name="T3" fmla="*/ 2147483646 h 953"/>
                    <a:gd name="T4" fmla="*/ 2147483646 w 1165"/>
                    <a:gd name="T5" fmla="*/ 2147483646 h 953"/>
                    <a:gd name="T6" fmla="*/ 2147483646 w 1165"/>
                    <a:gd name="T7" fmla="*/ 2147483646 h 953"/>
                    <a:gd name="T8" fmla="*/ 2147483646 w 1165"/>
                    <a:gd name="T9" fmla="*/ 2147483646 h 953"/>
                    <a:gd name="T10" fmla="*/ 2147483646 w 1165"/>
                    <a:gd name="T11" fmla="*/ 2147483646 h 953"/>
                    <a:gd name="T12" fmla="*/ 2147483646 w 1165"/>
                    <a:gd name="T13" fmla="*/ 2147483646 h 953"/>
                    <a:gd name="T14" fmla="*/ 2147483646 w 1165"/>
                    <a:gd name="T15" fmla="*/ 2147483646 h 953"/>
                    <a:gd name="T16" fmla="*/ 2147483646 w 1165"/>
                    <a:gd name="T17" fmla="*/ 2147483646 h 953"/>
                    <a:gd name="T18" fmla="*/ 2147483646 w 1165"/>
                    <a:gd name="T19" fmla="*/ 2147483646 h 953"/>
                    <a:gd name="T20" fmla="*/ 2147483646 w 1165"/>
                    <a:gd name="T21" fmla="*/ 2147483646 h 953"/>
                    <a:gd name="T22" fmla="*/ 2147483646 w 1165"/>
                    <a:gd name="T23" fmla="*/ 2147483646 h 953"/>
                    <a:gd name="T24" fmla="*/ 0 w 1165"/>
                    <a:gd name="T25" fmla="*/ 2147483646 h 953"/>
                    <a:gd name="T26" fmla="*/ 2147483646 w 1165"/>
                    <a:gd name="T27" fmla="*/ 2147483646 h 953"/>
                    <a:gd name="T28" fmla="*/ 2147483646 w 1165"/>
                    <a:gd name="T29" fmla="*/ 2147483646 h 953"/>
                    <a:gd name="T30" fmla="*/ 2147483646 w 1165"/>
                    <a:gd name="T31" fmla="*/ 2147483646 h 953"/>
                    <a:gd name="T32" fmla="*/ 2147483646 w 1165"/>
                    <a:gd name="T33" fmla="*/ 0 h 953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165" h="953">
                      <a:moveTo>
                        <a:pt x="376" y="0"/>
                      </a:moveTo>
                      <a:lnTo>
                        <a:pt x="764" y="123"/>
                      </a:lnTo>
                      <a:lnTo>
                        <a:pt x="827" y="110"/>
                      </a:lnTo>
                      <a:lnTo>
                        <a:pt x="850" y="207"/>
                      </a:lnTo>
                      <a:lnTo>
                        <a:pt x="820" y="260"/>
                      </a:lnTo>
                      <a:lnTo>
                        <a:pt x="865" y="300"/>
                      </a:lnTo>
                      <a:lnTo>
                        <a:pt x="973" y="422"/>
                      </a:lnTo>
                      <a:lnTo>
                        <a:pt x="976" y="535"/>
                      </a:lnTo>
                      <a:lnTo>
                        <a:pt x="919" y="605"/>
                      </a:lnTo>
                      <a:lnTo>
                        <a:pt x="1165" y="795"/>
                      </a:lnTo>
                      <a:lnTo>
                        <a:pt x="675" y="953"/>
                      </a:lnTo>
                      <a:lnTo>
                        <a:pt x="155" y="658"/>
                      </a:lnTo>
                      <a:lnTo>
                        <a:pt x="0" y="564"/>
                      </a:lnTo>
                      <a:lnTo>
                        <a:pt x="70" y="486"/>
                      </a:lnTo>
                      <a:lnTo>
                        <a:pt x="78" y="435"/>
                      </a:lnTo>
                      <a:lnTo>
                        <a:pt x="340" y="256"/>
                      </a:lnTo>
                      <a:lnTo>
                        <a:pt x="376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1" name="Freeform 16"/>
                <p:cNvSpPr>
                  <a:spLocks/>
                </p:cNvSpPr>
                <p:nvPr/>
              </p:nvSpPr>
              <p:spPr bwMode="auto">
                <a:xfrm>
                  <a:off x="3949700" y="1993900"/>
                  <a:ext cx="944563" cy="1184275"/>
                </a:xfrm>
                <a:custGeom>
                  <a:avLst/>
                  <a:gdLst>
                    <a:gd name="T0" fmla="*/ 2147483646 w 595"/>
                    <a:gd name="T1" fmla="*/ 0 h 746"/>
                    <a:gd name="T2" fmla="*/ 2147483646 w 595"/>
                    <a:gd name="T3" fmla="*/ 2147483646 h 746"/>
                    <a:gd name="T4" fmla="*/ 2147483646 w 595"/>
                    <a:gd name="T5" fmla="*/ 2147483646 h 746"/>
                    <a:gd name="T6" fmla="*/ 2147483646 w 595"/>
                    <a:gd name="T7" fmla="*/ 2147483646 h 746"/>
                    <a:gd name="T8" fmla="*/ 2147483646 w 595"/>
                    <a:gd name="T9" fmla="*/ 2147483646 h 746"/>
                    <a:gd name="T10" fmla="*/ 2147483646 w 595"/>
                    <a:gd name="T11" fmla="*/ 2147483646 h 746"/>
                    <a:gd name="T12" fmla="*/ 2147483646 w 595"/>
                    <a:gd name="T13" fmla="*/ 2147483646 h 746"/>
                    <a:gd name="T14" fmla="*/ 2147483646 w 595"/>
                    <a:gd name="T15" fmla="*/ 2147483646 h 746"/>
                    <a:gd name="T16" fmla="*/ 2147483646 w 595"/>
                    <a:gd name="T17" fmla="*/ 2147483646 h 746"/>
                    <a:gd name="T18" fmla="*/ 2147483646 w 595"/>
                    <a:gd name="T19" fmla="*/ 2147483646 h 746"/>
                    <a:gd name="T20" fmla="*/ 2147483646 w 595"/>
                    <a:gd name="T21" fmla="*/ 2147483646 h 746"/>
                    <a:gd name="T22" fmla="*/ 0 w 595"/>
                    <a:gd name="T23" fmla="*/ 2147483646 h 746"/>
                    <a:gd name="T24" fmla="*/ 2147483646 w 595"/>
                    <a:gd name="T25" fmla="*/ 2147483646 h 746"/>
                    <a:gd name="T26" fmla="*/ 2147483646 w 595"/>
                    <a:gd name="T27" fmla="*/ 0 h 74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595" h="746">
                      <a:moveTo>
                        <a:pt x="179" y="0"/>
                      </a:moveTo>
                      <a:lnTo>
                        <a:pt x="595" y="210"/>
                      </a:lnTo>
                      <a:lnTo>
                        <a:pt x="566" y="376"/>
                      </a:lnTo>
                      <a:lnTo>
                        <a:pt x="498" y="397"/>
                      </a:lnTo>
                      <a:lnTo>
                        <a:pt x="457" y="504"/>
                      </a:lnTo>
                      <a:lnTo>
                        <a:pt x="534" y="636"/>
                      </a:lnTo>
                      <a:lnTo>
                        <a:pt x="353" y="718"/>
                      </a:lnTo>
                      <a:lnTo>
                        <a:pt x="157" y="746"/>
                      </a:lnTo>
                      <a:lnTo>
                        <a:pt x="95" y="707"/>
                      </a:lnTo>
                      <a:lnTo>
                        <a:pt x="163" y="646"/>
                      </a:lnTo>
                      <a:lnTo>
                        <a:pt x="115" y="509"/>
                      </a:lnTo>
                      <a:lnTo>
                        <a:pt x="0" y="475"/>
                      </a:lnTo>
                      <a:lnTo>
                        <a:pt x="109" y="260"/>
                      </a:lnTo>
                      <a:lnTo>
                        <a:pt x="179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2" name="Freeform 17"/>
                <p:cNvSpPr>
                  <a:spLocks/>
                </p:cNvSpPr>
                <p:nvPr/>
              </p:nvSpPr>
              <p:spPr bwMode="auto">
                <a:xfrm>
                  <a:off x="1463675" y="2514600"/>
                  <a:ext cx="400050" cy="276225"/>
                </a:xfrm>
                <a:custGeom>
                  <a:avLst/>
                  <a:gdLst>
                    <a:gd name="T0" fmla="*/ 2147483646 w 252"/>
                    <a:gd name="T1" fmla="*/ 2147483646 h 174"/>
                    <a:gd name="T2" fmla="*/ 2147483646 w 252"/>
                    <a:gd name="T3" fmla="*/ 0 h 174"/>
                    <a:gd name="T4" fmla="*/ 2147483646 w 252"/>
                    <a:gd name="T5" fmla="*/ 2147483646 h 174"/>
                    <a:gd name="T6" fmla="*/ 2147483646 w 252"/>
                    <a:gd name="T7" fmla="*/ 2147483646 h 174"/>
                    <a:gd name="T8" fmla="*/ 0 w 252"/>
                    <a:gd name="T9" fmla="*/ 2147483646 h 174"/>
                    <a:gd name="T10" fmla="*/ 2147483646 w 252"/>
                    <a:gd name="T11" fmla="*/ 2147483646 h 17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52" h="174">
                      <a:moveTo>
                        <a:pt x="21" y="42"/>
                      </a:moveTo>
                      <a:lnTo>
                        <a:pt x="160" y="0"/>
                      </a:lnTo>
                      <a:lnTo>
                        <a:pt x="244" y="36"/>
                      </a:lnTo>
                      <a:lnTo>
                        <a:pt x="252" y="174"/>
                      </a:lnTo>
                      <a:lnTo>
                        <a:pt x="0" y="159"/>
                      </a:lnTo>
                      <a:lnTo>
                        <a:pt x="21" y="42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3" name="Freeform 18"/>
                <p:cNvSpPr>
                  <a:spLocks/>
                </p:cNvSpPr>
                <p:nvPr/>
              </p:nvSpPr>
              <p:spPr bwMode="auto">
                <a:xfrm>
                  <a:off x="1463675" y="2767013"/>
                  <a:ext cx="400050" cy="144462"/>
                </a:xfrm>
                <a:custGeom>
                  <a:avLst/>
                  <a:gdLst>
                    <a:gd name="T0" fmla="*/ 0 w 252"/>
                    <a:gd name="T1" fmla="*/ 0 h 91"/>
                    <a:gd name="T2" fmla="*/ 2147483646 w 252"/>
                    <a:gd name="T3" fmla="*/ 2147483646 h 91"/>
                    <a:gd name="T4" fmla="*/ 2147483646 w 252"/>
                    <a:gd name="T5" fmla="*/ 2147483646 h 91"/>
                    <a:gd name="T6" fmla="*/ 0 w 252"/>
                    <a:gd name="T7" fmla="*/ 0 h 9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52" h="91">
                      <a:moveTo>
                        <a:pt x="0" y="0"/>
                      </a:moveTo>
                      <a:lnTo>
                        <a:pt x="252" y="14"/>
                      </a:lnTo>
                      <a:lnTo>
                        <a:pt x="116" y="9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4" name="Freeform 19"/>
                <p:cNvSpPr>
                  <a:spLocks/>
                </p:cNvSpPr>
                <p:nvPr/>
              </p:nvSpPr>
              <p:spPr bwMode="auto">
                <a:xfrm>
                  <a:off x="1647825" y="2787650"/>
                  <a:ext cx="609600" cy="438150"/>
                </a:xfrm>
                <a:custGeom>
                  <a:avLst/>
                  <a:gdLst>
                    <a:gd name="T0" fmla="*/ 0 w 384"/>
                    <a:gd name="T1" fmla="*/ 2147483646 h 276"/>
                    <a:gd name="T2" fmla="*/ 2147483646 w 384"/>
                    <a:gd name="T3" fmla="*/ 0 h 276"/>
                    <a:gd name="T4" fmla="*/ 2147483646 w 384"/>
                    <a:gd name="T5" fmla="*/ 2147483646 h 276"/>
                    <a:gd name="T6" fmla="*/ 2147483646 w 384"/>
                    <a:gd name="T7" fmla="*/ 2147483646 h 276"/>
                    <a:gd name="T8" fmla="*/ 2147483646 w 384"/>
                    <a:gd name="T9" fmla="*/ 2147483646 h 276"/>
                    <a:gd name="T10" fmla="*/ 2147483646 w 384"/>
                    <a:gd name="T11" fmla="*/ 2147483646 h 276"/>
                    <a:gd name="T12" fmla="*/ 2147483646 w 384"/>
                    <a:gd name="T13" fmla="*/ 2147483646 h 276"/>
                    <a:gd name="T14" fmla="*/ 2147483646 w 384"/>
                    <a:gd name="T15" fmla="*/ 2147483646 h 276"/>
                    <a:gd name="T16" fmla="*/ 0 w 384"/>
                    <a:gd name="T17" fmla="*/ 2147483646 h 27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84" h="276">
                      <a:moveTo>
                        <a:pt x="0" y="76"/>
                      </a:moveTo>
                      <a:lnTo>
                        <a:pt x="133" y="0"/>
                      </a:lnTo>
                      <a:lnTo>
                        <a:pt x="363" y="12"/>
                      </a:lnTo>
                      <a:lnTo>
                        <a:pt x="384" y="152"/>
                      </a:lnTo>
                      <a:lnTo>
                        <a:pt x="351" y="276"/>
                      </a:lnTo>
                      <a:lnTo>
                        <a:pt x="244" y="200"/>
                      </a:lnTo>
                      <a:lnTo>
                        <a:pt x="171" y="126"/>
                      </a:lnTo>
                      <a:lnTo>
                        <a:pt x="108" y="185"/>
                      </a:lnTo>
                      <a:lnTo>
                        <a:pt x="0" y="76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5" name="Freeform 20"/>
                <p:cNvSpPr>
                  <a:spLocks/>
                </p:cNvSpPr>
                <p:nvPr/>
              </p:nvSpPr>
              <p:spPr bwMode="auto">
                <a:xfrm>
                  <a:off x="1816100" y="2986088"/>
                  <a:ext cx="217488" cy="268287"/>
                </a:xfrm>
                <a:custGeom>
                  <a:avLst/>
                  <a:gdLst>
                    <a:gd name="T0" fmla="*/ 2147483646 w 137"/>
                    <a:gd name="T1" fmla="*/ 0 h 169"/>
                    <a:gd name="T2" fmla="*/ 0 w 137"/>
                    <a:gd name="T3" fmla="*/ 2147483646 h 169"/>
                    <a:gd name="T4" fmla="*/ 2147483646 w 137"/>
                    <a:gd name="T5" fmla="*/ 2147483646 h 169"/>
                    <a:gd name="T6" fmla="*/ 2147483646 w 137"/>
                    <a:gd name="T7" fmla="*/ 2147483646 h 169"/>
                    <a:gd name="T8" fmla="*/ 2147483646 w 137"/>
                    <a:gd name="T9" fmla="*/ 0 h 16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7" h="169">
                      <a:moveTo>
                        <a:pt x="65" y="0"/>
                      </a:moveTo>
                      <a:lnTo>
                        <a:pt x="0" y="60"/>
                      </a:lnTo>
                      <a:lnTo>
                        <a:pt x="105" y="169"/>
                      </a:lnTo>
                      <a:lnTo>
                        <a:pt x="137" y="72"/>
                      </a:lnTo>
                      <a:lnTo>
                        <a:pt x="65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6" name="Freeform 21"/>
                <p:cNvSpPr>
                  <a:spLocks/>
                </p:cNvSpPr>
                <p:nvPr/>
              </p:nvSpPr>
              <p:spPr bwMode="auto">
                <a:xfrm>
                  <a:off x="1979613" y="3097213"/>
                  <a:ext cx="225425" cy="336550"/>
                </a:xfrm>
                <a:custGeom>
                  <a:avLst/>
                  <a:gdLst>
                    <a:gd name="T0" fmla="*/ 2147483646 w 142"/>
                    <a:gd name="T1" fmla="*/ 0 h 212"/>
                    <a:gd name="T2" fmla="*/ 0 w 142"/>
                    <a:gd name="T3" fmla="*/ 2147483646 h 212"/>
                    <a:gd name="T4" fmla="*/ 2147483646 w 142"/>
                    <a:gd name="T5" fmla="*/ 2147483646 h 212"/>
                    <a:gd name="T6" fmla="*/ 2147483646 w 142"/>
                    <a:gd name="T7" fmla="*/ 2147483646 h 212"/>
                    <a:gd name="T8" fmla="*/ 2147483646 w 142"/>
                    <a:gd name="T9" fmla="*/ 0 h 21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2" h="212">
                      <a:moveTo>
                        <a:pt x="31" y="0"/>
                      </a:moveTo>
                      <a:lnTo>
                        <a:pt x="0" y="99"/>
                      </a:lnTo>
                      <a:lnTo>
                        <a:pt x="111" y="212"/>
                      </a:lnTo>
                      <a:lnTo>
                        <a:pt x="142" y="79"/>
                      </a:lnTo>
                      <a:lnTo>
                        <a:pt x="31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7" name="Freeform 22"/>
                <p:cNvSpPr>
                  <a:spLocks/>
                </p:cNvSpPr>
                <p:nvPr/>
              </p:nvSpPr>
              <p:spPr bwMode="auto">
                <a:xfrm>
                  <a:off x="2154238" y="3017838"/>
                  <a:ext cx="477837" cy="415925"/>
                </a:xfrm>
                <a:custGeom>
                  <a:avLst/>
                  <a:gdLst>
                    <a:gd name="T0" fmla="*/ 2147483646 w 301"/>
                    <a:gd name="T1" fmla="*/ 0 h 262"/>
                    <a:gd name="T2" fmla="*/ 2147483646 w 301"/>
                    <a:gd name="T3" fmla="*/ 0 h 262"/>
                    <a:gd name="T4" fmla="*/ 2147483646 w 301"/>
                    <a:gd name="T5" fmla="*/ 2147483646 h 262"/>
                    <a:gd name="T6" fmla="*/ 2147483646 w 301"/>
                    <a:gd name="T7" fmla="*/ 2147483646 h 262"/>
                    <a:gd name="T8" fmla="*/ 2147483646 w 301"/>
                    <a:gd name="T9" fmla="*/ 2147483646 h 262"/>
                    <a:gd name="T10" fmla="*/ 0 w 301"/>
                    <a:gd name="T11" fmla="*/ 2147483646 h 262"/>
                    <a:gd name="T12" fmla="*/ 2147483646 w 301"/>
                    <a:gd name="T13" fmla="*/ 2147483646 h 262"/>
                    <a:gd name="T14" fmla="*/ 2147483646 w 301"/>
                    <a:gd name="T15" fmla="*/ 0 h 26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01" h="262">
                      <a:moveTo>
                        <a:pt x="65" y="0"/>
                      </a:moveTo>
                      <a:lnTo>
                        <a:pt x="164" y="0"/>
                      </a:lnTo>
                      <a:lnTo>
                        <a:pt x="301" y="95"/>
                      </a:lnTo>
                      <a:lnTo>
                        <a:pt x="289" y="214"/>
                      </a:lnTo>
                      <a:lnTo>
                        <a:pt x="103" y="215"/>
                      </a:lnTo>
                      <a:lnTo>
                        <a:pt x="0" y="262"/>
                      </a:lnTo>
                      <a:lnTo>
                        <a:pt x="32" y="128"/>
                      </a:lnTo>
                      <a:lnTo>
                        <a:pt x="65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8" name="Freeform 23"/>
                <p:cNvSpPr>
                  <a:spLocks/>
                </p:cNvSpPr>
                <p:nvPr/>
              </p:nvSpPr>
              <p:spPr bwMode="auto">
                <a:xfrm>
                  <a:off x="2609850" y="2962275"/>
                  <a:ext cx="333375" cy="395288"/>
                </a:xfrm>
                <a:custGeom>
                  <a:avLst/>
                  <a:gdLst>
                    <a:gd name="T0" fmla="*/ 2147483646 w 210"/>
                    <a:gd name="T1" fmla="*/ 2147483646 h 249"/>
                    <a:gd name="T2" fmla="*/ 2147483646 w 210"/>
                    <a:gd name="T3" fmla="*/ 0 h 249"/>
                    <a:gd name="T4" fmla="*/ 2147483646 w 210"/>
                    <a:gd name="T5" fmla="*/ 2147483646 h 249"/>
                    <a:gd name="T6" fmla="*/ 0 w 210"/>
                    <a:gd name="T7" fmla="*/ 2147483646 h 249"/>
                    <a:gd name="T8" fmla="*/ 2147483646 w 210"/>
                    <a:gd name="T9" fmla="*/ 2147483646 h 24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10" h="249">
                      <a:moveTo>
                        <a:pt x="25" y="4"/>
                      </a:moveTo>
                      <a:lnTo>
                        <a:pt x="174" y="0"/>
                      </a:lnTo>
                      <a:lnTo>
                        <a:pt x="210" y="249"/>
                      </a:lnTo>
                      <a:lnTo>
                        <a:pt x="0" y="249"/>
                      </a:lnTo>
                      <a:lnTo>
                        <a:pt x="25" y="4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69" name="Freeform 24"/>
                <p:cNvSpPr>
                  <a:spLocks/>
                </p:cNvSpPr>
                <p:nvPr/>
              </p:nvSpPr>
              <p:spPr bwMode="auto">
                <a:xfrm>
                  <a:off x="2411413" y="2620963"/>
                  <a:ext cx="666750" cy="733425"/>
                </a:xfrm>
                <a:custGeom>
                  <a:avLst/>
                  <a:gdLst>
                    <a:gd name="T0" fmla="*/ 2147483646 w 420"/>
                    <a:gd name="T1" fmla="*/ 2147483646 h 462"/>
                    <a:gd name="T2" fmla="*/ 0 w 420"/>
                    <a:gd name="T3" fmla="*/ 2147483646 h 462"/>
                    <a:gd name="T4" fmla="*/ 2147483646 w 420"/>
                    <a:gd name="T5" fmla="*/ 2147483646 h 462"/>
                    <a:gd name="T6" fmla="*/ 2147483646 w 420"/>
                    <a:gd name="T7" fmla="*/ 2147483646 h 462"/>
                    <a:gd name="T8" fmla="*/ 2147483646 w 420"/>
                    <a:gd name="T9" fmla="*/ 2147483646 h 462"/>
                    <a:gd name="T10" fmla="*/ 2147483646 w 420"/>
                    <a:gd name="T11" fmla="*/ 2147483646 h 462"/>
                    <a:gd name="T12" fmla="*/ 2147483646 w 420"/>
                    <a:gd name="T13" fmla="*/ 2147483646 h 462"/>
                    <a:gd name="T14" fmla="*/ 2147483646 w 420"/>
                    <a:gd name="T15" fmla="*/ 2147483646 h 462"/>
                    <a:gd name="T16" fmla="*/ 2147483646 w 420"/>
                    <a:gd name="T17" fmla="*/ 2147483646 h 462"/>
                    <a:gd name="T18" fmla="*/ 2147483646 w 420"/>
                    <a:gd name="T19" fmla="*/ 2147483646 h 462"/>
                    <a:gd name="T20" fmla="*/ 2147483646 w 420"/>
                    <a:gd name="T21" fmla="*/ 0 h 462"/>
                    <a:gd name="T22" fmla="*/ 2147483646 w 420"/>
                    <a:gd name="T23" fmla="*/ 2147483646 h 462"/>
                    <a:gd name="T24" fmla="*/ 2147483646 w 420"/>
                    <a:gd name="T25" fmla="*/ 2147483646 h 46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420" h="462">
                      <a:moveTo>
                        <a:pt x="55" y="114"/>
                      </a:moveTo>
                      <a:lnTo>
                        <a:pt x="0" y="250"/>
                      </a:lnTo>
                      <a:lnTo>
                        <a:pt x="137" y="346"/>
                      </a:lnTo>
                      <a:lnTo>
                        <a:pt x="154" y="221"/>
                      </a:lnTo>
                      <a:lnTo>
                        <a:pt x="299" y="215"/>
                      </a:lnTo>
                      <a:lnTo>
                        <a:pt x="333" y="462"/>
                      </a:lnTo>
                      <a:lnTo>
                        <a:pt x="420" y="462"/>
                      </a:lnTo>
                      <a:lnTo>
                        <a:pt x="379" y="264"/>
                      </a:lnTo>
                      <a:lnTo>
                        <a:pt x="352" y="203"/>
                      </a:lnTo>
                      <a:lnTo>
                        <a:pt x="397" y="177"/>
                      </a:lnTo>
                      <a:lnTo>
                        <a:pt x="378" y="0"/>
                      </a:lnTo>
                      <a:lnTo>
                        <a:pt x="145" y="118"/>
                      </a:lnTo>
                      <a:lnTo>
                        <a:pt x="55" y="114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0" name="Freeform 25"/>
                <p:cNvSpPr>
                  <a:spLocks/>
                </p:cNvSpPr>
                <p:nvPr/>
              </p:nvSpPr>
              <p:spPr bwMode="auto">
                <a:xfrm>
                  <a:off x="3173413" y="2736850"/>
                  <a:ext cx="957262" cy="762000"/>
                </a:xfrm>
                <a:custGeom>
                  <a:avLst/>
                  <a:gdLst>
                    <a:gd name="T0" fmla="*/ 2147483646 w 603"/>
                    <a:gd name="T1" fmla="*/ 0 h 480"/>
                    <a:gd name="T2" fmla="*/ 0 w 603"/>
                    <a:gd name="T3" fmla="*/ 2147483646 h 480"/>
                    <a:gd name="T4" fmla="*/ 2147483646 w 603"/>
                    <a:gd name="T5" fmla="*/ 2147483646 h 480"/>
                    <a:gd name="T6" fmla="*/ 2147483646 w 603"/>
                    <a:gd name="T7" fmla="*/ 2147483646 h 480"/>
                    <a:gd name="T8" fmla="*/ 2147483646 w 603"/>
                    <a:gd name="T9" fmla="*/ 2147483646 h 480"/>
                    <a:gd name="T10" fmla="*/ 2147483646 w 603"/>
                    <a:gd name="T11" fmla="*/ 2147483646 h 480"/>
                    <a:gd name="T12" fmla="*/ 2147483646 w 603"/>
                    <a:gd name="T13" fmla="*/ 2147483646 h 480"/>
                    <a:gd name="T14" fmla="*/ 2147483646 w 603"/>
                    <a:gd name="T15" fmla="*/ 2147483646 h 480"/>
                    <a:gd name="T16" fmla="*/ 2147483646 w 603"/>
                    <a:gd name="T17" fmla="*/ 0 h 48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603" h="480">
                      <a:moveTo>
                        <a:pt x="66" y="0"/>
                      </a:moveTo>
                      <a:lnTo>
                        <a:pt x="0" y="44"/>
                      </a:lnTo>
                      <a:lnTo>
                        <a:pt x="11" y="389"/>
                      </a:lnTo>
                      <a:lnTo>
                        <a:pt x="290" y="480"/>
                      </a:lnTo>
                      <a:lnTo>
                        <a:pt x="317" y="321"/>
                      </a:lnTo>
                      <a:lnTo>
                        <a:pt x="511" y="235"/>
                      </a:lnTo>
                      <a:lnTo>
                        <a:pt x="603" y="36"/>
                      </a:lnTo>
                      <a:lnTo>
                        <a:pt x="495" y="4"/>
                      </a:lnTo>
                      <a:lnTo>
                        <a:pt x="66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1" name="Freeform 26"/>
                <p:cNvSpPr>
                  <a:spLocks/>
                </p:cNvSpPr>
                <p:nvPr/>
              </p:nvSpPr>
              <p:spPr bwMode="auto">
                <a:xfrm>
                  <a:off x="3625850" y="2789238"/>
                  <a:ext cx="601663" cy="763587"/>
                </a:xfrm>
                <a:custGeom>
                  <a:avLst/>
                  <a:gdLst>
                    <a:gd name="T0" fmla="*/ 2147483646 w 379"/>
                    <a:gd name="T1" fmla="*/ 0 h 481"/>
                    <a:gd name="T2" fmla="*/ 2147483646 w 379"/>
                    <a:gd name="T3" fmla="*/ 2147483646 h 481"/>
                    <a:gd name="T4" fmla="*/ 2147483646 w 379"/>
                    <a:gd name="T5" fmla="*/ 2147483646 h 481"/>
                    <a:gd name="T6" fmla="*/ 0 w 379"/>
                    <a:gd name="T7" fmla="*/ 2147483646 h 481"/>
                    <a:gd name="T8" fmla="*/ 2147483646 w 379"/>
                    <a:gd name="T9" fmla="*/ 2147483646 h 481"/>
                    <a:gd name="T10" fmla="*/ 2147483646 w 379"/>
                    <a:gd name="T11" fmla="*/ 2147483646 h 481"/>
                    <a:gd name="T12" fmla="*/ 2147483646 w 379"/>
                    <a:gd name="T13" fmla="*/ 2147483646 h 481"/>
                    <a:gd name="T14" fmla="*/ 2147483646 w 379"/>
                    <a:gd name="T15" fmla="*/ 2147483646 h 481"/>
                    <a:gd name="T16" fmla="*/ 2147483646 w 379"/>
                    <a:gd name="T17" fmla="*/ 2147483646 h 481"/>
                    <a:gd name="T18" fmla="*/ 2147483646 w 379"/>
                    <a:gd name="T19" fmla="*/ 2147483646 h 481"/>
                    <a:gd name="T20" fmla="*/ 2147483646 w 379"/>
                    <a:gd name="T21" fmla="*/ 2147483646 h 481"/>
                    <a:gd name="T22" fmla="*/ 2147483646 w 379"/>
                    <a:gd name="T23" fmla="*/ 2147483646 h 481"/>
                    <a:gd name="T24" fmla="*/ 2147483646 w 379"/>
                    <a:gd name="T25" fmla="*/ 0 h 48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79" h="481">
                      <a:moveTo>
                        <a:pt x="318" y="0"/>
                      </a:moveTo>
                      <a:lnTo>
                        <a:pt x="225" y="201"/>
                      </a:lnTo>
                      <a:lnTo>
                        <a:pt x="22" y="288"/>
                      </a:lnTo>
                      <a:lnTo>
                        <a:pt x="0" y="440"/>
                      </a:lnTo>
                      <a:lnTo>
                        <a:pt x="5" y="481"/>
                      </a:lnTo>
                      <a:lnTo>
                        <a:pt x="369" y="443"/>
                      </a:lnTo>
                      <a:lnTo>
                        <a:pt x="379" y="406"/>
                      </a:lnTo>
                      <a:lnTo>
                        <a:pt x="347" y="387"/>
                      </a:lnTo>
                      <a:lnTo>
                        <a:pt x="334" y="313"/>
                      </a:lnTo>
                      <a:lnTo>
                        <a:pt x="367" y="245"/>
                      </a:lnTo>
                      <a:lnTo>
                        <a:pt x="305" y="207"/>
                      </a:lnTo>
                      <a:lnTo>
                        <a:pt x="370" y="145"/>
                      </a:lnTo>
                      <a:lnTo>
                        <a:pt x="318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2" name="Freeform 27"/>
                <p:cNvSpPr>
                  <a:spLocks/>
                </p:cNvSpPr>
                <p:nvPr/>
              </p:nvSpPr>
              <p:spPr bwMode="auto">
                <a:xfrm>
                  <a:off x="4148138" y="3001963"/>
                  <a:ext cx="1017587" cy="476250"/>
                </a:xfrm>
                <a:custGeom>
                  <a:avLst/>
                  <a:gdLst>
                    <a:gd name="T0" fmla="*/ 2147483646 w 641"/>
                    <a:gd name="T1" fmla="*/ 2147483646 h 300"/>
                    <a:gd name="T2" fmla="*/ 0 w 641"/>
                    <a:gd name="T3" fmla="*/ 2147483646 h 300"/>
                    <a:gd name="T4" fmla="*/ 2147483646 w 641"/>
                    <a:gd name="T5" fmla="*/ 2147483646 h 300"/>
                    <a:gd name="T6" fmla="*/ 2147483646 w 641"/>
                    <a:gd name="T7" fmla="*/ 2147483646 h 300"/>
                    <a:gd name="T8" fmla="*/ 2147483646 w 641"/>
                    <a:gd name="T9" fmla="*/ 2147483646 h 300"/>
                    <a:gd name="T10" fmla="*/ 2147483646 w 641"/>
                    <a:gd name="T11" fmla="*/ 2147483646 h 300"/>
                    <a:gd name="T12" fmla="*/ 2147483646 w 641"/>
                    <a:gd name="T13" fmla="*/ 2147483646 h 300"/>
                    <a:gd name="T14" fmla="*/ 2147483646 w 641"/>
                    <a:gd name="T15" fmla="*/ 2147483646 h 300"/>
                    <a:gd name="T16" fmla="*/ 2147483646 w 641"/>
                    <a:gd name="T17" fmla="*/ 2147483646 h 300"/>
                    <a:gd name="T18" fmla="*/ 2147483646 w 641"/>
                    <a:gd name="T19" fmla="*/ 2147483646 h 300"/>
                    <a:gd name="T20" fmla="*/ 2147483646 w 641"/>
                    <a:gd name="T21" fmla="*/ 2147483646 h 300"/>
                    <a:gd name="T22" fmla="*/ 2147483646 w 641"/>
                    <a:gd name="T23" fmla="*/ 2147483646 h 300"/>
                    <a:gd name="T24" fmla="*/ 2147483646 w 641"/>
                    <a:gd name="T25" fmla="*/ 0 h 300"/>
                    <a:gd name="T26" fmla="*/ 2147483646 w 641"/>
                    <a:gd name="T27" fmla="*/ 2147483646 h 300"/>
                    <a:gd name="T28" fmla="*/ 2147483646 w 641"/>
                    <a:gd name="T29" fmla="*/ 2147483646 h 30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641" h="300">
                      <a:moveTo>
                        <a:pt x="33" y="106"/>
                      </a:moveTo>
                      <a:lnTo>
                        <a:pt x="0" y="182"/>
                      </a:lnTo>
                      <a:lnTo>
                        <a:pt x="17" y="258"/>
                      </a:lnTo>
                      <a:lnTo>
                        <a:pt x="49" y="275"/>
                      </a:lnTo>
                      <a:lnTo>
                        <a:pt x="95" y="258"/>
                      </a:lnTo>
                      <a:lnTo>
                        <a:pt x="141" y="300"/>
                      </a:lnTo>
                      <a:lnTo>
                        <a:pt x="198" y="239"/>
                      </a:lnTo>
                      <a:lnTo>
                        <a:pt x="301" y="267"/>
                      </a:lnTo>
                      <a:lnTo>
                        <a:pt x="440" y="267"/>
                      </a:lnTo>
                      <a:lnTo>
                        <a:pt x="641" y="235"/>
                      </a:lnTo>
                      <a:lnTo>
                        <a:pt x="555" y="124"/>
                      </a:lnTo>
                      <a:lnTo>
                        <a:pt x="469" y="115"/>
                      </a:lnTo>
                      <a:lnTo>
                        <a:pt x="407" y="0"/>
                      </a:lnTo>
                      <a:lnTo>
                        <a:pt x="225" y="81"/>
                      </a:lnTo>
                      <a:lnTo>
                        <a:pt x="33" y="106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3" name="Freeform 28"/>
                <p:cNvSpPr>
                  <a:spLocks/>
                </p:cNvSpPr>
                <p:nvPr/>
              </p:nvSpPr>
              <p:spPr bwMode="auto">
                <a:xfrm>
                  <a:off x="3582988" y="3514725"/>
                  <a:ext cx="365125" cy="482600"/>
                </a:xfrm>
                <a:custGeom>
                  <a:avLst/>
                  <a:gdLst>
                    <a:gd name="T0" fmla="*/ 2147483646 w 230"/>
                    <a:gd name="T1" fmla="*/ 2147483646 h 304"/>
                    <a:gd name="T2" fmla="*/ 2147483646 w 230"/>
                    <a:gd name="T3" fmla="*/ 0 h 304"/>
                    <a:gd name="T4" fmla="*/ 2147483646 w 230"/>
                    <a:gd name="T5" fmla="*/ 2147483646 h 304"/>
                    <a:gd name="T6" fmla="*/ 2147483646 w 230"/>
                    <a:gd name="T7" fmla="*/ 2147483646 h 304"/>
                    <a:gd name="T8" fmla="*/ 2147483646 w 230"/>
                    <a:gd name="T9" fmla="*/ 2147483646 h 304"/>
                    <a:gd name="T10" fmla="*/ 0 w 230"/>
                    <a:gd name="T11" fmla="*/ 2147483646 h 304"/>
                    <a:gd name="T12" fmla="*/ 2147483646 w 230"/>
                    <a:gd name="T13" fmla="*/ 2147483646 h 30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30" h="304">
                      <a:moveTo>
                        <a:pt x="32" y="20"/>
                      </a:moveTo>
                      <a:lnTo>
                        <a:pt x="230" y="0"/>
                      </a:lnTo>
                      <a:lnTo>
                        <a:pt x="226" y="187"/>
                      </a:lnTo>
                      <a:lnTo>
                        <a:pt x="68" y="239"/>
                      </a:lnTo>
                      <a:lnTo>
                        <a:pt x="47" y="304"/>
                      </a:lnTo>
                      <a:lnTo>
                        <a:pt x="0" y="233"/>
                      </a:lnTo>
                      <a:lnTo>
                        <a:pt x="32" y="2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4" name="Freeform 29"/>
                <p:cNvSpPr>
                  <a:spLocks/>
                </p:cNvSpPr>
                <p:nvPr/>
              </p:nvSpPr>
              <p:spPr bwMode="auto">
                <a:xfrm>
                  <a:off x="3654425" y="3409950"/>
                  <a:ext cx="717550" cy="674688"/>
                </a:xfrm>
                <a:custGeom>
                  <a:avLst/>
                  <a:gdLst>
                    <a:gd name="T0" fmla="*/ 2147483646 w 452"/>
                    <a:gd name="T1" fmla="*/ 2147483646 h 425"/>
                    <a:gd name="T2" fmla="*/ 2147483646 w 452"/>
                    <a:gd name="T3" fmla="*/ 2147483646 h 425"/>
                    <a:gd name="T4" fmla="*/ 2147483646 w 452"/>
                    <a:gd name="T5" fmla="*/ 2147483646 h 425"/>
                    <a:gd name="T6" fmla="*/ 2147483646 w 452"/>
                    <a:gd name="T7" fmla="*/ 0 h 425"/>
                    <a:gd name="T8" fmla="*/ 2147483646 w 452"/>
                    <a:gd name="T9" fmla="*/ 2147483646 h 425"/>
                    <a:gd name="T10" fmla="*/ 2147483646 w 452"/>
                    <a:gd name="T11" fmla="*/ 2147483646 h 425"/>
                    <a:gd name="T12" fmla="*/ 2147483646 w 452"/>
                    <a:gd name="T13" fmla="*/ 2147483646 h 425"/>
                    <a:gd name="T14" fmla="*/ 0 w 452"/>
                    <a:gd name="T15" fmla="*/ 2147483646 h 425"/>
                    <a:gd name="T16" fmla="*/ 2147483646 w 452"/>
                    <a:gd name="T17" fmla="*/ 2147483646 h 425"/>
                    <a:gd name="T18" fmla="*/ 2147483646 w 452"/>
                    <a:gd name="T19" fmla="*/ 2147483646 h 425"/>
                    <a:gd name="T20" fmla="*/ 2147483646 w 452"/>
                    <a:gd name="T21" fmla="*/ 2147483646 h 425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452" h="425">
                      <a:moveTo>
                        <a:pt x="185" y="64"/>
                      </a:moveTo>
                      <a:lnTo>
                        <a:pt x="349" y="49"/>
                      </a:lnTo>
                      <a:lnTo>
                        <a:pt x="356" y="18"/>
                      </a:lnTo>
                      <a:lnTo>
                        <a:pt x="408" y="0"/>
                      </a:lnTo>
                      <a:lnTo>
                        <a:pt x="452" y="43"/>
                      </a:lnTo>
                      <a:lnTo>
                        <a:pt x="267" y="355"/>
                      </a:lnTo>
                      <a:lnTo>
                        <a:pt x="34" y="425"/>
                      </a:lnTo>
                      <a:lnTo>
                        <a:pt x="0" y="366"/>
                      </a:lnTo>
                      <a:lnTo>
                        <a:pt x="20" y="305"/>
                      </a:lnTo>
                      <a:lnTo>
                        <a:pt x="178" y="253"/>
                      </a:lnTo>
                      <a:lnTo>
                        <a:pt x="185" y="64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5" name="Freeform 42"/>
                <p:cNvSpPr>
                  <a:spLocks/>
                </p:cNvSpPr>
                <p:nvPr/>
              </p:nvSpPr>
              <p:spPr bwMode="auto">
                <a:xfrm>
                  <a:off x="4541838" y="5210175"/>
                  <a:ext cx="730250" cy="687388"/>
                </a:xfrm>
                <a:custGeom>
                  <a:avLst/>
                  <a:gdLst>
                    <a:gd name="T0" fmla="*/ 2147483646 w 460"/>
                    <a:gd name="T1" fmla="*/ 2147483646 h 433"/>
                    <a:gd name="T2" fmla="*/ 2147483646 w 460"/>
                    <a:gd name="T3" fmla="*/ 0 h 433"/>
                    <a:gd name="T4" fmla="*/ 2147483646 w 460"/>
                    <a:gd name="T5" fmla="*/ 2147483646 h 433"/>
                    <a:gd name="T6" fmla="*/ 2147483646 w 460"/>
                    <a:gd name="T7" fmla="*/ 2147483646 h 433"/>
                    <a:gd name="T8" fmla="*/ 2147483646 w 460"/>
                    <a:gd name="T9" fmla="*/ 2147483646 h 433"/>
                    <a:gd name="T10" fmla="*/ 2147483646 w 460"/>
                    <a:gd name="T11" fmla="*/ 2147483646 h 433"/>
                    <a:gd name="T12" fmla="*/ 0 w 460"/>
                    <a:gd name="T13" fmla="*/ 2147483646 h 433"/>
                    <a:gd name="T14" fmla="*/ 0 w 460"/>
                    <a:gd name="T15" fmla="*/ 2147483646 h 433"/>
                    <a:gd name="T16" fmla="*/ 2147483646 w 460"/>
                    <a:gd name="T17" fmla="*/ 2147483646 h 433"/>
                    <a:gd name="T18" fmla="*/ 2147483646 w 460"/>
                    <a:gd name="T19" fmla="*/ 2147483646 h 433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460" h="433">
                      <a:moveTo>
                        <a:pt x="105" y="12"/>
                      </a:moveTo>
                      <a:lnTo>
                        <a:pt x="299" y="0"/>
                      </a:lnTo>
                      <a:lnTo>
                        <a:pt x="460" y="225"/>
                      </a:lnTo>
                      <a:lnTo>
                        <a:pt x="236" y="373"/>
                      </a:lnTo>
                      <a:lnTo>
                        <a:pt x="167" y="348"/>
                      </a:lnTo>
                      <a:lnTo>
                        <a:pt x="78" y="433"/>
                      </a:lnTo>
                      <a:lnTo>
                        <a:pt x="0" y="324"/>
                      </a:lnTo>
                      <a:lnTo>
                        <a:pt x="0" y="162"/>
                      </a:lnTo>
                      <a:lnTo>
                        <a:pt x="74" y="160"/>
                      </a:lnTo>
                      <a:lnTo>
                        <a:pt x="105" y="12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6" name="Freeform 43"/>
                <p:cNvSpPr>
                  <a:spLocks/>
                </p:cNvSpPr>
                <p:nvPr/>
              </p:nvSpPr>
              <p:spPr bwMode="auto">
                <a:xfrm>
                  <a:off x="4175125" y="5486400"/>
                  <a:ext cx="1393825" cy="990600"/>
                </a:xfrm>
                <a:custGeom>
                  <a:avLst/>
                  <a:gdLst>
                    <a:gd name="T0" fmla="*/ 0 w 878"/>
                    <a:gd name="T1" fmla="*/ 2147483646 h 624"/>
                    <a:gd name="T2" fmla="*/ 2147483646 w 878"/>
                    <a:gd name="T3" fmla="*/ 2147483646 h 624"/>
                    <a:gd name="T4" fmla="*/ 2147483646 w 878"/>
                    <a:gd name="T5" fmla="*/ 2147483646 h 624"/>
                    <a:gd name="T6" fmla="*/ 2147483646 w 878"/>
                    <a:gd name="T7" fmla="*/ 2147483646 h 624"/>
                    <a:gd name="T8" fmla="*/ 2147483646 w 878"/>
                    <a:gd name="T9" fmla="*/ 2147483646 h 624"/>
                    <a:gd name="T10" fmla="*/ 2147483646 w 878"/>
                    <a:gd name="T11" fmla="*/ 2147483646 h 624"/>
                    <a:gd name="T12" fmla="*/ 2147483646 w 878"/>
                    <a:gd name="T13" fmla="*/ 2147483646 h 624"/>
                    <a:gd name="T14" fmla="*/ 2147483646 w 878"/>
                    <a:gd name="T15" fmla="*/ 0 h 624"/>
                    <a:gd name="T16" fmla="*/ 2147483646 w 878"/>
                    <a:gd name="T17" fmla="*/ 2147483646 h 624"/>
                    <a:gd name="T18" fmla="*/ 2147483646 w 878"/>
                    <a:gd name="T19" fmla="*/ 2147483646 h 624"/>
                    <a:gd name="T20" fmla="*/ 2147483646 w 878"/>
                    <a:gd name="T21" fmla="*/ 2147483646 h 624"/>
                    <a:gd name="T22" fmla="*/ 2147483646 w 878"/>
                    <a:gd name="T23" fmla="*/ 2147483646 h 624"/>
                    <a:gd name="T24" fmla="*/ 2147483646 w 878"/>
                    <a:gd name="T25" fmla="*/ 2147483646 h 624"/>
                    <a:gd name="T26" fmla="*/ 0 w 878"/>
                    <a:gd name="T27" fmla="*/ 2147483646 h 62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878" h="624">
                      <a:moveTo>
                        <a:pt x="0" y="297"/>
                      </a:moveTo>
                      <a:lnTo>
                        <a:pt x="233" y="312"/>
                      </a:lnTo>
                      <a:lnTo>
                        <a:pt x="234" y="153"/>
                      </a:lnTo>
                      <a:lnTo>
                        <a:pt x="312" y="256"/>
                      </a:lnTo>
                      <a:lnTo>
                        <a:pt x="398" y="170"/>
                      </a:lnTo>
                      <a:lnTo>
                        <a:pt x="462" y="194"/>
                      </a:lnTo>
                      <a:lnTo>
                        <a:pt x="689" y="49"/>
                      </a:lnTo>
                      <a:lnTo>
                        <a:pt x="840" y="0"/>
                      </a:lnTo>
                      <a:lnTo>
                        <a:pt x="878" y="183"/>
                      </a:lnTo>
                      <a:lnTo>
                        <a:pt x="843" y="307"/>
                      </a:lnTo>
                      <a:lnTo>
                        <a:pt x="706" y="458"/>
                      </a:lnTo>
                      <a:lnTo>
                        <a:pt x="376" y="602"/>
                      </a:lnTo>
                      <a:lnTo>
                        <a:pt x="187" y="624"/>
                      </a:lnTo>
                      <a:lnTo>
                        <a:pt x="0" y="297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7" name="Freeform 44"/>
                <p:cNvSpPr>
                  <a:spLocks/>
                </p:cNvSpPr>
                <p:nvPr/>
              </p:nvSpPr>
              <p:spPr bwMode="auto">
                <a:xfrm>
                  <a:off x="1468438" y="2681288"/>
                  <a:ext cx="196850" cy="38100"/>
                </a:xfrm>
                <a:custGeom>
                  <a:avLst/>
                  <a:gdLst>
                    <a:gd name="T0" fmla="*/ 0 w 124"/>
                    <a:gd name="T1" fmla="*/ 2147483646 h 24"/>
                    <a:gd name="T2" fmla="*/ 2147483646 w 124"/>
                    <a:gd name="T3" fmla="*/ 2147483646 h 24"/>
                    <a:gd name="T4" fmla="*/ 2147483646 w 124"/>
                    <a:gd name="T5" fmla="*/ 2147483646 h 24"/>
                    <a:gd name="T6" fmla="*/ 2147483646 w 124"/>
                    <a:gd name="T7" fmla="*/ 0 h 24"/>
                    <a:gd name="T8" fmla="*/ 0 w 124"/>
                    <a:gd name="T9" fmla="*/ 2147483646 h 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24" h="24">
                      <a:moveTo>
                        <a:pt x="0" y="24"/>
                      </a:moveTo>
                      <a:lnTo>
                        <a:pt x="107" y="24"/>
                      </a:lnTo>
                      <a:lnTo>
                        <a:pt x="124" y="8"/>
                      </a:lnTo>
                      <a:lnTo>
                        <a:pt x="9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8" name="Freeform 45"/>
                <p:cNvSpPr>
                  <a:spLocks/>
                </p:cNvSpPr>
                <p:nvPr/>
              </p:nvSpPr>
              <p:spPr bwMode="auto">
                <a:xfrm>
                  <a:off x="2886075" y="2943225"/>
                  <a:ext cx="190500" cy="414338"/>
                </a:xfrm>
                <a:custGeom>
                  <a:avLst/>
                  <a:gdLst>
                    <a:gd name="T0" fmla="*/ 2147483646 w 120"/>
                    <a:gd name="T1" fmla="*/ 0 h 261"/>
                    <a:gd name="T2" fmla="*/ 0 w 120"/>
                    <a:gd name="T3" fmla="*/ 2147483646 h 261"/>
                    <a:gd name="T4" fmla="*/ 2147483646 w 120"/>
                    <a:gd name="T5" fmla="*/ 2147483646 h 261"/>
                    <a:gd name="T6" fmla="*/ 2147483646 w 120"/>
                    <a:gd name="T7" fmla="*/ 2147483646 h 261"/>
                    <a:gd name="T8" fmla="*/ 2147483646 w 120"/>
                    <a:gd name="T9" fmla="*/ 2147483646 h 261"/>
                    <a:gd name="T10" fmla="*/ 2147483646 w 120"/>
                    <a:gd name="T11" fmla="*/ 0 h 2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20" h="261">
                      <a:moveTo>
                        <a:pt x="53" y="0"/>
                      </a:moveTo>
                      <a:lnTo>
                        <a:pt x="0" y="12"/>
                      </a:lnTo>
                      <a:lnTo>
                        <a:pt x="34" y="261"/>
                      </a:lnTo>
                      <a:lnTo>
                        <a:pt x="120" y="261"/>
                      </a:lnTo>
                      <a:lnTo>
                        <a:pt x="80" y="61"/>
                      </a:lnTo>
                      <a:lnTo>
                        <a:pt x="53" y="0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79" name="Freeform 46"/>
                <p:cNvSpPr>
                  <a:spLocks/>
                </p:cNvSpPr>
                <p:nvPr/>
              </p:nvSpPr>
              <p:spPr bwMode="auto">
                <a:xfrm>
                  <a:off x="2970213" y="2808288"/>
                  <a:ext cx="220662" cy="549275"/>
                </a:xfrm>
                <a:custGeom>
                  <a:avLst/>
                  <a:gdLst>
                    <a:gd name="T0" fmla="*/ 2147483646 w 139"/>
                    <a:gd name="T1" fmla="*/ 0 h 346"/>
                    <a:gd name="T2" fmla="*/ 2147483646 w 139"/>
                    <a:gd name="T3" fmla="*/ 2147483646 h 346"/>
                    <a:gd name="T4" fmla="*/ 0 w 139"/>
                    <a:gd name="T5" fmla="*/ 2147483646 h 346"/>
                    <a:gd name="T6" fmla="*/ 2147483646 w 139"/>
                    <a:gd name="T7" fmla="*/ 2147483646 h 346"/>
                    <a:gd name="T8" fmla="*/ 2147483646 w 139"/>
                    <a:gd name="T9" fmla="*/ 2147483646 h 346"/>
                    <a:gd name="T10" fmla="*/ 2147483646 w 139"/>
                    <a:gd name="T11" fmla="*/ 2147483646 h 346"/>
                    <a:gd name="T12" fmla="*/ 2147483646 w 139"/>
                    <a:gd name="T13" fmla="*/ 0 h 34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9" h="346">
                      <a:moveTo>
                        <a:pt x="129" y="0"/>
                      </a:moveTo>
                      <a:lnTo>
                        <a:pt x="47" y="59"/>
                      </a:lnTo>
                      <a:lnTo>
                        <a:pt x="0" y="85"/>
                      </a:lnTo>
                      <a:lnTo>
                        <a:pt x="27" y="148"/>
                      </a:lnTo>
                      <a:lnTo>
                        <a:pt x="67" y="346"/>
                      </a:lnTo>
                      <a:lnTo>
                        <a:pt x="139" y="346"/>
                      </a:lnTo>
                      <a:lnTo>
                        <a:pt x="129" y="0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80" name="Freeform 47"/>
                <p:cNvSpPr>
                  <a:spLocks/>
                </p:cNvSpPr>
                <p:nvPr/>
              </p:nvSpPr>
              <p:spPr bwMode="auto">
                <a:xfrm>
                  <a:off x="3622675" y="3535363"/>
                  <a:ext cx="128588" cy="95250"/>
                </a:xfrm>
                <a:custGeom>
                  <a:avLst/>
                  <a:gdLst>
                    <a:gd name="T0" fmla="*/ 2147483646 w 81"/>
                    <a:gd name="T1" fmla="*/ 2147483646 h 60"/>
                    <a:gd name="T2" fmla="*/ 2147483646 w 81"/>
                    <a:gd name="T3" fmla="*/ 0 h 60"/>
                    <a:gd name="T4" fmla="*/ 2147483646 w 81"/>
                    <a:gd name="T5" fmla="*/ 2147483646 h 60"/>
                    <a:gd name="T6" fmla="*/ 0 w 81"/>
                    <a:gd name="T7" fmla="*/ 2147483646 h 60"/>
                    <a:gd name="T8" fmla="*/ 2147483646 w 81"/>
                    <a:gd name="T9" fmla="*/ 2147483646 h 6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81" h="60">
                      <a:moveTo>
                        <a:pt x="7" y="8"/>
                      </a:moveTo>
                      <a:lnTo>
                        <a:pt x="81" y="0"/>
                      </a:lnTo>
                      <a:lnTo>
                        <a:pt x="81" y="55"/>
                      </a:lnTo>
                      <a:lnTo>
                        <a:pt x="0" y="60"/>
                      </a:lnTo>
                      <a:lnTo>
                        <a:pt x="7" y="8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81" name="Freeform 37"/>
                <p:cNvSpPr>
                  <a:spLocks/>
                </p:cNvSpPr>
                <p:nvPr/>
              </p:nvSpPr>
              <p:spPr bwMode="auto">
                <a:xfrm>
                  <a:off x="5014913" y="4907756"/>
                  <a:ext cx="660400" cy="668337"/>
                </a:xfrm>
                <a:custGeom>
                  <a:avLst/>
                  <a:gdLst>
                    <a:gd name="T0" fmla="*/ 0 w 416"/>
                    <a:gd name="T1" fmla="*/ 2147483646 h 421"/>
                    <a:gd name="T2" fmla="*/ 2147483646 w 416"/>
                    <a:gd name="T3" fmla="*/ 0 h 421"/>
                    <a:gd name="T4" fmla="*/ 2147483646 w 416"/>
                    <a:gd name="T5" fmla="*/ 2147483646 h 421"/>
                    <a:gd name="T6" fmla="*/ 2147483646 w 416"/>
                    <a:gd name="T7" fmla="*/ 2147483646 h 421"/>
                    <a:gd name="T8" fmla="*/ 2147483646 w 416"/>
                    <a:gd name="T9" fmla="*/ 2147483646 h 421"/>
                    <a:gd name="T10" fmla="*/ 0 w 416"/>
                    <a:gd name="T11" fmla="*/ 2147483646 h 42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416" h="421">
                      <a:moveTo>
                        <a:pt x="0" y="195"/>
                      </a:moveTo>
                      <a:lnTo>
                        <a:pt x="242" y="0"/>
                      </a:lnTo>
                      <a:lnTo>
                        <a:pt x="416" y="89"/>
                      </a:lnTo>
                      <a:lnTo>
                        <a:pt x="314" y="370"/>
                      </a:lnTo>
                      <a:lnTo>
                        <a:pt x="162" y="421"/>
                      </a:lnTo>
                      <a:lnTo>
                        <a:pt x="0" y="195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  <p:sp>
              <p:nvSpPr>
                <p:cNvPr id="22582" name="Freeform 39"/>
                <p:cNvSpPr>
                  <a:spLocks/>
                </p:cNvSpPr>
                <p:nvPr/>
              </p:nvSpPr>
              <p:spPr bwMode="auto">
                <a:xfrm>
                  <a:off x="5549900" y="4345379"/>
                  <a:ext cx="387350" cy="614362"/>
                </a:xfrm>
                <a:custGeom>
                  <a:avLst/>
                  <a:gdLst>
                    <a:gd name="T0" fmla="*/ 0 w 244"/>
                    <a:gd name="T1" fmla="*/ 0 h 387"/>
                    <a:gd name="T2" fmla="*/ 2147483646 w 244"/>
                    <a:gd name="T3" fmla="*/ 2147483646 h 387"/>
                    <a:gd name="T4" fmla="*/ 2147483646 w 244"/>
                    <a:gd name="T5" fmla="*/ 2147483646 h 387"/>
                    <a:gd name="T6" fmla="*/ 2147483646 w 244"/>
                    <a:gd name="T7" fmla="*/ 2147483646 h 387"/>
                    <a:gd name="T8" fmla="*/ 2147483646 w 244"/>
                    <a:gd name="T9" fmla="*/ 2147483646 h 387"/>
                    <a:gd name="T10" fmla="*/ 2147483646 w 244"/>
                    <a:gd name="T11" fmla="*/ 2147483646 h 387"/>
                    <a:gd name="T12" fmla="*/ 2147483646 w 244"/>
                    <a:gd name="T13" fmla="*/ 2147483646 h 387"/>
                    <a:gd name="T14" fmla="*/ 2147483646 w 244"/>
                    <a:gd name="T15" fmla="*/ 2147483646 h 387"/>
                    <a:gd name="T16" fmla="*/ 2147483646 w 244"/>
                    <a:gd name="T17" fmla="*/ 2147483646 h 387"/>
                    <a:gd name="T18" fmla="*/ 2147483646 w 244"/>
                    <a:gd name="T19" fmla="*/ 2147483646 h 387"/>
                    <a:gd name="T20" fmla="*/ 0 w 244"/>
                    <a:gd name="T21" fmla="*/ 0 h 38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244" h="387">
                      <a:moveTo>
                        <a:pt x="0" y="0"/>
                      </a:moveTo>
                      <a:lnTo>
                        <a:pt x="141" y="50"/>
                      </a:lnTo>
                      <a:lnTo>
                        <a:pt x="194" y="119"/>
                      </a:lnTo>
                      <a:lnTo>
                        <a:pt x="177" y="231"/>
                      </a:lnTo>
                      <a:lnTo>
                        <a:pt x="244" y="336"/>
                      </a:lnTo>
                      <a:lnTo>
                        <a:pt x="171" y="387"/>
                      </a:lnTo>
                      <a:lnTo>
                        <a:pt x="109" y="344"/>
                      </a:lnTo>
                      <a:lnTo>
                        <a:pt x="90" y="289"/>
                      </a:lnTo>
                      <a:lnTo>
                        <a:pt x="52" y="213"/>
                      </a:lnTo>
                      <a:lnTo>
                        <a:pt x="50" y="10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tr-TR"/>
                </a:p>
              </p:txBody>
            </p:sp>
          </p:grpSp>
          <p:grpSp>
            <p:nvGrpSpPr>
              <p:cNvPr id="25" name="Grup 24"/>
              <p:cNvGrpSpPr/>
              <p:nvPr/>
            </p:nvGrpSpPr>
            <p:grpSpPr>
              <a:xfrm>
                <a:off x="3652044" y="1256657"/>
                <a:ext cx="3098800" cy="4918075"/>
                <a:chOff x="3660775" y="1247775"/>
                <a:chExt cx="3098800" cy="4918075"/>
              </a:xfrm>
              <a:grpFill/>
            </p:grpSpPr>
            <p:sp>
              <p:nvSpPr>
                <p:cNvPr id="26" name="Freeform 13"/>
                <p:cNvSpPr>
                  <a:spLocks/>
                </p:cNvSpPr>
                <p:nvPr/>
              </p:nvSpPr>
              <p:spPr bwMode="auto">
                <a:xfrm>
                  <a:off x="3660775" y="1247775"/>
                  <a:ext cx="1379538" cy="1081088"/>
                </a:xfrm>
                <a:custGeom>
                  <a:avLst/>
                  <a:gdLst>
                    <a:gd name="T0" fmla="*/ 309980125 w 869"/>
                    <a:gd name="T1" fmla="*/ 0 h 681"/>
                    <a:gd name="T2" fmla="*/ 131048172 w 869"/>
                    <a:gd name="T3" fmla="*/ 309980156 h 681"/>
                    <a:gd name="T4" fmla="*/ 148690066 w 869"/>
                    <a:gd name="T5" fmla="*/ 627519990 h 681"/>
                    <a:gd name="T6" fmla="*/ 0 w 869"/>
                    <a:gd name="T7" fmla="*/ 808971324 h 681"/>
                    <a:gd name="T8" fmla="*/ 637600556 w 869"/>
                    <a:gd name="T9" fmla="*/ 1282760918 h 681"/>
                    <a:gd name="T10" fmla="*/ 902216264 w 869"/>
                    <a:gd name="T11" fmla="*/ 1186994936 h 681"/>
                    <a:gd name="T12" fmla="*/ 1958162910 w 869"/>
                    <a:gd name="T13" fmla="*/ 1716227994 h 681"/>
                    <a:gd name="T14" fmla="*/ 2147483646 w 869"/>
                    <a:gd name="T15" fmla="*/ 1610381382 h 681"/>
                    <a:gd name="T16" fmla="*/ 2147483646 w 869"/>
                    <a:gd name="T17" fmla="*/ 1297881863 h 681"/>
                    <a:gd name="T18" fmla="*/ 2142133589 w 869"/>
                    <a:gd name="T19" fmla="*/ 252015742 h 681"/>
                    <a:gd name="T20" fmla="*/ 1615421535 w 869"/>
                    <a:gd name="T21" fmla="*/ 105846611 h 681"/>
                    <a:gd name="T22" fmla="*/ 1368446133 w 869"/>
                    <a:gd name="T23" fmla="*/ 279738267 h 681"/>
                    <a:gd name="T24" fmla="*/ 1197075446 w 869"/>
                    <a:gd name="T25" fmla="*/ 496471805 h 681"/>
                    <a:gd name="T26" fmla="*/ 718245585 w 869"/>
                    <a:gd name="T27" fmla="*/ 83165988 h 681"/>
                    <a:gd name="T28" fmla="*/ 309980125 w 869"/>
                    <a:gd name="T29" fmla="*/ 0 h 68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869" h="681">
                      <a:moveTo>
                        <a:pt x="123" y="0"/>
                      </a:moveTo>
                      <a:lnTo>
                        <a:pt x="52" y="123"/>
                      </a:lnTo>
                      <a:lnTo>
                        <a:pt x="59" y="249"/>
                      </a:lnTo>
                      <a:lnTo>
                        <a:pt x="0" y="321"/>
                      </a:lnTo>
                      <a:lnTo>
                        <a:pt x="253" y="509"/>
                      </a:lnTo>
                      <a:lnTo>
                        <a:pt x="358" y="471"/>
                      </a:lnTo>
                      <a:lnTo>
                        <a:pt x="777" y="681"/>
                      </a:lnTo>
                      <a:lnTo>
                        <a:pt x="862" y="639"/>
                      </a:lnTo>
                      <a:lnTo>
                        <a:pt x="869" y="515"/>
                      </a:lnTo>
                      <a:lnTo>
                        <a:pt x="850" y="100"/>
                      </a:lnTo>
                      <a:lnTo>
                        <a:pt x="641" y="42"/>
                      </a:lnTo>
                      <a:lnTo>
                        <a:pt x="543" y="111"/>
                      </a:lnTo>
                      <a:lnTo>
                        <a:pt x="475" y="197"/>
                      </a:lnTo>
                      <a:lnTo>
                        <a:pt x="285" y="33"/>
                      </a:lnTo>
                      <a:lnTo>
                        <a:pt x="123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27" name="Freeform 14"/>
                <p:cNvSpPr>
                  <a:spLocks/>
                </p:cNvSpPr>
                <p:nvPr/>
              </p:nvSpPr>
              <p:spPr bwMode="auto">
                <a:xfrm>
                  <a:off x="5002213" y="1398588"/>
                  <a:ext cx="871537" cy="677862"/>
                </a:xfrm>
                <a:custGeom>
                  <a:avLst/>
                  <a:gdLst>
                    <a:gd name="T0" fmla="*/ 0 w 549"/>
                    <a:gd name="T1" fmla="*/ 0 h 427"/>
                    <a:gd name="T2" fmla="*/ 57962767 w 549"/>
                    <a:gd name="T3" fmla="*/ 1076105131 h 427"/>
                    <a:gd name="T4" fmla="*/ 1383564194 w 549"/>
                    <a:gd name="T5" fmla="*/ 1076105131 h 427"/>
                    <a:gd name="T6" fmla="*/ 816530157 w 549"/>
                    <a:gd name="T7" fmla="*/ 463708408 h 427"/>
                    <a:gd name="T8" fmla="*/ 816530157 w 549"/>
                    <a:gd name="T9" fmla="*/ 55443397 h 427"/>
                    <a:gd name="T10" fmla="*/ 534272818 w 549"/>
                    <a:gd name="T11" fmla="*/ 30241853 h 427"/>
                    <a:gd name="T12" fmla="*/ 337700744 w 549"/>
                    <a:gd name="T13" fmla="*/ 85685249 h 427"/>
                    <a:gd name="T14" fmla="*/ 0 w 549"/>
                    <a:gd name="T15" fmla="*/ 0 h 42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49" h="427">
                      <a:moveTo>
                        <a:pt x="0" y="0"/>
                      </a:moveTo>
                      <a:lnTo>
                        <a:pt x="23" y="427"/>
                      </a:lnTo>
                      <a:lnTo>
                        <a:pt x="549" y="427"/>
                      </a:lnTo>
                      <a:lnTo>
                        <a:pt x="324" y="184"/>
                      </a:lnTo>
                      <a:lnTo>
                        <a:pt x="324" y="22"/>
                      </a:lnTo>
                      <a:lnTo>
                        <a:pt x="212" y="12"/>
                      </a:lnTo>
                      <a:lnTo>
                        <a:pt x="134" y="3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28" name="Freeform 15"/>
                <p:cNvSpPr>
                  <a:spLocks/>
                </p:cNvSpPr>
                <p:nvPr/>
              </p:nvSpPr>
              <p:spPr bwMode="auto">
                <a:xfrm>
                  <a:off x="4668838" y="2060575"/>
                  <a:ext cx="1389062" cy="1411288"/>
                </a:xfrm>
                <a:custGeom>
                  <a:avLst/>
                  <a:gdLst>
                    <a:gd name="T0" fmla="*/ 587195401 w 875"/>
                    <a:gd name="T1" fmla="*/ 0 h 889"/>
                    <a:gd name="T2" fmla="*/ 1900197129 w 875"/>
                    <a:gd name="T3" fmla="*/ 0 h 889"/>
                    <a:gd name="T4" fmla="*/ 2147483646 w 875"/>
                    <a:gd name="T5" fmla="*/ 768648722 h 889"/>
                    <a:gd name="T6" fmla="*/ 1887595558 w 875"/>
                    <a:gd name="T7" fmla="*/ 1554937751 h 889"/>
                    <a:gd name="T8" fmla="*/ 1930438993 w 875"/>
                    <a:gd name="T9" fmla="*/ 2026206343 h 889"/>
                    <a:gd name="T10" fmla="*/ 1761587791 w 875"/>
                    <a:gd name="T11" fmla="*/ 2147483646 h 889"/>
                    <a:gd name="T12" fmla="*/ 1260077671 w 875"/>
                    <a:gd name="T13" fmla="*/ 2147483646 h 889"/>
                    <a:gd name="T14" fmla="*/ 778727207 w 875"/>
                    <a:gd name="T15" fmla="*/ 2096770743 h 889"/>
                    <a:gd name="T16" fmla="*/ 561993848 w 875"/>
                    <a:gd name="T17" fmla="*/ 1809472829 h 889"/>
                    <a:gd name="T18" fmla="*/ 357862059 w 875"/>
                    <a:gd name="T19" fmla="*/ 1789311571 h 889"/>
                    <a:gd name="T20" fmla="*/ 0 w 875"/>
                    <a:gd name="T21" fmla="*/ 1166833551 h 889"/>
                    <a:gd name="T22" fmla="*/ 110886835 w 875"/>
                    <a:gd name="T23" fmla="*/ 892135629 h 889"/>
                    <a:gd name="T24" fmla="*/ 282257398 w 875"/>
                    <a:gd name="T25" fmla="*/ 839213122 h 889"/>
                    <a:gd name="T26" fmla="*/ 357862059 w 875"/>
                    <a:gd name="T27" fmla="*/ 423386400 h 889"/>
                    <a:gd name="T28" fmla="*/ 561993848 w 875"/>
                    <a:gd name="T29" fmla="*/ 317539800 h 889"/>
                    <a:gd name="T30" fmla="*/ 587195401 w 875"/>
                    <a:gd name="T31" fmla="*/ 0 h 88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875" h="889">
                      <a:moveTo>
                        <a:pt x="233" y="0"/>
                      </a:moveTo>
                      <a:lnTo>
                        <a:pt x="754" y="0"/>
                      </a:lnTo>
                      <a:lnTo>
                        <a:pt x="875" y="305"/>
                      </a:lnTo>
                      <a:lnTo>
                        <a:pt x="749" y="617"/>
                      </a:lnTo>
                      <a:lnTo>
                        <a:pt x="766" y="804"/>
                      </a:lnTo>
                      <a:lnTo>
                        <a:pt x="699" y="888"/>
                      </a:lnTo>
                      <a:lnTo>
                        <a:pt x="500" y="889"/>
                      </a:lnTo>
                      <a:lnTo>
                        <a:pt x="309" y="832"/>
                      </a:lnTo>
                      <a:lnTo>
                        <a:pt x="223" y="718"/>
                      </a:lnTo>
                      <a:lnTo>
                        <a:pt x="142" y="710"/>
                      </a:lnTo>
                      <a:lnTo>
                        <a:pt x="0" y="463"/>
                      </a:lnTo>
                      <a:lnTo>
                        <a:pt x="44" y="354"/>
                      </a:lnTo>
                      <a:lnTo>
                        <a:pt x="112" y="333"/>
                      </a:lnTo>
                      <a:lnTo>
                        <a:pt x="142" y="168"/>
                      </a:lnTo>
                      <a:lnTo>
                        <a:pt x="223" y="126"/>
                      </a:lnTo>
                      <a:lnTo>
                        <a:pt x="233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29" name="Freeform 30"/>
                <p:cNvSpPr>
                  <a:spLocks/>
                </p:cNvSpPr>
                <p:nvPr/>
              </p:nvSpPr>
              <p:spPr bwMode="auto">
                <a:xfrm>
                  <a:off x="3702050" y="3371850"/>
                  <a:ext cx="1865313" cy="1346200"/>
                </a:xfrm>
                <a:custGeom>
                  <a:avLst/>
                  <a:gdLst>
                    <a:gd name="T0" fmla="*/ 2147483646 w 1175"/>
                    <a:gd name="T1" fmla="*/ 0 h 848"/>
                    <a:gd name="T2" fmla="*/ 2147483646 w 1175"/>
                    <a:gd name="T3" fmla="*/ 153730325 h 848"/>
                    <a:gd name="T4" fmla="*/ 2147483646 w 1175"/>
                    <a:gd name="T5" fmla="*/ 398184688 h 848"/>
                    <a:gd name="T6" fmla="*/ 2147483646 w 1175"/>
                    <a:gd name="T7" fmla="*/ 645160000 h 848"/>
                    <a:gd name="T8" fmla="*/ 2147483646 w 1175"/>
                    <a:gd name="T9" fmla="*/ 879535325 h 848"/>
                    <a:gd name="T10" fmla="*/ 2147483646 w 1175"/>
                    <a:gd name="T11" fmla="*/ 1144150938 h 848"/>
                    <a:gd name="T12" fmla="*/ 2147483646 w 1175"/>
                    <a:gd name="T13" fmla="*/ 1572577500 h 848"/>
                    <a:gd name="T14" fmla="*/ 2147483646 w 1175"/>
                    <a:gd name="T15" fmla="*/ 1572577500 h 848"/>
                    <a:gd name="T16" fmla="*/ 2147483646 w 1175"/>
                    <a:gd name="T17" fmla="*/ 1839714063 h 848"/>
                    <a:gd name="T18" fmla="*/ 2147483646 w 1175"/>
                    <a:gd name="T19" fmla="*/ 2056447500 h 848"/>
                    <a:gd name="T20" fmla="*/ 2147483646 w 1175"/>
                    <a:gd name="T21" fmla="*/ 2137092500 h 848"/>
                    <a:gd name="T22" fmla="*/ 1436489448 w 1175"/>
                    <a:gd name="T23" fmla="*/ 1910278438 h 848"/>
                    <a:gd name="T24" fmla="*/ 1391126623 w 1175"/>
                    <a:gd name="T25" fmla="*/ 1325602188 h 848"/>
                    <a:gd name="T26" fmla="*/ 1194554383 w 1175"/>
                    <a:gd name="T27" fmla="*/ 1318042513 h 848"/>
                    <a:gd name="T28" fmla="*/ 1000503093 w 1175"/>
                    <a:gd name="T29" fmla="*/ 1481851875 h 848"/>
                    <a:gd name="T30" fmla="*/ 698084262 w 1175"/>
                    <a:gd name="T31" fmla="*/ 1459171263 h 848"/>
                    <a:gd name="T32" fmla="*/ 685482684 w 1175"/>
                    <a:gd name="T33" fmla="*/ 1255037813 h 848"/>
                    <a:gd name="T34" fmla="*/ 136088474 w 1175"/>
                    <a:gd name="T35" fmla="*/ 1370965000 h 848"/>
                    <a:gd name="T36" fmla="*/ 0 w 1175"/>
                    <a:gd name="T37" fmla="*/ 1123989688 h 848"/>
                    <a:gd name="T38" fmla="*/ 582157044 w 1175"/>
                    <a:gd name="T39" fmla="*/ 950099700 h 848"/>
                    <a:gd name="T40" fmla="*/ 1063506223 w 1175"/>
                    <a:gd name="T41" fmla="*/ 158770638 h 848"/>
                    <a:gd name="T42" fmla="*/ 1207155961 w 1175"/>
                    <a:gd name="T43" fmla="*/ 7561263 h 848"/>
                    <a:gd name="T44" fmla="*/ 1466731331 w 1175"/>
                    <a:gd name="T45" fmla="*/ 83165950 h 848"/>
                    <a:gd name="T46" fmla="*/ 1822074251 w 1175"/>
                    <a:gd name="T47" fmla="*/ 83165950 h 848"/>
                    <a:gd name="T48" fmla="*/ 2147483646 w 1175"/>
                    <a:gd name="T49" fmla="*/ 0 h 8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1175" h="848">
                      <a:moveTo>
                        <a:pt x="922" y="0"/>
                      </a:moveTo>
                      <a:lnTo>
                        <a:pt x="1112" y="61"/>
                      </a:lnTo>
                      <a:lnTo>
                        <a:pt x="1148" y="158"/>
                      </a:lnTo>
                      <a:lnTo>
                        <a:pt x="1039" y="256"/>
                      </a:lnTo>
                      <a:lnTo>
                        <a:pt x="1110" y="349"/>
                      </a:lnTo>
                      <a:lnTo>
                        <a:pt x="1103" y="454"/>
                      </a:lnTo>
                      <a:lnTo>
                        <a:pt x="1175" y="624"/>
                      </a:lnTo>
                      <a:lnTo>
                        <a:pt x="908" y="624"/>
                      </a:lnTo>
                      <a:lnTo>
                        <a:pt x="908" y="730"/>
                      </a:lnTo>
                      <a:lnTo>
                        <a:pt x="1009" y="816"/>
                      </a:lnTo>
                      <a:lnTo>
                        <a:pt x="967" y="848"/>
                      </a:lnTo>
                      <a:lnTo>
                        <a:pt x="570" y="758"/>
                      </a:lnTo>
                      <a:lnTo>
                        <a:pt x="552" y="526"/>
                      </a:lnTo>
                      <a:lnTo>
                        <a:pt x="474" y="523"/>
                      </a:lnTo>
                      <a:lnTo>
                        <a:pt x="397" y="588"/>
                      </a:lnTo>
                      <a:lnTo>
                        <a:pt x="277" y="579"/>
                      </a:lnTo>
                      <a:lnTo>
                        <a:pt x="272" y="498"/>
                      </a:lnTo>
                      <a:lnTo>
                        <a:pt x="54" y="544"/>
                      </a:lnTo>
                      <a:lnTo>
                        <a:pt x="0" y="446"/>
                      </a:lnTo>
                      <a:lnTo>
                        <a:pt x="231" y="377"/>
                      </a:lnTo>
                      <a:lnTo>
                        <a:pt x="422" y="63"/>
                      </a:lnTo>
                      <a:lnTo>
                        <a:pt x="479" y="3"/>
                      </a:lnTo>
                      <a:lnTo>
                        <a:pt x="582" y="33"/>
                      </a:lnTo>
                      <a:lnTo>
                        <a:pt x="723" y="33"/>
                      </a:lnTo>
                      <a:lnTo>
                        <a:pt x="922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0" name="Freeform 31"/>
                <p:cNvSpPr>
                  <a:spLocks/>
                </p:cNvSpPr>
                <p:nvPr/>
              </p:nvSpPr>
              <p:spPr bwMode="auto">
                <a:xfrm>
                  <a:off x="5843588" y="2536825"/>
                  <a:ext cx="915987" cy="1009650"/>
                </a:xfrm>
                <a:custGeom>
                  <a:avLst/>
                  <a:gdLst>
                    <a:gd name="T0" fmla="*/ 2147483647 w 577"/>
                    <a:gd name="T1" fmla="*/ 0 h 636"/>
                    <a:gd name="T2" fmla="*/ 0 w 577"/>
                    <a:gd name="T3" fmla="*/ 2147483647 h 636"/>
                    <a:gd name="T4" fmla="*/ 2147483647 w 577"/>
                    <a:gd name="T5" fmla="*/ 2147483647 h 636"/>
                    <a:gd name="T6" fmla="*/ 2147483647 w 577"/>
                    <a:gd name="T7" fmla="*/ 2147483647 h 636"/>
                    <a:gd name="T8" fmla="*/ 2147483647 w 577"/>
                    <a:gd name="T9" fmla="*/ 2147483647 h 636"/>
                    <a:gd name="T10" fmla="*/ 2147483647 w 577"/>
                    <a:gd name="T11" fmla="*/ 2147483647 h 636"/>
                    <a:gd name="T12" fmla="*/ 2147483647 w 577"/>
                    <a:gd name="T13" fmla="*/ 2147483647 h 636"/>
                    <a:gd name="T14" fmla="*/ 2147483647 w 577"/>
                    <a:gd name="T15" fmla="*/ 2147483647 h 636"/>
                    <a:gd name="T16" fmla="*/ 2147483647 w 577"/>
                    <a:gd name="T17" fmla="*/ 2147483647 h 636"/>
                    <a:gd name="T18" fmla="*/ 2147483647 w 577"/>
                    <a:gd name="T19" fmla="*/ 2147483647 h 636"/>
                    <a:gd name="T20" fmla="*/ 2147483647 w 577"/>
                    <a:gd name="T21" fmla="*/ 2147483647 h 636"/>
                    <a:gd name="T22" fmla="*/ 2147483647 w 577"/>
                    <a:gd name="T23" fmla="*/ 0 h 6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577" h="636">
                      <a:moveTo>
                        <a:pt x="130" y="0"/>
                      </a:moveTo>
                      <a:lnTo>
                        <a:pt x="0" y="323"/>
                      </a:lnTo>
                      <a:lnTo>
                        <a:pt x="22" y="506"/>
                      </a:lnTo>
                      <a:lnTo>
                        <a:pt x="304" y="636"/>
                      </a:lnTo>
                      <a:lnTo>
                        <a:pt x="392" y="583"/>
                      </a:lnTo>
                      <a:lnTo>
                        <a:pt x="532" y="546"/>
                      </a:lnTo>
                      <a:lnTo>
                        <a:pt x="577" y="448"/>
                      </a:lnTo>
                      <a:lnTo>
                        <a:pt x="401" y="343"/>
                      </a:lnTo>
                      <a:lnTo>
                        <a:pt x="411" y="247"/>
                      </a:lnTo>
                      <a:lnTo>
                        <a:pt x="378" y="227"/>
                      </a:lnTo>
                      <a:lnTo>
                        <a:pt x="406" y="145"/>
                      </a:lnTo>
                      <a:lnTo>
                        <a:pt x="130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1" name="Freeform 33"/>
                <p:cNvSpPr>
                  <a:spLocks/>
                </p:cNvSpPr>
                <p:nvPr/>
              </p:nvSpPr>
              <p:spPr bwMode="auto">
                <a:xfrm>
                  <a:off x="5770563" y="3336925"/>
                  <a:ext cx="639762" cy="773113"/>
                </a:xfrm>
                <a:custGeom>
                  <a:avLst/>
                  <a:gdLst>
                    <a:gd name="T0" fmla="*/ 2147483647 w 403"/>
                    <a:gd name="T1" fmla="*/ 0 h 487"/>
                    <a:gd name="T2" fmla="*/ 2147483647 w 403"/>
                    <a:gd name="T3" fmla="*/ 2147483647 h 487"/>
                    <a:gd name="T4" fmla="*/ 2147483647 w 403"/>
                    <a:gd name="T5" fmla="*/ 2147483647 h 487"/>
                    <a:gd name="T6" fmla="*/ 0 w 403"/>
                    <a:gd name="T7" fmla="*/ 2147483647 h 487"/>
                    <a:gd name="T8" fmla="*/ 2147483647 w 403"/>
                    <a:gd name="T9" fmla="*/ 2147483647 h 487"/>
                    <a:gd name="T10" fmla="*/ 2147483647 w 403"/>
                    <a:gd name="T11" fmla="*/ 2147483647 h 487"/>
                    <a:gd name="T12" fmla="*/ 2147483647 w 403"/>
                    <a:gd name="T13" fmla="*/ 2147483647 h 487"/>
                    <a:gd name="T14" fmla="*/ 2147483647 w 403"/>
                    <a:gd name="T15" fmla="*/ 2147483647 h 487"/>
                    <a:gd name="T16" fmla="*/ 2147483647 w 403"/>
                    <a:gd name="T17" fmla="*/ 2147483647 h 487"/>
                    <a:gd name="T18" fmla="*/ 2147483647 w 403"/>
                    <a:gd name="T19" fmla="*/ 2147483647 h 487"/>
                    <a:gd name="T20" fmla="*/ 2147483647 w 403"/>
                    <a:gd name="T21" fmla="*/ 2147483647 h 487"/>
                    <a:gd name="T22" fmla="*/ 2147483647 w 403"/>
                    <a:gd name="T23" fmla="*/ 0 h 487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403" h="487">
                      <a:moveTo>
                        <a:pt x="68" y="0"/>
                      </a:moveTo>
                      <a:lnTo>
                        <a:pt x="5" y="80"/>
                      </a:lnTo>
                      <a:lnTo>
                        <a:pt x="41" y="150"/>
                      </a:lnTo>
                      <a:lnTo>
                        <a:pt x="0" y="273"/>
                      </a:lnTo>
                      <a:lnTo>
                        <a:pt x="45" y="340"/>
                      </a:lnTo>
                      <a:lnTo>
                        <a:pt x="176" y="393"/>
                      </a:lnTo>
                      <a:lnTo>
                        <a:pt x="307" y="487"/>
                      </a:lnTo>
                      <a:lnTo>
                        <a:pt x="402" y="401"/>
                      </a:lnTo>
                      <a:lnTo>
                        <a:pt x="403" y="292"/>
                      </a:lnTo>
                      <a:lnTo>
                        <a:pt x="331" y="197"/>
                      </a:lnTo>
                      <a:lnTo>
                        <a:pt x="350" y="132"/>
                      </a:lnTo>
                      <a:lnTo>
                        <a:pt x="68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2" name="Freeform 34"/>
                <p:cNvSpPr>
                  <a:spLocks/>
                </p:cNvSpPr>
                <p:nvPr/>
              </p:nvSpPr>
              <p:spPr bwMode="auto">
                <a:xfrm>
                  <a:off x="5348288" y="3468688"/>
                  <a:ext cx="911225" cy="1071562"/>
                </a:xfrm>
                <a:custGeom>
                  <a:avLst/>
                  <a:gdLst>
                    <a:gd name="T0" fmla="*/ 181451250 w 574"/>
                    <a:gd name="T1" fmla="*/ 0 h 675"/>
                    <a:gd name="T2" fmla="*/ 688003450 w 574"/>
                    <a:gd name="T3" fmla="*/ 0 h 675"/>
                    <a:gd name="T4" fmla="*/ 783769388 w 574"/>
                    <a:gd name="T5" fmla="*/ 161289925 h 675"/>
                    <a:gd name="T6" fmla="*/ 672882513 w 574"/>
                    <a:gd name="T7" fmla="*/ 476308515 h 675"/>
                    <a:gd name="T8" fmla="*/ 786288750 w 574"/>
                    <a:gd name="T9" fmla="*/ 642638750 h 675"/>
                    <a:gd name="T10" fmla="*/ 1126510638 w 574"/>
                    <a:gd name="T11" fmla="*/ 778727124 h 675"/>
                    <a:gd name="T12" fmla="*/ 1446569688 w 574"/>
                    <a:gd name="T13" fmla="*/ 1018142650 h 675"/>
                    <a:gd name="T14" fmla="*/ 1159271875 w 574"/>
                    <a:gd name="T15" fmla="*/ 1295359708 h 675"/>
                    <a:gd name="T16" fmla="*/ 1313002200 w 574"/>
                    <a:gd name="T17" fmla="*/ 1484370545 h 675"/>
                    <a:gd name="T18" fmla="*/ 1244957188 w 574"/>
                    <a:gd name="T19" fmla="*/ 1701103881 h 675"/>
                    <a:gd name="T20" fmla="*/ 798890325 w 574"/>
                    <a:gd name="T21" fmla="*/ 1698584520 h 675"/>
                    <a:gd name="T22" fmla="*/ 672882513 w 574"/>
                    <a:gd name="T23" fmla="*/ 1532254285 h 675"/>
                    <a:gd name="T24" fmla="*/ 332660625 w 574"/>
                    <a:gd name="T25" fmla="*/ 1411286841 h 675"/>
                    <a:gd name="T26" fmla="*/ 151209375 w 574"/>
                    <a:gd name="T27" fmla="*/ 997981409 h 675"/>
                    <a:gd name="T28" fmla="*/ 183972200 w 574"/>
                    <a:gd name="T29" fmla="*/ 725804661 h 675"/>
                    <a:gd name="T30" fmla="*/ 0 w 574"/>
                    <a:gd name="T31" fmla="*/ 491429446 h 675"/>
                    <a:gd name="T32" fmla="*/ 274697825 w 574"/>
                    <a:gd name="T33" fmla="*/ 244454248 h 675"/>
                    <a:gd name="T34" fmla="*/ 181451250 w 574"/>
                    <a:gd name="T35" fmla="*/ 0 h 67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574" h="675">
                      <a:moveTo>
                        <a:pt x="72" y="0"/>
                      </a:moveTo>
                      <a:lnTo>
                        <a:pt x="273" y="0"/>
                      </a:lnTo>
                      <a:lnTo>
                        <a:pt x="311" y="64"/>
                      </a:lnTo>
                      <a:lnTo>
                        <a:pt x="267" y="189"/>
                      </a:lnTo>
                      <a:lnTo>
                        <a:pt x="312" y="255"/>
                      </a:lnTo>
                      <a:lnTo>
                        <a:pt x="447" y="309"/>
                      </a:lnTo>
                      <a:lnTo>
                        <a:pt x="574" y="404"/>
                      </a:lnTo>
                      <a:lnTo>
                        <a:pt x="460" y="514"/>
                      </a:lnTo>
                      <a:lnTo>
                        <a:pt x="521" y="589"/>
                      </a:lnTo>
                      <a:lnTo>
                        <a:pt x="494" y="675"/>
                      </a:lnTo>
                      <a:lnTo>
                        <a:pt x="317" y="674"/>
                      </a:lnTo>
                      <a:lnTo>
                        <a:pt x="267" y="608"/>
                      </a:lnTo>
                      <a:lnTo>
                        <a:pt x="132" y="560"/>
                      </a:lnTo>
                      <a:lnTo>
                        <a:pt x="60" y="396"/>
                      </a:lnTo>
                      <a:lnTo>
                        <a:pt x="73" y="288"/>
                      </a:lnTo>
                      <a:lnTo>
                        <a:pt x="0" y="195"/>
                      </a:lnTo>
                      <a:lnTo>
                        <a:pt x="109" y="97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3" name="Freeform 35"/>
                <p:cNvSpPr>
                  <a:spLocks/>
                </p:cNvSpPr>
                <p:nvPr/>
              </p:nvSpPr>
              <p:spPr bwMode="auto">
                <a:xfrm>
                  <a:off x="5507038" y="4537075"/>
                  <a:ext cx="730250" cy="1249363"/>
                </a:xfrm>
                <a:custGeom>
                  <a:avLst/>
                  <a:gdLst>
                    <a:gd name="T0" fmla="*/ 546874700 w 460"/>
                    <a:gd name="T1" fmla="*/ 5040315 h 787"/>
                    <a:gd name="T2" fmla="*/ 975301263 w 460"/>
                    <a:gd name="T3" fmla="*/ 0 h 787"/>
                    <a:gd name="T4" fmla="*/ 1159271875 w 460"/>
                    <a:gd name="T5" fmla="*/ 186491637 h 787"/>
                    <a:gd name="T6" fmla="*/ 1060986575 w 460"/>
                    <a:gd name="T7" fmla="*/ 715724661 h 787"/>
                    <a:gd name="T8" fmla="*/ 602318138 w 460"/>
                    <a:gd name="T9" fmla="*/ 1335683347 h 787"/>
                    <a:gd name="T10" fmla="*/ 446068450 w 460"/>
                    <a:gd name="T11" fmla="*/ 1756550403 h 787"/>
                    <a:gd name="T12" fmla="*/ 98286888 w 460"/>
                    <a:gd name="T13" fmla="*/ 1983364556 h 787"/>
                    <a:gd name="T14" fmla="*/ 0 w 460"/>
                    <a:gd name="T15" fmla="*/ 1507054041 h 787"/>
                    <a:gd name="T16" fmla="*/ 259576888 w 460"/>
                    <a:gd name="T17" fmla="*/ 801410008 h 787"/>
                    <a:gd name="T18" fmla="*/ 35282188 w 460"/>
                    <a:gd name="T19" fmla="*/ 680442460 h 787"/>
                    <a:gd name="T20" fmla="*/ 307459063 w 460"/>
                    <a:gd name="T21" fmla="*/ 453628307 h 787"/>
                    <a:gd name="T22" fmla="*/ 350302513 w 460"/>
                    <a:gd name="T23" fmla="*/ 567036177 h 787"/>
                    <a:gd name="T24" fmla="*/ 498990938 w 460"/>
                    <a:gd name="T25" fmla="*/ 677923096 h 787"/>
                    <a:gd name="T26" fmla="*/ 680442188 w 460"/>
                    <a:gd name="T27" fmla="*/ 554434597 h 787"/>
                    <a:gd name="T28" fmla="*/ 509071563 w 460"/>
                    <a:gd name="T29" fmla="*/ 287297927 h 787"/>
                    <a:gd name="T30" fmla="*/ 546874700 w 460"/>
                    <a:gd name="T31" fmla="*/ 5040315 h 78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460" h="787">
                      <a:moveTo>
                        <a:pt x="217" y="2"/>
                      </a:moveTo>
                      <a:lnTo>
                        <a:pt x="387" y="0"/>
                      </a:lnTo>
                      <a:lnTo>
                        <a:pt x="460" y="74"/>
                      </a:lnTo>
                      <a:lnTo>
                        <a:pt x="421" y="284"/>
                      </a:lnTo>
                      <a:lnTo>
                        <a:pt x="239" y="530"/>
                      </a:lnTo>
                      <a:lnTo>
                        <a:pt x="177" y="697"/>
                      </a:lnTo>
                      <a:lnTo>
                        <a:pt x="39" y="787"/>
                      </a:lnTo>
                      <a:lnTo>
                        <a:pt x="0" y="598"/>
                      </a:lnTo>
                      <a:lnTo>
                        <a:pt x="103" y="318"/>
                      </a:lnTo>
                      <a:lnTo>
                        <a:pt x="14" y="270"/>
                      </a:lnTo>
                      <a:lnTo>
                        <a:pt x="122" y="180"/>
                      </a:lnTo>
                      <a:lnTo>
                        <a:pt x="139" y="225"/>
                      </a:lnTo>
                      <a:lnTo>
                        <a:pt x="198" y="269"/>
                      </a:lnTo>
                      <a:lnTo>
                        <a:pt x="270" y="220"/>
                      </a:lnTo>
                      <a:lnTo>
                        <a:pt x="202" y="114"/>
                      </a:lnTo>
                      <a:lnTo>
                        <a:pt x="217" y="2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4" name="Freeform 36"/>
                <p:cNvSpPr>
                  <a:spLocks/>
                </p:cNvSpPr>
                <p:nvPr/>
              </p:nvSpPr>
              <p:spPr bwMode="auto">
                <a:xfrm>
                  <a:off x="6345238" y="4592638"/>
                  <a:ext cx="385762" cy="1049337"/>
                </a:xfrm>
                <a:custGeom>
                  <a:avLst/>
                  <a:gdLst>
                    <a:gd name="T0" fmla="*/ 506549956 w 243"/>
                    <a:gd name="T1" fmla="*/ 0 h 661"/>
                    <a:gd name="T2" fmla="*/ 340219859 w 243"/>
                    <a:gd name="T3" fmla="*/ 425905410 h 661"/>
                    <a:gd name="T4" fmla="*/ 80644895 w 243"/>
                    <a:gd name="T5" fmla="*/ 579635661 h 661"/>
                    <a:gd name="T6" fmla="*/ 136088261 w 243"/>
                    <a:gd name="T7" fmla="*/ 1023182950 h 661"/>
                    <a:gd name="T8" fmla="*/ 0 w 243"/>
                    <a:gd name="T9" fmla="*/ 1265117835 h 661"/>
                    <a:gd name="T10" fmla="*/ 12599971 w 243"/>
                    <a:gd name="T11" fmla="*/ 1665821694 h 661"/>
                    <a:gd name="T12" fmla="*/ 415824449 w 243"/>
                    <a:gd name="T13" fmla="*/ 1491931789 h 661"/>
                    <a:gd name="T14" fmla="*/ 612396381 w 243"/>
                    <a:gd name="T15" fmla="*/ 655240313 h 661"/>
                    <a:gd name="T16" fmla="*/ 506549956 w 243"/>
                    <a:gd name="T17" fmla="*/ 0 h 66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243" h="661">
                      <a:moveTo>
                        <a:pt x="201" y="0"/>
                      </a:moveTo>
                      <a:lnTo>
                        <a:pt x="135" y="169"/>
                      </a:lnTo>
                      <a:lnTo>
                        <a:pt x="32" y="230"/>
                      </a:lnTo>
                      <a:lnTo>
                        <a:pt x="54" y="406"/>
                      </a:lnTo>
                      <a:lnTo>
                        <a:pt x="0" y="502"/>
                      </a:lnTo>
                      <a:lnTo>
                        <a:pt x="5" y="661"/>
                      </a:lnTo>
                      <a:lnTo>
                        <a:pt x="165" y="592"/>
                      </a:lnTo>
                      <a:lnTo>
                        <a:pt x="243" y="260"/>
                      </a:lnTo>
                      <a:lnTo>
                        <a:pt x="201" y="0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5" name="Freeform 38"/>
                <p:cNvSpPr>
                  <a:spLocks/>
                </p:cNvSpPr>
                <p:nvPr/>
              </p:nvSpPr>
              <p:spPr bwMode="auto">
                <a:xfrm>
                  <a:off x="4678363" y="4357688"/>
                  <a:ext cx="1023937" cy="855662"/>
                </a:xfrm>
                <a:custGeom>
                  <a:avLst/>
                  <a:gdLst>
                    <a:gd name="T0" fmla="*/ 728324007 w 645"/>
                    <a:gd name="T1" fmla="*/ 2519361 h 539"/>
                    <a:gd name="T2" fmla="*/ 1396165881 w 645"/>
                    <a:gd name="T3" fmla="*/ 0 h 539"/>
                    <a:gd name="T4" fmla="*/ 1522173632 w 645"/>
                    <a:gd name="T5" fmla="*/ 264615458 h 539"/>
                    <a:gd name="T6" fmla="*/ 1522173632 w 645"/>
                    <a:gd name="T7" fmla="*/ 526711555 h 539"/>
                    <a:gd name="T8" fmla="*/ 1625499194 w 645"/>
                    <a:gd name="T9" fmla="*/ 738404556 h 539"/>
                    <a:gd name="T10" fmla="*/ 1355843400 w 645"/>
                    <a:gd name="T11" fmla="*/ 970258796 h 539"/>
                    <a:gd name="T12" fmla="*/ 1144150379 w 645"/>
                    <a:gd name="T13" fmla="*/ 866933243 h 539"/>
                    <a:gd name="T14" fmla="*/ 534272864 w 645"/>
                    <a:gd name="T15" fmla="*/ 1358362631 h 539"/>
                    <a:gd name="T16" fmla="*/ 194051143 w 645"/>
                    <a:gd name="T17" fmla="*/ 1194553364 h 539"/>
                    <a:gd name="T18" fmla="*/ 0 w 645"/>
                    <a:gd name="T19" fmla="*/ 801409219 h 539"/>
                    <a:gd name="T20" fmla="*/ 315018584 w 645"/>
                    <a:gd name="T21" fmla="*/ 637598365 h 539"/>
                    <a:gd name="T22" fmla="*/ 178930213 w 645"/>
                    <a:gd name="T23" fmla="*/ 408265074 h 539"/>
                    <a:gd name="T24" fmla="*/ 884573618 w 645"/>
                    <a:gd name="T25" fmla="*/ 561993722 h 539"/>
                    <a:gd name="T26" fmla="*/ 985379819 w 645"/>
                    <a:gd name="T27" fmla="*/ 491429388 h 539"/>
                    <a:gd name="T28" fmla="*/ 728324007 w 645"/>
                    <a:gd name="T29" fmla="*/ 284776696 h 539"/>
                    <a:gd name="T30" fmla="*/ 728324007 w 645"/>
                    <a:gd name="T31" fmla="*/ 2519361 h 539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645" h="539">
                      <a:moveTo>
                        <a:pt x="289" y="1"/>
                      </a:moveTo>
                      <a:lnTo>
                        <a:pt x="554" y="0"/>
                      </a:lnTo>
                      <a:lnTo>
                        <a:pt x="604" y="105"/>
                      </a:lnTo>
                      <a:lnTo>
                        <a:pt x="604" y="209"/>
                      </a:lnTo>
                      <a:lnTo>
                        <a:pt x="645" y="293"/>
                      </a:lnTo>
                      <a:lnTo>
                        <a:pt x="538" y="385"/>
                      </a:lnTo>
                      <a:lnTo>
                        <a:pt x="454" y="344"/>
                      </a:lnTo>
                      <a:lnTo>
                        <a:pt x="212" y="539"/>
                      </a:lnTo>
                      <a:lnTo>
                        <a:pt x="77" y="474"/>
                      </a:lnTo>
                      <a:lnTo>
                        <a:pt x="0" y="318"/>
                      </a:lnTo>
                      <a:lnTo>
                        <a:pt x="125" y="253"/>
                      </a:lnTo>
                      <a:lnTo>
                        <a:pt x="71" y="162"/>
                      </a:lnTo>
                      <a:lnTo>
                        <a:pt x="351" y="223"/>
                      </a:lnTo>
                      <a:lnTo>
                        <a:pt x="391" y="195"/>
                      </a:lnTo>
                      <a:lnTo>
                        <a:pt x="289" y="113"/>
                      </a:lnTo>
                      <a:lnTo>
                        <a:pt x="289" y="1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6" name="Freeform 40"/>
                <p:cNvSpPr>
                  <a:spLocks/>
                </p:cNvSpPr>
                <p:nvPr/>
              </p:nvSpPr>
              <p:spPr bwMode="auto">
                <a:xfrm>
                  <a:off x="3787775" y="4154488"/>
                  <a:ext cx="1098550" cy="955675"/>
                </a:xfrm>
                <a:custGeom>
                  <a:avLst/>
                  <a:gdLst>
                    <a:gd name="T0" fmla="*/ 0 w 692"/>
                    <a:gd name="T1" fmla="*/ 118448138 h 602"/>
                    <a:gd name="T2" fmla="*/ 561995638 w 692"/>
                    <a:gd name="T3" fmla="*/ 0 h 602"/>
                    <a:gd name="T4" fmla="*/ 572076263 w 692"/>
                    <a:gd name="T5" fmla="*/ 214214075 h 602"/>
                    <a:gd name="T6" fmla="*/ 866933750 w 692"/>
                    <a:gd name="T7" fmla="*/ 226814063 h 602"/>
                    <a:gd name="T8" fmla="*/ 1045865638 w 692"/>
                    <a:gd name="T9" fmla="*/ 75604688 h 602"/>
                    <a:gd name="T10" fmla="*/ 1257558763 w 692"/>
                    <a:gd name="T11" fmla="*/ 80645000 h 602"/>
                    <a:gd name="T12" fmla="*/ 1302921575 w 692"/>
                    <a:gd name="T13" fmla="*/ 667842200 h 602"/>
                    <a:gd name="T14" fmla="*/ 1605340325 w 692"/>
                    <a:gd name="T15" fmla="*/ 733366263 h 602"/>
                    <a:gd name="T16" fmla="*/ 1743948125 w 692"/>
                    <a:gd name="T17" fmla="*/ 967740000 h 602"/>
                    <a:gd name="T18" fmla="*/ 1426408438 w 692"/>
                    <a:gd name="T19" fmla="*/ 1121470325 h 602"/>
                    <a:gd name="T20" fmla="*/ 1617940313 w 692"/>
                    <a:gd name="T21" fmla="*/ 1517134063 h 602"/>
                    <a:gd name="T22" fmla="*/ 35282188 w 692"/>
                    <a:gd name="T23" fmla="*/ 1517134063 h 602"/>
                    <a:gd name="T24" fmla="*/ 332660625 w 692"/>
                    <a:gd name="T25" fmla="*/ 940019075 h 602"/>
                    <a:gd name="T26" fmla="*/ 151209375 w 692"/>
                    <a:gd name="T27" fmla="*/ 667842200 h 602"/>
                    <a:gd name="T28" fmla="*/ 181451250 w 692"/>
                    <a:gd name="T29" fmla="*/ 433466875 h 602"/>
                    <a:gd name="T30" fmla="*/ 0 w 692"/>
                    <a:gd name="T31" fmla="*/ 118448138 h 60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692" h="602">
                      <a:moveTo>
                        <a:pt x="0" y="47"/>
                      </a:moveTo>
                      <a:lnTo>
                        <a:pt x="223" y="0"/>
                      </a:lnTo>
                      <a:lnTo>
                        <a:pt x="227" y="85"/>
                      </a:lnTo>
                      <a:lnTo>
                        <a:pt x="344" y="90"/>
                      </a:lnTo>
                      <a:lnTo>
                        <a:pt x="415" y="30"/>
                      </a:lnTo>
                      <a:lnTo>
                        <a:pt x="499" y="32"/>
                      </a:lnTo>
                      <a:lnTo>
                        <a:pt x="517" y="265"/>
                      </a:lnTo>
                      <a:lnTo>
                        <a:pt x="637" y="291"/>
                      </a:lnTo>
                      <a:lnTo>
                        <a:pt x="692" y="384"/>
                      </a:lnTo>
                      <a:lnTo>
                        <a:pt x="566" y="445"/>
                      </a:lnTo>
                      <a:lnTo>
                        <a:pt x="642" y="602"/>
                      </a:lnTo>
                      <a:lnTo>
                        <a:pt x="14" y="602"/>
                      </a:lnTo>
                      <a:lnTo>
                        <a:pt x="132" y="373"/>
                      </a:lnTo>
                      <a:lnTo>
                        <a:pt x="60" y="265"/>
                      </a:lnTo>
                      <a:lnTo>
                        <a:pt x="72" y="172"/>
                      </a:lnTo>
                      <a:lnTo>
                        <a:pt x="0" y="47"/>
                      </a:lnTo>
                      <a:close/>
                    </a:path>
                  </a:pathLst>
                </a:custGeom>
                <a:grpFill/>
                <a:ln w="158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7" name="Freeform 41"/>
                <p:cNvSpPr>
                  <a:spLocks/>
                </p:cNvSpPr>
                <p:nvPr/>
              </p:nvSpPr>
              <p:spPr bwMode="auto">
                <a:xfrm>
                  <a:off x="3810000" y="5103813"/>
                  <a:ext cx="1219200" cy="885825"/>
                </a:xfrm>
                <a:custGeom>
                  <a:avLst/>
                  <a:gdLst>
                    <a:gd name="T0" fmla="*/ 0 w 768"/>
                    <a:gd name="T1" fmla="*/ 0 h 558"/>
                    <a:gd name="T2" fmla="*/ 1562496875 w 768"/>
                    <a:gd name="T3" fmla="*/ 0 h 558"/>
                    <a:gd name="T4" fmla="*/ 1935480000 w 768"/>
                    <a:gd name="T5" fmla="*/ 173891575 h 558"/>
                    <a:gd name="T6" fmla="*/ 1426408438 w 768"/>
                    <a:gd name="T7" fmla="*/ 211693125 h 558"/>
                    <a:gd name="T8" fmla="*/ 1358365013 w 768"/>
                    <a:gd name="T9" fmla="*/ 577116575 h 558"/>
                    <a:gd name="T10" fmla="*/ 1174392813 w 768"/>
                    <a:gd name="T11" fmla="*/ 577116575 h 558"/>
                    <a:gd name="T12" fmla="*/ 1171873450 w 768"/>
                    <a:gd name="T13" fmla="*/ 1406247188 h 558"/>
                    <a:gd name="T14" fmla="*/ 579635938 w 768"/>
                    <a:gd name="T15" fmla="*/ 1358365013 h 558"/>
                    <a:gd name="T16" fmla="*/ 370463763 w 768"/>
                    <a:gd name="T17" fmla="*/ 776208125 h 558"/>
                    <a:gd name="T18" fmla="*/ 0 w 768"/>
                    <a:gd name="T19" fmla="*/ 0 h 55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768" h="558">
                      <a:moveTo>
                        <a:pt x="0" y="0"/>
                      </a:moveTo>
                      <a:lnTo>
                        <a:pt x="620" y="0"/>
                      </a:lnTo>
                      <a:lnTo>
                        <a:pt x="768" y="69"/>
                      </a:lnTo>
                      <a:lnTo>
                        <a:pt x="566" y="84"/>
                      </a:lnTo>
                      <a:lnTo>
                        <a:pt x="539" y="229"/>
                      </a:lnTo>
                      <a:lnTo>
                        <a:pt x="466" y="229"/>
                      </a:lnTo>
                      <a:lnTo>
                        <a:pt x="465" y="558"/>
                      </a:lnTo>
                      <a:lnTo>
                        <a:pt x="230" y="539"/>
                      </a:lnTo>
                      <a:lnTo>
                        <a:pt x="147" y="30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8" name="Freeform 48"/>
                <p:cNvSpPr>
                  <a:spLocks/>
                </p:cNvSpPr>
                <p:nvPr/>
              </p:nvSpPr>
              <p:spPr bwMode="auto">
                <a:xfrm>
                  <a:off x="5348288" y="3470275"/>
                  <a:ext cx="492125" cy="377825"/>
                </a:xfrm>
                <a:custGeom>
                  <a:avLst/>
                  <a:gdLst>
                    <a:gd name="T0" fmla="*/ 189012513 w 310"/>
                    <a:gd name="T1" fmla="*/ 2520950 h 238"/>
                    <a:gd name="T2" fmla="*/ 677922825 w 310"/>
                    <a:gd name="T3" fmla="*/ 0 h 238"/>
                    <a:gd name="T4" fmla="*/ 781248438 w 310"/>
                    <a:gd name="T5" fmla="*/ 158770638 h 238"/>
                    <a:gd name="T6" fmla="*/ 672882513 w 310"/>
                    <a:gd name="T7" fmla="*/ 468749063 h 238"/>
                    <a:gd name="T8" fmla="*/ 93246575 w 310"/>
                    <a:gd name="T9" fmla="*/ 599797188 h 238"/>
                    <a:gd name="T10" fmla="*/ 0 w 310"/>
                    <a:gd name="T11" fmla="*/ 488910313 h 238"/>
                    <a:gd name="T12" fmla="*/ 272176875 w 310"/>
                    <a:gd name="T13" fmla="*/ 241935000 h 238"/>
                    <a:gd name="T14" fmla="*/ 189012513 w 310"/>
                    <a:gd name="T15" fmla="*/ 2520950 h 23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310" h="238">
                      <a:moveTo>
                        <a:pt x="75" y="1"/>
                      </a:moveTo>
                      <a:lnTo>
                        <a:pt x="269" y="0"/>
                      </a:lnTo>
                      <a:lnTo>
                        <a:pt x="310" y="63"/>
                      </a:lnTo>
                      <a:lnTo>
                        <a:pt x="267" y="186"/>
                      </a:lnTo>
                      <a:lnTo>
                        <a:pt x="37" y="238"/>
                      </a:lnTo>
                      <a:lnTo>
                        <a:pt x="0" y="194"/>
                      </a:lnTo>
                      <a:lnTo>
                        <a:pt x="108" y="96"/>
                      </a:lnTo>
                      <a:lnTo>
                        <a:pt x="75" y="1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39" name="Freeform 49"/>
                <p:cNvSpPr>
                  <a:spLocks/>
                </p:cNvSpPr>
                <p:nvPr/>
              </p:nvSpPr>
              <p:spPr bwMode="auto">
                <a:xfrm>
                  <a:off x="5408613" y="3821113"/>
                  <a:ext cx="180975" cy="104775"/>
                </a:xfrm>
                <a:custGeom>
                  <a:avLst/>
                  <a:gdLst>
                    <a:gd name="T0" fmla="*/ 0 w 114"/>
                    <a:gd name="T1" fmla="*/ 42843450 h 66"/>
                    <a:gd name="T2" fmla="*/ 194052825 w 114"/>
                    <a:gd name="T3" fmla="*/ 0 h 66"/>
                    <a:gd name="T4" fmla="*/ 287297813 w 114"/>
                    <a:gd name="T5" fmla="*/ 153730325 h 66"/>
                    <a:gd name="T6" fmla="*/ 176410938 w 114"/>
                    <a:gd name="T7" fmla="*/ 136088438 h 66"/>
                    <a:gd name="T8" fmla="*/ 80645000 w 114"/>
                    <a:gd name="T9" fmla="*/ 166330313 h 66"/>
                    <a:gd name="T10" fmla="*/ 0 w 114"/>
                    <a:gd name="T11" fmla="*/ 42843450 h 6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14" h="66">
                      <a:moveTo>
                        <a:pt x="0" y="17"/>
                      </a:moveTo>
                      <a:lnTo>
                        <a:pt x="77" y="0"/>
                      </a:lnTo>
                      <a:lnTo>
                        <a:pt x="114" y="61"/>
                      </a:lnTo>
                      <a:lnTo>
                        <a:pt x="70" y="54"/>
                      </a:lnTo>
                      <a:lnTo>
                        <a:pt x="32" y="66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40" name="Freeform 50"/>
                <p:cNvSpPr>
                  <a:spLocks/>
                </p:cNvSpPr>
                <p:nvPr/>
              </p:nvSpPr>
              <p:spPr bwMode="auto">
                <a:xfrm>
                  <a:off x="5443538" y="3906838"/>
                  <a:ext cx="146050" cy="184150"/>
                </a:xfrm>
                <a:custGeom>
                  <a:avLst/>
                  <a:gdLst>
                    <a:gd name="T0" fmla="*/ 231854375 w 92"/>
                    <a:gd name="T1" fmla="*/ 17641888 h 116"/>
                    <a:gd name="T2" fmla="*/ 120967500 w 92"/>
                    <a:gd name="T3" fmla="*/ 0 h 116"/>
                    <a:gd name="T4" fmla="*/ 27722513 w 92"/>
                    <a:gd name="T5" fmla="*/ 30241875 h 116"/>
                    <a:gd name="T6" fmla="*/ 17641888 w 92"/>
                    <a:gd name="T7" fmla="*/ 171370625 h 116"/>
                    <a:gd name="T8" fmla="*/ 0 w 92"/>
                    <a:gd name="T9" fmla="*/ 292338125 h 116"/>
                    <a:gd name="T10" fmla="*/ 138609388 w 92"/>
                    <a:gd name="T11" fmla="*/ 214214075 h 116"/>
                    <a:gd name="T12" fmla="*/ 204133450 w 92"/>
                    <a:gd name="T13" fmla="*/ 166330313 h 116"/>
                    <a:gd name="T14" fmla="*/ 231854375 w 92"/>
                    <a:gd name="T15" fmla="*/ 17641888 h 1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92" h="116">
                      <a:moveTo>
                        <a:pt x="92" y="7"/>
                      </a:moveTo>
                      <a:lnTo>
                        <a:pt x="48" y="0"/>
                      </a:lnTo>
                      <a:lnTo>
                        <a:pt x="11" y="12"/>
                      </a:lnTo>
                      <a:lnTo>
                        <a:pt x="7" y="68"/>
                      </a:lnTo>
                      <a:lnTo>
                        <a:pt x="0" y="116"/>
                      </a:lnTo>
                      <a:lnTo>
                        <a:pt x="55" y="85"/>
                      </a:lnTo>
                      <a:lnTo>
                        <a:pt x="81" y="66"/>
                      </a:lnTo>
                      <a:lnTo>
                        <a:pt x="92" y="7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41" name="Freeform 51"/>
                <p:cNvSpPr>
                  <a:spLocks/>
                </p:cNvSpPr>
                <p:nvPr/>
              </p:nvSpPr>
              <p:spPr bwMode="auto">
                <a:xfrm>
                  <a:off x="4972050" y="6013450"/>
                  <a:ext cx="182563" cy="152400"/>
                </a:xfrm>
                <a:custGeom>
                  <a:avLst/>
                  <a:gdLst>
                    <a:gd name="T0" fmla="*/ 219254988 w 115"/>
                    <a:gd name="T1" fmla="*/ 0 h 96"/>
                    <a:gd name="T2" fmla="*/ 60483916 w 115"/>
                    <a:gd name="T3" fmla="*/ 75604688 h 96"/>
                    <a:gd name="T4" fmla="*/ 0 w 115"/>
                    <a:gd name="T5" fmla="*/ 229335013 h 96"/>
                    <a:gd name="T6" fmla="*/ 115927505 w 115"/>
                    <a:gd name="T7" fmla="*/ 241935000 h 96"/>
                    <a:gd name="T8" fmla="*/ 257056642 w 115"/>
                    <a:gd name="T9" fmla="*/ 171370625 h 96"/>
                    <a:gd name="T10" fmla="*/ 289819556 w 115"/>
                    <a:gd name="T11" fmla="*/ 85685313 h 96"/>
                    <a:gd name="T12" fmla="*/ 219254988 w 115"/>
                    <a:gd name="T13" fmla="*/ 0 h 9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15" h="96">
                      <a:moveTo>
                        <a:pt x="87" y="0"/>
                      </a:moveTo>
                      <a:lnTo>
                        <a:pt x="24" y="30"/>
                      </a:lnTo>
                      <a:lnTo>
                        <a:pt x="0" y="91"/>
                      </a:lnTo>
                      <a:lnTo>
                        <a:pt x="46" y="96"/>
                      </a:lnTo>
                      <a:lnTo>
                        <a:pt x="102" y="68"/>
                      </a:lnTo>
                      <a:lnTo>
                        <a:pt x="115" y="34"/>
                      </a:lnTo>
                      <a:lnTo>
                        <a:pt x="87" y="0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42" name="Freeform 52"/>
                <p:cNvSpPr>
                  <a:spLocks/>
                </p:cNvSpPr>
                <p:nvPr/>
              </p:nvSpPr>
              <p:spPr bwMode="auto">
                <a:xfrm>
                  <a:off x="5430838" y="5672138"/>
                  <a:ext cx="134937" cy="144462"/>
                </a:xfrm>
                <a:custGeom>
                  <a:avLst/>
                  <a:gdLst>
                    <a:gd name="T0" fmla="*/ 183969931 w 85"/>
                    <a:gd name="T1" fmla="*/ 7559649 h 91"/>
                    <a:gd name="T2" fmla="*/ 95765583 w 85"/>
                    <a:gd name="T3" fmla="*/ 0 h 91"/>
                    <a:gd name="T4" fmla="*/ 40322351 w 85"/>
                    <a:gd name="T5" fmla="*/ 30241770 h 91"/>
                    <a:gd name="T6" fmla="*/ 0 w 85"/>
                    <a:gd name="T7" fmla="*/ 110886491 h 91"/>
                    <a:gd name="T8" fmla="*/ 60483526 w 85"/>
                    <a:gd name="T9" fmla="*/ 229332631 h 91"/>
                    <a:gd name="T10" fmla="*/ 100805876 w 85"/>
                    <a:gd name="T11" fmla="*/ 229332631 h 91"/>
                    <a:gd name="T12" fmla="*/ 214211694 w 85"/>
                    <a:gd name="T13" fmla="*/ 158768500 h 91"/>
                    <a:gd name="T14" fmla="*/ 183969931 w 85"/>
                    <a:gd name="T15" fmla="*/ 7559649 h 91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85" h="91">
                      <a:moveTo>
                        <a:pt x="73" y="3"/>
                      </a:moveTo>
                      <a:lnTo>
                        <a:pt x="38" y="0"/>
                      </a:lnTo>
                      <a:lnTo>
                        <a:pt x="16" y="12"/>
                      </a:lnTo>
                      <a:lnTo>
                        <a:pt x="0" y="44"/>
                      </a:lnTo>
                      <a:lnTo>
                        <a:pt x="24" y="91"/>
                      </a:lnTo>
                      <a:lnTo>
                        <a:pt x="40" y="91"/>
                      </a:lnTo>
                      <a:lnTo>
                        <a:pt x="85" y="63"/>
                      </a:lnTo>
                      <a:lnTo>
                        <a:pt x="73" y="3"/>
                      </a:lnTo>
                      <a:close/>
                    </a:path>
                  </a:pathLst>
                </a:custGeom>
                <a:grpFill/>
                <a:ln w="14288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  <p:sp>
              <p:nvSpPr>
                <p:cNvPr id="43" name="Freeform 53"/>
                <p:cNvSpPr>
                  <a:spLocks/>
                </p:cNvSpPr>
                <p:nvPr/>
              </p:nvSpPr>
              <p:spPr bwMode="auto">
                <a:xfrm>
                  <a:off x="6361113" y="2767013"/>
                  <a:ext cx="128587" cy="182562"/>
                </a:xfrm>
                <a:custGeom>
                  <a:avLst/>
                  <a:gdLst>
                    <a:gd name="T0" fmla="*/ 2147483647 w 81"/>
                    <a:gd name="T1" fmla="*/ 0 h 115"/>
                    <a:gd name="T2" fmla="*/ 0 w 81"/>
                    <a:gd name="T3" fmla="*/ 2147483647 h 115"/>
                    <a:gd name="T4" fmla="*/ 2147483647 w 81"/>
                    <a:gd name="T5" fmla="*/ 2147483647 h 115"/>
                    <a:gd name="T6" fmla="*/ 2147483647 w 81"/>
                    <a:gd name="T7" fmla="*/ 2147483647 h 115"/>
                    <a:gd name="T8" fmla="*/ 2147483647 w 81"/>
                    <a:gd name="T9" fmla="*/ 2147483647 h 115"/>
                    <a:gd name="T10" fmla="*/ 2147483647 w 81"/>
                    <a:gd name="T11" fmla="*/ 2147483647 h 115"/>
                    <a:gd name="T12" fmla="*/ 2147483647 w 81"/>
                    <a:gd name="T13" fmla="*/ 0 h 11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81" h="115">
                      <a:moveTo>
                        <a:pt x="80" y="0"/>
                      </a:moveTo>
                      <a:lnTo>
                        <a:pt x="0" y="40"/>
                      </a:lnTo>
                      <a:lnTo>
                        <a:pt x="11" y="115"/>
                      </a:lnTo>
                      <a:lnTo>
                        <a:pt x="77" y="115"/>
                      </a:lnTo>
                      <a:lnTo>
                        <a:pt x="81" y="102"/>
                      </a:lnTo>
                      <a:lnTo>
                        <a:pt x="53" y="82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grpFill/>
                <a:ln w="14288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tr-TR"/>
                </a:p>
              </p:txBody>
            </p:sp>
          </p:grpSp>
        </p:grpSp>
        <p:sp>
          <p:nvSpPr>
            <p:cNvPr id="22551" name="Freeform 32"/>
            <p:cNvSpPr>
              <a:spLocks/>
            </p:cNvSpPr>
            <p:nvPr/>
          </p:nvSpPr>
          <p:spPr bwMode="auto">
            <a:xfrm>
              <a:off x="6292850" y="2808288"/>
              <a:ext cx="849313" cy="998537"/>
            </a:xfrm>
            <a:custGeom>
              <a:avLst/>
              <a:gdLst>
                <a:gd name="T0" fmla="*/ 2147483646 w 535"/>
                <a:gd name="T1" fmla="*/ 2147483646 h 629"/>
                <a:gd name="T2" fmla="*/ 2147483646 w 535"/>
                <a:gd name="T3" fmla="*/ 2147483646 h 629"/>
                <a:gd name="T4" fmla="*/ 2147483646 w 535"/>
                <a:gd name="T5" fmla="*/ 2147483646 h 629"/>
                <a:gd name="T6" fmla="*/ 2147483646 w 535"/>
                <a:gd name="T7" fmla="*/ 2147483646 h 629"/>
                <a:gd name="T8" fmla="*/ 2147483646 w 535"/>
                <a:gd name="T9" fmla="*/ 2147483646 h 629"/>
                <a:gd name="T10" fmla="*/ 2147483646 w 535"/>
                <a:gd name="T11" fmla="*/ 2147483646 h 629"/>
                <a:gd name="T12" fmla="*/ 0 w 535"/>
                <a:gd name="T13" fmla="*/ 2147483646 h 629"/>
                <a:gd name="T14" fmla="*/ 2147483646 w 535"/>
                <a:gd name="T15" fmla="*/ 2147483646 h 629"/>
                <a:gd name="T16" fmla="*/ 2147483646 w 535"/>
                <a:gd name="T17" fmla="*/ 2147483646 h 629"/>
                <a:gd name="T18" fmla="*/ 2147483646 w 535"/>
                <a:gd name="T19" fmla="*/ 0 h 629"/>
                <a:gd name="T20" fmla="*/ 2147483646 w 535"/>
                <a:gd name="T21" fmla="*/ 2147483646 h 629"/>
                <a:gd name="T22" fmla="*/ 2147483646 w 535"/>
                <a:gd name="T23" fmla="*/ 2147483646 h 6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35" h="629">
                  <a:moveTo>
                    <a:pt x="124" y="76"/>
                  </a:moveTo>
                  <a:lnTo>
                    <a:pt x="117" y="173"/>
                  </a:lnTo>
                  <a:lnTo>
                    <a:pt x="292" y="277"/>
                  </a:lnTo>
                  <a:lnTo>
                    <a:pt x="248" y="374"/>
                  </a:lnTo>
                  <a:lnTo>
                    <a:pt x="111" y="407"/>
                  </a:lnTo>
                  <a:lnTo>
                    <a:pt x="20" y="464"/>
                  </a:lnTo>
                  <a:lnTo>
                    <a:pt x="0" y="530"/>
                  </a:lnTo>
                  <a:lnTo>
                    <a:pt x="74" y="629"/>
                  </a:lnTo>
                  <a:lnTo>
                    <a:pt x="359" y="459"/>
                  </a:lnTo>
                  <a:lnTo>
                    <a:pt x="535" y="0"/>
                  </a:lnTo>
                  <a:lnTo>
                    <a:pt x="276" y="110"/>
                  </a:lnTo>
                  <a:lnTo>
                    <a:pt x="124" y="76"/>
                  </a:lnTo>
                  <a:close/>
                </a:path>
              </a:pathLst>
            </a:custGeom>
            <a:grpFill/>
            <a:ln w="1587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</p:grpSp>
      <p:sp>
        <p:nvSpPr>
          <p:cNvPr id="4" name="Rectangle 50"/>
          <p:cNvSpPr>
            <a:spLocks noChangeArrowheads="1"/>
          </p:cNvSpPr>
          <p:nvPr/>
        </p:nvSpPr>
        <p:spPr bwMode="auto">
          <a:xfrm>
            <a:off x="55381" y="139095"/>
            <a:ext cx="3421553" cy="708528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8" rIns="92075" bIns="46038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tr-TR" altLang="tr-TR" sz="4000" dirty="0">
                <a:solidFill>
                  <a:srgbClr val="FFFF00"/>
                </a:solidFill>
              </a:rPr>
              <a:t>ECOWAS</a:t>
            </a:r>
            <a:endParaRPr lang="en-US" altLang="tr-TR" sz="4000" dirty="0">
              <a:solidFill>
                <a:srgbClr val="FFFF00"/>
              </a:solidFill>
            </a:endParaRPr>
          </a:p>
        </p:txBody>
      </p:sp>
      <p:grpSp>
        <p:nvGrpSpPr>
          <p:cNvPr id="3" name="Grup 2"/>
          <p:cNvGrpSpPr>
            <a:grpSpLocks/>
          </p:cNvGrpSpPr>
          <p:nvPr/>
        </p:nvGrpSpPr>
        <p:grpSpPr bwMode="auto">
          <a:xfrm>
            <a:off x="1793875" y="1149350"/>
            <a:ext cx="2509838" cy="2541588"/>
            <a:chOff x="2241903" y="1131159"/>
            <a:chExt cx="2232593" cy="2263600"/>
          </a:xfrm>
          <a:solidFill>
            <a:schemeClr val="bg2"/>
          </a:solidFill>
        </p:grpSpPr>
        <p:sp>
          <p:nvSpPr>
            <p:cNvPr id="22534" name="Freeform 5"/>
            <p:cNvSpPr>
              <a:spLocks/>
            </p:cNvSpPr>
            <p:nvPr/>
          </p:nvSpPr>
          <p:spPr bwMode="auto">
            <a:xfrm>
              <a:off x="2564389" y="1999389"/>
              <a:ext cx="1209321" cy="992263"/>
            </a:xfrm>
            <a:custGeom>
              <a:avLst/>
              <a:gdLst>
                <a:gd name="T0" fmla="*/ 2147483646 w 1169"/>
                <a:gd name="T1" fmla="*/ 0 h 961"/>
                <a:gd name="T2" fmla="*/ 2147483646 w 1169"/>
                <a:gd name="T3" fmla="*/ 2147483646 h 961"/>
                <a:gd name="T4" fmla="*/ 2147483646 w 1169"/>
                <a:gd name="T5" fmla="*/ 2147483646 h 961"/>
                <a:gd name="T6" fmla="*/ 0 w 1169"/>
                <a:gd name="T7" fmla="*/ 2147483646 h 961"/>
                <a:gd name="T8" fmla="*/ 2147483646 w 1169"/>
                <a:gd name="T9" fmla="*/ 2147483646 h 961"/>
                <a:gd name="T10" fmla="*/ 2147483646 w 1169"/>
                <a:gd name="T11" fmla="*/ 2147483646 h 961"/>
                <a:gd name="T12" fmla="*/ 2147483646 w 1169"/>
                <a:gd name="T13" fmla="*/ 2147483646 h 961"/>
                <a:gd name="T14" fmla="*/ 2147483646 w 1169"/>
                <a:gd name="T15" fmla="*/ 2147483646 h 961"/>
                <a:gd name="T16" fmla="*/ 2147483646 w 1169"/>
                <a:gd name="T17" fmla="*/ 2147483646 h 961"/>
                <a:gd name="T18" fmla="*/ 2147483646 w 1169"/>
                <a:gd name="T19" fmla="*/ 2147483646 h 961"/>
                <a:gd name="T20" fmla="*/ 2147483646 w 1169"/>
                <a:gd name="T21" fmla="*/ 2147483646 h 961"/>
                <a:gd name="T22" fmla="*/ 2147483646 w 1169"/>
                <a:gd name="T23" fmla="*/ 2147483646 h 961"/>
                <a:gd name="T24" fmla="*/ 2147483646 w 1169"/>
                <a:gd name="T25" fmla="*/ 0 h 9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69" h="961">
                  <a:moveTo>
                    <a:pt x="487" y="0"/>
                  </a:moveTo>
                  <a:lnTo>
                    <a:pt x="349" y="109"/>
                  </a:lnTo>
                  <a:lnTo>
                    <a:pt x="407" y="594"/>
                  </a:lnTo>
                  <a:lnTo>
                    <a:pt x="0" y="599"/>
                  </a:lnTo>
                  <a:lnTo>
                    <a:pt x="13" y="777"/>
                  </a:lnTo>
                  <a:lnTo>
                    <a:pt x="301" y="791"/>
                  </a:lnTo>
                  <a:lnTo>
                    <a:pt x="325" y="961"/>
                  </a:lnTo>
                  <a:lnTo>
                    <a:pt x="462" y="961"/>
                  </a:lnTo>
                  <a:lnTo>
                    <a:pt x="530" y="786"/>
                  </a:lnTo>
                  <a:lnTo>
                    <a:pt x="638" y="797"/>
                  </a:lnTo>
                  <a:lnTo>
                    <a:pt x="1053" y="583"/>
                  </a:lnTo>
                  <a:lnTo>
                    <a:pt x="1169" y="385"/>
                  </a:lnTo>
                  <a:lnTo>
                    <a:pt x="487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35" name="Freeform 6"/>
            <p:cNvSpPr>
              <a:spLocks/>
            </p:cNvSpPr>
            <p:nvPr/>
          </p:nvSpPr>
          <p:spPr bwMode="auto">
            <a:xfrm>
              <a:off x="2822791" y="1131159"/>
              <a:ext cx="549879" cy="647038"/>
            </a:xfrm>
            <a:custGeom>
              <a:avLst/>
              <a:gdLst>
                <a:gd name="T0" fmla="*/ 2147483646 w 531"/>
                <a:gd name="T1" fmla="*/ 0 h 625"/>
                <a:gd name="T2" fmla="*/ 2147483646 w 531"/>
                <a:gd name="T3" fmla="*/ 2147483646 h 625"/>
                <a:gd name="T4" fmla="*/ 2147483646 w 531"/>
                <a:gd name="T5" fmla="*/ 2147483646 h 625"/>
                <a:gd name="T6" fmla="*/ 0 w 531"/>
                <a:gd name="T7" fmla="*/ 2147483646 h 625"/>
                <a:gd name="T8" fmla="*/ 2147483646 w 531"/>
                <a:gd name="T9" fmla="*/ 2147483646 h 625"/>
                <a:gd name="T10" fmla="*/ 2147483646 w 531"/>
                <a:gd name="T11" fmla="*/ 2147483646 h 625"/>
                <a:gd name="T12" fmla="*/ 2147483646 w 531"/>
                <a:gd name="T13" fmla="*/ 2147483646 h 625"/>
                <a:gd name="T14" fmla="*/ 2147483646 w 531"/>
                <a:gd name="T15" fmla="*/ 0 h 6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31" h="625">
                  <a:moveTo>
                    <a:pt x="531" y="0"/>
                  </a:moveTo>
                  <a:lnTo>
                    <a:pt x="447" y="134"/>
                  </a:lnTo>
                  <a:lnTo>
                    <a:pt x="87" y="359"/>
                  </a:lnTo>
                  <a:lnTo>
                    <a:pt x="0" y="589"/>
                  </a:lnTo>
                  <a:lnTo>
                    <a:pt x="135" y="625"/>
                  </a:lnTo>
                  <a:lnTo>
                    <a:pt x="148" y="559"/>
                  </a:lnTo>
                  <a:lnTo>
                    <a:pt x="485" y="327"/>
                  </a:lnTo>
                  <a:lnTo>
                    <a:pt x="531" y="0"/>
                  </a:lnTo>
                  <a:close/>
                </a:path>
              </a:pathLst>
            </a:custGeom>
            <a:solidFill>
              <a:srgbClr val="FFFF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36" name="Freeform 7"/>
            <p:cNvSpPr>
              <a:spLocks/>
            </p:cNvSpPr>
            <p:nvPr/>
          </p:nvSpPr>
          <p:spPr bwMode="auto">
            <a:xfrm>
              <a:off x="2355600" y="1738920"/>
              <a:ext cx="611896" cy="529207"/>
            </a:xfrm>
            <a:custGeom>
              <a:avLst/>
              <a:gdLst>
                <a:gd name="T0" fmla="*/ 2147483646 w 593"/>
                <a:gd name="T1" fmla="*/ 0 h 510"/>
                <a:gd name="T2" fmla="*/ 2147483646 w 593"/>
                <a:gd name="T3" fmla="*/ 2147483646 h 510"/>
                <a:gd name="T4" fmla="*/ 2147483646 w 593"/>
                <a:gd name="T5" fmla="*/ 2147483646 h 510"/>
                <a:gd name="T6" fmla="*/ 2147483646 w 593"/>
                <a:gd name="T7" fmla="*/ 2147483646 h 510"/>
                <a:gd name="T8" fmla="*/ 2147483646 w 593"/>
                <a:gd name="T9" fmla="*/ 2147483646 h 510"/>
                <a:gd name="T10" fmla="*/ 2147483646 w 593"/>
                <a:gd name="T11" fmla="*/ 2147483646 h 510"/>
                <a:gd name="T12" fmla="*/ 0 w 593"/>
                <a:gd name="T13" fmla="*/ 2147483646 h 510"/>
                <a:gd name="T14" fmla="*/ 2147483646 w 593"/>
                <a:gd name="T15" fmla="*/ 2147483646 h 510"/>
                <a:gd name="T16" fmla="*/ 2147483646 w 593"/>
                <a:gd name="T17" fmla="*/ 0 h 5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93" h="510">
                  <a:moveTo>
                    <a:pt x="454" y="0"/>
                  </a:moveTo>
                  <a:lnTo>
                    <a:pt x="593" y="35"/>
                  </a:lnTo>
                  <a:lnTo>
                    <a:pt x="504" y="129"/>
                  </a:lnTo>
                  <a:lnTo>
                    <a:pt x="440" y="214"/>
                  </a:lnTo>
                  <a:lnTo>
                    <a:pt x="315" y="214"/>
                  </a:lnTo>
                  <a:lnTo>
                    <a:pt x="181" y="510"/>
                  </a:lnTo>
                  <a:lnTo>
                    <a:pt x="0" y="468"/>
                  </a:lnTo>
                  <a:lnTo>
                    <a:pt x="175" y="150"/>
                  </a:lnTo>
                  <a:lnTo>
                    <a:pt x="454" y="0"/>
                  </a:lnTo>
                  <a:close/>
                </a:path>
              </a:pathLst>
            </a:custGeom>
            <a:solidFill>
              <a:srgbClr val="FFFF00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37" name="Freeform 9"/>
            <p:cNvSpPr>
              <a:spLocks/>
            </p:cNvSpPr>
            <p:nvPr/>
          </p:nvSpPr>
          <p:spPr bwMode="auto">
            <a:xfrm>
              <a:off x="2268777" y="1875356"/>
              <a:ext cx="804146" cy="752466"/>
            </a:xfrm>
            <a:custGeom>
              <a:avLst/>
              <a:gdLst>
                <a:gd name="T0" fmla="*/ 2147483646 w 778"/>
                <a:gd name="T1" fmla="*/ 0 h 729"/>
                <a:gd name="T2" fmla="*/ 2147483646 w 778"/>
                <a:gd name="T3" fmla="*/ 2147483646 h 729"/>
                <a:gd name="T4" fmla="*/ 2147483646 w 778"/>
                <a:gd name="T5" fmla="*/ 2147483646 h 729"/>
                <a:gd name="T6" fmla="*/ 2147483646 w 778"/>
                <a:gd name="T7" fmla="*/ 2147483646 h 729"/>
                <a:gd name="T8" fmla="*/ 2147483646 w 778"/>
                <a:gd name="T9" fmla="*/ 2147483646 h 729"/>
                <a:gd name="T10" fmla="*/ 2147483646 w 778"/>
                <a:gd name="T11" fmla="*/ 2147483646 h 729"/>
                <a:gd name="T12" fmla="*/ 0 w 778"/>
                <a:gd name="T13" fmla="*/ 2147483646 h 729"/>
                <a:gd name="T14" fmla="*/ 2147483646 w 778"/>
                <a:gd name="T15" fmla="*/ 2147483646 h 729"/>
                <a:gd name="T16" fmla="*/ 2147483646 w 778"/>
                <a:gd name="T17" fmla="*/ 2147483646 h 729"/>
                <a:gd name="T18" fmla="*/ 2147483646 w 778"/>
                <a:gd name="T19" fmla="*/ 2147483646 h 729"/>
                <a:gd name="T20" fmla="*/ 2147483646 w 778"/>
                <a:gd name="T21" fmla="*/ 2147483646 h 729"/>
                <a:gd name="T22" fmla="*/ 2147483646 w 778"/>
                <a:gd name="T23" fmla="*/ 2147483646 h 729"/>
                <a:gd name="T24" fmla="*/ 2147483646 w 778"/>
                <a:gd name="T25" fmla="*/ 0 h 7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78" h="729">
                  <a:moveTo>
                    <a:pt x="586" y="0"/>
                  </a:moveTo>
                  <a:lnTo>
                    <a:pt x="778" y="119"/>
                  </a:lnTo>
                  <a:lnTo>
                    <a:pt x="642" y="223"/>
                  </a:lnTo>
                  <a:lnTo>
                    <a:pt x="701" y="721"/>
                  </a:lnTo>
                  <a:lnTo>
                    <a:pt x="291" y="721"/>
                  </a:lnTo>
                  <a:lnTo>
                    <a:pt x="183" y="674"/>
                  </a:lnTo>
                  <a:lnTo>
                    <a:pt x="0" y="729"/>
                  </a:lnTo>
                  <a:lnTo>
                    <a:pt x="79" y="527"/>
                  </a:lnTo>
                  <a:lnTo>
                    <a:pt x="83" y="337"/>
                  </a:lnTo>
                  <a:lnTo>
                    <a:pt x="264" y="376"/>
                  </a:lnTo>
                  <a:lnTo>
                    <a:pt x="398" y="82"/>
                  </a:lnTo>
                  <a:lnTo>
                    <a:pt x="523" y="82"/>
                  </a:lnTo>
                  <a:lnTo>
                    <a:pt x="586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38" name="Freeform 15"/>
            <p:cNvSpPr>
              <a:spLocks/>
            </p:cNvSpPr>
            <p:nvPr/>
          </p:nvSpPr>
          <p:spPr bwMode="auto">
            <a:xfrm>
              <a:off x="2241903" y="2569940"/>
              <a:ext cx="336957" cy="231528"/>
            </a:xfrm>
            <a:custGeom>
              <a:avLst/>
              <a:gdLst>
                <a:gd name="T0" fmla="*/ 2147483646 w 324"/>
                <a:gd name="T1" fmla="*/ 2147483646 h 224"/>
                <a:gd name="T2" fmla="*/ 2147483646 w 324"/>
                <a:gd name="T3" fmla="*/ 0 h 224"/>
                <a:gd name="T4" fmla="*/ 2147483646 w 324"/>
                <a:gd name="T5" fmla="*/ 2147483646 h 224"/>
                <a:gd name="T6" fmla="*/ 2147483646 w 324"/>
                <a:gd name="T7" fmla="*/ 2147483646 h 224"/>
                <a:gd name="T8" fmla="*/ 0 w 324"/>
                <a:gd name="T9" fmla="*/ 2147483646 h 224"/>
                <a:gd name="T10" fmla="*/ 2147483646 w 324"/>
                <a:gd name="T11" fmla="*/ 2147483646 h 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4" h="224">
                  <a:moveTo>
                    <a:pt x="26" y="54"/>
                  </a:moveTo>
                  <a:lnTo>
                    <a:pt x="206" y="0"/>
                  </a:lnTo>
                  <a:lnTo>
                    <a:pt x="313" y="46"/>
                  </a:lnTo>
                  <a:lnTo>
                    <a:pt x="324" y="224"/>
                  </a:lnTo>
                  <a:lnTo>
                    <a:pt x="0" y="203"/>
                  </a:lnTo>
                  <a:lnTo>
                    <a:pt x="26" y="54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39" name="Freeform 16"/>
            <p:cNvSpPr>
              <a:spLocks/>
            </p:cNvSpPr>
            <p:nvPr/>
          </p:nvSpPr>
          <p:spPr bwMode="auto">
            <a:xfrm>
              <a:off x="2241903" y="2780796"/>
              <a:ext cx="336957" cy="121965"/>
            </a:xfrm>
            <a:custGeom>
              <a:avLst/>
              <a:gdLst>
                <a:gd name="T0" fmla="*/ 0 w 324"/>
                <a:gd name="T1" fmla="*/ 0 h 119"/>
                <a:gd name="T2" fmla="*/ 2147483646 w 324"/>
                <a:gd name="T3" fmla="*/ 2147483646 h 119"/>
                <a:gd name="T4" fmla="*/ 2147483646 w 324"/>
                <a:gd name="T5" fmla="*/ 2147483646 h 119"/>
                <a:gd name="T6" fmla="*/ 0 w 324"/>
                <a:gd name="T7" fmla="*/ 0 h 1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4" h="119">
                  <a:moveTo>
                    <a:pt x="0" y="0"/>
                  </a:moveTo>
                  <a:lnTo>
                    <a:pt x="324" y="19"/>
                  </a:lnTo>
                  <a:lnTo>
                    <a:pt x="149" y="11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0" name="Freeform 17"/>
            <p:cNvSpPr>
              <a:spLocks/>
            </p:cNvSpPr>
            <p:nvPr/>
          </p:nvSpPr>
          <p:spPr bwMode="auto">
            <a:xfrm>
              <a:off x="2396945" y="2797334"/>
              <a:ext cx="510601" cy="367964"/>
            </a:xfrm>
            <a:custGeom>
              <a:avLst/>
              <a:gdLst>
                <a:gd name="T0" fmla="*/ 0 w 493"/>
                <a:gd name="T1" fmla="*/ 2147483646 h 354"/>
                <a:gd name="T2" fmla="*/ 2147483646 w 493"/>
                <a:gd name="T3" fmla="*/ 0 h 354"/>
                <a:gd name="T4" fmla="*/ 2147483646 w 493"/>
                <a:gd name="T5" fmla="*/ 2147483646 h 354"/>
                <a:gd name="T6" fmla="*/ 2147483646 w 493"/>
                <a:gd name="T7" fmla="*/ 2147483646 h 354"/>
                <a:gd name="T8" fmla="*/ 2147483646 w 493"/>
                <a:gd name="T9" fmla="*/ 2147483646 h 354"/>
                <a:gd name="T10" fmla="*/ 2147483646 w 493"/>
                <a:gd name="T11" fmla="*/ 2147483646 h 354"/>
                <a:gd name="T12" fmla="*/ 2147483646 w 493"/>
                <a:gd name="T13" fmla="*/ 2147483646 h 354"/>
                <a:gd name="T14" fmla="*/ 2147483646 w 493"/>
                <a:gd name="T15" fmla="*/ 2147483646 h 354"/>
                <a:gd name="T16" fmla="*/ 0 w 493"/>
                <a:gd name="T17" fmla="*/ 2147483646 h 3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3" h="354">
                  <a:moveTo>
                    <a:pt x="0" y="97"/>
                  </a:moveTo>
                  <a:lnTo>
                    <a:pt x="170" y="0"/>
                  </a:lnTo>
                  <a:lnTo>
                    <a:pt x="467" y="16"/>
                  </a:lnTo>
                  <a:lnTo>
                    <a:pt x="493" y="195"/>
                  </a:lnTo>
                  <a:lnTo>
                    <a:pt x="451" y="354"/>
                  </a:lnTo>
                  <a:lnTo>
                    <a:pt x="314" y="257"/>
                  </a:lnTo>
                  <a:lnTo>
                    <a:pt x="219" y="162"/>
                  </a:lnTo>
                  <a:lnTo>
                    <a:pt x="139" y="238"/>
                  </a:lnTo>
                  <a:lnTo>
                    <a:pt x="0" y="97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1" name="Freeform 18"/>
            <p:cNvSpPr>
              <a:spLocks/>
            </p:cNvSpPr>
            <p:nvPr/>
          </p:nvSpPr>
          <p:spPr bwMode="auto">
            <a:xfrm>
              <a:off x="2537515" y="2964778"/>
              <a:ext cx="181915" cy="223259"/>
            </a:xfrm>
            <a:custGeom>
              <a:avLst/>
              <a:gdLst>
                <a:gd name="T0" fmla="*/ 2147483646 w 176"/>
                <a:gd name="T1" fmla="*/ 0 h 218"/>
                <a:gd name="T2" fmla="*/ 0 w 176"/>
                <a:gd name="T3" fmla="*/ 2147483646 h 218"/>
                <a:gd name="T4" fmla="*/ 2147483646 w 176"/>
                <a:gd name="T5" fmla="*/ 2147483646 h 218"/>
                <a:gd name="T6" fmla="*/ 2147483646 w 176"/>
                <a:gd name="T7" fmla="*/ 2147483646 h 218"/>
                <a:gd name="T8" fmla="*/ 2147483646 w 176"/>
                <a:gd name="T9" fmla="*/ 0 h 2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6" h="218">
                  <a:moveTo>
                    <a:pt x="83" y="0"/>
                  </a:moveTo>
                  <a:lnTo>
                    <a:pt x="0" y="78"/>
                  </a:lnTo>
                  <a:lnTo>
                    <a:pt x="135" y="218"/>
                  </a:lnTo>
                  <a:lnTo>
                    <a:pt x="176" y="93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2" name="Freeform 19"/>
            <p:cNvSpPr>
              <a:spLocks/>
            </p:cNvSpPr>
            <p:nvPr/>
          </p:nvSpPr>
          <p:spPr bwMode="auto">
            <a:xfrm>
              <a:off x="2673952" y="3057803"/>
              <a:ext cx="188116" cy="281141"/>
            </a:xfrm>
            <a:custGeom>
              <a:avLst/>
              <a:gdLst>
                <a:gd name="T0" fmla="*/ 2147483646 w 183"/>
                <a:gd name="T1" fmla="*/ 0 h 273"/>
                <a:gd name="T2" fmla="*/ 0 w 183"/>
                <a:gd name="T3" fmla="*/ 2147483646 h 273"/>
                <a:gd name="T4" fmla="*/ 2147483646 w 183"/>
                <a:gd name="T5" fmla="*/ 2147483646 h 273"/>
                <a:gd name="T6" fmla="*/ 2147483646 w 183"/>
                <a:gd name="T7" fmla="*/ 2147483646 h 273"/>
                <a:gd name="T8" fmla="*/ 2147483646 w 183"/>
                <a:gd name="T9" fmla="*/ 0 h 27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3" h="273">
                  <a:moveTo>
                    <a:pt x="41" y="0"/>
                  </a:moveTo>
                  <a:lnTo>
                    <a:pt x="0" y="128"/>
                  </a:lnTo>
                  <a:lnTo>
                    <a:pt x="143" y="273"/>
                  </a:lnTo>
                  <a:lnTo>
                    <a:pt x="183" y="103"/>
                  </a:lnTo>
                  <a:lnTo>
                    <a:pt x="41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3" name="Freeform 20"/>
            <p:cNvSpPr>
              <a:spLocks/>
            </p:cNvSpPr>
            <p:nvPr/>
          </p:nvSpPr>
          <p:spPr bwMode="auto">
            <a:xfrm>
              <a:off x="2820723" y="2989584"/>
              <a:ext cx="401040" cy="349360"/>
            </a:xfrm>
            <a:custGeom>
              <a:avLst/>
              <a:gdLst>
                <a:gd name="T0" fmla="*/ 2147483646 w 387"/>
                <a:gd name="T1" fmla="*/ 0 h 337"/>
                <a:gd name="T2" fmla="*/ 2147483646 w 387"/>
                <a:gd name="T3" fmla="*/ 0 h 337"/>
                <a:gd name="T4" fmla="*/ 2147483646 w 387"/>
                <a:gd name="T5" fmla="*/ 2147483646 h 337"/>
                <a:gd name="T6" fmla="*/ 2147483646 w 387"/>
                <a:gd name="T7" fmla="*/ 2147483646 h 337"/>
                <a:gd name="T8" fmla="*/ 2147483646 w 387"/>
                <a:gd name="T9" fmla="*/ 2147483646 h 337"/>
                <a:gd name="T10" fmla="*/ 0 w 387"/>
                <a:gd name="T11" fmla="*/ 2147483646 h 337"/>
                <a:gd name="T12" fmla="*/ 2147483646 w 387"/>
                <a:gd name="T13" fmla="*/ 2147483646 h 337"/>
                <a:gd name="T14" fmla="*/ 2147483646 w 387"/>
                <a:gd name="T15" fmla="*/ 0 h 3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87" h="337">
                  <a:moveTo>
                    <a:pt x="83" y="0"/>
                  </a:moveTo>
                  <a:lnTo>
                    <a:pt x="211" y="0"/>
                  </a:lnTo>
                  <a:lnTo>
                    <a:pt x="387" y="123"/>
                  </a:lnTo>
                  <a:lnTo>
                    <a:pt x="372" y="275"/>
                  </a:lnTo>
                  <a:lnTo>
                    <a:pt x="132" y="277"/>
                  </a:lnTo>
                  <a:lnTo>
                    <a:pt x="0" y="337"/>
                  </a:lnTo>
                  <a:lnTo>
                    <a:pt x="41" y="165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4" name="Freeform 21"/>
            <p:cNvSpPr>
              <a:spLocks/>
            </p:cNvSpPr>
            <p:nvPr/>
          </p:nvSpPr>
          <p:spPr bwMode="auto">
            <a:xfrm>
              <a:off x="3201091" y="2944106"/>
              <a:ext cx="281141" cy="330754"/>
            </a:xfrm>
            <a:custGeom>
              <a:avLst/>
              <a:gdLst>
                <a:gd name="T0" fmla="*/ 2147483646 w 271"/>
                <a:gd name="T1" fmla="*/ 2147483646 h 319"/>
                <a:gd name="T2" fmla="*/ 2147483646 w 271"/>
                <a:gd name="T3" fmla="*/ 0 h 319"/>
                <a:gd name="T4" fmla="*/ 2147483646 w 271"/>
                <a:gd name="T5" fmla="*/ 2147483646 h 319"/>
                <a:gd name="T6" fmla="*/ 0 w 271"/>
                <a:gd name="T7" fmla="*/ 2147483646 h 319"/>
                <a:gd name="T8" fmla="*/ 2147483646 w 271"/>
                <a:gd name="T9" fmla="*/ 2147483646 h 3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1" h="319">
                  <a:moveTo>
                    <a:pt x="33" y="4"/>
                  </a:moveTo>
                  <a:lnTo>
                    <a:pt x="224" y="0"/>
                  </a:lnTo>
                  <a:lnTo>
                    <a:pt x="271" y="319"/>
                  </a:lnTo>
                  <a:lnTo>
                    <a:pt x="0" y="319"/>
                  </a:lnTo>
                  <a:lnTo>
                    <a:pt x="33" y="4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5" name="Freeform 22"/>
            <p:cNvSpPr>
              <a:spLocks/>
            </p:cNvSpPr>
            <p:nvPr/>
          </p:nvSpPr>
          <p:spPr bwMode="auto">
            <a:xfrm>
              <a:off x="3035714" y="2658830"/>
              <a:ext cx="558148" cy="613963"/>
            </a:xfrm>
            <a:custGeom>
              <a:avLst/>
              <a:gdLst>
                <a:gd name="T0" fmla="*/ 2147483646 w 540"/>
                <a:gd name="T1" fmla="*/ 2147483646 h 594"/>
                <a:gd name="T2" fmla="*/ 0 w 540"/>
                <a:gd name="T3" fmla="*/ 2147483646 h 594"/>
                <a:gd name="T4" fmla="*/ 2147483646 w 540"/>
                <a:gd name="T5" fmla="*/ 2147483646 h 594"/>
                <a:gd name="T6" fmla="*/ 2147483646 w 540"/>
                <a:gd name="T7" fmla="*/ 2147483646 h 594"/>
                <a:gd name="T8" fmla="*/ 2147483646 w 540"/>
                <a:gd name="T9" fmla="*/ 2147483646 h 594"/>
                <a:gd name="T10" fmla="*/ 2147483646 w 540"/>
                <a:gd name="T11" fmla="*/ 2147483646 h 594"/>
                <a:gd name="T12" fmla="*/ 2147483646 w 540"/>
                <a:gd name="T13" fmla="*/ 2147483646 h 594"/>
                <a:gd name="T14" fmla="*/ 2147483646 w 540"/>
                <a:gd name="T15" fmla="*/ 2147483646 h 594"/>
                <a:gd name="T16" fmla="*/ 2147483646 w 540"/>
                <a:gd name="T17" fmla="*/ 2147483646 h 594"/>
                <a:gd name="T18" fmla="*/ 2147483646 w 540"/>
                <a:gd name="T19" fmla="*/ 2147483646 h 594"/>
                <a:gd name="T20" fmla="*/ 2147483646 w 540"/>
                <a:gd name="T21" fmla="*/ 0 h 594"/>
                <a:gd name="T22" fmla="*/ 2147483646 w 540"/>
                <a:gd name="T23" fmla="*/ 2147483646 h 594"/>
                <a:gd name="T24" fmla="*/ 2147483646 w 540"/>
                <a:gd name="T25" fmla="*/ 2147483646 h 59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40" h="594">
                  <a:moveTo>
                    <a:pt x="71" y="147"/>
                  </a:moveTo>
                  <a:lnTo>
                    <a:pt x="0" y="322"/>
                  </a:lnTo>
                  <a:lnTo>
                    <a:pt x="176" y="446"/>
                  </a:lnTo>
                  <a:lnTo>
                    <a:pt x="198" y="285"/>
                  </a:lnTo>
                  <a:lnTo>
                    <a:pt x="384" y="278"/>
                  </a:lnTo>
                  <a:lnTo>
                    <a:pt x="428" y="594"/>
                  </a:lnTo>
                  <a:lnTo>
                    <a:pt x="540" y="594"/>
                  </a:lnTo>
                  <a:lnTo>
                    <a:pt x="488" y="341"/>
                  </a:lnTo>
                  <a:lnTo>
                    <a:pt x="453" y="262"/>
                  </a:lnTo>
                  <a:lnTo>
                    <a:pt x="510" y="229"/>
                  </a:lnTo>
                  <a:lnTo>
                    <a:pt x="486" y="0"/>
                  </a:lnTo>
                  <a:lnTo>
                    <a:pt x="187" y="153"/>
                  </a:lnTo>
                  <a:lnTo>
                    <a:pt x="71" y="147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6" name="Freeform 23"/>
            <p:cNvSpPr>
              <a:spLocks/>
            </p:cNvSpPr>
            <p:nvPr/>
          </p:nvSpPr>
          <p:spPr bwMode="auto">
            <a:xfrm>
              <a:off x="3674484" y="2755990"/>
              <a:ext cx="800012" cy="638769"/>
            </a:xfrm>
            <a:custGeom>
              <a:avLst/>
              <a:gdLst>
                <a:gd name="T0" fmla="*/ 2147483646 w 775"/>
                <a:gd name="T1" fmla="*/ 0 h 617"/>
                <a:gd name="T2" fmla="*/ 0 w 775"/>
                <a:gd name="T3" fmla="*/ 2147483646 h 617"/>
                <a:gd name="T4" fmla="*/ 2147483646 w 775"/>
                <a:gd name="T5" fmla="*/ 2147483646 h 617"/>
                <a:gd name="T6" fmla="*/ 2147483646 w 775"/>
                <a:gd name="T7" fmla="*/ 2147483646 h 617"/>
                <a:gd name="T8" fmla="*/ 2147483646 w 775"/>
                <a:gd name="T9" fmla="*/ 2147483646 h 617"/>
                <a:gd name="T10" fmla="*/ 2147483646 w 775"/>
                <a:gd name="T11" fmla="*/ 2147483646 h 617"/>
                <a:gd name="T12" fmla="*/ 2147483646 w 775"/>
                <a:gd name="T13" fmla="*/ 2147483646 h 617"/>
                <a:gd name="T14" fmla="*/ 2147483646 w 775"/>
                <a:gd name="T15" fmla="*/ 2147483646 h 617"/>
                <a:gd name="T16" fmla="*/ 2147483646 w 775"/>
                <a:gd name="T17" fmla="*/ 0 h 6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75" h="617">
                  <a:moveTo>
                    <a:pt x="85" y="0"/>
                  </a:moveTo>
                  <a:lnTo>
                    <a:pt x="0" y="57"/>
                  </a:lnTo>
                  <a:lnTo>
                    <a:pt x="14" y="499"/>
                  </a:lnTo>
                  <a:lnTo>
                    <a:pt x="374" y="617"/>
                  </a:lnTo>
                  <a:lnTo>
                    <a:pt x="408" y="413"/>
                  </a:lnTo>
                  <a:lnTo>
                    <a:pt x="657" y="302"/>
                  </a:lnTo>
                  <a:lnTo>
                    <a:pt x="775" y="46"/>
                  </a:lnTo>
                  <a:lnTo>
                    <a:pt x="637" y="5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7" name="Freeform 42"/>
            <p:cNvSpPr>
              <a:spLocks/>
            </p:cNvSpPr>
            <p:nvPr/>
          </p:nvSpPr>
          <p:spPr bwMode="auto">
            <a:xfrm>
              <a:off x="2248105" y="2708443"/>
              <a:ext cx="163309" cy="33075"/>
            </a:xfrm>
            <a:custGeom>
              <a:avLst/>
              <a:gdLst>
                <a:gd name="T0" fmla="*/ 0 w 159"/>
                <a:gd name="T1" fmla="*/ 2147483646 h 32"/>
                <a:gd name="T2" fmla="*/ 2147483646 w 159"/>
                <a:gd name="T3" fmla="*/ 2147483646 h 32"/>
                <a:gd name="T4" fmla="*/ 2147483646 w 159"/>
                <a:gd name="T5" fmla="*/ 2147483646 h 32"/>
                <a:gd name="T6" fmla="*/ 2147483646 w 159"/>
                <a:gd name="T7" fmla="*/ 0 h 32"/>
                <a:gd name="T8" fmla="*/ 0 w 159"/>
                <a:gd name="T9" fmla="*/ 2147483646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9" h="32">
                  <a:moveTo>
                    <a:pt x="0" y="32"/>
                  </a:moveTo>
                  <a:lnTo>
                    <a:pt x="137" y="32"/>
                  </a:lnTo>
                  <a:lnTo>
                    <a:pt x="159" y="11"/>
                  </a:lnTo>
                  <a:lnTo>
                    <a:pt x="11" y="0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8" name="Freeform 43"/>
            <p:cNvSpPr>
              <a:spLocks/>
            </p:cNvSpPr>
            <p:nvPr/>
          </p:nvSpPr>
          <p:spPr bwMode="auto">
            <a:xfrm>
              <a:off x="3432619" y="2927568"/>
              <a:ext cx="159176" cy="347292"/>
            </a:xfrm>
            <a:custGeom>
              <a:avLst/>
              <a:gdLst>
                <a:gd name="T0" fmla="*/ 2147483646 w 154"/>
                <a:gd name="T1" fmla="*/ 0 h 335"/>
                <a:gd name="T2" fmla="*/ 0 w 154"/>
                <a:gd name="T3" fmla="*/ 2147483646 h 335"/>
                <a:gd name="T4" fmla="*/ 2147483646 w 154"/>
                <a:gd name="T5" fmla="*/ 2147483646 h 335"/>
                <a:gd name="T6" fmla="*/ 2147483646 w 154"/>
                <a:gd name="T7" fmla="*/ 2147483646 h 335"/>
                <a:gd name="T8" fmla="*/ 2147483646 w 154"/>
                <a:gd name="T9" fmla="*/ 2147483646 h 335"/>
                <a:gd name="T10" fmla="*/ 2147483646 w 154"/>
                <a:gd name="T11" fmla="*/ 0 h 3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4" h="335">
                  <a:moveTo>
                    <a:pt x="69" y="0"/>
                  </a:moveTo>
                  <a:lnTo>
                    <a:pt x="0" y="16"/>
                  </a:lnTo>
                  <a:lnTo>
                    <a:pt x="44" y="335"/>
                  </a:lnTo>
                  <a:lnTo>
                    <a:pt x="154" y="335"/>
                  </a:lnTo>
                  <a:lnTo>
                    <a:pt x="104" y="79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  <p:sp>
          <p:nvSpPr>
            <p:cNvPr id="22549" name="Freeform 44"/>
            <p:cNvSpPr>
              <a:spLocks/>
            </p:cNvSpPr>
            <p:nvPr/>
          </p:nvSpPr>
          <p:spPr bwMode="auto">
            <a:xfrm>
              <a:off x="3504972" y="2815938"/>
              <a:ext cx="183981" cy="458922"/>
            </a:xfrm>
            <a:custGeom>
              <a:avLst/>
              <a:gdLst>
                <a:gd name="T0" fmla="*/ 2147483646 w 178"/>
                <a:gd name="T1" fmla="*/ 0 h 444"/>
                <a:gd name="T2" fmla="*/ 2147483646 w 178"/>
                <a:gd name="T3" fmla="*/ 2147483646 h 444"/>
                <a:gd name="T4" fmla="*/ 0 w 178"/>
                <a:gd name="T5" fmla="*/ 2147483646 h 444"/>
                <a:gd name="T6" fmla="*/ 2147483646 w 178"/>
                <a:gd name="T7" fmla="*/ 2147483646 h 444"/>
                <a:gd name="T8" fmla="*/ 2147483646 w 178"/>
                <a:gd name="T9" fmla="*/ 2147483646 h 444"/>
                <a:gd name="T10" fmla="*/ 2147483646 w 178"/>
                <a:gd name="T11" fmla="*/ 2147483646 h 444"/>
                <a:gd name="T12" fmla="*/ 2147483646 w 178"/>
                <a:gd name="T13" fmla="*/ 0 h 44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78" h="444">
                  <a:moveTo>
                    <a:pt x="166" y="0"/>
                  </a:moveTo>
                  <a:lnTo>
                    <a:pt x="60" y="76"/>
                  </a:lnTo>
                  <a:lnTo>
                    <a:pt x="0" y="109"/>
                  </a:lnTo>
                  <a:lnTo>
                    <a:pt x="35" y="189"/>
                  </a:lnTo>
                  <a:lnTo>
                    <a:pt x="85" y="444"/>
                  </a:lnTo>
                  <a:lnTo>
                    <a:pt x="178" y="444"/>
                  </a:lnTo>
                  <a:lnTo>
                    <a:pt x="166" y="0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tr-TR"/>
            </a:p>
          </p:txBody>
        </p:sp>
      </p:grpSp>
      <p:sp>
        <p:nvSpPr>
          <p:cNvPr id="72" name="Rectangle 52"/>
          <p:cNvSpPr>
            <a:spLocks noChangeArrowheads="1"/>
          </p:cNvSpPr>
          <p:nvPr/>
        </p:nvSpPr>
        <p:spPr bwMode="auto">
          <a:xfrm>
            <a:off x="5683430" y="773852"/>
            <a:ext cx="3290888" cy="73818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2075" tIns="46038" rIns="92075" bIns="46038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SzPct val="75000"/>
              <a:buFont typeface="Monotype Sorts" pitchFamily="2" charset="2"/>
              <a:buChar char="F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65000"/>
              <a:buFont typeface="Monotype Sorts" pitchFamily="2" charset="2"/>
              <a:buChar char="u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50000"/>
              </a:spcBef>
              <a:buFont typeface="Monotype Sorts" pitchFamily="2" charset="2"/>
              <a:buNone/>
            </a:pPr>
            <a:r>
              <a:rPr lang="tr-TR" altLang="tr-TR" sz="2000" dirty="0">
                <a:solidFill>
                  <a:srgbClr val="FFFF00"/>
                </a:solidFill>
              </a:rPr>
              <a:t>Nüfus 400 Milyon</a:t>
            </a:r>
          </a:p>
          <a:p>
            <a:pPr algn="ctr">
              <a:lnSpc>
                <a:spcPct val="80000"/>
              </a:lnSpc>
              <a:spcBef>
                <a:spcPct val="50000"/>
              </a:spcBef>
              <a:buFont typeface="Monotype Sorts" pitchFamily="2" charset="2"/>
              <a:buNone/>
            </a:pPr>
            <a:r>
              <a:rPr lang="tr-TR" altLang="tr-TR" sz="2000" dirty="0">
                <a:solidFill>
                  <a:srgbClr val="FFFF00"/>
                </a:solidFill>
              </a:rPr>
              <a:t>GDP 650 Milyar $</a:t>
            </a:r>
          </a:p>
        </p:txBody>
      </p:sp>
    </p:spTree>
    <p:extLst>
      <p:ext uri="{BB962C8B-B14F-4D97-AF65-F5344CB8AC3E}">
        <p14:creationId xmlns:p14="http://schemas.microsoft.com/office/powerpoint/2010/main" val="144899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 autoUpdateAnimBg="0"/>
      <p:bldP spid="7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-27384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1" hangingPunct="1">
              <a:defRPr/>
            </a:pPr>
            <a:endParaRPr lang="tr-TR" sz="3800" b="1" kern="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338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7" name="Rectangle 16"/>
          <p:cNvSpPr/>
          <p:nvPr/>
        </p:nvSpPr>
        <p:spPr>
          <a:xfrm>
            <a:off x="0" y="5373216"/>
            <a:ext cx="91440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Global Financial Centers Index (GFCI)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Dünya’da 22. 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Afrika’da 1. MENA’da 2. </a:t>
            </a:r>
          </a:p>
        </p:txBody>
      </p:sp>
      <p:pic>
        <p:nvPicPr>
          <p:cNvPr id="189442" name="Picture 2" descr="Image result for Casablanca Finance Cit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412776"/>
            <a:ext cx="9144000" cy="3960440"/>
          </a:xfrm>
          <a:prstGeom prst="rect">
            <a:avLst/>
          </a:prstGeom>
          <a:noFill/>
        </p:spPr>
      </p:pic>
      <p:pic>
        <p:nvPicPr>
          <p:cNvPr id="189451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6512" y="0"/>
            <a:ext cx="9180512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7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/>
          </p:cNvSpPr>
          <p:nvPr/>
        </p:nvSpPr>
        <p:spPr bwMode="auto">
          <a:xfrm>
            <a:off x="0" y="9128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1" hangingPunct="1">
              <a:defRPr/>
            </a:pPr>
            <a:endParaRPr lang="tr-TR" sz="3800" b="1" kern="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338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7" name="Rectangle 16"/>
          <p:cNvSpPr/>
          <p:nvPr/>
        </p:nvSpPr>
        <p:spPr>
          <a:xfrm>
            <a:off x="0" y="5373216"/>
            <a:ext cx="914400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Tanger-Kenitra-Rabat-Kazablanka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2018-330 km-2h10/2020-1h30</a:t>
            </a:r>
          </a:p>
          <a:p>
            <a:pPr algn="ctr"/>
            <a:endParaRPr lang="tr-TR" sz="3200" b="1" dirty="0" smtClean="0">
              <a:solidFill>
                <a:schemeClr val="bg1"/>
              </a:solidFill>
            </a:endParaRP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Afrika’da 1. MENA’da 2. </a:t>
            </a:r>
          </a:p>
        </p:txBody>
      </p:sp>
      <p:sp>
        <p:nvSpPr>
          <p:cNvPr id="12" name="Rectangle 2"/>
          <p:cNvSpPr txBox="1">
            <a:spLocks/>
          </p:cNvSpPr>
          <p:nvPr/>
        </p:nvSpPr>
        <p:spPr bwMode="auto">
          <a:xfrm>
            <a:off x="0" y="188640"/>
            <a:ext cx="9144000" cy="1043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1" hangingPunct="1">
              <a:defRPr/>
            </a:pPr>
            <a:r>
              <a:rPr lang="tr-TR" sz="38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LGV-Hızlı Tren</a:t>
            </a:r>
          </a:p>
          <a:p>
            <a:pPr lvl="0" algn="ctr" eaLnBrk="1" hangingPunct="1">
              <a:defRPr/>
            </a:pPr>
            <a:r>
              <a:rPr lang="tr-TR" sz="38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Tanger-Casablanca </a:t>
            </a:r>
          </a:p>
        </p:txBody>
      </p:sp>
      <p:pic>
        <p:nvPicPr>
          <p:cNvPr id="190466" name="Picture 2" descr="Image result for LGV maro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1340768"/>
            <a:ext cx="5400600" cy="3758208"/>
          </a:xfrm>
          <a:prstGeom prst="rect">
            <a:avLst/>
          </a:prstGeom>
          <a:noFill/>
        </p:spPr>
      </p:pic>
      <p:pic>
        <p:nvPicPr>
          <p:cNvPr id="19046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36096" y="1340768"/>
            <a:ext cx="3707904" cy="3816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7" grpId="0"/>
      <p:bldP spid="12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8418" name="Picture 2" descr="Image result for Centrale solaire Noo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08720"/>
            <a:ext cx="9144000" cy="4392488"/>
          </a:xfrm>
          <a:prstGeom prst="rect">
            <a:avLst/>
          </a:prstGeom>
          <a:noFill/>
        </p:spPr>
      </p:pic>
      <p:sp>
        <p:nvSpPr>
          <p:cNvPr id="5" name="Rectangle 2"/>
          <p:cNvSpPr txBox="1">
            <a:spLocks/>
          </p:cNvSpPr>
          <p:nvPr/>
        </p:nvSpPr>
        <p:spPr bwMode="auto">
          <a:xfrm>
            <a:off x="0" y="-27384"/>
            <a:ext cx="9144000" cy="9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eaLnBrk="1" hangingPunct="1">
              <a:defRPr/>
            </a:pPr>
            <a:r>
              <a:rPr lang="tr-TR" sz="3800" b="1" kern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entrale Solaire NOOR- Ouarzazate 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0" y="836712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14338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0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2" name="AutoShape 6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4" name="AutoShape 8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46" name="AutoShape 10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354" name="AutoShape 18" descr="data:image/jpeg;base64,/9j/4AAQSkZJRgABAQAAAQABAAD/2wCEAAkGBxQSEhUSExIWFRUXFR8YGRgXFx0cGhsfHBwgGBgXGhoeHikiGB8lIB0YITEhJSkrLi4wGCIzODMsNyktLisBCgoKDg0OGxAQGzElHyYsLzQsLCw0NiwsNy0tLCwsLC82LCwsNiwsLSwsLiwsLzQsLC8sLCw3LzEsLCwsMCwsLP/AABEIAMUA/wMBIgACEQEDEQH/xAAcAAACAwEBAQEAAAAAAAAAAAAABQMEBgIHAQj/xABMEAACAQIDBQQDDQYEBQIHAAABAgMAEQQSIQUTMUFRBiJhcTKBkRQVFiM0UlOSobGy0eJCVHOTwfAHJDNDYmNyguGi8RdEdLPCw9L/xAAaAQEAAwEBAQAAAAAAAAAAAAAAAQIDBAUG/8QANBEAAgECBAMGBQMEAwAAAAAAAAECAxEEEiExQVFhBRMicYGRscHR4fAjMkJSYtLxFCQz/9oADAMBAAIRAxEAPwD1Ls/hYJoI5Dh47ugkN0Unv3bU21PHWmXvPh/3eL+Wv5Uv7GfJIP8A6eMfYT/WntAUvefD/u8X8tfyo958P+7xfy1/KpNo4xYYnlf0UUsfIVmpe3sStkaGUNuzJpkYAKrF+8rEHKVVTa9zKtri5AGh958P+7xfy1/Kj3nw/wC7xfy1/KkU3bqBRcpJbKp4CxupdgNdSoyX5Ayrr6VvsPbiFpBGI5Ad7urkAAHvrfidM8M6X6xE8CCQHUmyYACfc8RsOG7X8q4i2dhmvbDxaf8AKXzuNNaZVWhlCoCxAAJGpsNCbfYKArT7JiAGTCwMb63VV06+ib+VS+9GH/d4v5a/lUwxkf0ifWH513h8Qsih0ZXU3sykEGxsdR0II9VAVvefD/u8X8tfyr570Yf93i/lr+VXSa+igFmH2dh3uRh4tGK/6a8vVU3vPh/3eL+Wv5VzshMquOW9c6eLFv61foTJWZS958P+7xfy1/Kj3nw/7vF/LX8qu0UIKXvPh/3eL+Wv5Ue8+H/d4v5a/lV2igKXvPh/3eL+Wv5Ue8+H/d4v5a/lV2igKXvPh/3eL+Wv5VFLs3Dqyj3NF3iRfdrobFungamm2lGpy51zad3MAdeB1PA1WxWOVkBSRGZiN3kIYZrixuCLrqM1uRNCLlj3ow/7vF/LX8qPefD/ALvF/LX8qu0UJKXvPh/3eL+Wv5VyNlYe5HueLgD/AKa87+HhV+ox6R8h95oBfhdn4dwT7miBDFSN2uhBt056EdQQeddy7Mw4/wDl4v5a+s3tyr4kBLzASMhLhu6F1BRVHpKeaNU0aFCis7SaEZmy3Po8QoA+znQFUYbBH9jDeyPnwr5jcDClsuEie99AiA+wjX+lXWCa/F34gd3jbkP/ADUqxmx17x5jl0tfpUEizB4KFyQcHEoHVUJvyFgNNNfWKobewkIglKQxoyOq3VVB1ytoQLjRquy7xWsszsx5JHHrYAMxLWGnd51X25Ewwkpf0ncMfDVVUac8oF7c78alEEnZG64PDGxIMCcOVh09f2U6SdTpfXodD7DrSvsd8hw38Ffups6AixAI8aA6oqBCVOU6g8D/APif6H+vGegCiiigPhNQRQho1DAHQHUc+tTudDfpUeGHcW/zR91AQrs2EG4ijB8FHUnp1JPrrrD4ePDx5Y0WONbnKi2AuSzWUDmST4k1ZrL9vNtJDh2iveSVbKByB0Lk8rfafXVZSUVdmVaqqUHOXAQ7Q/xGfeDcxDdj5/pN0Oh7v21e7N9opMYjpI6qwkW+UWO7a9wNeRtr4i9715tW27D9mDLeaXMo4KPvP9LEcPMEclKpUlM8Ps7F4mtiE27x48kvzY9HghVFCqAFAsAOVSVAkBAA3jaADWxOnUkamh5HH7Ga3QjX1dfD7a7j6Bsnr5eqsmOUKzDvBVLGx4Aan16HSsntPtHJKCcPgp2JUZWZSVF9Q2QDXQ86q5KO5jVrxpq7/PY2KYlSbA3Ph4delfZMQqkKWAYgkDmbcSBztce2vKnxW1Llj7pBI+YQPZlt66t9iZJXx6id5CyRNlDk31ANjfkQSfZWXfpu1mcUO0nKahkau7XeiPSt8PH2HTzrh4S2pJHQcvWOdWKK2PTsZTa2zJFJLMZVOY2yKbGxNw1iynlxt0A4US7PMGHadXJCAyZLKgWxGdrolzZVPIk+daTFYnJl7jvmNu6L20Jueg0tfqRS/wB8hcWhns5sQYiP+7Xh/ZoGroZYS+RMxu2UXPU21NS0p7P7SMyMDFLEY3MZEyZGYLosqi57ja2PgelWtlY7fIXy2tI6cb3yOUvfxteovwIzK9i5UY9I+Q+81JUY9I+Q+81JYqYy8b70ahgEYHlqcj+QLG/gb6ZdZymci6kADmRxuDyPK321LNEHVkYXVgQR1B0IqvsqYvEpJJNytyLZsrFc9uWa2b10BzicekTBCOVxYqBz6sOlWJsMj2zKGtwuL12yA8QD6qp4iYsTFEbEaO4/2x0HIuRwHK9zyDAQ4HDrvWdBZVzLf5zEjPb/AKctr8zcfs1H2s+Sv5r+IU1hiCKFUWAFgPAcKVdrPkr+a/iFAHY75Dhv4K/dTik/Y75Dhv4K/dTigOXQEEHga4hY6qeI+0cj/fQ1LUM3pIfG3qIOntA9lAS19BoqKd7aD0jw/M+AoDmU5jkHD9r/APn1/d51MTXMKWFvaep5miZMylb2uCL2B46cDofXQGW2/t4YfvGUMCdFRgzWvqQulrDmTb2d7KYntNDKQ00GdrWJKLcC50XNIdLcut9azuPwzRSPG4AZWINhYacwOQPEUz7Mdn3xUg0tGD3mPDTl48R08xXF305yypHzv/OxOIq91CK8nr6s0vZ7Bx4pcy4RFyupzGMBWFu8ts7EX0IPLxsb7XZeHMaBDy0FrW9QGg6eqs4O2OHgwbzCKQCKUxboBQ5KjNmXUKV3YMnHRVI4i1aD36w+9MO/j3q3umcZhYZiLdQtmtxsb8K64qyPfpwUFZevAv0Up+E2EsT7qiIBCmzg2LAsosOZCsfJT0r7L2kwilA2KhBdVZLyL3lc2RxrqrHQHgTpVi5nv8Qe0G6U4aMEPIO+1rDIQRoeZPD21ksFj8VKoWOIyDQXCMfRAA1HDQAeqt3jdu4AvFMzYeQOWj3xZSFKDPkBPM3uANdb009/oBc72MRCFJd5vEylZGZUIGa9iV0NrG9gSQQMXTk5XzHnzwladVz7xpclyMThNm7SNviVWxJBci92XK1+8TqABbwrS7A7NGOX3VOwaci1kGVFGXJYDnoLdPDnTfBbYgmsIpo3JzWCsCTkyh9P+EsgPTML8a4fb2GG7viIhvVVk747wc2Rh4MSADzJsKsqfN3NoYVJpyk5W2u+IxopAu1cQ0kgEDBElKBt3mDAW74O8FxfMvDQn/h71iPFTnTRTbi0Jtfhym6kG3RTrqCNDqDC4SHdqTFGzG5uVUk68SbD5q/VHSsHtP3bPi5BhI4GgjkCX3cWS4F2DFhma2ZgcvUjnWl2riZLrgoG+OcXeT6KMnV+J7x4KL8ddLU1wmx40g9zpdIwhXumx14m/XiSfGsprO7J2ty+B6FCawse8lFSclopK6S/q+S9Xyush2thzipcPDJGuJETo0DAIc4ysrZbAyBgb3uRYC1tbuuzmHWPDRIgsAnTif2j6zc1k+3PZmGWTDbQbDmWWPJGVVA4OdlCu6HRghJvfk5NwQpD7ZW03F8O2HCSoAciyLYqf204d2+luXsJ0trc8zL48xoKhMoDG5A7o4nxNfIJXJIaMqBwOYG/qHCp6kuRe6E+evtFUmhFzkxBjUktZchIJNzYsDYEkki3HmOFMqKAXe5YvpXItznfXz79WYWjQBVKADkCPM/brViigIvdCfPX2ilPaqZThnAYE3XgR84U7pP2s+Sv5r+IUAdjvkOG/gr91NpJAouxAHUmwrO9lmkbBYZYwFG4W7tqb2A7q8+tyeVN5dnKwN9XykBzqRfmOliAfUKFrLiS+7Y7A7xbHh3hrz060SODkIIIz8R5H+tLVwKnQ4otYka5PEZbAW08v2ao4rZAZokGNdW3oYCNlQsEDFkYKLspDC9rcF1HGhGho5ZbGwF2PAf1PQURR21OrHif6DoKqrgWAIEzcb3suY+Zt004cK7GABFmeRvNyD7VtQWXMtmvtJtrSQYWJpHuBoLhmLE8AAb3J0+yvPML22xKOWLBlJ9FrnKLk2XXx4m97Cs51YwdmclfGUKElGb1Zou2nZ98RioigGUpZiNDcHn1JBFv+k9K1mx9mrh4ljXkNT9vs4/1ubmqGEglYb5JELOtixBItrbKOQGmmvE+FNsIz2+My5v+G9uA01143q0YJNtcTWFCnTnKUd3u/wA4GUxnYzPhpQLe6Xw0sAJc7vvszKxFuIzEZrXAZhzrtdiYhWWMLCY0xkuKWQyEOxcySCLJk7pzSFS2Y9xeFzYa+uJYwwswuOhqxqYyPYmN3Sh1TO0u8xBixckRmZkIvvUiDxqhCBUB9BQCTlsxgeycyRSoxju+FghHfZhmilmka7MtyLSLYnUkG/jf2521ggzIt5ZByX0b9C/5XpH/APEo/uo/m/orKVaCdmzjqdoYenLLKWvv8BvNsXEJipMTGsUgbEGQK0hQ5ThYoOO7bvZo206HjyqjF2TxEZWRd07IInyF2Cl1nnmkS+Q5VAnGRrcUFwK+R9u5ntkweckXGV2bmRwCXPCtrg5s6K+UrmUHKwIIuOBB1BFXjNPY1o4mnWvkd/R/Mxuz8DijiDilii3iSzxtG0rKtpVw7B1k3RL2MQHoi+Y9NYcL2PmjijiZEmU4SGGQDFSwgNFGI3FlQ7xDa4OhvfTXTfVRed1lKnVSt104EWuD99XSNm7BgZbIefxkn/3G8T9/qHALdvbW3CAhd5LIckUY4ux+5RxJ5CoffiGGKR5ZVGSSUkZu9/qvYBTYkm2gtrbQnjVLYbq7nF4iSMSuMscZdfiYyRZBr6bXBY9SBWcm/wBq3OqjTil3tT9q4c3y+vTq0MtgbJ3KnM2eaRs8snzm6DoqjQDkKdYgWjYD5p9tVYNoQgZjNFwv6a8LXvx6An1V1itoRZWG9jvY6Z143sBx+dp51ZJJWRjUqSqScpbsg29MyKgXhe/C+qkMv2i/qqrLgM0sJJbUSEuCA4kOVomuAL2RZF4EWOU3BN2M2Nw7r3pYitr6uttBe/Hpr5V8SeNpERJFaxZiA4J0uhFr6ak+WUir3VrGGV5m76BFimU7qUgObhJAO6+l+HJxxKX1AJFwDlzR2tiocRiVnxUZiw0UMrZcNZnErSAoPjTYndgDjq9bDEYdZFKOLqeXlqCOhBsQRqCL0lx/ZdJmxTNI1sRDFHYAXTcl2VwTcMbvexFu7zvVTQrHtmgzK2HmEoaJd0DEzHfFljYMspS2ZHBuwtl6WJ7wXa8SPGjYTERhpWgZn3WVJVDNu2yyEtcLcMoK95db3t9g7NyHLvZYe7NHINzht0DuyTZvjGLE343AFtBUsvZoMLb0j/NNiNBY95SmQG+lr3zeHCgKcnbmNN8JYJY3hw7YgpmhdiiEBx8XKwVgSujEXvpextO/a5F3iyYeaOVDHlibd5pBKXEZUiQoL7uS+ZhlyEm1Kk/w/JiaJ8QlvcUmDXd4cRgLIUO8YZzmf4sX4A30A5t9t9lhiJnm3gVysIS6B1VoWmYMyk2dWEzKV004EGxADDYe2VxKyEKyNHJu3RipKtlVx3kZlYFWVgQeetiCBD2s+Sv5r+IVPsTAvChEjRMxa/xUO6QaAWC5mPLiWPHlUHaz5K/mv4hQB2O+Q4b+Cv3U4pN2QF8Bhh/yF+6rg2frrLKRYi2YW1Ful/HzoDptmQlsxiQsTe+UXv1vVWbZaCTeRxRCUI2RivAtYPqNRmAUHyFTts7pNKOHBuhJtqOd9fIVFs7Z2WV5t9KwZQgR3uihCe8otozEm5vqAvSgI9owznEYdoz8UM28XNYagBT1bnp1Aptei1fahIrGNm3zMn/iFgppoFWONWVSZHYsAVyg8LnoW18K8qr2Dt7i93gpLHV7IP8AuPe/9IavH64cSlnPme2VFV1bex6h/hrjc2HMZOqNoPDT8x9ta1rG4B1H9i9eSdg8bu8WovYOCD7L/n9leo4jZMMjZ2jBbMGvre4GUHTwFvKuqjLNBHuYCt32HjJ77P0+1mW0kBuLi442PClHa/BSS4ZxC7q6jMAhIzW4obcbi+nW1WNm7DgwzSPBEsbSEGQrfvWFhfXkL0xBvWjV1Y6akFOLi+J4Vgdmyzf6UZfW2nlf7qtDs3iv3d/Z/wCa2Xafs7NFvJsKQUZi7xZQSCRZilxqD832X4Vizt+Y801t/tpy1H7NcEoQhpK58xVw2HoPLWzX6Wt6FqFMVhkNo2S1zc2NrEZrKb8OfS9X9mdv54mDTkPEPTsneA5lcvEjpbWk02255AVLA5rg2jUE57ZrWW4LWW9uNq33ZzsbDFGkk6Z5vSIJNlPELYGxt431vWkHKTSg3ZczXDRnUqJYaUsq3v8AYeNt6EKGzEZkDi6sDYgNqLXGjDQ9bdajh2jHITlcGwuegHW50tVmU3vcX8Kzu15fdcowaH4sANiWB1Cn0YAR+0/Poo8a6pOyPqqNLvJWbslq3yX5tzdkfMGDjpROw/y0TfEKf9xxoZyPmjUKPM1p4Y7nwqKKMABVAAAsAOAA0AHQVAm3IlaWMiQbn02MbZeAPdNu/wCkBpfXSkY28ya1XvHorRWy6fV7vqNrUWqh78xZsl2B8Uf78vrq3hsQsi5lvbxBB08CAasYnzCjugdLr7DauJx34z/1D1kX+4GuvRbwY+w2+429vnUW0olfdowB+MVh4FDnv/6bf91CGWyaw+A2m0kOHxk20ZIDiSskcQSMxBWZcsJvGWJIZAWzg5m0sNK3NZs9kFtu1xM64feiQYcbvICriUKrGMyKmcA5c2nAWGlCSu3bMLivc7JEwLyIu4n3sgaJGlyyR7tRGSqHQMxvYHjer/ZTbxxiGS0GWwKmHEb7iLlZO4u7caXXXjx0qth+x6q6N7qxGWKSSSKP4oLGZVkVrER5mtvXIzMbacdb39j7DEEskzTPNLIqIzuI17seYqLRooJu7Eki+vIAAAIdn4yaTFShsRjAqYpkCJDCYMqkWVnMJe3U5r+VU4/8Q1TDxOQjkYWOeXe4hEmbeJnyRIsYE0lhe1o1JZQNSQNrs/Z6w7zKSd5K0hvbQtxAsOFJsL2QEKouHxeIgywpCxXdNnWIZUYh42CuBpmUC+lwbCwFPB9oZt7LDEm/lbESGNXk3aJFGkJYl8jEd6VQAFJJfkASOYMU8uys8pJcyODc34TsoF+dgAPVTKbsou8M0eImhlMjvvE3ZNpFRZI7OjKVO6jbUEgrx5VFtLZi4bZ5hRmYK18zkFjmkzm5AA4seVAXux3yHDfwV+6nFJ+x3yHDfwV+6nFARzvZdOPAeZ0FdRpYAdBao/SfwX7z+Q/FU1AFFFFAIe22zd/hJAPST4xfNQbj1qWHrrxyv0ARXi/anY7YWdltZGJMZ5FeNvVe3qrjxMNpHz/bVDaqvJ/IVQOQwI4ggivaYtrIiosps2VQTcWJIHPTmy62A1rxRGsQemte0dnsVHPAjCxOUA346aa/l41OFe6L9hy8E434rT3J4NsxOQqkkngLeF7eBtyqXA45ZQWW9uGotU/udfmiuliA4AC9dZ7pH7qSwJYLdsozEC7fNHU+FYjE9i4GxOf3QgiYmRo7gNbNaym/o5ja+luHHhq5sIhkAcXGcOnG4Yc9PIcdNKBsHD2y7vu2tlzNltmz+je183evxvrVKkM3AwqUKVdJVFezOMN2bwsbiRIFDDgddPEC9r+NR7c2puSlymVmEa53y5na4VQddSdALa3Ootq1newtVDEsgUtJlCr3iWtZba5teFutWSS2NYU4x0greQo2jtiWGPvQrvXOSFQ+bO54XFtFA7xN+Aqfs7s33PGyM2dy5aR+bsQCzH+ngBVTYURxEhx0gIBGXDqf2Yz+2RyZ+PgLCtFFFc/fVYeLxP0/Op2V/wBKPcrf+Xny8o/G/QobzFBjliQrkYgk65gzBBbNwICEnxPq+y4rGAHLAhORSBnAu+YZ19LhkJseqnjcU7opl6s5r9BGMRjsv+jFm3KnjZRKbBxfNcoLseF+7x1rubE4y75YUygpkuQSQf8AVzd8AFdLa+2ru1cQY4yw0PAev+zUuBdmjUtxIuanu3a9yO8WbLY7xFsrX4WNQW+MTwja/rKfkfYalxbWRr8xb26f1qPCLcs/U5R5ISPvLH1+2wLVFFFAFFFFAFFFFAFJ+1nyV/NfxCnFJ+1nyV/NfxCgDsd8hw38FfupliJsulwCevADmx8BS3sd8hw38FfuqY7LilmGJdA0iqY0Yk6ISCRa9jcqDqKAuiIZSvIgg+viapPspe8TNMAQeEpAA14W4f0sK695MPcndLc8/M3P21Lh9mxxm6La65eJ4dP76UBDs7ZYikllE0z70IMskhZFyAi8YPolr3bXUgVNtVpRE24CmS4C5tRqwBJ1HAXPHlVoCvtGQ1dWPgrD/wCKeFBiilt3hJkv4FSfvUVuazPb9UfCshkRXBDqGOrEfsgcbnUCs6qvBnLjoZ8PNdDyStZ/hxjMmJyE6OOF9PZe1+HqB6ap17O4ki4gYjwt+ddJsXFRnMI2QrzuBa/d66dK4aeaMk7HzeDVahWjUyO3HR7PRntLuALk286EcMAQbg8xWb7JyviYVefvMjsLEcNSpU9bWrSIgHAW/wDOpr0k01dH1sZZldbPYixEQa17jUEEciD/AO4qYm1fJOFQzyX0FCbakLtc3rO7U/zc/uQf6MVnxB5MeKQev0m8LDnTDb20vc8RZRmkYhIk+c7aKPLmfAGvuwtm+54gl8zkl5H5u7aux9f2AVnLxPL7nZR/Sh3z32j58X6cOvkZiPtJjMPtA4GbDrNEwzxToRGchIUK4buFgxCaFbkrp3gK9ChSwqsmDVzmdQ3dK6i/da2ZfEGwuPAVDmbDcSWg6nVov+rmyf8AFxXncXK6HIMiaUYZzJiS6klFFr8uHD2601El+GunqPPQ86+RRBb2sBxsBarJ2uUlHM0fZowwsQD5i/rsa6UVW93pvN2DdvDhprbzqo+3UHBWPXS1FGT4EOpBbsn2vGGjIIBFjcH/AKSR9tj6qr4DFZUiVEbdkDVyc3e9G3HN1JvoPsthlmtzQqfDj3fVpmrlkG8jQDRFLAdNAi+Whce3xqpbfVF2iiqu0lBjN2CgFWJY2ACsGNzy0FCxaorFw7GybpTJh5k3SBFkkP7KSZ2UkNmUF7qRawuNLC8x2W0gumKifR0Q5r586kS5iDxtla1jrGNbE0BrqKV7CwpjEg3gkVnDxkG7bvdoiZjfvHuN3uYAPG9NKAKT9rPkr+a/iFOKT9rPkr+a/iFAL9iJK+BwaQyLGckbOSua8YHeQajKzcA3Kxpru8SoADw2C8SrCxHgDw5W04Xqr2KH+Tg/gp+Af+aY7YjRoJlkVmRonDhAS5UqQwUL3ixF7Aa34UAt2Xtff3EOKwszBbndm+huFbRzoevA20p6PGvPZMZMV3KyzTYVBEHmSCSKdELhWjzIAWuACxjVWRQb2uCJtmY14Z0kY4k4PeTpFmE0hIKwMmZSC7d9cSEZhwsFNmFwNpicfHGHZ5FURrmfX0RrYsOIGh9lWa8pjwTHCzb33UcTLsqGwZpzmbdMsl1JKFwQLgi4LX4truth4Qwz4iMGUx/Fuu9keTvMGD5XkJNtFNgbAnlegO+1M2IjgMmGK5lBLArckcyuvEcbWN/v8dxWKaR2lc3djcn+/VXsmH26GxT4QxurKMyta6sthc+Gtx0066VmtpdgM8haNwoaUsb/ALKkA5VUDU5s3PhauWtBz1ieL2jh6mItKk72dmuqMU+25yAN4LDhaOMfcnn7akPaLEnjKDpb/Si4A5gPQ11APnXe39iywOS0JjjZjkBZWNgedieo49aUVzOc07Ns8apXxNOWWU5X82bb/DnaxEzxNrvO9fne/l439tel14n2Vv7rhy8c1+NuAJP3V6imAxliDi1uc9iIhcZlAjt4qwLa3vmPQV10JtwPo+yqrq4ZZns2vg/mOHIGvSqGcEmx8x51C8EuaxnJUFLd1QTlHfDaftHpa1tLVne0MMkkcWBMrNNK4ZnTuFY0YM7nLbwUDgb21rZzsrtHq0qLqTUU/N8lxfoWdmH3ViTiibxRZo8OOTHhLN7e4D0B61pI1ubVksHlhklhLvDBFkWJhNfPm0YZSncysuQam+p43p1htlpJmMeLnudDlkFgePAjj186QjZajEVc8vCtFol0+r3fUdwzKSQuttCeQI5edS1Hh0KqATc21PXxqSrGK6i1oGgOaIZozq0Q4r1aL+qcDxFjcNdw86yKGQgqeBHsI8CDoRytUtL8Vg2VjJDox9NL2V+V/wDhcfO5gWN7AqJODseO9xnvx0P9a6xGzI2OYjzOa3mT419wuPzAkXaxswawZW+jZRwOoI5EEG5BBMOOLftyqpNtCbKNeBv6R8DV80uZi4QS2LCHdoW4C2lx6KqCbke3TjqKmwUVgWYWZzmbqOQXToLD29aqwl5AgN7A5ma1gxU90DgbXs2Yad22t6ZVVmiCq20MLvFyg5SGVwSLi6sGF1uLi46jwsas0VBYRrsFgHXeraS+8+K1uWd7p3u6LudDm4cbkmuTsB2yFpzmj9AqptqQWzbx3Y3ChdGGhbrT6igFmxtjjD5srXUoiqtrBQmYkDwJZjblew0sAzoooApP2s+Sv5r+IU4pP2s+Sv5r+IUBD2Q0wmFPzoFHrAuPsvT6knZNM2Aww/5KWPQ2FjV3HvNu5Fiy77dsYibhc1rLm4kAG1+OlAKW7aYcQ4qchlXDOVOfKu81KI0ZZrZXcMqsSLlTy1qzB2mgaMMJYWksCY48RExsSveDFgCLPG19NHXqLoh2LlhASHEPKhwow7CbICN2weEqUjUkC8wOYk/GXvxuyxGwZCMdbJmxGIjkQ3/ZSOBCGNtNY3sNeI60Azm7Q4VGdGxUKtGC0imVQUAtcsL92114/OHUVawGPinTeQyJIlyMyMGFxoRccx0rNJs3GRwPh4ljUiV5FmWSzOrz71lsUOSRkZ1L62Y5hx067Kw7sYyMSxrLJPnVd807p8TFEN4XszHMh0vYaAGouQ5JDfbuAV8kxLK0LBgUNjbMCwPUEAi3jTWuVXSx16/+1fSaW1uQopNvmZvtfjpkG6SESRyRPnZswVcoJOYjhpw1B0ryOtltjt5K5kjjVN02ZQSDmINxmvfTS3KsbXBXmpS0Z8r2niIVql4O9hl2ba2KiI+d94INe2SvYV4Vs2QrLGRxzjx4m1e1vLmsRwt99b4X9rPV7Ff/AF2v7n8EQYrErGjSObKqlmPQDU0o7N4Zmz4uUWlnsQp/24x/px+Bt3j4nwqDFH3dNul1wsLgytyldTcRL1VTYseoAq3snZcxXNPIVlZ2LCCRt2BnJXKH1Hdtfle9tK1Xid+CPop/o08n8pb9FwXru/TqPIIQTcgeznVkRjkLeVUcFEUSyZ2ucwMrX4+Vzbw8aniiDAE3JPG559LcNK0OQqTY8qSde63fVrXseBBFMwb60j240iowhRHe4AjdyAwuMxBF2BAudOlfRjjqlpECaWCEm18uhGnK9yeHIc7OxSN0xriZFsbta3Q2P51QTGZsqqrvrlIBHdsOMjE3v4fZzqTB4VHVXu5BFwGGXj85QAT5NVXF9o4oZGi3chWJkSSRFG7iMmXdq2obUMh7qkKGBNhUE2dzvFbHZ2EoZYpFFlyC4IH7MhI768eQIvpzvY2W6ElSmSVR31Y3NuRVj6SHkRpysCCBxFtpXnMEcUrhWKSSqAIo2C58pZmBY8B3A1ibG2tqmG2imMsUinSxcJPlUAFWKNY5iSCVIsVsba1BNh/RVH3yUTbhr5hDvS2gS2bKedxrr5c6s+6UuFzrc8BmFzYXOnkQfXQkloriKVWAZWDA8CDcH1ioZccgV2BDlEzlUILWtcWF+fK9AWaKhGKTQFgC3BSRe9r2tfjYiuhiFzFMy5gLlbjNbrbjQElFK9jbcTExxyqroskMcql8o0lvlXRj3hbUeIsTV73WmTeZ1yfOzDL048KAmpP2s+Sv5r+IU3VgRcG4OoIpR2s+Sv5r+IUAdjvkOG/gr91Mv9zyX7z/AOKW9jvkOG/gr91MpBZgRzNj7CQaAmoorhpVF7sBbU6/bQHdItq9m0lkhkTLHu5CzZUHfzG7A9CTz14mnTygcSBy1NRyYpRfW9uQ+4VDinuUnTjNWkjuWVVF2YKL21NtelcPi4wCTIlgNbsOA0N6gihWZczqbMbgE8Ba3I26n11UwWwVTe5nMu8kZxvEQhVNrRDuglVtpc38akueXdqtmjD4qSNQQmjJf5rC+ngDceqkqxys2VFDE8AAxY+ocedbntXgsMZgpxEksxJuiEzMAP2QgBKcdLm3GmOytm4vdqsOHSBVvZp3+MOa2Y2iF1JtY3bh00rg7q8n/s8aPYFedWUpJQg9m/lz9DHP2fxcD5nRQsbpd9QDcixQm2bx6c/Db4vFSz2wcTZWyg4iVP8AaUj/AE1v/uMPYNai29sLGSQsZJMN3AXXKkxKkKQGUmQ2axNjYnWu8IowMSrvY0VpQLyKxd3kJsXYXuzErrwreFO2i2PewmDoYGDlGSlJvRcE+b01twXPfTR6DBYRIY1ijUKiiwA/vU+NXksilj0/sUvw8OIN7tEbcLKw589T/ftrh9+JCXaNgpFgFIJvoFF75bsTr4Doa6EjOUm3d7jFpxGig6mwFhxPkOdRQwyMSScik3yi2bx14Dnw68jViCCxzE5nPE/0Ufsjw8NbnWp6FbEcUKrwFr8TzPiTxPrqSiihIV57t/Y8r4qdxDMZmlgMDJ8ndI8jf5hb5GKvvCS4zWCZDcCvQqKA8+wWx5opwqRzrL74STNLvHOHaCSRpWBXPkuVbJly3DjNa3eq9sHBlcXG2HhxUEOSUzpO7GPMzBkVEZ2GbMXOaPu2uLm4rZ0UBiu1+yJ5cUsyRmSKOBS8JsFnyy5jCT1A74B7rFQG0Jqlj+zW+bESHChmk2ph5FLIuYwhcOst765cu/UqerC2uvoVFAJOy+BMPuld3u0OKdkUAAZWVDdQOALZj53rzvZuxzPs3DrhcIyOuAmEjiNUE29w7IsQbTeF5GSS/D4vWxIr1+osNh0jRY40VEUWVVACgDgABoB4UB5u+AWSXHxrhS+IbEYcJMIx8Xlw+GYMZT6G7N3txPK5NXdi7FdZ498mIEseKllzLHFu2DmQBzPlzFWRwChbMDYWsK3kWHVSzKqguczEAAsQAoLHmcoUXPIAcqkoDy3B9mZzBDFJhyR7n2ZG6sAR8TiHbEKwOhCoQSOh51ex+wZExEjrC64ZcYZAsMcb2zYSFBMsTAhgHEqnKM13J616JRQCfsngxDhlRRKBndgJVVWGaRmtlTRF17q2FlsLDhR2s+Sv5r+IU4pP2s+Sv5r+IUAdjvkOG/gr91MMS2qgasGuB9hv0FifspV2SVjgcN3gBuV5a8Ot7fZTqOMLwFv75nnQHOdvmj1N+YFU8VgEma7RC9rZmsbDUaAE9T9nG1XZ5QiliCbdPE2qr76pYtZ7D/lt+VAUNmYJMIXEk4IkkZ41ZVQRrYAoLelb5x11pkmOh0USIL8BcD2D1j20pxfarDAHMHLiRo1iMZ3rldCUQi5U8m4HrVM7IxGMsZv8pCDcRRH41v4kg9EG5uq9dTpVHPgtWdEMO2s83ljzfHyW7+HNoix2OjWRocO088ym26jdrC2vfa4WIX0Nzc/evOzZEZ22niiYt2pjginkJbUhg4sC+pUAg6km9tK2+z9mx4eMRwxrGo4ADn1PNj4nWvNsfsvEQT72eS7s5SPvXLBtAy3JKqua4GtiPXWdTNx+33McRjHQssPHfeT3S59OlteGY13ZvC5omMMS4WNj3AqjMRawZuRPPmNeetN48W0YtPlGoAceib2GoPom+ltavKLVxNa1ibX09tbJWViXNvWWvV7+5U2qwKKCMyO6q3AjKeZ8OFc7R2SJbneSIcuXuNYedrHXx8KhxWzoQpiLFFKlsgbQBbEsAb6KbG3DhpbSlGJ7UiARtfews9me4zIGUOg042Ga4OulQ5JbmdSrThG7e32HOFwQie7TS2Gozv3ToRrccR59KIwzzKwPdHeYcrlbIL8zYknTmPXDioY8fEmV80QlBJUspYLcFbggjU89CPMEcnAbthEk7xKEtGosQddQb6kgka3ucw5i9WITUldMe0Us2bnEsoaQuoC2va/MEi3AXUi3UE8xZnQsFFFFAFFFFAFFFFAFFFFAFFFFAFFFFAFFFFAFJ+1nyV/NfxCnFJ+1nyV/NfxCgOex7D3FhhcX3C6eqnOYaa8eFedY7tFDhdnYVHUtM+GBjOQMqkDuswLLcBraA30rifZ+LnXJniwU4QH4uN2scvfMsy92K6hrIGBFxr1o6ivZas6o4SeRVJ+GL2b425Ld/Dm0bbau34MOQskgznhGoLSN5ItzS4z43FaIhwcR4vJZpyP+FBdY/NiSOlQbJ2cMOLQNhAzqGDXJdwWtmLZruNbA9T4012rtVkyiHcyHNeUNMEKR2u0nO9u7pp6XGmWT3ft9R3tKn/5xu+cv8dve51sjYEGHuyKTIfSlclpG8Wc6+oaU0pNhdtNLbdoj310mW5UMVZwLXtcGx4GnNWSS0RhOcpvNJ3ZxLIFBY8ALn1Utw8Yf/Myrawul+Krbibczr6j4kVY2q3dQcmkVT5E26j++R4VW28mIbIMPaxzB7hbaiyk5uQ1NgCSbDQXIkq14RqrXFxwNfayOGi2jEgUIhADd1XW/eF4whYEfFt3Tc2y8AbWqcPtARMqqGlIGR5DGqizG+8CXIZly+iCATxoVW2pZ21sE4meNzIyIkbKcp7zZ9CL8hbibVlO1+xFjw43S6R4gra/AOABfzYDU/O6U72XidpSMrSRiNd6wK930N6LZ7i+kWdQU4kIdASA9lwitMwZQyvH3lYXBKnQkHTgbcOnSs5U4yT6nNUwtOrTmlvJb+30Rn/8ADGIjDyEi15f/ANaH+t/XWoxGEDurHgFZSOobKeN9PRHj5c/uCwUcKlY1CqTew4XP3DgLcBarFWhHLGxfD0u6pRg+BUwsIR3AJOgOpvxZydfO59dW6ggHfkPiB6goP9TU9WN0FFFFAFFFFAFFFFAFFFFAFFFFAFFFFAFFFFAFJ+1nyV/NfxCnFJ+1nyV/NfxCgMhgttxpDBFJhY5TCoCs1rgj9oAqcp061xtTbAnfOY8vdy90gMe6yhWfLdkBbNkPMA+FFFCXJtWOF2qQGUIBmdZD/ERxIG1ucpIF1vrcm4JNRjHDKBlOYSLIGLD0lREW4y6i6Akc7kUUUIJ8HtgxyLKQzZSxCl9LvfNYWsBrfhfxOgDf4cH6AfX/AE0UUBHP2zLW+JAswPp9De3o1J8OD9APr/poooA+HB+gH1/00fDg/QD6/wCmiigD4cH6AfX/AE1B8MDvN5uRfJltm8b3vlv6qKKAn+HB+gH1/wBNHw4P0A+v+miigOE7akFjuBqb+n4AfN8K7+HB+gH1/wBNFFAHw4P0A+v+mj4cH6AfX/TRRQB8OD9APr/po+HB+gH1/wBNFFAHw4P0A+v+mj4cH6AfX/TRRQB8OD9APr/po+HB+gH1/wBNFFAHw4P0A+v+mj4cH6AfX/TRRQB8OD9APr/po+HB+gH1/wBNFFAHw4P0A+v+mj4cH6AfX/TRRQB8OD9APr/pqttHtQcRGYt1lzW1zX4G/C3hXyig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7" name="Rectangle 16"/>
          <p:cNvSpPr/>
          <p:nvPr/>
        </p:nvSpPr>
        <p:spPr>
          <a:xfrm>
            <a:off x="0" y="5376118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510 MW Toplam </a:t>
            </a:r>
          </a:p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Proje 2000 MW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17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6" name="Picture 2" descr="http://image.slidesharecdn.com/prc3a9sentation20oncf20italie-clie-111126174654-phpapp01/95/oncf-maroc-11-728.jpg?cb=132545172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96" y="692696"/>
            <a:ext cx="9128370" cy="6093296"/>
          </a:xfrm>
          <a:prstGeom prst="rect">
            <a:avLst/>
          </a:prstGeom>
          <a:noFill/>
        </p:spPr>
      </p:pic>
      <p:sp>
        <p:nvSpPr>
          <p:cNvPr id="69640" name="AutoShape 8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2" name="AutoShape 10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4" name="AutoShape 12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6" name="AutoShape 14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8" name="AutoShape 16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50" name="AutoShape 18" descr="https://encrypted-tbn0.gstatic.com/images?q=tbn:ANd9GcRwr9LvU04Rte9f1_Ecp4nUQzIkGKPk9GEKQAXtswTx2hbXq5QTjg"/>
          <p:cNvSpPr>
            <a:spLocks noChangeAspect="1" noChangeArrowheads="1"/>
          </p:cNvSpPr>
          <p:nvPr/>
        </p:nvSpPr>
        <p:spPr bwMode="auto">
          <a:xfrm>
            <a:off x="155575" y="-1150938"/>
            <a:ext cx="1905000" cy="24003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0" y="44624"/>
            <a:ext cx="9144000" cy="58541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tr-TR" sz="3200" b="1" dirty="0" smtClean="0">
                <a:solidFill>
                  <a:schemeClr val="bg1"/>
                </a:solidFill>
              </a:rPr>
              <a:t>YATIRIM BÖLGELERİ (SB, AGROPOLE)</a:t>
            </a:r>
            <a:endParaRPr lang="en-US" sz="2400" b="1" dirty="0">
              <a:solidFill>
                <a:srgbClr val="000099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 autoUpdateAnimBg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40" name="AutoShape 8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2" name="AutoShape 10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4" name="AutoShape 12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6" name="AutoShape 14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8" name="AutoShape 16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50" name="AutoShape 18" descr="https://encrypted-tbn0.gstatic.com/images?q=tbn:ANd9GcRwr9LvU04Rte9f1_Ecp4nUQzIkGKPk9GEKQAXtswTx2hbXq5QTjg"/>
          <p:cNvSpPr>
            <a:spLocks noChangeAspect="1" noChangeArrowheads="1"/>
          </p:cNvSpPr>
          <p:nvPr/>
        </p:nvSpPr>
        <p:spPr bwMode="auto">
          <a:xfrm>
            <a:off x="155575" y="-1150938"/>
            <a:ext cx="1905000" cy="24003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0" y="4797153"/>
            <a:ext cx="9216008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tr-TR" sz="2000" b="1" kern="0" dirty="0" smtClean="0">
                <a:solidFill>
                  <a:srgbClr val="FFFF00"/>
                </a:solidFill>
              </a:rPr>
              <a:t>KDV ve Gümrük vergisi Muafiyeti</a:t>
            </a:r>
          </a:p>
          <a:p>
            <a:pPr algn="ctr"/>
            <a:r>
              <a:rPr lang="tr-TR" sz="2000" b="1" kern="0" dirty="0" smtClean="0">
                <a:solidFill>
                  <a:srgbClr val="FFFF00"/>
                </a:solidFill>
              </a:rPr>
              <a:t>Basitlestirilmıs  Gumruk proseduru</a:t>
            </a:r>
          </a:p>
          <a:p>
            <a:pPr algn="ctr"/>
            <a:r>
              <a:rPr lang="tr-TR" sz="2000" b="1" kern="0" dirty="0" smtClean="0">
                <a:solidFill>
                  <a:srgbClr val="FFFF00"/>
                </a:solidFill>
              </a:rPr>
              <a:t>5 Yıl Kurumlar ve Gelir Vergisi Muafiyeti</a:t>
            </a:r>
          </a:p>
          <a:p>
            <a:pPr algn="ctr"/>
            <a:r>
              <a:rPr lang="tr-TR" sz="2000" b="1" kern="0" dirty="0" smtClean="0">
                <a:solidFill>
                  <a:srgbClr val="FFFF00"/>
                </a:solidFill>
              </a:rPr>
              <a:t>20 Yıl KV %8,75, GV %80 indirim</a:t>
            </a: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0" y="1628800"/>
            <a:ext cx="9144000" cy="400752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/>
            <a:r>
              <a:rPr lang="fr-FR" sz="2000" b="1" dirty="0" smtClean="0">
                <a:solidFill>
                  <a:srgbClr val="002060"/>
                </a:solidFill>
              </a:rPr>
              <a:t>T</a:t>
            </a:r>
            <a:r>
              <a:rPr lang="tr-TR" sz="2000" b="1" dirty="0" smtClean="0">
                <a:solidFill>
                  <a:srgbClr val="002060"/>
                </a:solidFill>
              </a:rPr>
              <a:t>ANGER AUTOMOTIVE CITY</a:t>
            </a:r>
            <a:endParaRPr lang="fr-FR" sz="2000" b="1" dirty="0">
              <a:solidFill>
                <a:srgbClr val="002060"/>
              </a:solidFill>
            </a:endParaRPr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-36512" y="2420888"/>
            <a:ext cx="9144000" cy="400752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/>
            <a:r>
              <a:rPr lang="fr-FR" sz="2000" b="1" dirty="0" smtClean="0">
                <a:solidFill>
                  <a:srgbClr val="002060"/>
                </a:solidFill>
              </a:rPr>
              <a:t>A</a:t>
            </a:r>
            <a:r>
              <a:rPr lang="tr-TR" sz="2000" b="1" dirty="0" smtClean="0">
                <a:solidFill>
                  <a:srgbClr val="002060"/>
                </a:solidFill>
              </a:rPr>
              <a:t>TLANTIC FREE ZONE – KENITRA AUTOMOTIVE ENTEGRE</a:t>
            </a:r>
            <a:endParaRPr lang="fr-FR" sz="2000" b="1" dirty="0" smtClean="0">
              <a:solidFill>
                <a:srgbClr val="002060"/>
              </a:solidFill>
            </a:endParaRP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0" y="188640"/>
            <a:ext cx="9144000" cy="585418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>
              <a:spcBef>
                <a:spcPct val="50000"/>
              </a:spcBef>
              <a:buFont typeface="Monotype Sorts" pitchFamily="2" charset="2"/>
              <a:buNone/>
            </a:pPr>
            <a:r>
              <a:rPr lang="tr-TR" sz="3200" b="1" dirty="0" smtClean="0">
                <a:solidFill>
                  <a:schemeClr val="bg1"/>
                </a:solidFill>
              </a:rPr>
              <a:t>SERBEST BÖLGELER</a:t>
            </a:r>
            <a:endParaRPr lang="en-US" sz="2400" b="1" dirty="0">
              <a:solidFill>
                <a:srgbClr val="000099"/>
              </a:solidFill>
            </a:endParaRP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auto">
          <a:xfrm>
            <a:off x="0" y="1084032"/>
            <a:ext cx="9144000" cy="400752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tr-TR" sz="2000" b="1" kern="0" dirty="0" smtClean="0">
                <a:solidFill>
                  <a:srgbClr val="002060"/>
                </a:solidFill>
              </a:rPr>
              <a:t>TANGER FREE ZONE </a:t>
            </a:r>
            <a:endParaRPr lang="tr-TR" sz="2000" b="1" dirty="0" smtClean="0">
              <a:solidFill>
                <a:srgbClr val="002060"/>
              </a:solidFill>
            </a:endParaRP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-36512" y="3212976"/>
            <a:ext cx="9144000" cy="400752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/>
            <a:r>
              <a:rPr lang="tr-TR" sz="2000" b="1" dirty="0" smtClean="0">
                <a:solidFill>
                  <a:srgbClr val="002060"/>
                </a:solidFill>
              </a:rPr>
              <a:t>MID PARK- CASABLANCA AERONAUTIQUE</a:t>
            </a:r>
            <a:endParaRPr lang="fr-FR" sz="2000" b="1" dirty="0">
              <a:solidFill>
                <a:srgbClr val="002060"/>
              </a:solidFill>
            </a:endParaRPr>
          </a:p>
        </p:txBody>
      </p:sp>
      <p:sp>
        <p:nvSpPr>
          <p:cNvPr id="23" name="Rectangle 5"/>
          <p:cNvSpPr>
            <a:spLocks noChangeArrowheads="1"/>
          </p:cNvSpPr>
          <p:nvPr/>
        </p:nvSpPr>
        <p:spPr bwMode="auto">
          <a:xfrm>
            <a:off x="35496" y="4005064"/>
            <a:ext cx="9144000" cy="708528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/>
            <a:r>
              <a:rPr lang="fr-FR" sz="2000" b="1" dirty="0" smtClean="0">
                <a:solidFill>
                  <a:srgbClr val="002060"/>
                </a:solidFill>
              </a:rPr>
              <a:t>Zone franche de Dakhla</a:t>
            </a:r>
            <a:r>
              <a:rPr lang="tr-TR" sz="2000" b="1" dirty="0" smtClean="0">
                <a:solidFill>
                  <a:srgbClr val="002060"/>
                </a:solidFill>
              </a:rPr>
              <a:t>-</a:t>
            </a:r>
            <a:r>
              <a:rPr lang="fr-FR" sz="2000" b="1" dirty="0" err="1" smtClean="0">
                <a:solidFill>
                  <a:srgbClr val="002060"/>
                </a:solidFill>
              </a:rPr>
              <a:t>Laayoune</a:t>
            </a:r>
            <a:r>
              <a:rPr lang="tr-TR" sz="2000" b="1" dirty="0" smtClean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fr-FR" sz="2000" b="1" dirty="0" smtClean="0">
                <a:solidFill>
                  <a:srgbClr val="002060"/>
                </a:solidFill>
              </a:rPr>
              <a:t>Zone franche de stockage des hydrocarbures : </a:t>
            </a:r>
            <a:r>
              <a:rPr lang="fr-FR" sz="2000" b="1" dirty="0" err="1" smtClean="0">
                <a:solidFill>
                  <a:srgbClr val="002060"/>
                </a:solidFill>
              </a:rPr>
              <a:t>Kebdana</a:t>
            </a:r>
            <a:r>
              <a:rPr lang="fr-FR" sz="2000" b="1" dirty="0" smtClean="0">
                <a:solidFill>
                  <a:srgbClr val="002060"/>
                </a:solidFill>
              </a:rPr>
              <a:t> et Nador</a:t>
            </a:r>
            <a:endParaRPr lang="fr-FR" sz="2000" b="1" dirty="0">
              <a:solidFill>
                <a:srgbClr val="002060"/>
              </a:solidFill>
            </a:endParaRPr>
          </a:p>
        </p:txBody>
      </p:sp>
      <p:sp>
        <p:nvSpPr>
          <p:cNvPr id="60419" name="Rectangle 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solidFill>
            <a:srgbClr val="E3E3E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fr-FR" sz="900" b="0" i="0" u="none" strike="noStrike" cap="none" normalizeH="0" baseline="0" smtClean="0">
                <a:ln>
                  <a:noFill/>
                </a:ln>
                <a:solidFill>
                  <a:srgbClr val="595959"/>
                </a:solidFill>
                <a:effectLst/>
                <a:latin typeface="Tahoma" pitchFamily="34" charset="0"/>
                <a:cs typeface="Tahoma" pitchFamily="34" charset="0"/>
              </a:rPr>
              <a:t>Zone franche de Dakhla et de Laayoune :</a:t>
            </a:r>
            <a:endParaRPr kumimoji="0" lang="fr-FR" sz="900" b="0" i="0" u="none" strike="noStrike" cap="none" normalizeH="0" baseline="0" smtClean="0">
              <a:ln>
                <a:noFill/>
              </a:ln>
              <a:solidFill>
                <a:srgbClr val="606060"/>
              </a:solidFill>
              <a:effectLst/>
              <a:latin typeface="Tahoma" pitchFamily="34" charset="0"/>
              <a:cs typeface="Tahoma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fr-FR" sz="900" b="0" i="0" u="none" strike="noStrike" cap="none" normalizeH="0" baseline="0" smtClean="0">
                <a:ln>
                  <a:noFill/>
                </a:ln>
                <a:solidFill>
                  <a:srgbClr val="606060"/>
                </a:solidFill>
                <a:effectLst/>
                <a:latin typeface="Tahoma" pitchFamily="34" charset="0"/>
                <a:cs typeface="Tahoma" pitchFamily="34" charset="0"/>
              </a:rPr>
              <a:t>  </a:t>
            </a:r>
            <a:r>
              <a:rPr kumimoji="0" lang="fr-FR" sz="400" b="0" i="0" u="none" strike="noStrike" cap="none" normalizeH="0" baseline="0" smtClean="0">
                <a:ln>
                  <a:noFill/>
                </a:ln>
                <a:solidFill>
                  <a:srgbClr val="606060"/>
                </a:solidFill>
                <a:effectLst/>
                <a:latin typeface="Tahoma" pitchFamily="34" charset="0"/>
                <a:cs typeface="Tahoma" pitchFamily="34" charset="0"/>
              </a:rPr>
              <a:t> </a:t>
            </a:r>
            <a:r>
              <a:rPr kumimoji="0" lang="fr-FR" sz="900" b="0" i="0" u="none" strike="noStrike" cap="none" normalizeH="0" baseline="0" smtClean="0">
                <a:ln>
                  <a:noFill/>
                </a:ln>
                <a:solidFill>
                  <a:srgbClr val="595959"/>
                </a:solidFill>
                <a:effectLst/>
                <a:latin typeface="Tahoma" pitchFamily="34" charset="0"/>
                <a:cs typeface="Tahoma" pitchFamily="34" charset="0"/>
              </a:rPr>
              <a:t> Zone franche de stockage des hydrocarbures : Kebdana et Nador</a:t>
            </a:r>
            <a:endParaRPr kumimoji="0" lang="fr-FR" sz="900" b="0" i="0" u="none" strike="noStrike" cap="none" normalizeH="0" baseline="0" smtClean="0">
              <a:ln>
                <a:noFill/>
              </a:ln>
              <a:solidFill>
                <a:srgbClr val="60606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900" b="0" i="0" u="none" strike="noStrike" cap="none" normalizeH="0" baseline="0" smtClean="0">
              <a:ln>
                <a:noFill/>
              </a:ln>
              <a:solidFill>
                <a:srgbClr val="606060"/>
              </a:solidFill>
              <a:effectLst/>
              <a:latin typeface="Tahoma" pitchFamily="34" charset="0"/>
              <a:cs typeface="Tahoma" pitchFamily="34" charset="0"/>
            </a:endParaRPr>
          </a:p>
        </p:txBody>
      </p:sp>
      <p:pic>
        <p:nvPicPr>
          <p:cNvPr id="60420" name="Picture 4" descr="http://www.invest.gov.ma/images/pictoLi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900" y="69850"/>
            <a:ext cx="66675" cy="66675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 autoUpdateAnimBg="0"/>
      <p:bldP spid="18" grpId="0" animBg="1" autoUpdateAnimBg="0"/>
      <p:bldP spid="20" grpId="0" animBg="1" autoUpdateAnimBg="0"/>
      <p:bldP spid="21" grpId="0" animBg="1" autoUpdateAnimBg="0"/>
      <p:bldP spid="17" grpId="0" animBg="1" autoUpdateAnimBg="0"/>
      <p:bldP spid="23" grpId="0" animBg="1" autoUpdateAnimBg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414366" y="214313"/>
            <a:ext cx="82296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ATIRIM TESVİK</a:t>
            </a:r>
            <a:r>
              <a:rPr kumimoji="0" lang="tr-TR" sz="2800" b="1" i="0" u="none" strike="noStrike" kern="1200" cap="none" spc="0" normalizeH="0" noProof="0" dirty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REJİMİ</a:t>
            </a:r>
            <a:endParaRPr kumimoji="0" lang="de-DE" sz="2800" b="1" i="0" u="none" strike="noStrike" kern="1200" cap="none" spc="0" normalizeH="0" baseline="0" noProof="1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pSp>
        <p:nvGrpSpPr>
          <p:cNvPr id="2" name="Groupe 19"/>
          <p:cNvGrpSpPr/>
          <p:nvPr/>
        </p:nvGrpSpPr>
        <p:grpSpPr>
          <a:xfrm>
            <a:off x="3131840" y="889387"/>
            <a:ext cx="2520280" cy="5266525"/>
            <a:chOff x="3244905" y="1066633"/>
            <a:chExt cx="2241114" cy="5379705"/>
          </a:xfrm>
        </p:grpSpPr>
        <p:sp>
          <p:nvSpPr>
            <p:cNvPr id="26" name="Rectangle 3"/>
            <p:cNvSpPr>
              <a:spLocks noChangeArrowheads="1"/>
            </p:cNvSpPr>
            <p:nvPr/>
          </p:nvSpPr>
          <p:spPr bwMode="gray">
            <a:xfrm>
              <a:off x="3244905" y="2116158"/>
              <a:ext cx="2223708" cy="4330180"/>
            </a:xfrm>
            <a:prstGeom prst="rect">
              <a:avLst/>
            </a:prstGeom>
            <a:solidFill>
              <a:schemeClr val="tx2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72000" bIns="72000"/>
            <a:lstStyle/>
            <a:p>
              <a:pPr marL="635000" lvl="3" indent="-177800">
                <a:buClr>
                  <a:srgbClr val="C00000"/>
                </a:buClr>
                <a:buSzPct val="100000"/>
                <a:defRPr/>
              </a:pPr>
              <a:endParaRPr lang="tr-TR" sz="1200" b="1" dirty="0" smtClean="0">
                <a:solidFill>
                  <a:srgbClr val="FFFF00"/>
                </a:solidFill>
                <a:cs typeface="Arial" charset="0"/>
              </a:endParaRPr>
            </a:p>
            <a:p>
              <a:pPr marL="635000" lvl="3" indent="-177800">
                <a:buClr>
                  <a:srgbClr val="C00000"/>
                </a:buClr>
                <a:buSzPct val="100000"/>
                <a:defRPr/>
              </a:pPr>
              <a:r>
                <a:rPr lang="fr-FR" sz="1200" b="1" dirty="0" smtClean="0">
                  <a:solidFill>
                    <a:srgbClr val="FFFF00"/>
                  </a:solidFill>
                  <a:cs typeface="Arial" charset="0"/>
                </a:rPr>
                <a:t>%</a:t>
              </a:r>
              <a:r>
                <a:rPr lang="tr-TR" sz="1200" b="1" dirty="0" smtClean="0">
                  <a:solidFill>
                    <a:srgbClr val="FFFF00"/>
                  </a:solidFill>
                  <a:cs typeface="Arial" charset="0"/>
                </a:rPr>
                <a:t>70 IHRACAT SARTI </a:t>
              </a:r>
            </a:p>
            <a:p>
              <a:pPr marL="635000" lvl="3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endParaRPr lang="tr-TR" sz="1200" b="1" dirty="0" smtClean="0">
                <a:solidFill>
                  <a:srgbClr val="FFFF00"/>
                </a:solidFill>
                <a:cs typeface="Arial" charset="0"/>
              </a:endParaRPr>
            </a:p>
            <a:p>
              <a:pPr marL="635000" lvl="3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endParaRPr lang="fr-FR" sz="1200" b="1" dirty="0" smtClean="0">
                <a:solidFill>
                  <a:schemeClr val="bg1"/>
                </a:solidFill>
                <a:cs typeface="Arial" charset="0"/>
              </a:endParaRPr>
            </a:p>
            <a:p>
              <a:pPr marL="177800" lvl="2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tr-TR" sz="1200" b="1" dirty="0" smtClean="0">
                  <a:solidFill>
                    <a:schemeClr val="bg1"/>
                  </a:solidFill>
                  <a:cs typeface="Arial" charset="0"/>
                </a:rPr>
                <a:t>KDV VE GUMRUK VB MUAFIYETI</a:t>
              </a:r>
            </a:p>
            <a:p>
              <a:pPr marL="177800" lvl="2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endParaRPr lang="tr-TR" sz="1200" b="1" dirty="0" smtClean="0">
                <a:solidFill>
                  <a:schemeClr val="bg1"/>
                </a:solidFill>
                <a:cs typeface="Arial" charset="0"/>
              </a:endParaRPr>
            </a:p>
            <a:p>
              <a:pPr marL="177800" lvl="2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tr-TR" sz="1200" b="1" dirty="0" smtClean="0">
                  <a:solidFill>
                    <a:schemeClr val="bg1"/>
                  </a:solidFill>
                  <a:cs typeface="Arial" charset="0"/>
                </a:rPr>
                <a:t>BASİT GUMRUK REJİMİ</a:t>
              </a:r>
            </a:p>
            <a:p>
              <a:pPr marL="177800" lvl="2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endParaRPr lang="fr-FR" sz="1200" b="1" dirty="0" smtClean="0">
                <a:solidFill>
                  <a:schemeClr val="bg1"/>
                </a:solidFill>
                <a:cs typeface="Arial" charset="0"/>
              </a:endParaRPr>
            </a:p>
            <a:p>
              <a:pPr marL="177800" lvl="2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tr-TR" sz="1200" b="1" noProof="1" smtClean="0">
                  <a:solidFill>
                    <a:schemeClr val="bg1"/>
                  </a:solidFill>
                  <a:cs typeface="Arial" charset="0"/>
                </a:rPr>
                <a:t>5 YIL KURUMMLAR VERGİSİ MUAFİYETİ, DAHA SONRA 20 YIL </a:t>
              </a:r>
              <a:r>
                <a:rPr lang="fr-FR" sz="1200" b="1" noProof="1" smtClean="0">
                  <a:solidFill>
                    <a:schemeClr val="bg1"/>
                  </a:solidFill>
                  <a:cs typeface="Arial" charset="0"/>
                </a:rPr>
                <a:t>% 8,75</a:t>
              </a:r>
              <a:endParaRPr lang="tr-TR" sz="1200" b="1" noProof="1" smtClean="0">
                <a:solidFill>
                  <a:schemeClr val="bg1"/>
                </a:solidFill>
                <a:cs typeface="Arial" charset="0"/>
              </a:endParaRPr>
            </a:p>
            <a:p>
              <a:pPr marL="177800" lvl="2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endParaRPr lang="fr-FR" sz="1200" b="1" noProof="1" smtClean="0">
                <a:solidFill>
                  <a:schemeClr val="bg1"/>
                </a:solidFill>
                <a:cs typeface="Arial" charset="0"/>
              </a:endParaRPr>
            </a:p>
            <a:p>
              <a:pPr marL="177800" lvl="2" indent="-177800">
                <a:buClr>
                  <a:srgbClr val="C00000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tr-TR" sz="1200" b="1" noProof="1" smtClean="0">
                  <a:solidFill>
                    <a:schemeClr val="bg1"/>
                  </a:solidFill>
                  <a:cs typeface="Arial" charset="0"/>
                </a:rPr>
                <a:t>5 YIL GELİR VERGİSİ MUAFİYETİ, DAHA SONRA 20 YIL </a:t>
              </a:r>
              <a:r>
                <a:rPr lang="fr-FR" sz="1200" b="1" noProof="1" smtClean="0">
                  <a:solidFill>
                    <a:schemeClr val="bg1"/>
                  </a:solidFill>
                  <a:cs typeface="Arial" charset="0"/>
                </a:rPr>
                <a:t>%8</a:t>
              </a:r>
              <a:r>
                <a:rPr lang="tr-TR" sz="1200" b="1" noProof="1" smtClean="0">
                  <a:solidFill>
                    <a:schemeClr val="bg1"/>
                  </a:solidFill>
                  <a:cs typeface="Arial" charset="0"/>
                </a:rPr>
                <a:t>0 İNDİRİM </a:t>
              </a:r>
            </a:p>
          </p:txBody>
        </p:sp>
        <p:sp>
          <p:nvSpPr>
            <p:cNvPr id="27" name="Rectangle 26"/>
            <p:cNvSpPr/>
            <p:nvPr/>
          </p:nvSpPr>
          <p:spPr bwMode="auto">
            <a:xfrm>
              <a:off x="3262312" y="1066633"/>
              <a:ext cx="2223707" cy="975970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08000" tIns="108000" rIns="72000" bIns="72000"/>
            <a:lstStyle/>
            <a:p>
              <a:pPr marL="95250" indent="166688">
                <a:defRPr/>
              </a:pPr>
              <a:r>
                <a:rPr lang="tr-TR" sz="2000" b="1" dirty="0" smtClean="0">
                  <a:solidFill>
                    <a:srgbClr val="FFFF00"/>
                  </a:solidFill>
                  <a:cs typeface="Arial" charset="0"/>
                  <a:sym typeface="Wingdings" pitchFamily="2" charset="2"/>
                </a:rPr>
                <a:t>     SERBEST</a:t>
              </a:r>
            </a:p>
            <a:p>
              <a:pPr marL="95250" indent="166688">
                <a:defRPr/>
              </a:pPr>
              <a:r>
                <a:rPr lang="tr-TR" sz="2000" b="1" dirty="0" smtClean="0">
                  <a:solidFill>
                    <a:srgbClr val="FFFF00"/>
                  </a:solidFill>
                  <a:cs typeface="Arial" charset="0"/>
                  <a:sym typeface="Wingdings" pitchFamily="2" charset="2"/>
                </a:rPr>
                <a:t>       BOLGE</a:t>
              </a:r>
              <a:endParaRPr lang="fr-FR" sz="2000" b="1" dirty="0">
                <a:solidFill>
                  <a:srgbClr val="FFFF00"/>
                </a:solidFill>
                <a:cs typeface="Arial" charset="0"/>
                <a:sym typeface="Wingdings" pitchFamily="2" charset="2"/>
              </a:endParaRPr>
            </a:p>
          </p:txBody>
        </p:sp>
      </p:grpSp>
      <p:sp>
        <p:nvSpPr>
          <p:cNvPr id="22" name="ZoneTexte 21"/>
          <p:cNvSpPr txBox="1"/>
          <p:nvPr/>
        </p:nvSpPr>
        <p:spPr>
          <a:xfrm>
            <a:off x="-303438" y="2631182"/>
            <a:ext cx="327923" cy="25391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fr-FR" sz="1050" dirty="0" smtClean="0"/>
              <a:t>ou</a:t>
            </a:r>
            <a:endParaRPr lang="fr-FR" sz="1050" dirty="0"/>
          </a:p>
        </p:txBody>
      </p:sp>
      <p:sp>
        <p:nvSpPr>
          <p:cNvPr id="33" name="Rectangle 32"/>
          <p:cNvSpPr/>
          <p:nvPr/>
        </p:nvSpPr>
        <p:spPr bwMode="auto">
          <a:xfrm>
            <a:off x="337017" y="836712"/>
            <a:ext cx="2417723" cy="1080119"/>
          </a:xfrm>
          <a:prstGeom prst="rect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6800" rIns="18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95250" marR="0" indent="16668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r-TR" b="1" dirty="0" smtClean="0">
                <a:solidFill>
                  <a:srgbClr val="FFFF00"/>
                </a:solidFill>
                <a:latin typeface="Arial" charset="0"/>
              </a:rPr>
              <a:t>YATIRIM VE SANAYİ KALKINMA  FONU</a:t>
            </a:r>
            <a:endParaRPr kumimoji="0" lang="fr-FR" b="1" i="0" u="none" strike="noStrike" cap="none" normalizeH="0" baseline="0" dirty="0" smtClean="0">
              <a:ln>
                <a:noFill/>
              </a:ln>
              <a:solidFill>
                <a:srgbClr val="FFFF00"/>
              </a:solidFill>
              <a:effectLst/>
              <a:latin typeface="Arial" charset="0"/>
            </a:endParaRPr>
          </a:p>
        </p:txBody>
      </p:sp>
      <p:sp>
        <p:nvSpPr>
          <p:cNvPr id="25" name="Rectangle 3"/>
          <p:cNvSpPr>
            <a:spLocks noChangeArrowheads="1"/>
          </p:cNvSpPr>
          <p:nvPr/>
        </p:nvSpPr>
        <p:spPr bwMode="gray">
          <a:xfrm>
            <a:off x="341784" y="1993606"/>
            <a:ext cx="2430016" cy="4171698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72000" bIns="72000"/>
          <a:lstStyle/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200" b="1" dirty="0" smtClean="0">
                <a:solidFill>
                  <a:srgbClr val="FFFF00"/>
                </a:solidFill>
                <a:cs typeface="Arial" charset="0"/>
              </a:rPr>
              <a:t>10 Milyon USD </a:t>
            </a: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200" b="1" dirty="0" smtClean="0">
                <a:solidFill>
                  <a:srgbClr val="FFFF00"/>
                </a:solidFill>
                <a:cs typeface="Arial" charset="0"/>
              </a:rPr>
              <a:t>250 İstihdam10 Milyon USD </a:t>
            </a: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200" b="1" dirty="0" smtClean="0">
                <a:solidFill>
                  <a:srgbClr val="FFFF00"/>
                </a:solidFill>
                <a:cs typeface="Arial" charset="0"/>
              </a:rPr>
              <a:t>Ozel bir bolgeye yerlesme</a:t>
            </a: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200" b="1" dirty="0" smtClean="0">
                <a:solidFill>
                  <a:srgbClr val="FFFF00"/>
                </a:solidFill>
                <a:cs typeface="Arial" charset="0"/>
              </a:rPr>
              <a:t>Teknoloji Transferi </a:t>
            </a: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200" b="1" dirty="0" smtClean="0">
                <a:solidFill>
                  <a:srgbClr val="FFFF00"/>
                </a:solidFill>
                <a:cs typeface="Arial" charset="0"/>
              </a:rPr>
              <a:t>Cevre Dostu Yatırım</a:t>
            </a: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tr-TR" sz="1200" b="1" dirty="0" smtClean="0">
              <a:solidFill>
                <a:srgbClr val="FFFF00"/>
              </a:solidFill>
              <a:cs typeface="Arial" charset="0"/>
            </a:endParaRP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tr-TR" sz="1400" b="1" dirty="0" smtClean="0">
              <a:solidFill>
                <a:srgbClr val="FFFF00"/>
              </a:solidFill>
              <a:cs typeface="Arial" charset="0"/>
            </a:endParaRP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fr-FR" sz="1400" b="1" dirty="0">
              <a:solidFill>
                <a:schemeClr val="bg1"/>
              </a:solidFill>
            </a:endParaRPr>
          </a:p>
          <a:p>
            <a:pPr marL="177800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400" b="1" dirty="0" smtClean="0">
                <a:solidFill>
                  <a:schemeClr val="bg1"/>
                </a:solidFill>
              </a:rPr>
              <a:t>Arazı alımının </a:t>
            </a:r>
            <a:r>
              <a:rPr lang="fr-FR" sz="1400" b="1" dirty="0" smtClean="0">
                <a:solidFill>
                  <a:schemeClr val="bg1"/>
                </a:solidFill>
              </a:rPr>
              <a:t>%</a:t>
            </a:r>
            <a:r>
              <a:rPr lang="tr-TR" sz="1400" b="1" dirty="0" smtClean="0">
                <a:solidFill>
                  <a:schemeClr val="bg1"/>
                </a:solidFill>
              </a:rPr>
              <a:t>20</a:t>
            </a:r>
          </a:p>
          <a:p>
            <a:pPr marL="177800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400" b="1" dirty="0" smtClean="0">
                <a:solidFill>
                  <a:schemeClr val="bg1"/>
                </a:solidFill>
              </a:rPr>
              <a:t>Dıs Altyapı yatırımının </a:t>
            </a:r>
            <a:r>
              <a:rPr lang="fr-FR" sz="1400" b="1" dirty="0" smtClean="0">
                <a:solidFill>
                  <a:schemeClr val="bg1"/>
                </a:solidFill>
              </a:rPr>
              <a:t>%</a:t>
            </a:r>
            <a:r>
              <a:rPr lang="tr-TR" sz="1400" b="1" dirty="0" smtClean="0">
                <a:solidFill>
                  <a:schemeClr val="bg1"/>
                </a:solidFill>
              </a:rPr>
              <a:t>5</a:t>
            </a:r>
            <a:r>
              <a:rPr lang="fr-FR" sz="1400" b="1" dirty="0" smtClean="0">
                <a:solidFill>
                  <a:schemeClr val="bg1"/>
                </a:solidFill>
              </a:rPr>
              <a:t> </a:t>
            </a:r>
            <a:endParaRPr lang="tr-TR" sz="1400" b="1" dirty="0" smtClean="0">
              <a:solidFill>
                <a:schemeClr val="bg1"/>
              </a:solidFill>
            </a:endParaRPr>
          </a:p>
          <a:p>
            <a:pPr marL="177800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400" b="1" dirty="0" smtClean="0">
                <a:solidFill>
                  <a:schemeClr val="bg1"/>
                </a:solidFill>
              </a:rPr>
              <a:t>Egitim Yardımı </a:t>
            </a:r>
            <a:r>
              <a:rPr lang="fr-FR" sz="1400" b="1" dirty="0" smtClean="0">
                <a:solidFill>
                  <a:schemeClr val="bg1"/>
                </a:solidFill>
              </a:rPr>
              <a:t>%</a:t>
            </a:r>
            <a:r>
              <a:rPr lang="tr-TR" sz="1400" b="1" dirty="0" smtClean="0">
                <a:solidFill>
                  <a:schemeClr val="bg1"/>
                </a:solidFill>
              </a:rPr>
              <a:t>20</a:t>
            </a:r>
          </a:p>
          <a:p>
            <a:pPr marL="177800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fr-FR" sz="1400" b="1" dirty="0">
              <a:solidFill>
                <a:schemeClr val="bg1"/>
              </a:solidFill>
              <a:latin typeface="Trebuchet MS" pitchFamily="34" charset="0"/>
            </a:endParaRPr>
          </a:p>
          <a:p>
            <a:pPr marL="190500" indent="-190500">
              <a:spcBef>
                <a:spcPct val="40000"/>
              </a:spcBef>
              <a:buClr>
                <a:schemeClr val="accent2"/>
              </a:buClr>
              <a:buFont typeface="Wingdings" pitchFamily="2" charset="2"/>
              <a:buChar char="§"/>
            </a:pPr>
            <a:endParaRPr lang="fr-FR" sz="1600" noProof="1"/>
          </a:p>
        </p:txBody>
      </p:sp>
      <p:sp>
        <p:nvSpPr>
          <p:cNvPr id="15" name="Rectangle 14"/>
          <p:cNvSpPr/>
          <p:nvPr/>
        </p:nvSpPr>
        <p:spPr bwMode="auto">
          <a:xfrm>
            <a:off x="6133764" y="836712"/>
            <a:ext cx="2470684" cy="1018198"/>
          </a:xfrm>
          <a:prstGeom prst="rect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95250" indent="166688" algn="ctr" eaLnBrk="1" hangingPunct="1">
              <a:defRPr/>
            </a:pPr>
            <a:r>
              <a:rPr lang="tr-TR" b="1" dirty="0" smtClean="0">
                <a:solidFill>
                  <a:srgbClr val="FFFF00"/>
                </a:solidFill>
                <a:latin typeface="Arial" charset="0"/>
                <a:sym typeface="Wingdings" pitchFamily="2" charset="2"/>
              </a:rPr>
              <a:t>GENEL VERGI  </a:t>
            </a:r>
          </a:p>
          <a:p>
            <a:pPr marL="95250" indent="166688" algn="ctr" eaLnBrk="1" hangingPunct="1">
              <a:defRPr/>
            </a:pPr>
            <a:r>
              <a:rPr lang="tr-TR" b="1" dirty="0" smtClean="0">
                <a:solidFill>
                  <a:srgbClr val="FFFF00"/>
                </a:solidFill>
                <a:latin typeface="Arial" charset="0"/>
                <a:sym typeface="Wingdings" pitchFamily="2" charset="2"/>
              </a:rPr>
              <a:t>REJİMİ</a:t>
            </a:r>
            <a:endParaRPr lang="fr-FR" b="1" dirty="0">
              <a:solidFill>
                <a:srgbClr val="FFFF00"/>
              </a:solidFill>
              <a:latin typeface="Arial" charset="0"/>
              <a:sym typeface="Wingdings" pitchFamily="2" charset="2"/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gray">
          <a:xfrm>
            <a:off x="6174432" y="1916832"/>
            <a:ext cx="2430016" cy="4171698"/>
          </a:xfrm>
          <a:prstGeom prst="rect">
            <a:avLst/>
          </a:prstGeom>
          <a:solidFill>
            <a:schemeClr val="tx2"/>
          </a:solidFill>
          <a:ln w="1270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108000" rIns="72000" bIns="72000"/>
          <a:lstStyle/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200" b="1" dirty="0" smtClean="0">
                <a:solidFill>
                  <a:srgbClr val="FFFF00"/>
                </a:solidFill>
                <a:cs typeface="Arial" charset="0"/>
              </a:rPr>
              <a:t>10 Milyon USD </a:t>
            </a: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tr-TR" sz="1200" b="1" dirty="0" smtClean="0">
              <a:solidFill>
                <a:srgbClr val="FFFF00"/>
              </a:solidFill>
              <a:cs typeface="Arial" charset="0"/>
            </a:endParaRP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tr-TR" sz="1400" b="1" dirty="0" smtClean="0">
              <a:solidFill>
                <a:srgbClr val="FFFF00"/>
              </a:solidFill>
              <a:cs typeface="Arial" charset="0"/>
            </a:endParaRPr>
          </a:p>
          <a:p>
            <a:pPr marL="177800" lvl="3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fr-FR" sz="1400" b="1" dirty="0">
              <a:solidFill>
                <a:schemeClr val="bg1"/>
              </a:solidFill>
            </a:endParaRPr>
          </a:p>
          <a:p>
            <a:pPr marL="177800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tr-TR" sz="1400" b="1" dirty="0" smtClean="0">
                <a:solidFill>
                  <a:schemeClr val="bg1"/>
                </a:solidFill>
              </a:rPr>
              <a:t>3 Yıl boyunca makina ve ekipmandan KDV ve Gumruk Muafiyeti</a:t>
            </a:r>
          </a:p>
          <a:p>
            <a:pPr marL="177800" indent="-177800"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fr-FR" sz="1400" b="1" dirty="0">
              <a:solidFill>
                <a:schemeClr val="bg1"/>
              </a:solidFill>
              <a:latin typeface="Trebuchet MS" pitchFamily="34" charset="0"/>
            </a:endParaRPr>
          </a:p>
          <a:p>
            <a:pPr marL="190500" indent="-190500">
              <a:spcBef>
                <a:spcPct val="40000"/>
              </a:spcBef>
              <a:buClr>
                <a:schemeClr val="accent2"/>
              </a:buClr>
              <a:buFont typeface="Wingdings" pitchFamily="2" charset="2"/>
              <a:buChar char="§"/>
            </a:pPr>
            <a:endParaRPr lang="fr-FR" sz="1600" noProof="1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40" name="AutoShape 8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2" name="AutoShape 10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4" name="AutoShape 12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6" name="AutoShape 14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48" name="AutoShape 16" descr="https://encrypted-tbn0.gstatic.com/images?q=tbn:ANd9GcQB2GfAiXkax5EXzUTiiREZNCL5WRMbducy_20rksyyRJPN8-fI"/>
          <p:cNvSpPr>
            <a:spLocks noChangeAspect="1" noChangeArrowheads="1"/>
          </p:cNvSpPr>
          <p:nvPr/>
        </p:nvSpPr>
        <p:spPr bwMode="auto">
          <a:xfrm>
            <a:off x="155575" y="-830263"/>
            <a:ext cx="2638425" cy="173355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69650" name="AutoShape 18" descr="https://encrypted-tbn0.gstatic.com/images?q=tbn:ANd9GcRwr9LvU04Rte9f1_Ecp4nUQzIkGKPk9GEKQAXtswTx2hbXq5QTjg"/>
          <p:cNvSpPr>
            <a:spLocks noChangeAspect="1" noChangeArrowheads="1"/>
          </p:cNvSpPr>
          <p:nvPr/>
        </p:nvSpPr>
        <p:spPr bwMode="auto">
          <a:xfrm>
            <a:off x="155575" y="-1150938"/>
            <a:ext cx="1905000" cy="24003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0" y="1484785"/>
            <a:ext cx="9216008" cy="415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tr-TR" sz="2000" b="1" kern="0" dirty="0" smtClean="0">
                <a:solidFill>
                  <a:srgbClr val="FFFF00"/>
                </a:solidFill>
              </a:rPr>
              <a:t>Her Tür Yatırım için AMDI’den Özel teşvik imkanı</a:t>
            </a:r>
          </a:p>
          <a:p>
            <a:pPr algn="ctr"/>
            <a:endParaRPr lang="tr-TR" b="1" kern="0" dirty="0" smtClean="0">
              <a:solidFill>
                <a:srgbClr val="FFFF00"/>
              </a:solidFill>
            </a:endParaRPr>
          </a:p>
          <a:p>
            <a:pPr algn="ctr"/>
            <a:r>
              <a:rPr lang="tr-TR" sz="2400" b="1" kern="0" dirty="0" smtClean="0">
                <a:solidFill>
                  <a:srgbClr val="FFFF00"/>
                </a:solidFill>
              </a:rPr>
              <a:t>Hassan II Fonu </a:t>
            </a:r>
          </a:p>
          <a:p>
            <a:pPr algn="ctr"/>
            <a:r>
              <a:rPr lang="tr-TR" sz="2000" b="1" kern="0" dirty="0" smtClean="0">
                <a:solidFill>
                  <a:schemeClr val="bg1"/>
                </a:solidFill>
              </a:rPr>
              <a:t>Sektorel Teşvik</a:t>
            </a:r>
          </a:p>
          <a:p>
            <a:pPr algn="ctr"/>
            <a:r>
              <a:rPr lang="tr-TR" sz="2000" b="1" kern="0" dirty="0" smtClean="0">
                <a:solidFill>
                  <a:schemeClr val="bg1"/>
                </a:solidFill>
              </a:rPr>
              <a:t>Otomotıv-uzay sanayı-elektronik-nano ve bio teknoloji</a:t>
            </a:r>
          </a:p>
          <a:p>
            <a:pPr marL="177800" indent="-177800" algn="ctr">
              <a:buClr>
                <a:srgbClr val="C00000"/>
              </a:buClr>
              <a:defRPr/>
            </a:pPr>
            <a:r>
              <a:rPr lang="tr-TR" sz="2000" b="1" dirty="0" smtClean="0">
                <a:solidFill>
                  <a:schemeClr val="bg1"/>
                </a:solidFill>
              </a:rPr>
              <a:t>Bina alım veya İnsaatı, alımının </a:t>
            </a:r>
            <a:r>
              <a:rPr lang="fr-FR" sz="2000" b="1" dirty="0" smtClean="0">
                <a:solidFill>
                  <a:schemeClr val="bg1"/>
                </a:solidFill>
              </a:rPr>
              <a:t>%</a:t>
            </a:r>
            <a:r>
              <a:rPr lang="tr-TR" sz="2000" b="1" dirty="0" smtClean="0">
                <a:solidFill>
                  <a:schemeClr val="bg1"/>
                </a:solidFill>
              </a:rPr>
              <a:t>30-m2 200 USD</a:t>
            </a:r>
          </a:p>
          <a:p>
            <a:pPr marL="177800" indent="-177800" algn="ctr">
              <a:buClr>
                <a:srgbClr val="C00000"/>
              </a:buClr>
              <a:defRPr/>
            </a:pPr>
            <a:r>
              <a:rPr lang="tr-TR" sz="2000" b="1" dirty="0" smtClean="0">
                <a:solidFill>
                  <a:schemeClr val="bg1"/>
                </a:solidFill>
              </a:rPr>
              <a:t>Yeni makina ve ekipman alımının </a:t>
            </a:r>
            <a:r>
              <a:rPr lang="fr-FR" sz="2000" b="1" dirty="0" smtClean="0">
                <a:solidFill>
                  <a:schemeClr val="bg1"/>
                </a:solidFill>
              </a:rPr>
              <a:t>%</a:t>
            </a:r>
            <a:r>
              <a:rPr lang="tr-TR" sz="2000" b="1" dirty="0" smtClean="0">
                <a:solidFill>
                  <a:schemeClr val="bg1"/>
                </a:solidFill>
              </a:rPr>
              <a:t>15 i</a:t>
            </a:r>
          </a:p>
          <a:p>
            <a:pPr marL="177800" indent="-177800" algn="ctr">
              <a:buClr>
                <a:srgbClr val="C00000"/>
              </a:buClr>
              <a:defRPr/>
            </a:pPr>
            <a:r>
              <a:rPr lang="tr-TR" sz="2000" b="1" dirty="0" smtClean="0">
                <a:solidFill>
                  <a:schemeClr val="bg1"/>
                </a:solidFill>
              </a:rPr>
              <a:t>Toplam yatırımın </a:t>
            </a:r>
            <a:r>
              <a:rPr lang="fr-FR" sz="2000" b="1" dirty="0" smtClean="0">
                <a:solidFill>
                  <a:schemeClr val="bg1"/>
                </a:solidFill>
              </a:rPr>
              <a:t>%</a:t>
            </a:r>
            <a:r>
              <a:rPr lang="tr-TR" sz="2000" b="1" dirty="0" smtClean="0">
                <a:solidFill>
                  <a:schemeClr val="bg1"/>
                </a:solidFill>
              </a:rPr>
              <a:t>15 i ve maksimum 3 Milyon USD</a:t>
            </a:r>
          </a:p>
          <a:p>
            <a:pPr marL="177800" indent="-177800" algn="ctr">
              <a:buClr>
                <a:srgbClr val="C00000"/>
              </a:buClr>
              <a:defRPr/>
            </a:pPr>
            <a:endParaRPr lang="tr-TR" b="1" dirty="0" smtClean="0">
              <a:solidFill>
                <a:schemeClr val="bg1"/>
              </a:solidFill>
            </a:endParaRPr>
          </a:p>
          <a:p>
            <a:pPr marL="177800" indent="-177800" algn="ctr">
              <a:buClr>
                <a:srgbClr val="C00000"/>
              </a:buClr>
              <a:defRPr/>
            </a:pPr>
            <a:r>
              <a:rPr lang="tr-TR" sz="2400" b="1" kern="0" dirty="0" smtClean="0">
                <a:solidFill>
                  <a:srgbClr val="FFFF00"/>
                </a:solidFill>
              </a:rPr>
              <a:t>Yatırım ve Sanayi Kalkınma Fonu</a:t>
            </a:r>
          </a:p>
          <a:p>
            <a:pPr marL="177800" indent="-177800" algn="ctr">
              <a:buClr>
                <a:srgbClr val="C00000"/>
              </a:buClr>
              <a:defRPr/>
            </a:pPr>
            <a:r>
              <a:rPr lang="tr-TR" sz="2000" b="1" dirty="0" smtClean="0">
                <a:solidFill>
                  <a:schemeClr val="bg1"/>
                </a:solidFill>
              </a:rPr>
              <a:t>Arazi Alımında </a:t>
            </a:r>
            <a:r>
              <a:rPr lang="fr-FR" sz="2000" b="1" dirty="0" smtClean="0">
                <a:solidFill>
                  <a:schemeClr val="bg1"/>
                </a:solidFill>
              </a:rPr>
              <a:t>%</a:t>
            </a:r>
            <a:r>
              <a:rPr lang="tr-TR" sz="2000" b="1" dirty="0" smtClean="0">
                <a:solidFill>
                  <a:schemeClr val="bg1"/>
                </a:solidFill>
              </a:rPr>
              <a:t>20</a:t>
            </a:r>
          </a:p>
          <a:p>
            <a:pPr marL="177800" indent="-177800" algn="ctr">
              <a:buClr>
                <a:srgbClr val="C00000"/>
              </a:buClr>
              <a:defRPr/>
            </a:pPr>
            <a:r>
              <a:rPr lang="tr-TR" sz="2000" b="1" dirty="0" smtClean="0">
                <a:solidFill>
                  <a:schemeClr val="bg1"/>
                </a:solidFill>
              </a:rPr>
              <a:t>Dıs Altyapı yatırımının </a:t>
            </a:r>
            <a:r>
              <a:rPr lang="fr-FR" sz="2000" b="1" dirty="0" smtClean="0">
                <a:solidFill>
                  <a:schemeClr val="bg1"/>
                </a:solidFill>
              </a:rPr>
              <a:t>%</a:t>
            </a:r>
            <a:r>
              <a:rPr lang="tr-TR" sz="2000" b="1" dirty="0" smtClean="0">
                <a:solidFill>
                  <a:schemeClr val="bg1"/>
                </a:solidFill>
              </a:rPr>
              <a:t>5 </a:t>
            </a:r>
          </a:p>
          <a:p>
            <a:pPr marL="177800" indent="-177800" algn="ctr">
              <a:buClr>
                <a:srgbClr val="C00000"/>
              </a:buClr>
              <a:defRPr/>
            </a:pPr>
            <a:r>
              <a:rPr lang="tr-TR" sz="2000" b="1" dirty="0" smtClean="0">
                <a:solidFill>
                  <a:schemeClr val="bg1"/>
                </a:solidFill>
              </a:rPr>
              <a:t>Egitim yardımı </a:t>
            </a:r>
            <a:r>
              <a:rPr lang="fr-FR" sz="2000" b="1" dirty="0" smtClean="0">
                <a:solidFill>
                  <a:schemeClr val="bg1"/>
                </a:solidFill>
              </a:rPr>
              <a:t>%</a:t>
            </a:r>
            <a:r>
              <a:rPr lang="tr-TR" sz="2000" b="1" dirty="0" smtClean="0">
                <a:solidFill>
                  <a:schemeClr val="bg1"/>
                </a:solidFill>
              </a:rPr>
              <a:t>20</a:t>
            </a:r>
            <a:endParaRPr lang="tr-TR" sz="2000" b="1" dirty="0" smtClean="0">
              <a:solidFill>
                <a:srgbClr val="FFFF00"/>
              </a:solidFill>
              <a:ea typeface="Times New Roman" pitchFamily="18" charset="0"/>
            </a:endParaRP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-36512" y="188640"/>
            <a:ext cx="9144000" cy="107786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>
              <a:spcBef>
                <a:spcPts val="0"/>
              </a:spcBef>
              <a:buFont typeface="Monotype Sorts" pitchFamily="2" charset="2"/>
              <a:buNone/>
            </a:pPr>
            <a:r>
              <a:rPr lang="tr-TR" sz="3200" b="1" dirty="0" smtClean="0">
                <a:solidFill>
                  <a:schemeClr val="bg1"/>
                </a:solidFill>
              </a:rPr>
              <a:t>YABANCI SERMAYE YATIRIM TEŞVİKİ</a:t>
            </a:r>
          </a:p>
          <a:p>
            <a:pPr algn="ctr">
              <a:spcBef>
                <a:spcPts val="0"/>
              </a:spcBef>
            </a:pPr>
            <a:r>
              <a:rPr lang="tr-TR" sz="3200" b="1" dirty="0" smtClean="0">
                <a:solidFill>
                  <a:schemeClr val="bg1"/>
                </a:solidFill>
              </a:rPr>
              <a:t>AMDI- </a:t>
            </a:r>
            <a:r>
              <a:rPr lang="fr-FR" sz="2100" b="1" dirty="0" smtClean="0">
                <a:solidFill>
                  <a:schemeClr val="bg1"/>
                </a:solidFill>
              </a:rPr>
              <a:t>Agence Marocaine de Développement des Investissements</a:t>
            </a:r>
          </a:p>
        </p:txBody>
      </p:sp>
      <p:sp>
        <p:nvSpPr>
          <p:cNvPr id="26" name="Rectangle 5"/>
          <p:cNvSpPr>
            <a:spLocks noChangeArrowheads="1"/>
          </p:cNvSpPr>
          <p:nvPr/>
        </p:nvSpPr>
        <p:spPr bwMode="auto">
          <a:xfrm>
            <a:off x="0" y="1243930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 autoUpdateAnimBg="0"/>
      <p:bldP spid="26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Object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4" name="think-cell Slide" r:id="rId46" imgW="360" imgH="360" progId="">
                  <p:embed/>
                </p:oleObj>
              </mc:Choice>
              <mc:Fallback>
                <p:oleObj name="think-cell Slide" r:id="rId46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fr-FR" sz="1000"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367166"/>
            <a:ext cx="8229600" cy="490066"/>
          </a:xfrm>
        </p:spPr>
        <p:txBody>
          <a:bodyPr/>
          <a:lstStyle/>
          <a:p>
            <a:pPr algn="ctr"/>
            <a:r>
              <a:rPr lang="tr-TR" sz="2600" cap="all" dirty="0" smtClean="0">
                <a:solidFill>
                  <a:srgbClr val="FFFF00"/>
                </a:solidFill>
              </a:rPr>
              <a:t>KARŞILAŞTIRMALI MALİYETLER</a:t>
            </a:r>
            <a:endParaRPr lang="fr-FR" sz="1600" cap="all" dirty="0">
              <a:solidFill>
                <a:srgbClr val="FFFF00"/>
              </a:solidFill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gray">
          <a:xfrm>
            <a:off x="3297237" y="1400175"/>
            <a:ext cx="2552269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19050" dir="5400000" sx="99000" sy="99000" algn="ctr" rotWithShape="0">
              <a:srgbClr val="002060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tr-TR" sz="1600" b="1" dirty="0" smtClean="0">
                <a:cs typeface="Calibri"/>
              </a:rPr>
              <a:t>İHRACAT</a:t>
            </a:r>
            <a:endParaRPr lang="fr-FR" sz="1600" b="1" baseline="30000" dirty="0">
              <a:cs typeface="Calibri"/>
            </a:endParaRPr>
          </a:p>
        </p:txBody>
      </p:sp>
      <p:sp>
        <p:nvSpPr>
          <p:cNvPr id="55" name="Rectangle 2"/>
          <p:cNvSpPr>
            <a:spLocks noChangeArrowheads="1"/>
          </p:cNvSpPr>
          <p:nvPr/>
        </p:nvSpPr>
        <p:spPr bwMode="gray">
          <a:xfrm>
            <a:off x="474662" y="1400175"/>
            <a:ext cx="2566133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19050" dir="5400000" sx="99000" sy="99000" algn="ctr" rotWithShape="0">
              <a:srgbClr val="002060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tr-TR" sz="1600" b="1" dirty="0" smtClean="0">
                <a:latin typeface="+mj-lt"/>
                <a:ea typeface="MS PGothic" pitchFamily="34" charset="-128"/>
                <a:cs typeface="Calibri"/>
              </a:rPr>
              <a:t>İŞGÜCÜ</a:t>
            </a:r>
            <a:endParaRPr lang="en-US" sz="1600" b="1" dirty="0" smtClean="0">
              <a:latin typeface="+mj-lt"/>
              <a:ea typeface="MS PGothic" pitchFamily="34" charset="-128"/>
              <a:cs typeface="Calibri"/>
            </a:endParaRPr>
          </a:p>
        </p:txBody>
      </p:sp>
      <p:sp>
        <p:nvSpPr>
          <p:cNvPr id="57" name="Rectangle 56"/>
          <p:cNvSpPr>
            <a:spLocks noChangeArrowheads="1"/>
          </p:cNvSpPr>
          <p:nvPr/>
        </p:nvSpPr>
        <p:spPr bwMode="gray">
          <a:xfrm>
            <a:off x="6105525" y="1400175"/>
            <a:ext cx="2552269" cy="4308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19050" dir="5400000" sx="99000" sy="99000" algn="ctr" rotWithShape="0">
              <a:srgbClr val="002060"/>
            </a:outerShdw>
          </a:effectLst>
        </p:spPr>
        <p:txBody>
          <a:bodyPr tIns="91440" bIns="91440" anchor="b">
            <a:spAutoFit/>
          </a:bodyPr>
          <a:lstStyle/>
          <a:p>
            <a:pPr algn="ctr"/>
            <a:r>
              <a:rPr lang="tr-TR" sz="1600" b="1" dirty="0" smtClean="0">
                <a:cs typeface="Calibri"/>
              </a:rPr>
              <a:t>ORTALAMA VERGİ</a:t>
            </a:r>
            <a:endParaRPr lang="en-US" sz="1600" b="1" baseline="30000" dirty="0" smtClean="0">
              <a:cs typeface="Calibri"/>
            </a:endParaRPr>
          </a:p>
        </p:txBody>
      </p:sp>
      <p:graphicFrame>
        <p:nvGraphicFramePr>
          <p:cNvPr id="5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643306" y="2143116"/>
          <a:ext cx="1847745" cy="3419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59" name="Text Placeholder 1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248025" y="5153025"/>
            <a:ext cx="460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8A4B8BC-3544-4508-AC46-07533DA66D6A}" type="datetime'M''''''o''''''''''''''r''o''''''''''''c''c''''o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Morocco</a:t>
            </a:fld>
            <a:endParaRPr lang="fr-FR" b="1" dirty="0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60" name="Text Placeholder 11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46450" y="4695825"/>
            <a:ext cx="3619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C928BA6-0D66-4E6A-843E-9015097F3A12}" type="datetime'''''''''''''''''T''''''''u''''ni''''s''''i''''''''''''''''a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Tunisia</a:t>
            </a:fld>
            <a:endParaRPr lang="fr-FR" b="1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417887" y="4238625"/>
            <a:ext cx="2905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5BBDFFB-2658-49AE-AE9B-61373D72452F}" type="datetime'''''C''''''''''''''''''h''''''''i''''n''''''a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China</a:t>
            </a:fld>
            <a:endParaRPr lang="fr-FR" b="1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62" name="Text Placeholder 1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57562" y="3776662"/>
            <a:ext cx="35083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1E7D469D-D438-4BDC-9FC4-DF32D1B64D26}" type="datetime'''''Tu''''''''r''''k''''''e''''''''''''''''''''''''y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Turkey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63" name="Text Placeholder 1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49625" y="3314700"/>
            <a:ext cx="35877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30E082C-D2A4-4E64-9D0C-A9176CE15EA7}" type="datetime'''''''''''''A''''''''''''l''''''''ge''''r''''i''a''''''''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Algeria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64" name="Text Placeholder 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178425" y="3314700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980E8BE-F29E-4F1E-B6DB-45DD7B645D23}" type="datetime'''''''''''1,2''''''''''''7''''''0'">
              <a:rPr lang="en-US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buNone/>
              </a:pPr>
              <a:t>1,270</a:t>
            </a:fld>
            <a:endParaRPr lang="fr-FR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65" name="Text Placeholder 2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427412" y="2857500"/>
            <a:ext cx="28098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DAE8768-19CB-43EA-B25F-1A83CFB8C6E7}" type="datetime'S''''''''''''''''''''''''''''''pa''i''''''''n''''''''''''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Spain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66" name="Text Placeholder 1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226050" y="2857500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A007B65-F6FA-4AFD-9E34-32F2136DBE5E}" type="datetime'''''''''1'''''''',''''''''''31''''0'''''''''''''''''''''''''">
              <a:rPr lang="en-US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buNone/>
              </a:pPr>
              <a:t>1,310</a:t>
            </a:fld>
            <a:endParaRPr lang="fr-FR" dirty="0">
              <a:solidFill>
                <a:srgbClr val="FFFF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67" name="Text Placeholder 10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481383" y="2400300"/>
            <a:ext cx="3762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5C0F5FC-E6FB-499A-8562-35866097242B}" type="datetime'''''''''''''''''''''''''''''''''''M''e''''''''x''ic''o''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Mexico</a:t>
            </a:fld>
            <a:endParaRPr lang="fr-FR" b="1" dirty="0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68" name="Text Placeholder 14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426075" y="2400300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5005915-2F24-4590-8E2C-29B0ACD2C77F}" type="datetime'1,''''''''4''''''''''''''99'''''''''''''''''''''''''''''''">
              <a:rPr lang="en-US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buNone/>
              </a:pPr>
              <a:t>1,499</a:t>
            </a:fld>
            <a:endParaRPr lang="fr-FR" dirty="0">
              <a:solidFill>
                <a:srgbClr val="FFFF00"/>
              </a:solidFill>
              <a:latin typeface="Calibri"/>
              <a:cs typeface="Calibri"/>
              <a:sym typeface="Calibri"/>
            </a:endParaRPr>
          </a:p>
        </p:txBody>
      </p:sp>
      <p:graphicFrame>
        <p:nvGraphicFramePr>
          <p:cNvPr id="72" name="Object 4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6553200" y="2133600"/>
          <a:ext cx="1819401" cy="3419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70" name="Text Placeholder 1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262687" y="5153025"/>
            <a:ext cx="3508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021F195-2566-4F65-A223-5A18F59E7E59}" type="datetime'''''''T''u''''''''''''''''r''''''''''''''''''ke''y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Turkey</a:t>
            </a:fld>
            <a:endParaRPr lang="fr-FR" b="1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71" name="Text Placeholder 3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7597775" y="5153025"/>
            <a:ext cx="3683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7FBB1358-6D17-4042-8937-0E14BEEEF25D}" type="datetime'''''''4''''0''''.''1''''''''%'''''''''''''''''''''''">
              <a:rPr lang="en-US" b="1" smtClean="0">
                <a:solidFill>
                  <a:srgbClr val="FFFF00"/>
                </a:solidFill>
                <a:ea typeface="黑体"/>
              </a:rPr>
              <a:pPr marL="0" indent="0">
                <a:spcBef>
                  <a:spcPct val="0"/>
                </a:spcBef>
                <a:buNone/>
              </a:pPr>
              <a:t>40.1%</a:t>
            </a:fld>
            <a:endParaRPr lang="fr-FR" b="1">
              <a:solidFill>
                <a:srgbClr val="FFFF00"/>
              </a:solidFill>
              <a:latin typeface="Calibri"/>
              <a:ea typeface="黑体"/>
              <a:cs typeface="Calibri"/>
              <a:sym typeface="Calibri"/>
            </a:endParaRPr>
          </a:p>
        </p:txBody>
      </p:sp>
      <p:sp>
        <p:nvSpPr>
          <p:cNvPr id="76" name="Text Placeholder 1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153150" y="4695825"/>
            <a:ext cx="460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B43781A-8430-4C12-8241-23B6F4208031}" type="datetime'''M''o''''''''''''''r''''''''o''''''''c''c''o''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Morocco</a:t>
            </a:fld>
            <a:endParaRPr lang="fr-FR" b="1" dirty="0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77" name="Text Placeholder 3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797800" y="4695825"/>
            <a:ext cx="3683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85693CA-767D-4417-990D-66476545E3A6}" type="datetime'''''4''''''''''''''''9''''.''''''''''''''''3%'''''''''''''">
              <a:rPr lang="en-US" b="1" smtClean="0">
                <a:solidFill>
                  <a:srgbClr val="FFFF00"/>
                </a:solidFill>
                <a:ea typeface="黑体"/>
              </a:rPr>
              <a:pPr marL="0" indent="0">
                <a:spcBef>
                  <a:spcPct val="0"/>
                </a:spcBef>
                <a:buNone/>
              </a:pPr>
              <a:t>49.3%</a:t>
            </a:fld>
            <a:endParaRPr lang="fr-FR" b="1">
              <a:solidFill>
                <a:srgbClr val="FFFF00"/>
              </a:solidFill>
              <a:latin typeface="Calibri"/>
              <a:ea typeface="黑体"/>
              <a:cs typeface="Calibri"/>
              <a:sym typeface="Calibri"/>
            </a:endParaRPr>
          </a:p>
        </p:txBody>
      </p:sp>
      <p:sp>
        <p:nvSpPr>
          <p:cNvPr id="7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237287" y="4238625"/>
            <a:ext cx="37623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DD7DCD1-495C-4F3E-8B70-6F528C036059}" type="datetime'''''''''''''''M''''''''''''ex''i''''''co''''''''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Mexico</a:t>
            </a:fld>
            <a:endParaRPr lang="fr-FR" b="1" dirty="0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79" name="Text Placeholder 29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854950" y="4238625"/>
            <a:ext cx="3683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17C9D42-861B-4716-A8CA-9394BFE88DAB}" type="datetime'''51''.''''''''''''''''''''''''8''''''''''''''''''''''''''%'">
              <a:rPr lang="en-US" b="1" smtClean="0">
                <a:solidFill>
                  <a:srgbClr val="FFFF00"/>
                </a:solidFill>
                <a:ea typeface="黑体"/>
              </a:rPr>
              <a:pPr marL="0" indent="0">
                <a:spcBef>
                  <a:spcPct val="0"/>
                </a:spcBef>
                <a:buNone/>
              </a:pPr>
              <a:t>51.8%</a:t>
            </a:fld>
            <a:endParaRPr lang="fr-FR" b="1">
              <a:solidFill>
                <a:srgbClr val="FFFF00"/>
              </a:solidFill>
              <a:latin typeface="Calibri"/>
              <a:ea typeface="黑体"/>
              <a:cs typeface="Calibri"/>
              <a:sym typeface="Calibri"/>
            </a:endParaRPr>
          </a:p>
        </p:txBody>
      </p:sp>
      <p:sp>
        <p:nvSpPr>
          <p:cNvPr id="80" name="Text Placeholder 1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332537" y="3776662"/>
            <a:ext cx="28098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34186B68-3379-4D44-B9D4-322E4EF8D090}" type="datetime'''''''S''''''''''''''p''a''''''''in''''''''''''''''''''''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Spain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97" name="Text Placeholder 28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988300" y="3776662"/>
            <a:ext cx="3683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AAC5CC9-2FF5-4C37-A85C-FC3B2F6C73CA}" type="datetime'5''''''''''''''''''''''''''8''''''''.''''''2''''''''''''''%'''">
              <a:rPr lang="en-US" b="1" smtClean="0">
                <a:solidFill>
                  <a:srgbClr val="FFFF00"/>
                </a:solidFill>
                <a:ea typeface="黑体"/>
              </a:rPr>
              <a:pPr marL="0" indent="0">
                <a:spcBef>
                  <a:spcPct val="0"/>
                </a:spcBef>
                <a:buNone/>
              </a:pPr>
              <a:t>58.2%</a:t>
            </a:fld>
            <a:endParaRPr lang="fr-FR" b="1">
              <a:solidFill>
                <a:srgbClr val="FFFF00"/>
              </a:solidFill>
              <a:latin typeface="Calibri"/>
              <a:ea typeface="黑体"/>
              <a:cs typeface="Calibri"/>
              <a:sym typeface="Calibri"/>
            </a:endParaRPr>
          </a:p>
        </p:txBody>
      </p:sp>
      <p:sp>
        <p:nvSpPr>
          <p:cNvPr id="98" name="Text Placeholder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51575" y="3314700"/>
            <a:ext cx="3619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ED5AC71-B1B0-455D-AEB0-FE5512EDAD68}" type="datetime'Tu''''n''''i''''s''i''''''''''''''''''''''a''''''''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Tunisia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103" name="Text Placeholder 27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083550" y="3314700"/>
            <a:ext cx="3683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0A2CD62-E00A-4161-8D34-C1433FE191AE}" type="datetime'''''''''''6''''''''2''.''''''''''''4''''''''''%'">
              <a:rPr lang="en-US" b="1" smtClean="0">
                <a:solidFill>
                  <a:srgbClr val="FFFF00"/>
                </a:solidFill>
                <a:ea typeface="黑体"/>
              </a:rPr>
              <a:pPr marL="0" indent="0">
                <a:spcBef>
                  <a:spcPct val="0"/>
                </a:spcBef>
                <a:buNone/>
              </a:pPr>
              <a:t>62.4%</a:t>
            </a:fld>
            <a:endParaRPr lang="fr-FR" b="1">
              <a:solidFill>
                <a:srgbClr val="FFFF00"/>
              </a:solidFill>
              <a:latin typeface="Calibri"/>
              <a:ea typeface="黑体"/>
              <a:cs typeface="Calibri"/>
              <a:sym typeface="Calibri"/>
            </a:endParaRPr>
          </a:p>
        </p:txBody>
      </p:sp>
      <p:sp>
        <p:nvSpPr>
          <p:cNvPr id="104" name="Text Placeholder 29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323012" y="2857500"/>
            <a:ext cx="290512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8D73654B-A8E2-4137-8648-58F38257C551}" type="datetime'C''''''''''''''''''''''''''h''''''''ina''''''''''''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China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118" name="Text Placeholder 26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131175" y="2857500"/>
            <a:ext cx="3683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57EFEDF-F689-4553-BDC5-7055B4E481CC}" type="datetime'''''6''''''''''''''''''''''''''''''''''4''.''''''6''''''''%'''">
              <a:rPr lang="en-US" b="1" smtClean="0">
                <a:solidFill>
                  <a:srgbClr val="FFFF00"/>
                </a:solidFill>
                <a:ea typeface="黑体"/>
              </a:rPr>
              <a:pPr marL="0" indent="0">
                <a:spcBef>
                  <a:spcPct val="0"/>
                </a:spcBef>
                <a:buNone/>
              </a:pPr>
              <a:t>64.6%</a:t>
            </a:fld>
            <a:endParaRPr lang="fr-FR" b="1">
              <a:solidFill>
                <a:srgbClr val="FFFF00"/>
              </a:solidFill>
              <a:latin typeface="Calibri"/>
              <a:ea typeface="黑体"/>
              <a:cs typeface="Calibri"/>
              <a:sym typeface="Calibri"/>
            </a:endParaRPr>
          </a:p>
        </p:txBody>
      </p:sp>
      <p:sp>
        <p:nvSpPr>
          <p:cNvPr id="129" name="Text Placeholder 10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356365" y="2400300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196EAB4-D954-4E7D-947C-4C88CF34467D}" type="datetime'''''''''''''''A''''''lg''''''''''e''''''''r''i''a''''''''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Algeria</a:t>
            </a:fld>
            <a:endParaRPr lang="fr-FR" b="1" dirty="0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131" name="Text Placeholder 2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302625" y="2400300"/>
            <a:ext cx="3683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6EF1F34-3328-41FB-8501-91C1ED2B5B3D}" type="datetime'''''72''''''''.''''''''''''''''''''''''''''''''7%'''''">
              <a:rPr lang="en-US" b="1" smtClean="0">
                <a:solidFill>
                  <a:srgbClr val="FFFF00"/>
                </a:solidFill>
                <a:ea typeface="黑体"/>
              </a:rPr>
              <a:pPr marL="0" indent="0">
                <a:spcBef>
                  <a:spcPct val="0"/>
                </a:spcBef>
                <a:buNone/>
              </a:pPr>
              <a:t>72.7%</a:t>
            </a:fld>
            <a:endParaRPr lang="fr-FR" b="1">
              <a:solidFill>
                <a:srgbClr val="FFFF00"/>
              </a:solidFill>
              <a:latin typeface="Calibri"/>
              <a:ea typeface="黑体"/>
              <a:cs typeface="Calibri"/>
              <a:sym typeface="Calibri"/>
            </a:endParaRPr>
          </a:p>
        </p:txBody>
      </p:sp>
      <p:graphicFrame>
        <p:nvGraphicFramePr>
          <p:cNvPr id="73" name="Object 114"/>
          <p:cNvGraphicFramePr>
            <a:graphicFrameLocks noChangeAspect="1"/>
          </p:cNvGraphicFramePr>
          <p:nvPr>
            <p:custDataLst>
              <p:tags r:id="rId30"/>
            </p:custDataLst>
          </p:nvPr>
        </p:nvGraphicFramePr>
        <p:xfrm>
          <a:off x="838200" y="2133600"/>
          <a:ext cx="1790788" cy="3419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138" name="Text Placeholder 7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292225" y="5153025"/>
            <a:ext cx="342900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428581-74A1-46C3-8438-9E1641220E18}" type="datetime'5'''''''''''''''''''''''''''''',''5''''''''38'''''''''">
              <a:rPr lang="en-US" sz="1600" b="1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,538</a:t>
            </a:fld>
            <a:endParaRPr lang="fr-FR" sz="1600" b="1" dirty="0">
              <a:solidFill>
                <a:srgbClr val="FFFF00"/>
              </a:solidFill>
              <a:latin typeface="Calibri"/>
              <a:sym typeface="Calibri"/>
            </a:endParaRPr>
          </a:p>
        </p:txBody>
      </p:sp>
      <p:sp>
        <p:nvSpPr>
          <p:cNvPr id="139" name="Text Placeholder 1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38150" y="5153025"/>
            <a:ext cx="4603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8E3CE7F-4D22-4C7E-AD4C-056D751BA44B}" type="datetime'''''''''''Mor''''''''o''c''c''''''''''o''''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Morocco</a:t>
            </a:fld>
            <a:endParaRPr lang="fr-FR" b="1" dirty="0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140" name="Text Placeholder 11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08012" y="4695825"/>
            <a:ext cx="2905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18759A6-0FEC-4EC4-AF9B-B74A28C3074E}" type="datetime'C''''''''''''''h''''''''i''''''''n''''''a''''''''''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China</a:t>
            </a:fld>
            <a:endParaRPr lang="fr-FR" b="1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141" name="Text Placeholder 6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301750" y="4695825"/>
            <a:ext cx="342900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AC7279-AFC0-46E1-841F-991544B51947}" type="datetime'''''''''5,''''''''7''''''''''''''''6''''''''''''3'''''''''''">
              <a:rPr lang="en-US" sz="1600" b="1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,763</a:t>
            </a:fld>
            <a:endParaRPr lang="fr-FR" sz="1600" b="1" dirty="0">
              <a:solidFill>
                <a:srgbClr val="FFFF00"/>
              </a:solidFill>
              <a:latin typeface="Calibri"/>
              <a:sym typeface="Calibri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39750" y="4238625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1737B13-D3C4-487A-8DA5-227DB99E31CC}" type="datetime'''A''''l''''ge''''r''i''a''''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Algeria</a:t>
            </a:fld>
            <a:endParaRPr lang="fr-FR" b="1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143" name="Text Placeholder 4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301750" y="4238625"/>
            <a:ext cx="342900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5D374FE-77CE-42AA-BB7E-BD83D2B40FC0}" type="datetime'''''''''''5'''''''''''''',''7''''''''''''''''9''3'''''''">
              <a:rPr lang="en-US" sz="1600" b="1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,793</a:t>
            </a:fld>
            <a:endParaRPr lang="fr-FR" sz="1600" b="1">
              <a:solidFill>
                <a:srgbClr val="FFFF00"/>
              </a:solidFill>
              <a:latin typeface="Calibri"/>
              <a:sym typeface="Calibri"/>
            </a:endParaRPr>
          </a:p>
        </p:txBody>
      </p:sp>
      <p:sp>
        <p:nvSpPr>
          <p:cNvPr id="144" name="Text Placeholder 1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36575" y="3776662"/>
            <a:ext cx="3619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3CC91901-997D-4F85-AEC1-0BB0518FD973}" type="datetime'''''''''''T''''u''''n''''''''i''''''s''''i''''''''''''''''a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Tunisia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145" name="Text Placeholder 3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311275" y="3776662"/>
            <a:ext cx="342900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251D14-171A-480D-952A-E5D9B42E732A}" type="datetime'''5'''''''''''''''''',''''''''''''''''''9''''6''6'''''''''">
              <a:rPr lang="en-US" sz="1600" b="1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,966</a:t>
            </a:fld>
            <a:endParaRPr lang="fr-FR" sz="1600" b="1">
              <a:solidFill>
                <a:srgbClr val="FFFF00"/>
              </a:solidFill>
              <a:latin typeface="Calibri"/>
              <a:sym typeface="Calibri"/>
            </a:endParaRPr>
          </a:p>
        </p:txBody>
      </p:sp>
      <p:sp>
        <p:nvSpPr>
          <p:cNvPr id="146" name="Text Placeholder 1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22287" y="3314700"/>
            <a:ext cx="37623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D3F2E8A-7A33-4CB9-B162-252A35BE7A17}" type="datetime'''''M''''''''''ex''''''''i''''''''''co''''''''''''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Mexico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147" name="Text Placeholder 4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320800" y="3314700"/>
            <a:ext cx="3429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720BD3F-A4AC-48B0-AF85-CA8E1C896DA4}" type="datetime'''''''''''''6'''',''''''''''''''''27''''''''9'''''''">
              <a:rPr lang="en-US" b="1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buNone/>
              </a:pPr>
              <a:t>6,279</a:t>
            </a:fld>
            <a:endParaRPr lang="fr-FR" b="1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148" name="Text Placeholder 29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47687" y="2857500"/>
            <a:ext cx="350837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96F26F82-435C-4813-9EF0-44BAB4ABF87C}" type="datetime'''Tu''''''''r''''''ke''y'''''''">
              <a:rPr lang="en-US" smtClean="0">
                <a:solidFill>
                  <a:srgbClr val="FFFF00"/>
                </a:solidFill>
              </a:rPr>
              <a:pPr algn="r">
                <a:spcBef>
                  <a:spcPct val="0"/>
                </a:spcBef>
              </a:pPr>
              <a:t>Turkey</a:t>
            </a:fld>
            <a:endParaRPr lang="en-ZA" dirty="0">
              <a:solidFill>
                <a:srgbClr val="FFFF00"/>
              </a:solidFill>
              <a:latin typeface="Arial"/>
              <a:cs typeface="Calibri"/>
              <a:sym typeface="Arial"/>
            </a:endParaRPr>
          </a:p>
        </p:txBody>
      </p:sp>
      <p:sp>
        <p:nvSpPr>
          <p:cNvPr id="149" name="Text Placeholder 15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616075" y="2857500"/>
            <a:ext cx="4079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9603B1E-B032-4A85-A28B-48E1025B1561}" type="datetime'''''''''''1''''2'''''',''''''''''4''''''''9''''8'''''''''">
              <a:rPr lang="en-US" b="1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buNone/>
              </a:pPr>
              <a:t>12,498</a:t>
            </a:fld>
            <a:endParaRPr lang="fr-FR" b="1" dirty="0">
              <a:solidFill>
                <a:srgbClr val="FFFF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150" name="Text Placeholder 10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17537" y="2400300"/>
            <a:ext cx="2809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7EF0D67-67B4-46AE-9C6D-073A4AA2FB86}" type="datetime'S''''''''''''''''p''''a''''''i''''n'">
              <a:rPr lang="en-US" b="1" smtClean="0">
                <a:solidFill>
                  <a:srgbClr val="FFFF00"/>
                </a:solidFill>
              </a:rPr>
              <a:pPr marL="0" indent="0" algn="r">
                <a:spcBef>
                  <a:spcPct val="0"/>
                </a:spcBef>
                <a:buNone/>
              </a:pPr>
              <a:t>Spain</a:t>
            </a:fld>
            <a:endParaRPr lang="fr-FR" b="1" dirty="0">
              <a:solidFill>
                <a:srgbClr val="FFFF00"/>
              </a:solidFill>
              <a:latin typeface="Arial"/>
              <a:ea typeface="黑体"/>
              <a:cs typeface="Calibri"/>
              <a:sym typeface="Arial"/>
            </a:endParaRPr>
          </a:p>
        </p:txBody>
      </p:sp>
      <p:sp>
        <p:nvSpPr>
          <p:cNvPr id="151" name="Text Placeholder 14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549525" y="2400300"/>
            <a:ext cx="407987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Arial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B1EF2E6B-BEFB-45AB-95CD-952B011B35A0}" type="datetime'''3''''''''''''''''''2,''0''''''''''''''''9''0'''''''''''''''">
              <a:rPr lang="en-US" sz="1400" b="1" smtClean="0">
                <a:solidFill>
                  <a:srgbClr val="FFFF00"/>
                </a:solidFill>
              </a:rPr>
              <a:pPr marL="0" indent="0">
                <a:spcBef>
                  <a:spcPct val="0"/>
                </a:spcBef>
                <a:buNone/>
              </a:pPr>
              <a:t>32,090</a:t>
            </a:fld>
            <a:endParaRPr lang="fr-FR" sz="1400" b="1" dirty="0">
              <a:solidFill>
                <a:srgbClr val="FFFF00"/>
              </a:solidFill>
              <a:latin typeface="Calibri"/>
              <a:cs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/>
          </p:cNvSpPr>
          <p:nvPr>
            <p:ph type="title" idx="4294967295"/>
          </p:nvPr>
        </p:nvSpPr>
        <p:spPr>
          <a:xfrm>
            <a:off x="457200" y="46038"/>
            <a:ext cx="8229600" cy="1020762"/>
          </a:xfrm>
        </p:spPr>
        <p:txBody>
          <a:bodyPr/>
          <a:lstStyle/>
          <a:p>
            <a:pPr eaLnBrk="1" hangingPunct="1"/>
            <a:r>
              <a:rPr lang="tr-TR" sz="3600" b="1" dirty="0" smtClean="0">
                <a:solidFill>
                  <a:schemeClr val="bg1"/>
                </a:solidFill>
              </a:rPr>
              <a:t>POLİTİK SİSTEM</a:t>
            </a:r>
            <a:endParaRPr lang="fr-FR" sz="36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459" name="Rectangle 3"/>
          <p:cNvSpPr>
            <a:spLocks noGrp="1"/>
          </p:cNvSpPr>
          <p:nvPr>
            <p:ph type="body" idx="4294967295"/>
          </p:nvPr>
        </p:nvSpPr>
        <p:spPr>
          <a:xfrm>
            <a:off x="0" y="1196752"/>
            <a:ext cx="9144000" cy="5393978"/>
          </a:xfrm>
        </p:spPr>
        <p:txBody>
          <a:bodyPr/>
          <a:lstStyle/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Rejim-Sistem</a:t>
            </a:r>
            <a:r>
              <a:rPr lang="tr-TR" sz="2800" b="1" dirty="0">
                <a:solidFill>
                  <a:schemeClr val="bg1"/>
                </a:solidFill>
              </a:rPr>
              <a:t>	</a:t>
            </a:r>
            <a:r>
              <a:rPr lang="tr-TR" sz="2800" b="1" dirty="0" smtClean="0">
                <a:solidFill>
                  <a:schemeClr val="bg1"/>
                </a:solidFill>
              </a:rPr>
              <a:t>  : Anayasal Monarşi  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Devlet Başkanı : Kral </a:t>
            </a:r>
            <a:r>
              <a:rPr lang="tr-TR" sz="2800" b="1" dirty="0">
                <a:solidFill>
                  <a:schemeClr val="bg1"/>
                </a:solidFill>
              </a:rPr>
              <a:t>MOHAMMED </a:t>
            </a:r>
            <a:r>
              <a:rPr lang="tr-TR" sz="2800" b="1" dirty="0" smtClean="0">
                <a:solidFill>
                  <a:schemeClr val="bg1"/>
                </a:solidFill>
              </a:rPr>
              <a:t>VI (1999)</a:t>
            </a:r>
          </a:p>
          <a:p>
            <a:pPr eaLnBrk="1" hangingPunct="1"/>
            <a:endParaRPr lang="tr-TR" sz="2800" b="1" dirty="0" smtClean="0">
              <a:solidFill>
                <a:schemeClr val="bg1"/>
              </a:solidFill>
            </a:endParaRPr>
          </a:p>
          <a:p>
            <a:pPr eaLnBrk="1" hangingPunct="1">
              <a:buFont typeface="Arial" charset="0"/>
              <a:buChar char="•"/>
            </a:pPr>
            <a:r>
              <a:rPr lang="tr-TR" sz="2800" b="1" dirty="0" smtClean="0">
                <a:solidFill>
                  <a:schemeClr val="bg1"/>
                </a:solidFill>
              </a:rPr>
              <a:t>Başbakan	   :</a:t>
            </a:r>
            <a:r>
              <a:rPr lang="tr-TR" sz="2800" dirty="0"/>
              <a:t> </a:t>
            </a:r>
            <a:r>
              <a:rPr lang="it-IT" sz="2800" b="1" dirty="0">
                <a:solidFill>
                  <a:schemeClr val="bg2"/>
                </a:solidFill>
              </a:rPr>
              <a:t>Saad-Eddine al-OTHMANI </a:t>
            </a:r>
            <a:r>
              <a:rPr lang="it-IT" sz="2800" b="1" dirty="0" smtClean="0">
                <a:solidFill>
                  <a:schemeClr val="bg2"/>
                </a:solidFill>
              </a:rPr>
              <a:t>(</a:t>
            </a:r>
            <a:r>
              <a:rPr lang="tr-TR" sz="2800" b="1" dirty="0" smtClean="0">
                <a:solidFill>
                  <a:schemeClr val="bg2"/>
                </a:solidFill>
              </a:rPr>
              <a:t>2017)</a:t>
            </a:r>
          </a:p>
          <a:p>
            <a:pPr eaLnBrk="1" hangingPunct="1">
              <a:buFont typeface="Arial" charset="0"/>
              <a:buChar char="•"/>
            </a:pPr>
            <a:endParaRPr lang="tr-TR" sz="2800" b="1" dirty="0" smtClean="0">
              <a:solidFill>
                <a:schemeClr val="bg2"/>
              </a:solidFill>
            </a:endParaRPr>
          </a:p>
          <a:p>
            <a:pPr eaLnBrk="1" hangingPunct="1">
              <a:buFont typeface="Arial" charset="0"/>
              <a:buChar char="•"/>
            </a:pPr>
            <a:r>
              <a:rPr lang="tr-TR" sz="2800" b="1" dirty="0" smtClean="0">
                <a:solidFill>
                  <a:schemeClr val="bg1"/>
                </a:solidFill>
              </a:rPr>
              <a:t>Meclis 		  : Danışmanlar Meclisi (120) 	  </a:t>
            </a:r>
          </a:p>
          <a:p>
            <a:pPr marL="0" indent="0" eaLnBrk="1" hangingPunct="1">
              <a:buNone/>
            </a:pPr>
            <a:r>
              <a:rPr lang="tr-TR" sz="2800" b="1" dirty="0" smtClean="0">
                <a:solidFill>
                  <a:schemeClr val="bg1"/>
                </a:solidFill>
              </a:rPr>
              <a:t>			  : Temsilciler Meclisi (395 Sandalye)</a:t>
            </a:r>
          </a:p>
          <a:p>
            <a:pPr marL="0" indent="0" eaLnBrk="1" hangingPunct="1">
              <a:buNone/>
            </a:pPr>
            <a:r>
              <a:rPr lang="tr-TR" sz="2800" b="1" dirty="0" smtClean="0">
                <a:solidFill>
                  <a:schemeClr val="bg1"/>
                </a:solidFill>
              </a:rPr>
              <a:t>Son seçim 2016	  : PJD 125, PAM 102, PI 46, RNI 37,</a:t>
            </a:r>
          </a:p>
          <a:p>
            <a:pPr marL="0" indent="0" eaLnBrk="1" hangingPunct="1">
              <a:buNone/>
            </a:pPr>
            <a:r>
              <a:rPr lang="tr-TR" sz="2800" b="1" dirty="0" smtClean="0">
                <a:solidFill>
                  <a:schemeClr val="bg1"/>
                </a:solidFill>
              </a:rPr>
              <a:t>(</a:t>
            </a:r>
            <a:r>
              <a:rPr lang="tr-TR" sz="2800" b="1" dirty="0">
                <a:solidFill>
                  <a:schemeClr val="bg1"/>
                </a:solidFill>
              </a:rPr>
              <a:t>bir sonraki 2021) </a:t>
            </a:r>
            <a:r>
              <a:rPr lang="tr-TR" sz="2800" b="1" dirty="0" smtClean="0">
                <a:solidFill>
                  <a:schemeClr val="bg1"/>
                </a:solidFill>
              </a:rPr>
              <a:t> MP 27, </a:t>
            </a:r>
            <a:r>
              <a:rPr lang="tr-TR" sz="2800" b="1" dirty="0">
                <a:solidFill>
                  <a:schemeClr val="bg1"/>
                </a:solidFill>
              </a:rPr>
              <a:t>USFP </a:t>
            </a:r>
            <a:r>
              <a:rPr lang="tr-TR" sz="2800" b="1" dirty="0" smtClean="0">
                <a:solidFill>
                  <a:schemeClr val="bg1"/>
                </a:solidFill>
              </a:rPr>
              <a:t>20, </a:t>
            </a:r>
            <a:r>
              <a:rPr lang="tr-TR" sz="2800" b="1" dirty="0">
                <a:solidFill>
                  <a:schemeClr val="bg1"/>
                </a:solidFill>
              </a:rPr>
              <a:t>UC </a:t>
            </a:r>
            <a:r>
              <a:rPr lang="tr-TR" sz="2800" b="1" dirty="0" smtClean="0">
                <a:solidFill>
                  <a:schemeClr val="bg1"/>
                </a:solidFill>
              </a:rPr>
              <a:t>19, </a:t>
            </a:r>
            <a:r>
              <a:rPr lang="tr-TR" sz="2800" b="1" dirty="0">
                <a:solidFill>
                  <a:schemeClr val="bg1"/>
                </a:solidFill>
              </a:rPr>
              <a:t>PPS </a:t>
            </a:r>
            <a:r>
              <a:rPr lang="tr-TR" sz="2800" b="1" dirty="0" smtClean="0">
                <a:solidFill>
                  <a:schemeClr val="bg1"/>
                </a:solidFill>
              </a:rPr>
              <a:t>12, </a:t>
            </a:r>
          </a:p>
          <a:p>
            <a:pPr marL="0" indent="0" eaLnBrk="1" hangingPunct="1">
              <a:buNone/>
            </a:pPr>
            <a:r>
              <a:rPr lang="tr-TR" sz="2800" b="1" dirty="0">
                <a:solidFill>
                  <a:schemeClr val="bg1"/>
                </a:solidFill>
              </a:rPr>
              <a:t>	</a:t>
            </a:r>
            <a:r>
              <a:rPr lang="tr-TR" sz="2800" b="1" dirty="0" smtClean="0">
                <a:solidFill>
                  <a:schemeClr val="bg1"/>
                </a:solidFill>
              </a:rPr>
              <a:t>		    MDS 3, Diğer 4</a:t>
            </a:r>
          </a:p>
          <a:p>
            <a:pPr marL="0" indent="0" eaLnBrk="1" hangingPunct="1">
              <a:buNone/>
            </a:pPr>
            <a:r>
              <a:rPr lang="tr-TR" sz="2800" b="1" dirty="0">
                <a:solidFill>
                  <a:schemeClr val="bg1"/>
                </a:solidFill>
              </a:rPr>
              <a:t> </a:t>
            </a:r>
            <a:r>
              <a:rPr lang="tr-TR" sz="2800" b="1" dirty="0" smtClean="0">
                <a:solidFill>
                  <a:schemeClr val="bg1"/>
                </a:solidFill>
              </a:rPr>
              <a:t>                               </a:t>
            </a:r>
            <a:endParaRPr lang="tr-TR" sz="2800" b="1" dirty="0">
              <a:solidFill>
                <a:schemeClr val="bg1"/>
              </a:solidFill>
            </a:endParaRPr>
          </a:p>
          <a:p>
            <a:pPr eaLnBrk="1" hangingPunct="1">
              <a:buNone/>
            </a:pPr>
            <a:r>
              <a:rPr lang="tr-TR" sz="2800" b="1" dirty="0" smtClean="0">
                <a:solidFill>
                  <a:schemeClr val="bg1"/>
                </a:solidFill>
              </a:rPr>
              <a:t>				</a:t>
            </a:r>
          </a:p>
          <a:p>
            <a:pPr eaLnBrk="1" hangingPunct="1">
              <a:buNone/>
            </a:pPr>
            <a:endParaRPr lang="tr-TR" sz="2800" b="1" dirty="0" smtClean="0">
              <a:solidFill>
                <a:schemeClr val="bg1"/>
              </a:solidFill>
            </a:endParaRP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980728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 dirty="0">
              <a:solidFill>
                <a:schemeClr val="bg1"/>
              </a:solidFill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94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945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1945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945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1945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8" grpId="0"/>
      <p:bldP spid="19459" grpId="0" build="p"/>
      <p:bldP spid="586757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www.invest.gov.ma/upload/wysiwyg/images/carte_maroc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928670"/>
            <a:ext cx="9163424" cy="5929330"/>
          </a:xfrm>
          <a:prstGeom prst="rect">
            <a:avLst/>
          </a:prstGeom>
          <a:noFill/>
        </p:spPr>
      </p:pic>
      <p:sp>
        <p:nvSpPr>
          <p:cNvPr id="586754" name="Rectangle 2"/>
          <p:cNvSpPr>
            <a:spLocks noChangeArrowheads="1"/>
          </p:cNvSpPr>
          <p:nvPr/>
        </p:nvSpPr>
        <p:spPr bwMode="auto">
          <a:xfrm>
            <a:off x="0" y="116632"/>
            <a:ext cx="9144000" cy="5847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FAS’IN SERBEST TİCARET ANLAŞMALARI</a:t>
            </a:r>
          </a:p>
        </p:txBody>
      </p:sp>
      <p:sp>
        <p:nvSpPr>
          <p:cNvPr id="131074" name="AutoShape 2" descr="data:image/png;base64,iVBORw0KGgoAAAANSUhEUgAAARMAAAC3CAMAAAAGjUrGAAABLFBMVEUAAJkPD54AAJz/zwD/zAD/0gD/0AAAAJ//1AD/1QD/2QD/1wAAAJj/ywAAAKIAAJP/3ABcSnIAAI09MH9eS4L2xgD/4wA3LIf5yQBzXm/QqizfsikrIoUUEJUuJYUpI5TywQ7pvBYiG5NFNnlBNH3DnD25mkCcgGVpVH6Oc1kYEp7lthPVqyPRsTyxlF21kVmxjWJsWW2DbFvrwwXCnS6nh0lNPnnduT+OdVSujkPOrEeHbWXQpkFdTXnGoh2qjDh3X1vnwjCCbGw6LoSdhFROPnOcf0ZTRIFOQ483LZUyJ326n1O3mkXduDCSdmNlUIV1XmVhUW90Xlh3ZH6Oc0okHJrAnErOpEeqjly4k0opIZbjwBUYE4PpuzNuWn6af22xn2FoU2K3kzDduzsBmDJnAAAMA0lEQVR4nO1di1sauRbHk5wk8wBRHB1AhEGxPlsp2Iq2t8VHtdu1lXV1W6v27t7//3+4yYDbVqEVZIYM5ff1a6dA5jzm5OTMyUkSWxlbWRkb4VvE/L/t2AgjjDDCCCOMMMIII4wwwggjjDDCCCOMMMJQAlK5QbOgHz6+TgyaBd2Q97zxQfOgG46SogyDZkIvQMMUj/mgudAF4COWMfDcbl3/6phZmlIou0gK6Q9TUx+mPsz8OmppKygceiYjEi5DaglChLk6z+/+tM1HQwBo7LXVy/hy3KKUCEoIFRTNcrsf8X/mh1IptfcdxEpnLJdIlcSRMO9Rot2vONuF9oYWacy6ax3GFVg4RkYJldaSnevwm+SX4dNIjNdMo60JSECCCLdAkazl2v+CPzWrvINHijB4nRgTvINY3ECMS39Cl9p/P3NMRGPYNCJd6WfEWofoHSYQHZcRFKdttQZLFDEzVK9DKg7jZVeQwpG84HCnAsguCeHu7ptobd4R3I/irgXiVUI2hbuNo4jZz9NJK2mahBFmGYaZTG7eygrAtWFWxzm/LCWTl9+byR6bNpOWlSTI0DItwzQ/DsMLABxtJJkgjKrQLE6NzNKdX5xOn6rYFXLvxafvO4+9VxNWXI5J8bhB4kJ4jeFwtGCfrArij7XIxPnCnQcNJ8u8Gafynf/ecigAu1kLqa8V4f0Fnbx05MDnMi2luJvtxuOLf9XU5k0Hci6ziFQLw63EsGhEAg4qKLsOJX/1MHjAXpYpS8HycI08jxBl4E7Jeqz7yAv+JEhU48xkELwNCvAODfQKhFSmejB+j8mR2JF972R4eo4cj9eEUcpPJdGqdd8YksJc5Tsm4uOh8bBSqmULyzbAzLbJun5tgYMknhRj9uGxtQjD887Dvee7yj/C5LkoditUrlqaajb+uHo4PAkDnnnbHG0BGjtdDh7QyN4M3/xRbVg0IvE1TOs+1Qq83eUII4zwIETHv4TGKWzlwyL1QOQWuO9K7cCVY2/vRMNSIFU9C4nSoZuJxlDEa9ONcDjl/1j1aLwr87pwEs3OE7BhJ1Dgy0iEtjmPkESrPCBQdmHSIOanKCStYdelYk552eAUspK/uMjnz54iI17qrKj+o6e12HO5SYnZVYa4ra4mc7NjwZCarUybEhaNM2IyS5jGVjCEHozfqt5xJpslBKmblai/gLFgHh+kPppoqIlDQpEyo5riYfivHsDTz4WByGicCoJEHL8MjEewT6Qn9xVCmfVkRj9l3ADGFk1LcspIHJn5JhdkvRFcHAtlkYQ63aYfwkNzgma+bjkOlXaSLQYco8BlkilDwQ1tVdJC4qMQBUqZeBN02MY3DSE7apyV9B2Nm/0E3qE/QaVmcoLt5LDOBLmqIHMOtfUmTeeRywgiLEHJdsD5ZMjXDbNWTCeFeKVt5/F1Aq8FGumxZVM41wGbyTIWJqTWcxkLtdWJj8SqSU5sgEeeVQ2YVOX8VLksuNw0YhDT+K2Hi+qe4pQvILaSKAENyCvV1qwIxBo6J1EAJtItFYD9Jg+Bvhw/ZC6g1S4WSkrw7VcadpdrlDR+1grdKH4AonRFUnNVxwbBYZcU9VdhTzxGQayefWCv5HprFQlVRuOBPwxhivgwWpF5GJFhtB+shiVsX+hE6MlEjNk+chuG3P2kEfwU10+pB9yit/tBul+Uuo0+Fy76RLjfgMv/DWiWn691WCA2cPCSlx8Ia/B3sqqrTrbF04GkAfkiCj2XUMJcHSuDSY2uE7PIg8zq9QrYJWgmQn1czT0fYMETuJOIabUBRG7ch4tETICtLosrYdCFw2u16cPhP8wl3vWSxPX1bBiEfw74u1pSYMxlWfnvdqlazIVhLlCuWtSkxCWOiygsy0ruzmpiKeMbBRMR/QV/SJiohJVIB9h3iIj7y/oleac5aaAHeArVylBK4pI389NkeM8KUq7lEn+xISZ39NoR5GKRCOovg6zMh5qzgrf70kKVVq5mdBuNodZkTSyHbL5wgkQtF8QX2k2RwheDqE4twt5mTRJWSiF4pZ1OikQQlGqh9XBqY7+iJhhasuN6s5pNGsOfKIz90wqKq5AJpyiaXz4cEsR9fQYdHzxjOR/zfHzbcSZCfVi8Zn0+iQE/eIGVt2ES/jkSntdQcT1sTp+Hukchr2T9oATs/emjMAn/FHCwvtss1kosf54Jk7L9br656hhyvx+1LFQPr2KXc7y1ZAfmi2FSPvsaDPFW8en37l0LBXW5pDogLqKGgPUQ0O0j+fSCrNoO7taBIqp8R5fx4DkPbsFGUDcOlURgCCuvFaG7hkUnvAXmkblpB1KhdrD+EwvbP0Rfgui51DsMD2bS6x5Ei12UlT9IBljQ95CN7wWz3xyGNHlbrKa0Ne3vEqEwk6yFkwWEdPKVZvnGtoAYLwkaTgqdu0K/ZP0NvjVg4PW4GL/9aSCwhXGlr0P5RgEwXifGSbAm3aqx+E0QZ5frfMiGfelXXNjvXSLWJifVdW4sEGvJHSykJObOBZLVZ3vycuFA08N75kpX2eNMxqNInKzazSEb0Ik6K/njQsXzVh21iYO88AqZhUAIPRyQfi7UztOKU7WXwNVGUFOC8CwjqKRD4kKVWZjP09ruGApji2qSklEaFwSd+eCcCthbSQNR1TFQtGpnmiok5o/D83WG1JW8OpvBFoPw8WOD0YLLSHZO2/G4+arBdwRSx6XsBY8F6/Z4zfK3+mAbCQ33gvFxMwW3IS1aFV28CHxfi23Eguw5+ETbULa1ZQN/jIKY8vmtBR1M2euUmsJgZC3Ueceu0DSUuVULr2aXTcGWg+3lcO0YVnqlbJIBFW/fE3JAXCa4kU/wR55VCbiTV011ptPYrmd6OutEaqUgttR4w1NeMhbsG4/I7ild8JkM09TFtuTnmZlW5YO9fxAoqxdPbzSeKL/UNmLzcfEvc3awy4y+ceEQYH3SwF4u+0p3cBbTV/0N0PAH3Of6tzZ80M6jb/Rhqf05kvdD8dmgFdEZvcfR9uJO72Th5X90WYRyFz2XKsMsKfCe0yn81fRrbV9ren4F5TXjAdn8hBB1bQ+uujsZec+GvE6x9wmqSYvWdc1DK3TJWyvHPr5K2Gb3OfZW69cCCwcaZ+g7M9XuG3vi2fz8/LPUFkNSKC/I6/mXuXsfCVA8aUxIlOuEmhl1NdHQ+gCre/JWXHSdSqXgMrUGrFAoOIUudr9f+W0t7riOn6BHR4Kuz+mrk3vbMMwuuoz56WRCkOD6o0TbEvCjtqkhePbCcrHgL25T68j+mtWz8/wYbbxwQ6C/ijHu773e3krszXLCbrM7Ltiv1SbXKkFPGC3rq5Fu3ay9qDYElnopnHQ61/ltxbEn2x4AyCczhCqlktLNUfHaKuYb/IxHKCMKqRPWeffhlLC+dPAz/FwwR2Wj9d15ugfzhX0Rp6iy+bE2rsT/xbVhdRIZtpvOBJ9oax9tGfsxt/yxdK6WQdBbaKtRADsrrCf83/T/d18WZd9JmtLOquP6upOuO/Ssx6yafSnE3d2H36ZmJGafCooinVfXqVvrxGALiTWXaJjMTCf03aO823VL79F5f8ahUbIIv9V874/KqoRHiYNeVl4VNudvNa8kM2Uey6VXzWzY63Qfhh+xyT8X/CIdgE1yOwqBWKkgDKLOvqCqGMH9dOekSVFrpr3PSpa2yui6U/Pfb+TkM3/e/XapklRr62UEQwxn4vbIBAs39QlgN+4ekq0NutXKV2OHNge1QX7fPyZA/mlXNfHNRzC46rUfShyE+SYQXRWUFY6Gp3M8FFyOOip6t5b07RshB8/QkM7ElC81eMo7xHSaIjg+c1XCKodLxwzXtI3eQ+498NLF5wecTy0KU9/6+XB7NZxOb62ooJ4vJkuJUefx7/tHvvUQ+OS7m8mSKCjFjySDYRS+HioEkysQuk60VH8fmNJSrq/onT3NBdOev94RBcl6nYDuLxcBIRpc9ojICNcTo5GRLlKs9sRspOQbfgF7CCwjJmAsihxHk+euEVUhu+I7qkL+MmJGmfVYV9z/MoJGHcMg6r2rwQLlIhzoXCDRDe4nxpAIOzRy3Bc9yKtvkcvPhbEhGO5Xxh4A+yGN+3SH3u/Tqc3/AXI/1pU1hBeFAAAAAElFTkSuQmCC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31076" name="AutoShape 4" descr="data:image/png;base64,iVBORw0KGgoAAAANSUhEUgAAARMAAAC3CAMAAAAGjUrGAAABLFBMVEUAAJkPD54AAJz/zwD/zAD/0gD/0AAAAJ//1AD/1QD/2QD/1wAAAJj/ywAAAKIAAJP/3ABcSnIAAI09MH9eS4L2xgD/4wA3LIf5yQBzXm/QqizfsikrIoUUEJUuJYUpI5TywQ7pvBYiG5NFNnlBNH3DnD25mkCcgGVpVH6Oc1kYEp7lthPVqyPRsTyxlF21kVmxjWJsWW2DbFvrwwXCnS6nh0lNPnnduT+OdVSujkPOrEeHbWXQpkFdTXnGoh2qjDh3X1vnwjCCbGw6LoSdhFROPnOcf0ZTRIFOQ483LZUyJ326n1O3mkXduDCSdmNlUIV1XmVhUW90Xlh3ZH6Oc0okHJrAnErOpEeqjly4k0opIZbjwBUYE4PpuzNuWn6af22xn2FoU2K3kzDduzsBmDJnAAAMA0lEQVR4nO1di1sauRbHk5wk8wBRHB1AhEGxPlsp2Iq2t8VHtdu1lXV1W6v27t7//3+4yYDbVqEVZIYM5ff1a6dA5jzm5OTMyUkSWxlbWRkb4VvE/L/t2AgjjDDCCCOMMMIII4wwwggjjDDCCCOMMMJQAlK5QbOgHz6+TgyaBd2Q97zxQfOgG46SogyDZkIvQMMUj/mgudAF4COWMfDcbl3/6phZmlIou0gK6Q9TUx+mPsz8OmppKygceiYjEi5DaglChLk6z+/+tM1HQwBo7LXVy/hy3KKUCEoIFRTNcrsf8X/mh1IptfcdxEpnLJdIlcSRMO9Rot2vONuF9oYWacy6ax3GFVg4RkYJldaSnevwm+SX4dNIjNdMo60JSECCCLdAkazl2v+CPzWrvINHijB4nRgTvINY3ECMS39Cl9p/P3NMRGPYNCJd6WfEWofoHSYQHZcRFKdttQZLFDEzVK9DKg7jZVeQwpG84HCnAsguCeHu7ptobd4R3I/irgXiVUI2hbuNo4jZz9NJK2mahBFmGYaZTG7eygrAtWFWxzm/LCWTl9+byR6bNpOWlSTI0DItwzQ/DsMLABxtJJkgjKrQLE6NzNKdX5xOn6rYFXLvxafvO4+9VxNWXI5J8bhB4kJ4jeFwtGCfrArij7XIxPnCnQcNJ8u8Gafynf/ecigAu1kLqa8V4f0Fnbx05MDnMi2luJvtxuOLf9XU5k0Hci6ziFQLw63EsGhEAg4qKLsOJX/1MHjAXpYpS8HycI08jxBl4E7Jeqz7yAv+JEhU48xkELwNCvAODfQKhFSmejB+j8mR2JF972R4eo4cj9eEUcpPJdGqdd8YksJc5Tsm4uOh8bBSqmULyzbAzLbJun5tgYMknhRj9uGxtQjD887Dvee7yj/C5LkoditUrlqaajb+uHo4PAkDnnnbHG0BGjtdDh7QyN4M3/xRbVg0IvE1TOs+1Qq83eUII4zwIETHv4TGKWzlwyL1QOQWuO9K7cCVY2/vRMNSIFU9C4nSoZuJxlDEa9ONcDjl/1j1aLwr87pwEs3OE7BhJ1Dgy0iEtjmPkESrPCBQdmHSIOanKCStYdelYk552eAUspK/uMjnz54iI17qrKj+o6e12HO5SYnZVYa4ra4mc7NjwZCarUybEhaNM2IyS5jGVjCEHozfqt5xJpslBKmblai/gLFgHh+kPppoqIlDQpEyo5riYfivHsDTz4WByGicCoJEHL8MjEewT6Qn9xVCmfVkRj9l3ADGFk1LcspIHJn5JhdkvRFcHAtlkYQ63aYfwkNzgma+bjkOlXaSLQYco8BlkilDwQ1tVdJC4qMQBUqZeBN02MY3DSE7apyV9B2Nm/0E3qE/QaVmcoLt5LDOBLmqIHMOtfUmTeeRywgiLEHJdsD5ZMjXDbNWTCeFeKVt5/F1Aq8FGumxZVM41wGbyTIWJqTWcxkLtdWJj8SqSU5sgEeeVQ2YVOX8VLksuNw0YhDT+K2Hi+qe4pQvILaSKAENyCvV1qwIxBo6J1EAJtItFYD9Jg+Bvhw/ZC6g1S4WSkrw7VcadpdrlDR+1grdKH4AonRFUnNVxwbBYZcU9VdhTzxGQayefWCv5HprFQlVRuOBPwxhivgwWpF5GJFhtB+shiVsX+hE6MlEjNk+chuG3P2kEfwU10+pB9yit/tBul+Uuo0+Fy76RLjfgMv/DWiWn691WCA2cPCSlx8Ia/B3sqqrTrbF04GkAfkiCj2XUMJcHSuDSY2uE7PIg8zq9QrYJWgmQn1czT0fYMETuJOIabUBRG7ch4tETICtLosrYdCFw2u16cPhP8wl3vWSxPX1bBiEfw74u1pSYMxlWfnvdqlazIVhLlCuWtSkxCWOiygsy0ruzmpiKeMbBRMR/QV/SJiohJVIB9h3iIj7y/oleac5aaAHeArVylBK4pI389NkeM8KUq7lEn+xISZ39NoR5GKRCOovg6zMh5qzgrf70kKVVq5mdBuNodZkTSyHbL5wgkQtF8QX2k2RwheDqE4twt5mTRJWSiF4pZ1OikQQlGqh9XBqY7+iJhhasuN6s5pNGsOfKIz90wqKq5AJpyiaXz4cEsR9fQYdHzxjOR/zfHzbcSZCfVi8Zn0+iQE/eIGVt2ES/jkSntdQcT1sTp+Hukchr2T9oATs/emjMAn/FHCwvtss1kosf54Jk7L9br656hhyvx+1LFQPr2KXc7y1ZAfmi2FSPvsaDPFW8en37l0LBXW5pDogLqKGgPUQ0O0j+fSCrNoO7taBIqp8R5fx4DkPbsFGUDcOlURgCCuvFaG7hkUnvAXmkblpB1KhdrD+EwvbP0Rfgui51DsMD2bS6x5Ei12UlT9IBljQ95CN7wWz3xyGNHlbrKa0Ne3vEqEwk6yFkwWEdPKVZvnGtoAYLwkaTgqdu0K/ZP0NvjVg4PW4GL/9aSCwhXGlr0P5RgEwXifGSbAm3aqx+E0QZ5frfMiGfelXXNjvXSLWJifVdW4sEGvJHSykJObOBZLVZ3vycuFA08N75kpX2eNMxqNInKzazSEb0Ik6K/njQsXzVh21iYO88AqZhUAIPRyQfi7UztOKU7WXwNVGUFOC8CwjqKRD4kKVWZjP09ruGApji2qSklEaFwSd+eCcCthbSQNR1TFQtGpnmiok5o/D83WG1JW8OpvBFoPw8WOD0YLLSHZO2/G4+arBdwRSx6XsBY8F6/Z4zfK3+mAbCQ33gvFxMwW3IS1aFV28CHxfi23Eguw5+ETbULa1ZQN/jIKY8vmtBR1M2euUmsJgZC3Ueceu0DSUuVULr2aXTcGWg+3lcO0YVnqlbJIBFW/fE3JAXCa4kU/wR55VCbiTV011ptPYrmd6OutEaqUgttR4w1NeMhbsG4/I7ild8JkM09TFtuTnmZlW5YO9fxAoqxdPbzSeKL/UNmLzcfEvc3awy4y+ceEQYH3SwF4u+0p3cBbTV/0N0PAH3Of6tzZ80M6jb/Rhqf05kvdD8dmgFdEZvcfR9uJO72Th5X90WYRyFz2XKsMsKfCe0yn81fRrbV9ren4F5TXjAdn8hBB1bQ+uujsZec+GvE6x9wmqSYvWdc1DK3TJWyvHPr5K2Gb3OfZW69cCCwcaZ+g7M9XuG3vi2fz8/LPUFkNSKC/I6/mXuXsfCVA8aUxIlOuEmhl1NdHQ+gCre/JWXHSdSqXgMrUGrFAoOIUudr9f+W0t7riOn6BHR4Kuz+mrk3vbMMwuuoz56WRCkOD6o0TbEvCjtqkhePbCcrHgL25T68j+mtWz8/wYbbxwQ6C/ijHu773e3krszXLCbrM7Ltiv1SbXKkFPGC3rq5Fu3ay9qDYElnopnHQ61/ltxbEn2x4AyCczhCqlktLNUfHaKuYb/IxHKCMKqRPWeffhlLC+dPAz/FwwR2Wj9d15ugfzhX0Rp6iy+bE2rsT/xbVhdRIZtpvOBJ9oax9tGfsxt/yxdK6WQdBbaKtRADsrrCf83/T/d18WZd9JmtLOquP6upOuO/Ssx6yafSnE3d2H36ZmJGafCooinVfXqVvrxGALiTWXaJjMTCf03aO823VL79F5f8ahUbIIv9V874/KqoRHiYNeVl4VNudvNa8kM2Uey6VXzWzY63Qfhh+xyT8X/CIdgE1yOwqBWKkgDKLOvqCqGMH9dOekSVFrpr3PSpa2yui6U/Pfb+TkM3/e/XapklRr62UEQwxn4vbIBAs39QlgN+4ekq0NutXKV2OHNge1QX7fPyZA/mlXNfHNRzC46rUfShyE+SYQXRWUFY6Gp3M8FFyOOip6t5b07RshB8/QkM7ElC81eMo7xHSaIjg+c1XCKodLxwzXtI3eQ+498NLF5wecTy0KU9/6+XB7NZxOb62ooJ4vJkuJUefx7/tHvvUQ+OS7m8mSKCjFjySDYRS+HioEkysQuk60VH8fmNJSrq/onT3NBdOev94RBcl6nYDuLxcBIRpc9ojICNcTo5GRLlKs9sRspOQbfgF7CCwjJmAsihxHk+euEVUhu+I7qkL+MmJGmfVYV9z/MoJGHcMg6r2rwQLlIhzoXCDRDe4nxpAIOzRy3Bc9yKtvkcvPhbEhGO5Xxh4A+yGN+3SH3u/Tqc3/AXI/1pU1hBeFAAAAAElFTkSuQmCC"/>
          <p:cNvSpPr>
            <a:spLocks noChangeAspect="1" noChangeArrowheads="1"/>
          </p:cNvSpPr>
          <p:nvPr/>
        </p:nvSpPr>
        <p:spPr bwMode="auto">
          <a:xfrm>
            <a:off x="155575" y="-952500"/>
            <a:ext cx="2981325" cy="19907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31078" name="AutoShape 6" descr="data:image/png;base64,iVBORw0KGgoAAAANSUhEUgAAARMAAAC3CAMAAAAGjUrGAAABLFBMVEUAAJkPD54AAJz/zwD/zAD/0gD/0AAAAJ//1AD/1QD/2QD/1wAAAJj/ywAAAKIAAJP/3ABcSnIAAI09MH9eS4L2xgD/4wA3LIf5yQBzXm/QqizfsikrIoUUEJUuJYUpI5TywQ7pvBYiG5NFNnlBNH3DnD25mkCcgGVpVH6Oc1kYEp7lthPVqyPRsTyxlF21kVmxjWJsWW2DbFvrwwXCnS6nh0lNPnnduT+OdVSujkPOrEeHbWXQpkFdTXnGoh2qjDh3X1vnwjCCbGw6LoSdhFROPnOcf0ZTRIFOQ483LZUyJ326n1O3mkXduDCSdmNlUIV1XmVhUW90Xlh3ZH6Oc0okHJrAnErOpEeqjly4k0opIZbjwBUYE4PpuzNuWn6af22xn2FoU2K3kzDduzsBmDJnAAAMA0lEQVR4nO1di1sauRbHk5wk8wBRHB1AhEGxPlsp2Iq2t8VHtdu1lXV1W6v27t7//3+4yYDbVqEVZIYM5ff1a6dA5jzm5OTMyUkSWxlbWRkb4VvE/L/t2AgjjDDCCCOMMMIII4wwwggjjDDCCCOMMMJQAlK5QbOgHz6+TgyaBd2Q97zxQfOgG46SogyDZkIvQMMUj/mgudAF4COWMfDcbl3/6phZmlIou0gK6Q9TUx+mPsz8OmppKygceiYjEi5DaglChLk6z+/+tM1HQwBo7LXVy/hy3KKUCEoIFRTNcrsf8X/mh1IptfcdxEpnLJdIlcSRMO9Rot2vONuF9oYWacy6ax3GFVg4RkYJldaSnevwm+SX4dNIjNdMo60JSECCCLdAkazl2v+CPzWrvINHijB4nRgTvINY3ECMS39Cl9p/P3NMRGPYNCJd6WfEWofoHSYQHZcRFKdttQZLFDEzVK9DKg7jZVeQwpG84HCnAsguCeHu7ptobd4R3I/irgXiVUI2hbuNo4jZz9NJK2mahBFmGYaZTG7eygrAtWFWxzm/LCWTl9+byR6bNpOWlSTI0DItwzQ/DsMLABxtJJkgjKrQLE6NzNKdX5xOn6rYFXLvxafvO4+9VxNWXI5J8bhB4kJ4jeFwtGCfrArij7XIxPnCnQcNJ8u8Gafynf/ecigAu1kLqa8V4f0Fnbx05MDnMi2luJvtxuOLf9XU5k0Hci6ziFQLw63EsGhEAg4qKLsOJX/1MHjAXpYpS8HycI08jxBl4E7Jeqz7yAv+JEhU48xkELwNCvAODfQKhFSmejB+j8mR2JF972R4eo4cj9eEUcpPJdGqdd8YksJc5Tsm4uOh8bBSqmULyzbAzLbJun5tgYMknhRj9uGxtQjD887Dvee7yj/C5LkoditUrlqaajb+uHo4PAkDnnnbHG0BGjtdDh7QyN4M3/xRbVg0IvE1TOs+1Qq83eUII4zwIETHv4TGKWzlwyL1QOQWuO9K7cCVY2/vRMNSIFU9C4nSoZuJxlDEa9ONcDjl/1j1aLwr87pwEs3OE7BhJ1Dgy0iEtjmPkESrPCBQdmHSIOanKCStYdelYk552eAUspK/uMjnz54iI17qrKj+o6e12HO5SYnZVYa4ra4mc7NjwZCarUybEhaNM2IyS5jGVjCEHozfqt5xJpslBKmblai/gLFgHh+kPppoqIlDQpEyo5riYfivHsDTz4WByGicCoJEHL8MjEewT6Qn9xVCmfVkRj9l3ADGFk1LcspIHJn5JhdkvRFcHAtlkYQ63aYfwkNzgma+bjkOlXaSLQYco8BlkilDwQ1tVdJC4qMQBUqZeBN02MY3DSE7apyV9B2Nm/0E3qE/QaVmcoLt5LDOBLmqIHMOtfUmTeeRywgiLEHJdsD5ZMjXDbNWTCeFeKVt5/F1Aq8FGumxZVM41wGbyTIWJqTWcxkLtdWJj8SqSU5sgEeeVQ2YVOX8VLksuNw0YhDT+K2Hi+qe4pQvILaSKAENyCvV1qwIxBo6J1EAJtItFYD9Jg+Bvhw/ZC6g1S4WSkrw7VcadpdrlDR+1grdKH4AonRFUnNVxwbBYZcU9VdhTzxGQayefWCv5HprFQlVRuOBPwxhivgwWpF5GJFhtB+shiVsX+hE6MlEjNk+chuG3P2kEfwU10+pB9yit/tBul+Uuo0+Fy76RLjfgMv/DWiWn691WCA2cPCSlx8Ia/B3sqqrTrbF04GkAfkiCj2XUMJcHSuDSY2uE7PIg8zq9QrYJWgmQn1czT0fYMETuJOIabUBRG7ch4tETICtLosrYdCFw2u16cPhP8wl3vWSxPX1bBiEfw74u1pSYMxlWfnvdqlazIVhLlCuWtSkxCWOiygsy0ruzmpiKeMbBRMR/QV/SJiohJVIB9h3iIj7y/oleac5aaAHeArVylBK4pI389NkeM8KUq7lEn+xISZ39NoR5GKRCOovg6zMh5qzgrf70kKVVq5mdBuNodZkTSyHbL5wgkQtF8QX2k2RwheDqE4twt5mTRJWSiF4pZ1OikQQlGqh9XBqY7+iJhhasuN6s5pNGsOfKIz90wqKq5AJpyiaXz4cEsR9fQYdHzxjOR/zfHzbcSZCfVi8Zn0+iQE/eIGVt2ES/jkSntdQcT1sTp+Hukchr2T9oATs/emjMAn/FHCwvtss1kosf54Jk7L9br656hhyvx+1LFQPr2KXc7y1ZAfmi2FSPvsaDPFW8en37l0LBXW5pDogLqKGgPUQ0O0j+fSCrNoO7taBIqp8R5fx4DkPbsFGUDcOlURgCCuvFaG7hkUnvAXmkblpB1KhdrD+EwvbP0Rfgui51DsMD2bS6x5Ei12UlT9IBljQ95CN7wWz3xyGNHlbrKa0Ne3vEqEwk6yFkwWEdPKVZvnGtoAYLwkaTgqdu0K/ZP0NvjVg4PW4GL/9aSCwhXGlr0P5RgEwXifGSbAm3aqx+E0QZ5frfMiGfelXXNjvXSLWJifVdW4sEGvJHSykJObOBZLVZ3vycuFA08N75kpX2eNMxqNInKzazSEb0Ik6K/njQsXzVh21iYO88AqZhUAIPRyQfi7UztOKU7WXwNVGUFOC8CwjqKRD4kKVWZjP09ruGApji2qSklEaFwSd+eCcCthbSQNR1TFQtGpnmiok5o/D83WG1JW8OpvBFoPw8WOD0YLLSHZO2/G4+arBdwRSx6XsBY8F6/Z4zfK3+mAbCQ33gvFxMwW3IS1aFV28CHxfi23Eguw5+ETbULa1ZQN/jIKY8vmtBR1M2euUmsJgZC3Ueceu0DSUuVULr2aXTcGWg+3lcO0YVnqlbJIBFW/fE3JAXCa4kU/wR55VCbiTV011ptPYrmd6OutEaqUgttR4w1NeMhbsG4/I7ild8JkM09TFtuTnmZlW5YO9fxAoqxdPbzSeKL/UNmLzcfEvc3awy4y+ceEQYH3SwF4u+0p3cBbTV/0N0PAH3Of6tzZ80M6jb/Rhqf05kvdD8dmgFdEZvcfR9uJO72Th5X90WYRyFz2XKsMsKfCe0yn81fRrbV9ren4F5TXjAdn8hBB1bQ+uujsZec+GvE6x9wmqSYvWdc1DK3TJWyvHPr5K2Gb3OfZW69cCCwcaZ+g7M9XuG3vi2fz8/LPUFkNSKC/I6/mXuXsfCVA8aUxIlOuEmhl1NdHQ+gCre/JWXHSdSqXgMrUGrFAoOIUudr9f+W0t7riOn6BHR4Kuz+mrk3vbMMwuuoz56WRCkOD6o0TbEvCjtqkhePbCcrHgL25T68j+mtWz8/wYbbxwQ6C/ijHu773e3krszXLCbrM7Ltiv1SbXKkFPGC3rq5Fu3ay9qDYElnopnHQ61/ltxbEn2x4AyCczhCqlktLNUfHaKuYb/IxHKCMKqRPWeffhlLC+dPAz/FwwR2Wj9d15ugfzhX0Rp6iy+bE2rsT/xbVhdRIZtpvOBJ9oax9tGfsxt/yxdK6WQdBbaKtRADsrrCf83/T/d18WZd9JmtLOquP6upOuO/Ssx6yafSnE3d2H36ZmJGafCooinVfXqVvrxGALiTWXaJjMTCf03aO823VL79F5f8ahUbIIv9V874/KqoRHiYNeVl4VNudvNa8kM2Uey6VXzWzY63Qfhh+xyT8X/CIdgE1yOwqBWKkgDKLOvqCqGMH9dOekSVFrpr3PSpa2yui6U/Pfb+TkM3/e/XapklRr62UEQwxn4vbIBAs39QlgN+4ekq0NutXKV2OHNge1QX7fPyZA/mlXNfHNRzC46rUfShyE+SYQXRWUFY6Gp3M8FFyOOip6t5b07RshB8/QkM7ElC81eMo7xHSaIjg+c1XCKodLxwzXtI3eQ+498NLF5wecTy0KU9/6+XB7NZxOb62ooJ4vJkuJUefx7/tHvvUQ+OS7m8mSKCjFjySDYRS+HioEkysQuk60VH8fmNJSrq/onT3NBdOev94RBcl6nYDuLxcBIRpc9ojICNcTo5GRLlKs9sRspOQbfgF7CCwjJmAsihxHk+euEVUhu+I7qkL+MmJGmfVYV9z/MoJGHcMg6r2rwQLlIhzoXCDRDe4nxpAIOzRy3Bc9yKtvkcvPhbEhGO5Xxh4A+yGN+3SH3u/Tqc3/AXI/1pU1hBeFAAAAAElFTkSuQmCC"/>
          <p:cNvSpPr>
            <a:spLocks noChangeAspect="1" noChangeArrowheads="1"/>
          </p:cNvSpPr>
          <p:nvPr/>
        </p:nvSpPr>
        <p:spPr bwMode="auto">
          <a:xfrm>
            <a:off x="155575" y="-952500"/>
            <a:ext cx="2981325" cy="19907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867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675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2"/>
          <p:cNvSpPr>
            <a:spLocks noGrp="1"/>
          </p:cNvSpPr>
          <p:nvPr>
            <p:ph type="title" idx="4294967295"/>
          </p:nvPr>
        </p:nvSpPr>
        <p:spPr>
          <a:xfrm>
            <a:off x="468313" y="188913"/>
            <a:ext cx="8229600" cy="495300"/>
          </a:xfrm>
        </p:spPr>
        <p:txBody>
          <a:bodyPr/>
          <a:lstStyle/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FAS’IN DIŞ TİCARETİ </a:t>
            </a:r>
            <a:r>
              <a:rPr lang="tr-TR" sz="2800" b="1" dirty="0" smtClean="0">
                <a:solidFill>
                  <a:schemeClr val="bg1"/>
                </a:solidFill>
                <a:latin typeface="Calibri" pitchFamily="34" charset="0"/>
              </a:rPr>
              <a:t>(</a:t>
            </a:r>
            <a:r>
              <a:rPr lang="fr-FR" sz="2800" b="1" dirty="0" smtClean="0">
                <a:solidFill>
                  <a:schemeClr val="bg1"/>
                </a:solidFill>
              </a:rPr>
              <a:t>M</a:t>
            </a:r>
            <a:r>
              <a:rPr lang="tr-TR" sz="2800" b="1" dirty="0" smtClean="0">
                <a:solidFill>
                  <a:schemeClr val="bg1"/>
                </a:solidFill>
              </a:rPr>
              <a:t>İLYAR $</a:t>
            </a:r>
            <a:r>
              <a:rPr lang="tr-TR" sz="2800" b="1" dirty="0" smtClean="0">
                <a:solidFill>
                  <a:schemeClr val="bg1"/>
                </a:solidFill>
                <a:latin typeface="Calibri" pitchFamily="34" charset="0"/>
              </a:rPr>
              <a:t>)</a:t>
            </a:r>
            <a:endParaRPr lang="fr-FR" sz="28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auto">
          <a:xfrm>
            <a:off x="395288" y="1712913"/>
            <a:ext cx="720725" cy="4089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26" name="Rectangle 6"/>
          <p:cNvSpPr>
            <a:spLocks noChangeArrowheads="1"/>
          </p:cNvSpPr>
          <p:nvPr/>
        </p:nvSpPr>
        <p:spPr bwMode="auto">
          <a:xfrm>
            <a:off x="898525" y="5291138"/>
            <a:ext cx="8064500" cy="5842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27" name="Rectangle 7"/>
          <p:cNvSpPr>
            <a:spLocks noChangeArrowheads="1"/>
          </p:cNvSpPr>
          <p:nvPr/>
        </p:nvSpPr>
        <p:spPr bwMode="auto">
          <a:xfrm>
            <a:off x="971550" y="1785938"/>
            <a:ext cx="215900" cy="4089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692150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 dirty="0">
              <a:cs typeface="+mn-cs"/>
            </a:endParaRPr>
          </a:p>
        </p:txBody>
      </p:sp>
      <p:graphicFrame>
        <p:nvGraphicFramePr>
          <p:cNvPr id="5" name="Grafik 4"/>
          <p:cNvGraphicFramePr/>
          <p:nvPr>
            <p:extLst>
              <p:ext uri="{D42A27DB-BD31-4B8C-83A1-F6EECF244321}">
                <p14:modId xmlns:p14="http://schemas.microsoft.com/office/powerpoint/2010/main" val="2152567886"/>
              </p:ext>
            </p:extLst>
          </p:nvPr>
        </p:nvGraphicFramePr>
        <p:xfrm>
          <a:off x="251521" y="1484784"/>
          <a:ext cx="8711504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2411759" y="912342"/>
            <a:ext cx="4104457" cy="462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tr-TR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r>
              <a:rPr lang="tr-TR" sz="2400" b="1" dirty="0" smtClean="0">
                <a:solidFill>
                  <a:srgbClr val="FFFF99"/>
                </a:solidFill>
              </a:rPr>
              <a:t>İHRACAT </a:t>
            </a:r>
            <a:r>
              <a:rPr lang="tr-TR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  </a:t>
            </a:r>
            <a:r>
              <a:rPr lang="tr-TR" sz="2400" b="1" dirty="0" smtClean="0">
                <a:solidFill>
                  <a:schemeClr val="bg1">
                    <a:lumMod val="95000"/>
                  </a:schemeClr>
                </a:solidFill>
              </a:rPr>
              <a:t>İTHALAT </a:t>
            </a:r>
            <a:r>
              <a:rPr lang="tr-TR" sz="24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        </a:t>
            </a:r>
            <a:endParaRPr lang="en-US" sz="24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83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86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3" grpId="0"/>
      <p:bldP spid="586757" grpId="0" animBg="1"/>
      <p:bldP spid="13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0648"/>
            <a:ext cx="89644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FAS’IN DIŞ TİCARETİNDE BAŞLICA MALLAR </a:t>
            </a:r>
            <a:endParaRPr lang="fr-FR" sz="3200" dirty="0">
              <a:solidFill>
                <a:schemeClr val="bg1"/>
              </a:solidFill>
            </a:endParaRPr>
          </a:p>
        </p:txBody>
      </p:sp>
      <p:graphicFrame>
        <p:nvGraphicFramePr>
          <p:cNvPr id="11" name="Grafik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9733302"/>
              </p:ext>
            </p:extLst>
          </p:nvPr>
        </p:nvGraphicFramePr>
        <p:xfrm>
          <a:off x="251520" y="1988840"/>
          <a:ext cx="4464496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3"/>
          <p:cNvSpPr/>
          <p:nvPr/>
        </p:nvSpPr>
        <p:spPr>
          <a:xfrm>
            <a:off x="105879" y="1392267"/>
            <a:ext cx="43559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000" b="1" u="sng" dirty="0" smtClean="0">
                <a:solidFill>
                  <a:schemeClr val="bg1"/>
                </a:solidFill>
              </a:rPr>
              <a:t>FAS’IN</a:t>
            </a:r>
            <a:r>
              <a:rPr lang="tr-TR" sz="3200" b="1" u="sng" dirty="0" smtClean="0">
                <a:solidFill>
                  <a:schemeClr val="bg1"/>
                </a:solidFill>
              </a:rPr>
              <a:t> İHRACATI </a:t>
            </a:r>
            <a:endParaRPr lang="fr-FR" sz="3200" u="sng" dirty="0">
              <a:solidFill>
                <a:schemeClr val="bg1"/>
              </a:solidFill>
            </a:endParaRPr>
          </a:p>
        </p:txBody>
      </p:sp>
      <p:sp>
        <p:nvSpPr>
          <p:cNvPr id="13" name="Rectangle 3"/>
          <p:cNvSpPr/>
          <p:nvPr/>
        </p:nvSpPr>
        <p:spPr>
          <a:xfrm>
            <a:off x="4482244" y="1343119"/>
            <a:ext cx="46617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3200" b="1" dirty="0" smtClean="0">
                <a:solidFill>
                  <a:schemeClr val="bg1"/>
                </a:solidFill>
              </a:rPr>
              <a:t>    </a:t>
            </a:r>
            <a:r>
              <a:rPr lang="tr-TR" sz="3200" b="1" u="sng" dirty="0" smtClean="0">
                <a:solidFill>
                  <a:schemeClr val="bg1"/>
                </a:solidFill>
              </a:rPr>
              <a:t>FAS’IN İTHALATI</a:t>
            </a:r>
            <a:endParaRPr lang="fr-FR" sz="3200" u="sng" dirty="0">
              <a:solidFill>
                <a:schemeClr val="bg1"/>
              </a:solidFill>
            </a:endParaRPr>
          </a:p>
        </p:txBody>
      </p:sp>
      <p:graphicFrame>
        <p:nvGraphicFramePr>
          <p:cNvPr id="7" name="Grafik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6739200"/>
              </p:ext>
            </p:extLst>
          </p:nvPr>
        </p:nvGraphicFramePr>
        <p:xfrm>
          <a:off x="4461854" y="2204864"/>
          <a:ext cx="4502634" cy="2815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0648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FAS’IN İHRACATINDA BAŞLICA ULKELER (Milyar $) </a:t>
            </a:r>
            <a:endParaRPr lang="fr-FR" sz="3200" dirty="0">
              <a:solidFill>
                <a:schemeClr val="bg1"/>
              </a:solidFill>
            </a:endParaRPr>
          </a:p>
        </p:txBody>
      </p:sp>
      <p:graphicFrame>
        <p:nvGraphicFramePr>
          <p:cNvPr id="3" name="Grafik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9868509"/>
              </p:ext>
            </p:extLst>
          </p:nvPr>
        </p:nvGraphicFramePr>
        <p:xfrm>
          <a:off x="251520" y="1340768"/>
          <a:ext cx="8640960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03747105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88640"/>
            <a:ext cx="9144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dirty="0" smtClean="0">
                <a:solidFill>
                  <a:schemeClr val="bg1"/>
                </a:solidFill>
              </a:rPr>
              <a:t>FAS’IN İTHALATINDA BAŞLICA ULKELER (Milyar $) </a:t>
            </a:r>
            <a:endParaRPr lang="fr-FR" sz="3200" dirty="0">
              <a:solidFill>
                <a:schemeClr val="bg1"/>
              </a:solidFill>
            </a:endParaRPr>
          </a:p>
        </p:txBody>
      </p:sp>
      <p:graphicFrame>
        <p:nvGraphicFramePr>
          <p:cNvPr id="3" name="Grafik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2560726"/>
              </p:ext>
            </p:extLst>
          </p:nvPr>
        </p:nvGraphicFramePr>
        <p:xfrm>
          <a:off x="251520" y="1265858"/>
          <a:ext cx="8640960" cy="5259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49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762000" y="1"/>
            <a:ext cx="7772400" cy="980728"/>
          </a:xfrm>
        </p:spPr>
        <p:txBody>
          <a:bodyPr/>
          <a:lstStyle/>
          <a:p>
            <a:r>
              <a:rPr lang="tr-TR" sz="3300" b="1" dirty="0" smtClean="0">
                <a:solidFill>
                  <a:srgbClr val="FFFF00"/>
                </a:solidFill>
              </a:rPr>
              <a:t>KDV VE GÜMRÜK VERGİLERİ </a:t>
            </a:r>
          </a:p>
        </p:txBody>
      </p:sp>
      <p:sp>
        <p:nvSpPr>
          <p:cNvPr id="70349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533400" y="1635125"/>
            <a:ext cx="8153400" cy="4232275"/>
          </a:xfrm>
        </p:spPr>
        <p:txBody>
          <a:bodyPr/>
          <a:lstStyle/>
          <a:p>
            <a:pPr>
              <a:lnSpc>
                <a:spcPct val="80000"/>
              </a:lnSpc>
              <a:buClr>
                <a:srgbClr val="FFFF66"/>
              </a:buClr>
              <a:buFont typeface="Wingdings" pitchFamily="2" charset="2"/>
              <a:buNone/>
            </a:pPr>
            <a:endParaRPr lang="tr-TR" sz="3400" b="1" dirty="0" smtClean="0">
              <a:solidFill>
                <a:srgbClr val="FFFF66"/>
              </a:solidFill>
              <a:latin typeface="Arial Unicode MS" pitchFamily="34" charset="-128"/>
            </a:endParaRPr>
          </a:p>
          <a:p>
            <a:pPr>
              <a:buClr>
                <a:srgbClr val="FFFF66"/>
              </a:buClr>
              <a:buFont typeface="Wingdings" pitchFamily="2" charset="2"/>
              <a:buNone/>
            </a:pPr>
            <a:endParaRPr lang="tr-TR" sz="3600" b="1" dirty="0" smtClean="0">
              <a:solidFill>
                <a:srgbClr val="FFFF66"/>
              </a:solidFill>
              <a:latin typeface="Arial Unicode MS" pitchFamily="34" charset="-128"/>
            </a:endParaRPr>
          </a:p>
        </p:txBody>
      </p:sp>
      <p:sp>
        <p:nvSpPr>
          <p:cNvPr id="703492" name="Rectangle 4"/>
          <p:cNvSpPr>
            <a:spLocks noChangeArrowheads="1"/>
          </p:cNvSpPr>
          <p:nvPr/>
        </p:nvSpPr>
        <p:spPr bwMode="auto">
          <a:xfrm>
            <a:off x="0" y="836712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703493" name="Rectangle 5"/>
          <p:cNvSpPr>
            <a:spLocks noChangeArrowheads="1"/>
          </p:cNvSpPr>
          <p:nvPr/>
        </p:nvSpPr>
        <p:spPr bwMode="auto">
          <a:xfrm>
            <a:off x="2195736" y="980728"/>
            <a:ext cx="5429250" cy="1016305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en-US" sz="3000" b="1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KDV</a:t>
            </a:r>
            <a:r>
              <a:rPr lang="tr-TR" sz="3000" b="1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 </a:t>
            </a:r>
            <a:r>
              <a:rPr lang="tr-TR" sz="3000" b="1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%20</a:t>
            </a:r>
          </a:p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%7-10-14</a:t>
            </a:r>
            <a:endParaRPr lang="en-US" sz="3000" b="1" dirty="0">
              <a:solidFill>
                <a:schemeClr val="tx2"/>
              </a:solidFill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167086" y="3286124"/>
            <a:ext cx="5429250" cy="55464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>
              <a:spcBef>
                <a:spcPct val="5000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KURUMLAR VERGİSİ %30</a:t>
            </a:r>
            <a:endParaRPr lang="en-US" sz="3000" b="1" dirty="0">
              <a:solidFill>
                <a:schemeClr val="tx2"/>
              </a:solidFill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36512" y="5143512"/>
            <a:ext cx="9144000" cy="523862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/>
            <a:r>
              <a:rPr lang="tr-TR" sz="2800" b="1" dirty="0" smtClean="0">
                <a:solidFill>
                  <a:srgbClr val="FFFF00"/>
                </a:solidFill>
                <a:hlinkClick r:id="rId3"/>
              </a:rPr>
              <a:t>http://www.</a:t>
            </a:r>
            <a:r>
              <a:rPr lang="tr-TR" sz="2800" b="1" dirty="0" err="1" smtClean="0">
                <a:solidFill>
                  <a:srgbClr val="FFFF00"/>
                </a:solidFill>
                <a:hlinkClick r:id="rId3"/>
              </a:rPr>
              <a:t>douane</a:t>
            </a:r>
            <a:r>
              <a:rPr lang="tr-TR" sz="2800" b="1" dirty="0" smtClean="0">
                <a:solidFill>
                  <a:srgbClr val="FFFF00"/>
                </a:solidFill>
                <a:hlinkClick r:id="rId3"/>
              </a:rPr>
              <a:t>.gov.</a:t>
            </a:r>
            <a:r>
              <a:rPr lang="tr-TR" sz="2800" b="1" dirty="0" err="1" smtClean="0">
                <a:solidFill>
                  <a:srgbClr val="FFFF00"/>
                </a:solidFill>
                <a:hlinkClick r:id="rId3"/>
              </a:rPr>
              <a:t>ma</a:t>
            </a:r>
            <a:r>
              <a:rPr lang="tr-TR" sz="2800" b="1" dirty="0" smtClean="0">
                <a:solidFill>
                  <a:srgbClr val="FFFF00"/>
                </a:solidFill>
                <a:hlinkClick r:id="rId3"/>
              </a:rPr>
              <a:t>/adil/</a:t>
            </a:r>
            <a:endParaRPr lang="tr-TR" sz="2800" b="1" dirty="0" smtClean="0">
              <a:solidFill>
                <a:schemeClr val="bg1"/>
              </a:solidFill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2195736" y="4374558"/>
            <a:ext cx="5429250" cy="55464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>
              <a:spcBef>
                <a:spcPct val="5000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rgbClr val="FF0000"/>
                </a:solidFill>
                <a:latin typeface="Times New Roman" pitchFamily="18" charset="0"/>
                <a:ea typeface="+mj-ea"/>
                <a:cs typeface="+mj-cs"/>
              </a:rPr>
              <a:t>GÜMRÜK VERGİLERİ </a:t>
            </a:r>
            <a:endParaRPr lang="en-US" sz="3000" b="1" dirty="0">
              <a:solidFill>
                <a:srgbClr val="FF0000"/>
              </a:solidFill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auto">
          <a:xfrm>
            <a:off x="2143108" y="2445732"/>
            <a:ext cx="5429250" cy="55464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>
              <a:spcBef>
                <a:spcPct val="5000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GELİR VERGİSİ %0-38</a:t>
            </a:r>
            <a:endParaRPr lang="en-US" sz="3000" b="1" dirty="0">
              <a:solidFill>
                <a:schemeClr val="tx2"/>
              </a:solidFill>
              <a:latin typeface="Times New Roman" pitchFamily="18" charset="0"/>
              <a:ea typeface="+mj-ea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3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034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034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034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7034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3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034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034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3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9" dur="500"/>
                                        <p:tgtEl>
                                          <p:spTgt spid="7034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3" presetClass="entr" presetSubtype="528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3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034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034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034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034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3490" grpId="0" autoUpdateAnimBg="0"/>
      <p:bldP spid="703491" grpId="0" autoUpdateAnimBg="0"/>
      <p:bldP spid="703492" grpId="0" animBg="1"/>
      <p:bldP spid="703493" grpId="0" animBg="1" autoUpdateAnimBg="0"/>
      <p:bldP spid="7" grpId="0" animBg="1" autoUpdateAnimBg="0"/>
      <p:bldP spid="8" grpId="0" animBg="1" autoUpdateAnimBg="0"/>
      <p:bldP spid="10" grpId="0" animBg="1" autoUpdateAnimBg="0"/>
      <p:bldP spid="11" grpId="0" animBg="1" autoUpdateAnimBg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35497"/>
            <a:ext cx="9144000" cy="671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339" name="Rectangle 2"/>
          <p:cNvSpPr>
            <a:spLocks/>
          </p:cNvSpPr>
          <p:nvPr/>
        </p:nvSpPr>
        <p:spPr bwMode="auto">
          <a:xfrm>
            <a:off x="1115616" y="332656"/>
            <a:ext cx="7000924" cy="649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tr-TR" sz="4000" b="1" dirty="0" smtClean="0">
                <a:solidFill>
                  <a:srgbClr val="000099"/>
                </a:solidFill>
                <a:latin typeface="+mj-lt"/>
              </a:rPr>
              <a:t>TÜRKİYE-FAS İLİŞKİLERİ</a:t>
            </a:r>
            <a:endParaRPr lang="fr-FR" sz="4000" b="1" dirty="0">
              <a:solidFill>
                <a:srgbClr val="000099"/>
              </a:solidFill>
              <a:latin typeface="+mj-lt"/>
            </a:endParaRPr>
          </a:p>
        </p:txBody>
      </p:sp>
      <p:sp>
        <p:nvSpPr>
          <p:cNvPr id="139276" name="AutoShape 12" descr="data:image/jpeg;base64,/9j/4AAQSkZJRgABAQAAAQABAAD/2wCEAAkGBxQSEhUTEhMWFRUXFR0WFRcYGBgWGBcWGBgYGhgXGBcYHSggGBwlHRUWIjEhJSkrLy4uFx8zODMsNygtLisBCgoKDQwOGhAQGjglHyU1NDc3NDg3NzMzNDA3NS8tKzAwNzcsNysxLC00Ny80Nzc3NzI0Lyw3Nyw3NCsrKzcsLP/AABEIAJUBUgMBIgACEQEDEQH/xAAbAAEAAgMBAQAAAAAAAAAAAAAABQYBAwQCB//EADkQAAEDAgUBBgUCBQMFAAAAAAEAAhEDIQQFEjFBUSJhcYGRoQYTMrHwwdEjQlKC8XKS4RQVFjNT/8QAGAEBAAMBAAAAAAAAAAAAAAAAAAIDBAH/xAAdEQEAAgMBAAMAAAAAAAAAAAAAAQIDERIhBDGR/9oADAMBAAIRAxEAPwD7iiIgIiICIo/GZsxjSWlryDEBwH+UEgiq1XP6p2DWjwk+p/Zeqef1RuGHyM+xQWdFXj8Rm0UxPj/wmIzd8RUpiDuA+DHgDI80E2cQ3g6jyGkE+krzTxWqIa4TvIIiPKFV61Vk6muLIIgNaQfXVFuq6qOYMawtJc8n6iRBNoAEO8OevVBN1MWRMAm1hBknmOq5K1eoXdguIOw06Y/u4K48ODUp6Qw65gnst7Pfb6Y45ha8fQFK7KsunVctMkfaL79UHe7A1dMuqOLv6WvLfcqPxz69KD2mg2nXrk98mymssxDnNh4cHDeRA24OxXD8R1wBpNzEgd559ighjmVX/wCjvVa3Yyod3u/3FeaOHc/6Wl3gJUthcgfYuLR3XJHpH3QMjNR7jL3AD85srExsDnzuuXDVqbYYHgknabz06+q7EBczhVk3Zpi1iDPA3PqulRmZ5uKR0jtO57vFBIsBi5krJCrpzqq13abxIBBbb8+ykcNmkiXsLBuHSC31QdleoGiXOIG3W/AAAkr3TqTwR3m3tuoXFZxSJaYcS24ItpPIvY+i018/1At0EAgiZhwnogsajq2YNpuINUT0LSSD4t4UEcYTTgvNjAG5cL3Inj3kdFHoLQzP6fOr0se8XUnSqBwkbeEH0OyogKSgvy1CuJi/+1w9DEFUptdwOoOMjmbrpq5tVcIL7eAH6WQXAFZVMp5nVbtUd53+66aefVQZMEdIj3CC1Iq5/wCRu/oHqVmj8RGe0yfA7eAI/VBYkXBSzamRqOpo72mPUSF3AoMoiICIiAiIgIiICIsQgj83qVQB8uAeeTHcP2UXTyirVh1R3kTePsFZGtA2CygrWKyAtBLXAjobFRFQQSOlldsUYaSdgJPKpddh1GQZlBrWwvbAhviSZn7BeNJ6IG9xQYAVsy/KabADZ56m48hsqrWA1HTMSYneOJXZlON+U65dpuS0bExayCazesKA1MaA9xgGBbafsuGjjKVRoNYAvDoaGiLHqNouovEYh9R0uJceB07gFtp5dVn6COZkCO8njb2QXFjAAALACB4BcGaZWK0HVpIt1H5ut+WVHOpguIceo9vZdSDVhcO2m0NaIA9z1PetqIg1Mw7GkkNaCdyAAfVH12hwaTDjsOsLaVC4yhWAa6Q54dq1TpDRbs3gGUHZmxqaP4W5ME2sOsnZQeW4acRpe0OjeTbjtd9z7rrzHOJaWtDTIh3IB7uo71wtzWqLt0gkySAJI753QYzKiGvcXVC43IsDzEE6rRttwuDUYiTHThbKjybkwSZPC8EdEHlEhZjvCDCL049Pz1WJ7kGEWdKaUGEW2jAMm4E26la9KDC6MFg3VXaWxIE3sFoIXTgsa+iSWxfeRPugkMP8Pv1DWRp50m46bhasXlrBVbSD9PZkuPJLrCOsKUyvNfmDtgC4Fup2noDx3+S25rlgrCRZ4Fj+h7kHvLcB8psai483MeTeF2QvNIWE7wJXtAREQEREBERAREQEREBERBF57j/ls0D6nD0HJVWe4kybkqS+Imn5xJmCBHpwoxAREQSOXYgsbIiSdDQA0uJNySSCYFrd6046kwOOkwBwbk33sIA7iZXGrHkGXCBUe289menWPVBx4DKXvZqnSDt1P7BT9HDdjQ+CIiIt59V0og10KDWCGiBMwNlsREBERBhxi6gs0zGjUpkX1fyyCCLjlTVdhc1wBgkEA9JCq9PCMY8l9RpDHXaASTB2iEHnB5XUcNUNDSLEnoeguvbcASCB9bbPZsQJ3aORsu+rn1MgjQ8jyH62Un8rW5ryBYS23aBI2M+KCoAGRfu3t6qeOT0muaC4SW/STdzuoE7b2W6rlQ01WA6df0EAywxa42AImFVK/wAJ1xLnOYbOcTLibeW53WX5GbLjmOKdNODFjvE93068Xgn03Q/nkXkd37LszXANa1hpMlpEl4JMz1HCr+DwjmODy+eNiZHiT1gqdoZg0UXUnNM3gjqfOytw3veu715n9V5aUpOq224aobaJFu1P9XdHkvLB1E+cCeFgfkr21/CtVPPfAXmeq9PHPC8IMwgb1ssIgy5yN7kab3E93X0Viw2FZiGFwY1hkQQdX0wILdgLbIM5HgHN1l406oAuJ5M224UjhsQXkjS4QYk7G5FvReMNi/4YdUboIMEQbnqBvC05bXL6lQ6XBhiCdiRIJHjb0QSSIiAiIgIiICIiAiLGq8IMoiICIiDgzeiHBmrbXB/uBA8LkHyVTewtJa4QQYPirxVphwLTsRBVd+JcMGlruXCHd5EXQR2DwbqrtLOkkmwAUrT+HDPafbuF5817+FgIf1t6XUszGNNQ0xJLRJ6DulBE5blradYtdDiGhzbQLmNutlPLlqOc06iwEWBLbuAnpFx4ei3NrNJiRMTHMeG43QbEREBERAQotdeppa5wEwCY8Agjc7x4a002ntnpwNz7fdViV6q1C4kkySSSe8rDjdBhu67cHmtSmbHUNtLpIA7ui4oWbIO5ucVQ5zg6xM6TcC+wXQ3NatWWANuNgDNheJPsokBeqNTS4OBMgyEHkuldVLBfMYXMOpzTdkXj+odVszegJbVa0htQavBxkkfneuTC4h1Nwc3f7oPGkjcET1CdymsrxDq1TS9rXj6iXAS3w9BZSWLymm5sNaGkXBAi/fHCCpSs6Oi2YvDOpmHCCRMdJJ6eC106ZcQGiSdgEAs62XkhSuPyl1Nms9ozeOB1UaBInZB4Up8O1SKukbOBnyG/51WqhlT3hpBa0OJA1G9p7r7KbwWUCkHQ7tm2qNh0A/VB31qDXRI2Mj0v5XW1EQEREBERAREQEREBERAREQEREBeK1FrxDgCOhXtEEQ/IWjUWPc0kWvbz5IXLh31cOQ00wdbt5mbgRbx56qwrViKAeIMi8gixBGxQbCJXgUmzMNnYmBP5dRedV6lOn9QOo6bCI5BHfAPKr4xDrFriCBFiQbm9/NBdwFlVfLs3e13bJc0m/UTyPaysGGxtOp9DgY4uD6FB0IiIC0Y4n5b9O+kx6LeiCiOZCxCmM3ywtcXsbLTwBsSOR0J9FxUsDVJHYdfugeaDkc1Yi35+f4XVjMvfTPaHEyLiBvK5psgxwsL3HEQFhougkcFigabqLrzJZ0DosPX7r3g8kqOgvOge58ht5qKEg96lsnpuq1QXOcQztGSTf+UX77+SCwYTCspiGCOvU+JW9EQQXxPhpDag47J8DsfWfVbfhzCNDBU/mMi/ABIt6KUxFEPa5p2Ij/laMDRNOWR2ABoPJ/qnzv5oOiqwEEHYiPWyrWZ5WWOApgkaZPJsQD9wfNWhcWJxTWnXqBDOy8C5EkQfUDyQReQYztCmbi5aSLtMXju3VgeLFaMNhmNJewDtXkRsQNug580xOJa0ta43cYEX/Bx5oPOAsxrHTqDbzuepXUuSpTcKjS0CCe0eYj/HoutAREQEREBERAREQEREBERAREQEREAoiIKvn+KLqhYZDW7d5jf9lFgR9lJfEGELKmqZD7+B5H2Ua724QNa6cuxGioHbRxa88X8VyIgueFzKnU2dHcbH33XWCqCp34arvLi2SWBvoZEX9bILCiIgIiIPFc9kwJMGB1MKkAxxH7fn3V6VV+IKQbVts4atubj9EEWunD0ZBJcGgDV/qO0Bc5C2OEhoG4Bkd0zPv7INmBwrqjtA8zwBO6t2DwraTdLRbnqT1KiPhZwh45t4xf8APNTyAiIgIiICis6oHSajdwIeOHM5B+/qpVEEbh8VNCaRBc1tgbxHHoD7KFy1z6lcOJuJc4noLc8XjzU/Twppz8oN0kklpkdruImBYWhbqT3buZDtrEH33Qa8JifmDUD2f9Mfr+glev8AqgC1pvqtqERqAuDeyUGtaAGtNwOmwAEnyAW2pSDhBAI7xKDxQxbH2a8EjgG/ot8quYzJXfM/hiGk2v8ATHPVSeC1kaKjjqbYwLPbwdW579kEgi8Ex4L2gIiICIiAiIgIiICIiAiIgIiIObMcIKtMt53B6EbfneqliMI+nIeI6dDfgiyuyifiVv8ACH+se4KCsbrC9eHusOHKDCt2RUwKLYETc952n2Cr2ByupVEtADepsD4dVbaFIMaGjYAD0QbEREBERAVTz+sXViOG2HoCfdWxVz4nw4DmvH8wg+Wx9/ZBDgGLA+690nw4G0jy/Oi01HhokmABJPA5K05Ljm13wxjjDmyCN2k93FlGbRE6Rm9YmI37KyfDdBwc55B0lsAm0349F2UMz+bWDKf0gEuJ54EeZC765LWOLRcNMDwFgon4Zw0Nc8j6jA8Bz6n2Ukk2iIgIiICIiAiKsYzPnkkMho4tJ99kEnmOctpkNA1Ge1fYfuof/urnVdRc5rNWw/p/Xb7qNcZMm5O6ILNmGaND6WghwmTB4I0j7n0UwqCrbkeN+ZTuZc2zu/ofzogkViVleWA83QZc4DdZREBERAREQEREBERAREQEREBRnxC0/Jtw4H88yFJrhzsH5L47j5BwJQU9bA0mANyf8LWVYsjy4jtVGC0Fhm/sfuglMvw5p02sJkgX8d/1XQiICIiAiIgKL+JKBdQe5olzAXtBtMC48xPnClFhzQQQRINiOoXJ+nJ9h8MxWLNR2pxgXtwATJAX0f4Cyd1Jr6pLg1//AK2OAB027bu8xYcDxU5hshw1ONFCkCNjoBI/uN1IrPiwTW3Vp9ZcPxppbq07kREWlrEREBERAREQYdsqEr5UYHAg7EQVooYCmyNLG22MSfU3QVJmAqkSKbo8Pt1XOQr8oLOMqc4t+W0czcC5Mygrys/w5hSxhcba4gdwmD5yufKskIcHVYgXDZm/fwp9ARFy4XFa3PAB0gwHEQJG4HO8oOpERAREQEREBERAREQEREBERAXiqwOBBuCIK9ogptNgbXAkNGu5dYASZme77q4hRGYZVLxUaJuC5vWFJ0q2oS33BEHvQbUREBFiVlAREQEREBERAREQEREBERAREQEREBacVhw8AEkCZsYmOJW5EGAFrxNUtbLWlx4Age52C2og5adBziHVDtcMbZoPef5j7dy6WtiwsFlEBERAREQEREBERAREQEREBERAREQEREBERAREQEREBERAREQEREBERAREQEREBERAREQEREBERAREQEREH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139278" name="AutoShape 14" descr="data:image/jpeg;base64,/9j/4AAQSkZJRgABAQAAAQABAAD/2wCEAAkGBxQSEhUTEhMWFRUXFR0WFRcYGBgWGBcWGBgYGhgXGBcYHSggGBwlHRUWIjEhJSkrLy4uFx8zODMsNygtLisBCgoKDQwOGhAQGjglHyU1NDc3NDg3NzMzNDA3NS8tKzAwNzcsNysxLC00Ny80Nzc3NzI0Lyw3Nyw3NCsrKzcsLP/AABEIAJUBUgMBIgACEQEDEQH/xAAbAAEAAgMBAQAAAAAAAAAAAAAABQYBAwQCB//EADkQAAEDAgUBBgUCBQMFAAAAAAEAAhEDIQQFEjFBUSJhcYGRoQYTMrHwwdEjQlKC8XKS4RQVFjNT/8QAGAEBAAMBAAAAAAAAAAAAAAAAAAIDBAH/xAAdEQEAAgMBAAMAAAAAAAAAAAAAAQIDERIhBDGR/9oADAMBAAIRAxEAPwD7iiIgIiICIo/GZsxjSWlryDEBwH+UEgiq1XP6p2DWjwk+p/Zeqef1RuGHyM+xQWdFXj8Rm0UxPj/wmIzd8RUpiDuA+DHgDI80E2cQ3g6jyGkE+krzTxWqIa4TvIIiPKFV61Vk6muLIIgNaQfXVFuq6qOYMawtJc8n6iRBNoAEO8OevVBN1MWRMAm1hBknmOq5K1eoXdguIOw06Y/u4K48ODUp6Qw65gnst7Pfb6Y45ha8fQFK7KsunVctMkfaL79UHe7A1dMuqOLv6WvLfcqPxz69KD2mg2nXrk98mymssxDnNh4cHDeRA24OxXD8R1wBpNzEgd559ighjmVX/wCjvVa3Yyod3u/3FeaOHc/6Wl3gJUthcgfYuLR3XJHpH3QMjNR7jL3AD85srExsDnzuuXDVqbYYHgknabz06+q7EBczhVk3Zpi1iDPA3PqulRmZ5uKR0jtO57vFBIsBi5krJCrpzqq13abxIBBbb8+ykcNmkiXsLBuHSC31QdleoGiXOIG3W/AAAkr3TqTwR3m3tuoXFZxSJaYcS24ItpPIvY+i018/1At0EAgiZhwnogsajq2YNpuINUT0LSSD4t4UEcYTTgvNjAG5cL3Inj3kdFHoLQzP6fOr0se8XUnSqBwkbeEH0OyogKSgvy1CuJi/+1w9DEFUptdwOoOMjmbrpq5tVcIL7eAH6WQXAFZVMp5nVbtUd53+66aefVQZMEdIj3CC1Iq5/wCRu/oHqVmj8RGe0yfA7eAI/VBYkXBSzamRqOpo72mPUSF3AoMoiICIiAiIgIiICIsQgj83qVQB8uAeeTHcP2UXTyirVh1R3kTePsFZGtA2CygrWKyAtBLXAjobFRFQQSOlldsUYaSdgJPKpddh1GQZlBrWwvbAhviSZn7BeNJ6IG9xQYAVsy/KabADZ56m48hsqrWA1HTMSYneOJXZlON+U65dpuS0bExayCazesKA1MaA9xgGBbafsuGjjKVRoNYAvDoaGiLHqNouovEYh9R0uJceB07gFtp5dVn6COZkCO8njb2QXFjAAALACB4BcGaZWK0HVpIt1H5ut+WVHOpguIceo9vZdSDVhcO2m0NaIA9z1PetqIg1Mw7GkkNaCdyAAfVH12hwaTDjsOsLaVC4yhWAa6Q54dq1TpDRbs3gGUHZmxqaP4W5ME2sOsnZQeW4acRpe0OjeTbjtd9z7rrzHOJaWtDTIh3IB7uo71wtzWqLt0gkySAJI753QYzKiGvcXVC43IsDzEE6rRttwuDUYiTHThbKjybkwSZPC8EdEHlEhZjvCDCL049Pz1WJ7kGEWdKaUGEW2jAMm4E26la9KDC6MFg3VXaWxIE3sFoIXTgsa+iSWxfeRPugkMP8Pv1DWRp50m46bhasXlrBVbSD9PZkuPJLrCOsKUyvNfmDtgC4Fup2noDx3+S25rlgrCRZ4Fj+h7kHvLcB8psai483MeTeF2QvNIWE7wJXtAREQEREBERAREQEREBERBF57j/ls0D6nD0HJVWe4kybkqS+Imn5xJmCBHpwoxAREQSOXYgsbIiSdDQA0uJNySSCYFrd6046kwOOkwBwbk33sIA7iZXGrHkGXCBUe289menWPVBx4DKXvZqnSDt1P7BT9HDdjQ+CIiIt59V0og10KDWCGiBMwNlsREBERBhxi6gs0zGjUpkX1fyyCCLjlTVdhc1wBgkEA9JCq9PCMY8l9RpDHXaASTB2iEHnB5XUcNUNDSLEnoeguvbcASCB9bbPZsQJ3aORsu+rn1MgjQ8jyH62Un8rW5ryBYS23aBI2M+KCoAGRfu3t6qeOT0muaC4SW/STdzuoE7b2W6rlQ01WA6df0EAywxa42AImFVK/wAJ1xLnOYbOcTLibeW53WX5GbLjmOKdNODFjvE93068Xgn03Q/nkXkd37LszXANa1hpMlpEl4JMz1HCr+DwjmODy+eNiZHiT1gqdoZg0UXUnNM3gjqfOytw3veu715n9V5aUpOq224aobaJFu1P9XdHkvLB1E+cCeFgfkr21/CtVPPfAXmeq9PHPC8IMwgb1ssIgy5yN7kab3E93X0Viw2FZiGFwY1hkQQdX0wILdgLbIM5HgHN1l406oAuJ5M224UjhsQXkjS4QYk7G5FvReMNi/4YdUboIMEQbnqBvC05bXL6lQ6XBhiCdiRIJHjb0QSSIiAiIgIiICIiAiLGq8IMoiICIiDgzeiHBmrbXB/uBA8LkHyVTewtJa4QQYPirxVphwLTsRBVd+JcMGlruXCHd5EXQR2DwbqrtLOkkmwAUrT+HDPafbuF5817+FgIf1t6XUszGNNQ0xJLRJ6DulBE5blradYtdDiGhzbQLmNutlPLlqOc06iwEWBLbuAnpFx4ei3NrNJiRMTHMeG43QbEREBERAQotdeppa5wEwCY8Agjc7x4a002ntnpwNz7fdViV6q1C4kkySSSe8rDjdBhu67cHmtSmbHUNtLpIA7ui4oWbIO5ucVQ5zg6xM6TcC+wXQ3NatWWANuNgDNheJPsokBeqNTS4OBMgyEHkuldVLBfMYXMOpzTdkXj+odVszegJbVa0htQavBxkkfneuTC4h1Nwc3f7oPGkjcET1CdymsrxDq1TS9rXj6iXAS3w9BZSWLymm5sNaGkXBAi/fHCCpSs6Oi2YvDOpmHCCRMdJJ6eC106ZcQGiSdgEAs62XkhSuPyl1Nms9ozeOB1UaBInZB4Up8O1SKukbOBnyG/51WqhlT3hpBa0OJA1G9p7r7KbwWUCkHQ7tm2qNh0A/VB31qDXRI2Mj0v5XW1EQEREBERAREQEREBERAREQEREBeK1FrxDgCOhXtEEQ/IWjUWPc0kWvbz5IXLh31cOQ00wdbt5mbgRbx56qwrViKAeIMi8gixBGxQbCJXgUmzMNnYmBP5dRedV6lOn9QOo6bCI5BHfAPKr4xDrFriCBFiQbm9/NBdwFlVfLs3e13bJc0m/UTyPaysGGxtOp9DgY4uD6FB0IiIC0Y4n5b9O+kx6LeiCiOZCxCmM3ywtcXsbLTwBsSOR0J9FxUsDVJHYdfugeaDkc1Yi35+f4XVjMvfTPaHEyLiBvK5psgxwsL3HEQFhougkcFigabqLrzJZ0DosPX7r3g8kqOgvOge58ht5qKEg96lsnpuq1QXOcQztGSTf+UX77+SCwYTCspiGCOvU+JW9EQQXxPhpDag47J8DsfWfVbfhzCNDBU/mMi/ABIt6KUxFEPa5p2Ij/laMDRNOWR2ABoPJ/qnzv5oOiqwEEHYiPWyrWZ5WWOApgkaZPJsQD9wfNWhcWJxTWnXqBDOy8C5EkQfUDyQReQYztCmbi5aSLtMXju3VgeLFaMNhmNJewDtXkRsQNug580xOJa0ta43cYEX/Bx5oPOAsxrHTqDbzuepXUuSpTcKjS0CCe0eYj/HoutAREQEREBERAREQEREBERAREQEREAoiIKvn+KLqhYZDW7d5jf9lFgR9lJfEGELKmqZD7+B5H2Ua724QNa6cuxGioHbRxa88X8VyIgueFzKnU2dHcbH33XWCqCp34arvLi2SWBvoZEX9bILCiIgIiIPFc9kwJMGB1MKkAxxH7fn3V6VV+IKQbVts4atubj9EEWunD0ZBJcGgDV/qO0Bc5C2OEhoG4Bkd0zPv7INmBwrqjtA8zwBO6t2DwraTdLRbnqT1KiPhZwh45t4xf8APNTyAiIgIiICis6oHSajdwIeOHM5B+/qpVEEbh8VNCaRBc1tgbxHHoD7KFy1z6lcOJuJc4noLc8XjzU/Twppz8oN0kklpkdruImBYWhbqT3buZDtrEH33Qa8JifmDUD2f9Mfr+glev8AqgC1pvqtqERqAuDeyUGtaAGtNwOmwAEnyAW2pSDhBAI7xKDxQxbH2a8EjgG/ot8quYzJXfM/hiGk2v8ATHPVSeC1kaKjjqbYwLPbwdW579kEgi8Ex4L2gIiICIiAiIgIiICIiAiIgIiIObMcIKtMt53B6EbfneqliMI+nIeI6dDfgiyuyifiVv8ACH+se4KCsbrC9eHusOHKDCt2RUwKLYETc952n2Cr2ByupVEtADepsD4dVbaFIMaGjYAD0QbEREBERAVTz+sXViOG2HoCfdWxVz4nw4DmvH8wg+Wx9/ZBDgGLA+690nw4G0jy/Oi01HhokmABJPA5K05Ljm13wxjjDmyCN2k93FlGbRE6Rm9YmI37KyfDdBwc55B0lsAm0349F2UMz+bWDKf0gEuJ54EeZC765LWOLRcNMDwFgon4Zw0Nc8j6jA8Bz6n2Ukk2iIgIiICIiAiKsYzPnkkMho4tJ99kEnmOctpkNA1Ge1fYfuof/urnVdRc5rNWw/p/Xb7qNcZMm5O6ILNmGaND6WghwmTB4I0j7n0UwqCrbkeN+ZTuZc2zu/ofzogkViVleWA83QZc4DdZREBERAREQEREBERAREQEREBRnxC0/Jtw4H88yFJrhzsH5L47j5BwJQU9bA0mANyf8LWVYsjy4jtVGC0Fhm/sfuglMvw5p02sJkgX8d/1XQiICIiAiIgKL+JKBdQe5olzAXtBtMC48xPnClFhzQQQRINiOoXJ+nJ9h8MxWLNR2pxgXtwATJAX0f4Cyd1Jr6pLg1//AK2OAB027bu8xYcDxU5hshw1ONFCkCNjoBI/uN1IrPiwTW3Vp9ZcPxppbq07kREWlrEREBERAREQYdsqEr5UYHAg7EQVooYCmyNLG22MSfU3QVJmAqkSKbo8Pt1XOQr8oLOMqc4t+W0czcC5Mygrys/w5hSxhcba4gdwmD5yufKskIcHVYgXDZm/fwp9ARFy4XFa3PAB0gwHEQJG4HO8oOpERAREQEREBERAREQEREBERAXiqwOBBuCIK9ogptNgbXAkNGu5dYASZme77q4hRGYZVLxUaJuC5vWFJ0q2oS33BEHvQbUREBFiVlAREQEREBERAREQEREBERAREQEREBacVhw8AEkCZsYmOJW5EGAFrxNUtbLWlx4Age52C2og5adBziHVDtcMbZoPef5j7dy6WtiwsFlEBERAREQEREBERAREQEREBERAREQEREBERAREQEREBERAREQEREBERAREQEREBERAREQEREBERAREQEREH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394" name="Rectangle 2"/>
          <p:cNvSpPr>
            <a:spLocks noChangeArrowheads="1"/>
          </p:cNvSpPr>
          <p:nvPr/>
        </p:nvSpPr>
        <p:spPr bwMode="auto">
          <a:xfrm>
            <a:off x="304800" y="116632"/>
            <a:ext cx="8839200" cy="50783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tr-TR" sz="2700" b="1" dirty="0" smtClean="0">
                <a:solidFill>
                  <a:srgbClr val="FFFF66"/>
                </a:solidFill>
              </a:rPr>
              <a:t>TÜRKİYE-FAS İLİŞKİLERİ YASAL </a:t>
            </a:r>
            <a:r>
              <a:rPr lang="tr-TR" sz="2700" b="1" dirty="0">
                <a:solidFill>
                  <a:srgbClr val="FFFF66"/>
                </a:solidFill>
              </a:rPr>
              <a:t>ÇERÇEVESİ</a:t>
            </a:r>
          </a:p>
        </p:txBody>
      </p:sp>
      <p:sp>
        <p:nvSpPr>
          <p:cNvPr id="571395" name="Rectangle 3"/>
          <p:cNvSpPr>
            <a:spLocks noChangeArrowheads="1"/>
          </p:cNvSpPr>
          <p:nvPr/>
        </p:nvSpPr>
        <p:spPr bwMode="auto">
          <a:xfrm>
            <a:off x="0" y="928670"/>
            <a:ext cx="9144000" cy="390876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endParaRPr lang="tr-TR" sz="2000" b="1" u="sng" dirty="0" smtClean="0">
              <a:solidFill>
                <a:srgbClr val="FFFF00"/>
              </a:solidFill>
            </a:endParaRPr>
          </a:p>
          <a:p>
            <a:pPr algn="just">
              <a:buFont typeface="Monotype Sorts" pitchFamily="2" charset="2"/>
              <a:buNone/>
            </a:pPr>
            <a:endParaRPr lang="tr-TR" sz="2000" b="1" dirty="0" smtClean="0">
              <a:solidFill>
                <a:srgbClr val="FFFF66"/>
              </a:solidFill>
              <a:latin typeface="Arial Unicode MS" pitchFamily="34" charset="-128"/>
            </a:endParaRPr>
          </a:p>
          <a:p>
            <a:pPr algn="just">
              <a:buFont typeface="Monotype Sorts" pitchFamily="2" charset="2"/>
              <a:buChar char="F"/>
            </a:pPr>
            <a:r>
              <a:rPr lang="tr-TR" sz="2200" b="1" dirty="0" smtClean="0">
                <a:solidFill>
                  <a:srgbClr val="FFFF66"/>
                </a:solidFill>
              </a:rPr>
              <a:t> </a:t>
            </a:r>
            <a:r>
              <a:rPr lang="tr-TR" sz="2600" b="1" dirty="0" smtClean="0">
                <a:solidFill>
                  <a:srgbClr val="FFFF66"/>
                </a:solidFill>
              </a:rPr>
              <a:t>Ticaret Anlaşması</a:t>
            </a:r>
          </a:p>
          <a:p>
            <a:pPr algn="just">
              <a:buFont typeface="Monotype Sorts" pitchFamily="2" charset="2"/>
              <a:buChar char="F"/>
            </a:pPr>
            <a:r>
              <a:rPr lang="tr-TR" sz="2600" b="1" dirty="0" smtClean="0">
                <a:solidFill>
                  <a:srgbClr val="FFFF66"/>
                </a:solidFill>
              </a:rPr>
              <a:t> Gümrük İşbirliği Anlaşması</a:t>
            </a:r>
          </a:p>
          <a:p>
            <a:pPr algn="just">
              <a:buFont typeface="Monotype Sorts" pitchFamily="2" charset="2"/>
              <a:buChar char="F"/>
            </a:pPr>
            <a:r>
              <a:rPr lang="tr-TR" sz="2600" b="1" dirty="0" smtClean="0">
                <a:solidFill>
                  <a:srgbClr val="FFFF66"/>
                </a:solidFill>
              </a:rPr>
              <a:t> Hava-Deniz-Kara Taşımacılığı Anlaşması</a:t>
            </a:r>
          </a:p>
          <a:p>
            <a:pPr algn="just">
              <a:buFont typeface="Monotype Sorts" pitchFamily="2" charset="2"/>
              <a:buChar char="F"/>
            </a:pPr>
            <a:r>
              <a:rPr lang="tr-TR" sz="2600" b="1" dirty="0" smtClean="0">
                <a:solidFill>
                  <a:srgbClr val="FFFF66"/>
                </a:solidFill>
              </a:rPr>
              <a:t> Turizm İşbirliği Anlaşması</a:t>
            </a:r>
          </a:p>
          <a:p>
            <a:pPr algn="just">
              <a:buFont typeface="Monotype Sorts" pitchFamily="2" charset="2"/>
              <a:buChar char="F"/>
            </a:pPr>
            <a:r>
              <a:rPr lang="tr-TR" sz="2600" b="1" dirty="0" smtClean="0">
                <a:solidFill>
                  <a:srgbClr val="FFFF66"/>
                </a:solidFill>
              </a:rPr>
              <a:t> Ekonomik, Ticari ve Teknik İşbirliği Anlaşması</a:t>
            </a:r>
          </a:p>
          <a:p>
            <a:pPr algn="just">
              <a:buFont typeface="Monotype Sorts" pitchFamily="2" charset="2"/>
              <a:buChar char="F"/>
            </a:pPr>
            <a:r>
              <a:rPr lang="tr-TR" sz="2600" b="1" dirty="0" smtClean="0">
                <a:solidFill>
                  <a:srgbClr val="FFFF66"/>
                </a:solidFill>
              </a:rPr>
              <a:t> Yatırımların Karşılıklı Teşviki ve Korunması Anlaşması</a:t>
            </a:r>
          </a:p>
          <a:p>
            <a:pPr algn="just">
              <a:buFont typeface="Monotype Sorts" pitchFamily="2" charset="2"/>
              <a:buChar char="F"/>
            </a:pPr>
            <a:r>
              <a:rPr lang="tr-TR" sz="2600" b="1" dirty="0" smtClean="0">
                <a:solidFill>
                  <a:srgbClr val="FFFF66"/>
                </a:solidFill>
              </a:rPr>
              <a:t> Çifte Vergilendirmenin Önlenmesi Anlaşması (ÇVÖA)</a:t>
            </a:r>
          </a:p>
          <a:p>
            <a:pPr algn="just">
              <a:buFont typeface="Monotype Sorts" pitchFamily="2" charset="2"/>
              <a:buChar char="F"/>
            </a:pPr>
            <a:r>
              <a:rPr lang="tr-TR" sz="2600" b="1" dirty="0" smtClean="0">
                <a:solidFill>
                  <a:srgbClr val="FFFF66"/>
                </a:solidFill>
              </a:rPr>
              <a:t> Serbest Ticaret Anlaşması</a:t>
            </a:r>
          </a:p>
        </p:txBody>
      </p:sp>
      <p:sp>
        <p:nvSpPr>
          <p:cNvPr id="571397" name="Rectangle 5"/>
          <p:cNvSpPr>
            <a:spLocks noChangeArrowheads="1"/>
          </p:cNvSpPr>
          <p:nvPr/>
        </p:nvSpPr>
        <p:spPr bwMode="auto">
          <a:xfrm>
            <a:off x="0" y="811883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1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71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1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713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713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1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71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1394" grpId="0" autoUpdateAnimBg="0"/>
      <p:bldP spid="571395" grpId="0" autoUpdateAnimBg="0"/>
      <p:bldP spid="571397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A56A22-D8AF-43B8-9BA7-414496CA5652}" type="slidenum">
              <a:rPr lang="en-US"/>
              <a:pPr/>
              <a:t>48</a:t>
            </a:fld>
            <a:endParaRPr lang="en-US"/>
          </a:p>
        </p:txBody>
      </p:sp>
      <p:sp>
        <p:nvSpPr>
          <p:cNvPr id="615428" name="Text Box 4"/>
          <p:cNvSpPr txBox="1">
            <a:spLocks noChangeArrowheads="1"/>
          </p:cNvSpPr>
          <p:nvPr/>
        </p:nvSpPr>
        <p:spPr bwMode="auto">
          <a:xfrm>
            <a:off x="179512" y="339725"/>
            <a:ext cx="8784976" cy="553998"/>
          </a:xfrm>
          <a:prstGeom prst="rect">
            <a:avLst/>
          </a:prstGeom>
          <a:noFill/>
          <a:ln w="9525">
            <a:solidFill>
              <a:srgbClr val="FFFF66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tr-TR" sz="3000" b="1" dirty="0" smtClean="0">
                <a:solidFill>
                  <a:srgbClr val="FFFF66"/>
                </a:solidFill>
                <a:latin typeface="+mn-lt"/>
              </a:rPr>
              <a:t>TÜRKİYE-FAS  TİCARETİ (Milyon $)</a:t>
            </a:r>
            <a:endParaRPr lang="en-US" sz="2800" b="1" dirty="0">
              <a:solidFill>
                <a:srgbClr val="FFFF66"/>
              </a:solidFill>
              <a:latin typeface="Arial Unicode MS" pitchFamily="34" charset="-128"/>
            </a:endParaRPr>
          </a:p>
        </p:txBody>
      </p:sp>
      <p:graphicFrame>
        <p:nvGraphicFramePr>
          <p:cNvPr id="8" name="Chart Placeholder 7"/>
          <p:cNvGraphicFramePr>
            <a:graphicFrameLocks noGrp="1"/>
          </p:cNvGraphicFramePr>
          <p:nvPr>
            <p:ph type="chart" idx="1"/>
            <p:extLst>
              <p:ext uri="{D42A27DB-BD31-4B8C-83A1-F6EECF244321}">
                <p14:modId xmlns:p14="http://schemas.microsoft.com/office/powerpoint/2010/main" val="55379226"/>
              </p:ext>
            </p:extLst>
          </p:nvPr>
        </p:nvGraphicFramePr>
        <p:xfrm>
          <a:off x="0" y="1052736"/>
          <a:ext cx="8853736" cy="5472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428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15428">
                                            <p:txEl>
                                              <p:charRg st="4294967295" end="429496729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5428" grpId="0" autoUpdateAnimBg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/>
          </p:cNvSpPr>
          <p:nvPr>
            <p:ph type="title" idx="4294967295"/>
          </p:nvPr>
        </p:nvSpPr>
        <p:spPr>
          <a:xfrm>
            <a:off x="0" y="142875"/>
            <a:ext cx="9144000" cy="11430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tr-TR" sz="3800" b="1" dirty="0" smtClean="0">
                <a:solidFill>
                  <a:srgbClr val="FFFF00"/>
                </a:solidFill>
              </a:rPr>
              <a:t>Türkiye-Fas Dış Ticarette </a:t>
            </a:r>
            <a:br>
              <a:rPr lang="tr-TR" sz="3800" b="1" dirty="0" smtClean="0">
                <a:solidFill>
                  <a:srgbClr val="FFFF00"/>
                </a:solidFill>
              </a:rPr>
            </a:br>
            <a:r>
              <a:rPr lang="tr-TR" sz="3800" b="1" dirty="0" smtClean="0">
                <a:solidFill>
                  <a:srgbClr val="FFFF00"/>
                </a:solidFill>
              </a:rPr>
              <a:t>Belli Başlı Mallar</a:t>
            </a:r>
            <a:endParaRPr lang="fr-FR" sz="3800" b="1" dirty="0" smtClean="0">
              <a:solidFill>
                <a:srgbClr val="FFFF00"/>
              </a:solidFill>
            </a:endParaRPr>
          </a:p>
        </p:txBody>
      </p:sp>
      <p:graphicFrame>
        <p:nvGraphicFramePr>
          <p:cNvPr id="5" name="Grafik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6107776"/>
              </p:ext>
            </p:extLst>
          </p:nvPr>
        </p:nvGraphicFramePr>
        <p:xfrm>
          <a:off x="107504" y="1700808"/>
          <a:ext cx="4032448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Grafik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5645079"/>
              </p:ext>
            </p:extLst>
          </p:nvPr>
        </p:nvGraphicFramePr>
        <p:xfrm>
          <a:off x="4562214" y="1556792"/>
          <a:ext cx="4572000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Rectangle 3"/>
          <p:cNvSpPr/>
          <p:nvPr/>
        </p:nvSpPr>
        <p:spPr>
          <a:xfrm>
            <a:off x="3069" y="1408420"/>
            <a:ext cx="39208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000" b="1" u="sng" dirty="0" smtClean="0">
                <a:solidFill>
                  <a:schemeClr val="bg1"/>
                </a:solidFill>
              </a:rPr>
              <a:t>İTHALATIMIZ</a:t>
            </a:r>
            <a:endParaRPr lang="fr-FR" sz="3200" u="sng" dirty="0">
              <a:solidFill>
                <a:schemeClr val="bg1"/>
              </a:solidFill>
            </a:endParaRPr>
          </a:p>
        </p:txBody>
      </p:sp>
      <p:sp>
        <p:nvSpPr>
          <p:cNvPr id="8" name="Rectangle 3"/>
          <p:cNvSpPr/>
          <p:nvPr/>
        </p:nvSpPr>
        <p:spPr>
          <a:xfrm>
            <a:off x="4644008" y="1420526"/>
            <a:ext cx="425148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3200" b="1" u="sng" dirty="0" smtClean="0">
                <a:solidFill>
                  <a:schemeClr val="bg1"/>
                </a:solidFill>
              </a:rPr>
              <a:t>İHRACATIMIZ </a:t>
            </a:r>
            <a:endParaRPr lang="fr-FR" sz="3200" u="sng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754" name="Rectangle 2"/>
          <p:cNvSpPr>
            <a:spLocks noChangeArrowheads="1"/>
          </p:cNvSpPr>
          <p:nvPr/>
        </p:nvSpPr>
        <p:spPr bwMode="auto">
          <a:xfrm>
            <a:off x="323850" y="333375"/>
            <a:ext cx="8610600" cy="57943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ctr"/>
            <a:r>
              <a:rPr lang="tr-TR" sz="3200" b="1" dirty="0">
                <a:solidFill>
                  <a:schemeClr val="bg1"/>
                </a:solidFill>
              </a:rPr>
              <a:t>DEMOGRAFİK YAPI</a:t>
            </a:r>
          </a:p>
        </p:txBody>
      </p:sp>
      <p:sp>
        <p:nvSpPr>
          <p:cNvPr id="586755" name="Rectangle 3"/>
          <p:cNvSpPr>
            <a:spLocks noChangeArrowheads="1"/>
          </p:cNvSpPr>
          <p:nvPr/>
        </p:nvSpPr>
        <p:spPr bwMode="auto">
          <a:xfrm>
            <a:off x="251520" y="1056793"/>
            <a:ext cx="8610600" cy="532453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just">
              <a:buFont typeface="Monotype Sorts" pitchFamily="2" charset="2"/>
              <a:buBlip>
                <a:blip r:embed="rId3"/>
              </a:buBlip>
            </a:pPr>
            <a:endParaRPr lang="tr-TR" sz="1000" b="1" dirty="0">
              <a:solidFill>
                <a:srgbClr val="FFFF66"/>
              </a:solidFill>
              <a:latin typeface="Arial Unicode MS" pitchFamily="34" charset="-128"/>
            </a:endParaRPr>
          </a:p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sz="2400" b="1" dirty="0">
                <a:solidFill>
                  <a:srgbClr val="FFFF66"/>
                </a:solidFill>
              </a:rPr>
              <a:t> NÜFUS ARTIŞ HIZI YÜKSEK BİR ÜLKE</a:t>
            </a:r>
          </a:p>
          <a:p>
            <a:pPr algn="just">
              <a:buFont typeface="Monotype Sorts" pitchFamily="2" charset="2"/>
              <a:buNone/>
            </a:pPr>
            <a:r>
              <a:rPr lang="tr-TR" sz="2400" b="1" dirty="0">
                <a:solidFill>
                  <a:schemeClr val="bg1"/>
                </a:solidFill>
              </a:rPr>
              <a:t>	Yıllık nüfus artış hızı: </a:t>
            </a:r>
            <a:r>
              <a:rPr lang="tr-TR" sz="2400" b="1" dirty="0" smtClean="0">
                <a:solidFill>
                  <a:schemeClr val="bg1"/>
                </a:solidFill>
              </a:rPr>
              <a:t>%</a:t>
            </a:r>
            <a:r>
              <a:rPr lang="tr-TR" sz="2400" b="1" dirty="0">
                <a:solidFill>
                  <a:schemeClr val="bg1"/>
                </a:solidFill>
              </a:rPr>
              <a:t>1</a:t>
            </a:r>
            <a:r>
              <a:rPr lang="tr-TR" sz="2400" b="1" dirty="0" smtClean="0">
                <a:solidFill>
                  <a:schemeClr val="bg1"/>
                </a:solidFill>
              </a:rPr>
              <a:t> </a:t>
            </a:r>
            <a:endParaRPr lang="tr-TR" sz="2400" b="1" dirty="0">
              <a:solidFill>
                <a:schemeClr val="bg1"/>
              </a:solidFill>
            </a:endParaRPr>
          </a:p>
          <a:p>
            <a:pPr algn="just">
              <a:buFont typeface="Monotype Sorts" pitchFamily="2" charset="2"/>
              <a:buNone/>
            </a:pPr>
            <a:endParaRPr lang="tr-TR" b="1" dirty="0">
              <a:solidFill>
                <a:schemeClr val="bg1"/>
              </a:solidFill>
            </a:endParaRPr>
          </a:p>
          <a:p>
            <a:pPr algn="just"/>
            <a:r>
              <a:rPr lang="tr-TR" sz="2400" b="1" dirty="0" smtClean="0">
                <a:solidFill>
                  <a:schemeClr val="bg1"/>
                </a:solidFill>
              </a:rPr>
              <a:t>  </a:t>
            </a:r>
            <a:r>
              <a:rPr lang="tr-TR" sz="2400" b="1" dirty="0">
                <a:solidFill>
                  <a:srgbClr val="FFFF66"/>
                </a:solidFill>
              </a:rPr>
              <a:t>GENÇ BİR </a:t>
            </a:r>
            <a:r>
              <a:rPr lang="tr-TR" sz="2400" b="1" dirty="0" smtClean="0">
                <a:solidFill>
                  <a:srgbClr val="FFFF66"/>
                </a:solidFill>
              </a:rPr>
              <a:t>ÜLKE</a:t>
            </a:r>
          </a:p>
          <a:p>
            <a:pPr algn="just">
              <a:buFont typeface="Monotype Sorts" pitchFamily="2" charset="2"/>
              <a:buNone/>
            </a:pPr>
            <a:r>
              <a:rPr lang="tr-TR" sz="2400" b="1" dirty="0" smtClean="0">
                <a:solidFill>
                  <a:schemeClr val="bg1"/>
                </a:solidFill>
              </a:rPr>
              <a:t>        - </a:t>
            </a:r>
            <a:r>
              <a:rPr lang="tr-TR" sz="2400" b="1" dirty="0">
                <a:solidFill>
                  <a:schemeClr val="bg1"/>
                </a:solidFill>
              </a:rPr>
              <a:t>Ortalama Yaş	   : </a:t>
            </a:r>
            <a:r>
              <a:rPr lang="tr-TR" sz="2400" b="1" dirty="0" smtClean="0">
                <a:solidFill>
                  <a:schemeClr val="bg1"/>
                </a:solidFill>
              </a:rPr>
              <a:t>29,7</a:t>
            </a:r>
          </a:p>
          <a:p>
            <a:pPr algn="just">
              <a:buFont typeface="Monotype Sorts" pitchFamily="2" charset="2"/>
              <a:buNone/>
            </a:pPr>
            <a:r>
              <a:rPr lang="tr-TR" sz="2400" b="1" dirty="0" smtClean="0">
                <a:solidFill>
                  <a:schemeClr val="bg1"/>
                </a:solidFill>
              </a:rPr>
              <a:t>        </a:t>
            </a:r>
            <a:r>
              <a:rPr lang="tr-TR" sz="2400" b="1" dirty="0">
                <a:solidFill>
                  <a:schemeClr val="bg1"/>
                </a:solidFill>
              </a:rPr>
              <a:t>- 15 yaş </a:t>
            </a:r>
            <a:r>
              <a:rPr lang="tr-TR" sz="2400" b="1" dirty="0" smtClean="0">
                <a:solidFill>
                  <a:schemeClr val="bg1"/>
                </a:solidFill>
              </a:rPr>
              <a:t>altı </a:t>
            </a:r>
            <a:r>
              <a:rPr lang="tr-TR" sz="2400" b="1" dirty="0">
                <a:solidFill>
                  <a:schemeClr val="bg1"/>
                </a:solidFill>
              </a:rPr>
              <a:t>nüfus	   : </a:t>
            </a:r>
            <a:r>
              <a:rPr lang="tr-TR" sz="2400" b="1" dirty="0" smtClean="0">
                <a:solidFill>
                  <a:schemeClr val="bg1"/>
                </a:solidFill>
              </a:rPr>
              <a:t>%25,5</a:t>
            </a:r>
          </a:p>
          <a:p>
            <a:pPr algn="just">
              <a:buFont typeface="Monotype Sorts" pitchFamily="2" charset="2"/>
              <a:buNone/>
            </a:pPr>
            <a:r>
              <a:rPr lang="tr-TR" sz="2400" b="1" dirty="0" smtClean="0">
                <a:solidFill>
                  <a:schemeClr val="bg1"/>
                </a:solidFill>
              </a:rPr>
              <a:t>        - 25 yas altı nüfus        : %43</a:t>
            </a:r>
          </a:p>
          <a:p>
            <a:pPr algn="just">
              <a:buFont typeface="Monotype Sorts" pitchFamily="2" charset="2"/>
              <a:buNone/>
            </a:pPr>
            <a:r>
              <a:rPr lang="tr-TR" sz="2400" b="1" dirty="0" smtClean="0">
                <a:solidFill>
                  <a:schemeClr val="bg1"/>
                </a:solidFill>
              </a:rPr>
              <a:t>        - 25-65 yaş nüfus         : %50,7</a:t>
            </a:r>
            <a:endParaRPr lang="tr-TR" sz="2400" b="1" dirty="0">
              <a:solidFill>
                <a:schemeClr val="bg1"/>
              </a:solidFill>
            </a:endParaRPr>
          </a:p>
          <a:p>
            <a:pPr algn="just">
              <a:buFont typeface="Monotype Sorts" pitchFamily="2" charset="2"/>
              <a:buNone/>
            </a:pPr>
            <a:r>
              <a:rPr lang="tr-TR" sz="2400" b="1" dirty="0">
                <a:solidFill>
                  <a:schemeClr val="bg1"/>
                </a:solidFill>
              </a:rPr>
              <a:t>        	</a:t>
            </a:r>
            <a:endParaRPr lang="tr-TR" sz="2400" b="1" dirty="0" smtClean="0">
              <a:solidFill>
                <a:schemeClr val="bg1"/>
              </a:solidFill>
            </a:endParaRPr>
          </a:p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dirty="0" smtClean="0"/>
              <a:t> </a:t>
            </a:r>
            <a:r>
              <a:rPr lang="tr-TR" sz="2400" b="1" dirty="0">
                <a:solidFill>
                  <a:srgbClr val="FFFF66"/>
                </a:solidFill>
              </a:rPr>
              <a:t>KENTLEŞME ORANI </a:t>
            </a:r>
            <a:r>
              <a:rPr lang="tr-TR" sz="2400" b="1" dirty="0" smtClean="0">
                <a:solidFill>
                  <a:srgbClr val="FFFF66"/>
                </a:solidFill>
              </a:rPr>
              <a:t>ARTAN BİR ÜLKE </a:t>
            </a:r>
            <a:endParaRPr lang="tr-TR" sz="2400" b="1" dirty="0">
              <a:solidFill>
                <a:srgbClr val="FFFF66"/>
              </a:solidFill>
            </a:endParaRPr>
          </a:p>
          <a:p>
            <a:pPr algn="just">
              <a:buFont typeface="Monotype Sorts" pitchFamily="2" charset="2"/>
              <a:buNone/>
            </a:pPr>
            <a:r>
              <a:rPr lang="tr-TR" sz="2400" b="1" dirty="0">
                <a:solidFill>
                  <a:srgbClr val="FFFF66"/>
                </a:solidFill>
              </a:rPr>
              <a:t>        </a:t>
            </a:r>
            <a:r>
              <a:rPr lang="tr-TR" sz="2400" b="1" dirty="0">
                <a:solidFill>
                  <a:schemeClr val="bg1"/>
                </a:solidFill>
              </a:rPr>
              <a:t>Kentleşme Oranı         : </a:t>
            </a:r>
            <a:r>
              <a:rPr lang="tr-TR" sz="2400" b="1" dirty="0" smtClean="0">
                <a:solidFill>
                  <a:schemeClr val="bg1"/>
                </a:solidFill>
              </a:rPr>
              <a:t>%62,5</a:t>
            </a:r>
          </a:p>
          <a:p>
            <a:pPr algn="just">
              <a:buFont typeface="Monotype Sorts" pitchFamily="2" charset="2"/>
              <a:buNone/>
            </a:pPr>
            <a:r>
              <a:rPr lang="tr-TR" sz="2400" b="1" dirty="0" smtClean="0">
                <a:solidFill>
                  <a:schemeClr val="bg1"/>
                </a:solidFill>
              </a:rPr>
              <a:t> </a:t>
            </a:r>
            <a:endParaRPr lang="tr-TR" sz="2400" b="1" dirty="0">
              <a:solidFill>
                <a:schemeClr val="bg1"/>
              </a:solidFill>
            </a:endParaRPr>
          </a:p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sz="2400" b="1" dirty="0" smtClean="0">
                <a:solidFill>
                  <a:srgbClr val="FFFF66"/>
                </a:solidFill>
              </a:rPr>
              <a:t> AVRUPA’DA ÖNEMLİ BİR DİASPORA</a:t>
            </a:r>
          </a:p>
          <a:p>
            <a:pPr algn="just"/>
            <a:r>
              <a:rPr lang="tr-TR" sz="2400" b="1" dirty="0">
                <a:solidFill>
                  <a:srgbClr val="FFFF66"/>
                </a:solidFill>
              </a:rPr>
              <a:t> </a:t>
            </a:r>
            <a:r>
              <a:rPr lang="tr-TR" sz="2400" b="1" dirty="0" smtClean="0">
                <a:solidFill>
                  <a:srgbClr val="FFFF66"/>
                </a:solidFill>
              </a:rPr>
              <a:t>      </a:t>
            </a:r>
            <a:r>
              <a:rPr lang="tr-TR" sz="2400" b="1" dirty="0" smtClean="0">
                <a:solidFill>
                  <a:schemeClr val="bg1"/>
                </a:solidFill>
              </a:rPr>
              <a:t>Yaklaşık 5-7 </a:t>
            </a:r>
            <a:r>
              <a:rPr lang="tr-TR" sz="2400" b="1" dirty="0">
                <a:solidFill>
                  <a:schemeClr val="bg1"/>
                </a:solidFill>
              </a:rPr>
              <a:t>milyon Faslı yurtdışında </a:t>
            </a: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836613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000"/>
                            </p:stCondLst>
                            <p:childTnLst>
                              <p:par>
                                <p:cTn id="5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4500"/>
                            </p:stCondLst>
                            <p:childTnLst>
                              <p:par>
                                <p:cTn id="6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0"/>
                            </p:stCondLst>
                            <p:childTnLst>
                              <p:par>
                                <p:cTn id="73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500"/>
                            </p:stCondLst>
                            <p:childTnLst>
                              <p:par>
                                <p:cTn id="8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867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867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5867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58675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000"/>
                            </p:stCondLst>
                            <p:childTnLst>
                              <p:par>
                                <p:cTn id="8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8675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8675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58675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58675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6500"/>
                            </p:stCondLst>
                            <p:childTnLst>
                              <p:par>
                                <p:cTn id="94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58675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58675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58675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58675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000"/>
                            </p:stCondLst>
                            <p:childTnLst>
                              <p:par>
                                <p:cTn id="10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58675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8675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8675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58675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6754" grpId="0" autoUpdateAnimBg="0"/>
      <p:bldP spid="586755" grpId="0" build="p" autoUpdateAnimBg="0" advAuto="0"/>
      <p:bldP spid="586757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188640"/>
            <a:ext cx="9144000" cy="1008112"/>
          </a:xfrm>
        </p:spPr>
        <p:txBody>
          <a:bodyPr/>
          <a:lstStyle/>
          <a:p>
            <a:pPr>
              <a:defRPr/>
            </a:pPr>
            <a:r>
              <a:rPr lang="tr-TR" sz="3460" b="1" dirty="0" smtClean="0">
                <a:solidFill>
                  <a:srgbClr val="FFFF99"/>
                </a:solidFill>
              </a:rPr>
              <a:t>TÜRK FİRMALARININ ÜSTLENDİĞİ MÜTEAHHİTLİK PROJELERİ</a:t>
            </a:r>
            <a:endParaRPr lang="en-US" sz="3460" b="1" dirty="0" smtClean="0">
              <a:solidFill>
                <a:srgbClr val="FFFF99"/>
              </a:solidFill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0" y="836712"/>
            <a:ext cx="9144000" cy="590931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just">
              <a:buFont typeface="Monotype Sorts" pitchFamily="2" charset="2"/>
              <a:buBlip>
                <a:blip r:embed="rId2"/>
              </a:buBlip>
            </a:pPr>
            <a:endParaRPr lang="tr-TR" sz="1000" b="1" dirty="0">
              <a:solidFill>
                <a:srgbClr val="FFFF66"/>
              </a:solidFill>
              <a:latin typeface="Arial Unicode MS" pitchFamily="34" charset="-128"/>
            </a:endParaRPr>
          </a:p>
          <a:p>
            <a:pPr algn="just"/>
            <a:endParaRPr lang="tr-TR" sz="2800" dirty="0" smtClean="0">
              <a:solidFill>
                <a:srgbClr val="FFFF00"/>
              </a:solidFill>
            </a:endParaRPr>
          </a:p>
          <a:p>
            <a:pPr algn="just"/>
            <a:endParaRPr lang="tr-TR" sz="2000" b="1" dirty="0" smtClean="0">
              <a:solidFill>
                <a:srgbClr val="FFFF00"/>
              </a:solidFill>
            </a:endParaRPr>
          </a:p>
          <a:p>
            <a:pPr algn="ctr"/>
            <a:r>
              <a:rPr lang="tr-TR" sz="2400" b="1" dirty="0" smtClean="0">
                <a:solidFill>
                  <a:srgbClr val="FFFF00"/>
                </a:solidFill>
              </a:rPr>
              <a:t>FAS’TA FAALİYET GÖSTEREN TÜRK MÜTEAHHİTLİK FİRMALARI</a:t>
            </a:r>
          </a:p>
          <a:p>
            <a:pPr algn="ctr"/>
            <a:r>
              <a:rPr lang="tr-TR" sz="2400" b="1" dirty="0" smtClean="0">
                <a:solidFill>
                  <a:srgbClr val="FFFF00"/>
                </a:solidFill>
              </a:rPr>
              <a:t>4 Milyar $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DOĞUŞ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NUROL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MAKYOL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TEKFEN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ALARKO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STFA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RENAISSANCE 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YAPI MERKEZİ </a:t>
            </a:r>
          </a:p>
          <a:p>
            <a:pPr algn="just"/>
            <a:endParaRPr lang="tr-TR" sz="2400" b="1" dirty="0" smtClean="0">
              <a:solidFill>
                <a:srgbClr val="FFFF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/>
      <p:bldP spid="7" grpId="0" build="p" autoUpdateAnimBg="0" advAuto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119675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460" b="1" dirty="0" smtClean="0">
                <a:solidFill>
                  <a:srgbClr val="FFFF99"/>
                </a:solidFill>
                <a:latin typeface="Albertus Extra Bold" pitchFamily="34" charset="0"/>
              </a:rPr>
              <a:t/>
            </a:r>
            <a:br>
              <a:rPr lang="tr-TR" sz="3460" b="1" dirty="0" smtClean="0">
                <a:solidFill>
                  <a:srgbClr val="FFFF99"/>
                </a:solidFill>
                <a:latin typeface="Albertus Extra Bold" pitchFamily="34" charset="0"/>
              </a:rPr>
            </a:br>
            <a:r>
              <a:rPr lang="tr-TR" sz="3460" b="1" dirty="0" smtClean="0">
                <a:solidFill>
                  <a:srgbClr val="FFFF99"/>
                </a:solidFill>
                <a:latin typeface="+mn-lt"/>
              </a:rPr>
              <a:t>FAS </a:t>
            </a:r>
            <a:br>
              <a:rPr lang="tr-TR" sz="3460" b="1" dirty="0" smtClean="0">
                <a:solidFill>
                  <a:srgbClr val="FFFF99"/>
                </a:solidFill>
                <a:latin typeface="+mn-lt"/>
              </a:rPr>
            </a:br>
            <a:r>
              <a:rPr lang="tr-TR" sz="3460" b="1" dirty="0" smtClean="0">
                <a:solidFill>
                  <a:srgbClr val="FFFF99"/>
                </a:solidFill>
                <a:latin typeface="+mn-lt"/>
              </a:rPr>
              <a:t>İHRACAT-YATIRIM-İŞ İMKANLARI</a:t>
            </a:r>
            <a:br>
              <a:rPr lang="tr-TR" sz="3460" b="1" dirty="0" smtClean="0">
                <a:solidFill>
                  <a:srgbClr val="FFFF99"/>
                </a:solidFill>
                <a:latin typeface="+mn-lt"/>
              </a:rPr>
            </a:br>
            <a:endParaRPr lang="en-US" sz="3460" b="1" dirty="0" smtClean="0">
              <a:solidFill>
                <a:srgbClr val="FFFF99"/>
              </a:solidFill>
              <a:latin typeface="+mn-lt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07504" y="1124744"/>
            <a:ext cx="4572000" cy="4032515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tr-TR" sz="3200" dirty="0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Makine ve ekipman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 İnşaat malzemeleri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 Tarım </a:t>
            </a:r>
            <a:r>
              <a:rPr lang="tr-TR" sz="3200" dirty="0" err="1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Makinaları</a:t>
            </a:r>
            <a:endParaRPr lang="tr-TR" sz="3200" dirty="0" smtClean="0">
              <a:solidFill>
                <a:srgbClr val="0000FF"/>
              </a:solidFill>
              <a:latin typeface="+mj-lt"/>
              <a:ea typeface="Calibri" pitchFamily="34" charset="0"/>
              <a:cs typeface="Times New Roman" pitchFamily="18" charset="0"/>
            </a:endParaRP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 Elektrik malzemeleri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 Beyaz eşya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 Gıda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 Kimyasallar</a:t>
            </a:r>
          </a:p>
          <a:p>
            <a:pPr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latin typeface="+mj-lt"/>
                <a:ea typeface="Calibri" pitchFamily="34" charset="0"/>
                <a:cs typeface="Times New Roman" pitchFamily="18" charset="0"/>
              </a:rPr>
              <a:t> Gübre ve Tarım İ.</a:t>
            </a: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4788024" y="1124744"/>
            <a:ext cx="4283968" cy="4032515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lvl="0"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ea typeface="Calibri" pitchFamily="34" charset="0"/>
                <a:cs typeface="Times New Roman" pitchFamily="18" charset="0"/>
              </a:rPr>
              <a:t> Mobilya </a:t>
            </a:r>
          </a:p>
          <a:p>
            <a:pPr lvl="0"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ea typeface="Calibri" pitchFamily="34" charset="0"/>
                <a:cs typeface="Times New Roman" pitchFamily="18" charset="0"/>
              </a:rPr>
              <a:t> Eczacılık ürünleri</a:t>
            </a:r>
          </a:p>
          <a:p>
            <a:pPr lvl="0"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ea typeface="Calibri" pitchFamily="34" charset="0"/>
                <a:cs typeface="Times New Roman" pitchFamily="18" charset="0"/>
              </a:rPr>
              <a:t> Otomotiv</a:t>
            </a:r>
          </a:p>
          <a:p>
            <a:pPr lvl="0"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ea typeface="Calibri" pitchFamily="34" charset="0"/>
                <a:cs typeface="Times New Roman" pitchFamily="18" charset="0"/>
              </a:rPr>
              <a:t> Tekstil-Konfeksiyon</a:t>
            </a:r>
          </a:p>
          <a:p>
            <a:pPr lvl="0"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ea typeface="Calibri" pitchFamily="34" charset="0"/>
                <a:cs typeface="Times New Roman" pitchFamily="18" charset="0"/>
              </a:rPr>
              <a:t> Sabun, deterjan</a:t>
            </a:r>
          </a:p>
          <a:p>
            <a:pPr lvl="0"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ea typeface="Calibri" pitchFamily="34" charset="0"/>
                <a:cs typeface="Times New Roman" pitchFamily="18" charset="0"/>
              </a:rPr>
              <a:t> Kozmetik </a:t>
            </a:r>
          </a:p>
          <a:p>
            <a:pPr lvl="0"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ea typeface="Calibri" pitchFamily="34" charset="0"/>
                <a:cs typeface="Times New Roman" pitchFamily="18" charset="0"/>
              </a:rPr>
              <a:t> Kağıt, karton</a:t>
            </a:r>
          </a:p>
          <a:p>
            <a:pPr lvl="0">
              <a:spcBef>
                <a:spcPts val="0"/>
              </a:spcBef>
              <a:buFont typeface="Arial" charset="0"/>
              <a:buChar char="•"/>
              <a:defRPr/>
            </a:pPr>
            <a:r>
              <a:rPr lang="tr-TR" sz="3200" dirty="0" smtClean="0">
                <a:solidFill>
                  <a:srgbClr val="0000FF"/>
                </a:solidFill>
                <a:ea typeface="Calibri" pitchFamily="34" charset="0"/>
                <a:cs typeface="Times New Roman" pitchFamily="18" charset="0"/>
              </a:rPr>
              <a:t> Plastik ürünleri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-36512" y="5610664"/>
            <a:ext cx="9144000" cy="554640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Yol, Köprü, Demiryolu, Altyapı, Konut, Enerji</a:t>
            </a:r>
            <a:endParaRPr lang="en-US" sz="3000" b="1" dirty="0">
              <a:solidFill>
                <a:schemeClr val="accent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/>
      <p:bldP spid="4" grpId="0" animBg="1" autoUpdateAnimBg="0"/>
      <p:bldP spid="5" grpId="0" animBg="1" autoUpdateAnimBg="0"/>
      <p:bldP spid="8" grpId="0" animBg="1" autoUpdateAnimBg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119675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tr-TR" sz="3460" b="1" dirty="0" smtClean="0">
                <a:solidFill>
                  <a:srgbClr val="FFFF99"/>
                </a:solidFill>
                <a:latin typeface="Albertus Extra Bold" pitchFamily="34" charset="0"/>
              </a:rPr>
              <a:t/>
            </a:r>
            <a:br>
              <a:rPr lang="tr-TR" sz="3460" b="1" dirty="0" smtClean="0">
                <a:solidFill>
                  <a:srgbClr val="FFFF99"/>
                </a:solidFill>
                <a:latin typeface="Albertus Extra Bold" pitchFamily="34" charset="0"/>
              </a:rPr>
            </a:br>
            <a:r>
              <a:rPr lang="tr-TR" sz="3460" b="1" dirty="0" smtClean="0">
                <a:solidFill>
                  <a:srgbClr val="FFFF99"/>
                </a:solidFill>
                <a:latin typeface="+mn-lt"/>
              </a:rPr>
              <a:t>FAS İLE TİCARETTE DİKKAT EDİLECEK HUSUSLAR</a:t>
            </a:r>
            <a:endParaRPr lang="en-US" sz="3460" b="1" dirty="0" smtClean="0">
              <a:solidFill>
                <a:srgbClr val="FFFF99"/>
              </a:solidFill>
              <a:latin typeface="+mn-lt"/>
            </a:endParaRP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214282" y="1928802"/>
            <a:ext cx="8786874" cy="3324629"/>
          </a:xfrm>
          <a:prstGeom prst="rect">
            <a:avLst/>
          </a:prstGeom>
          <a:solidFill>
            <a:srgbClr val="FFFF99"/>
          </a:solidFill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ferans fiyat uygulaması</a:t>
            </a:r>
          </a:p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Ödeme ve Alacak Sorunları</a:t>
            </a:r>
          </a:p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err="1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ximbank</a:t>
            </a:r>
            <a:r>
              <a:rPr lang="tr-TR" sz="3000" b="1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İhracat Sigorta Programı</a:t>
            </a:r>
          </a:p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özleşme</a:t>
            </a:r>
          </a:p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Bankacılık sistemi kullanımı</a:t>
            </a:r>
          </a:p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parişte avans</a:t>
            </a:r>
          </a:p>
          <a:p>
            <a:pPr algn="ctr">
              <a:spcBef>
                <a:spcPts val="0"/>
              </a:spcBef>
              <a:buFont typeface="Monotype Sorts" pitchFamily="2" charset="2"/>
              <a:buNone/>
              <a:defRPr/>
            </a:pPr>
            <a:r>
              <a:rPr lang="tr-TR" sz="3000" b="1" dirty="0" smtClean="0">
                <a:solidFill>
                  <a:schemeClr val="accent2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Çek Kanunu</a:t>
            </a:r>
            <a:endParaRPr lang="en-US" sz="3000" b="1" dirty="0">
              <a:solidFill>
                <a:schemeClr val="accent2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/>
      <p:bldP spid="8" grpId="0" animBg="1" autoUpdateAnimBg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0"/>
            <a:ext cx="9144000" cy="1123925"/>
          </a:xfrm>
        </p:spPr>
        <p:txBody>
          <a:bodyPr/>
          <a:lstStyle/>
          <a:p>
            <a:pPr>
              <a:defRPr/>
            </a:pPr>
            <a:r>
              <a:rPr lang="tr-TR" sz="3460" b="1" dirty="0" smtClean="0">
                <a:solidFill>
                  <a:srgbClr val="FFFF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AS’TA YERLEŞİK TÜRK FİRMALARI</a:t>
            </a:r>
            <a:endParaRPr lang="en-US" sz="3460" b="1" dirty="0" smtClean="0">
              <a:solidFill>
                <a:srgbClr val="FFFF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0" y="980728"/>
            <a:ext cx="8892480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2800" b="1" dirty="0" smtClean="0">
                <a:solidFill>
                  <a:srgbClr val="FFFF00"/>
                </a:solidFill>
              </a:rPr>
              <a:t>1000 Türk yerleşik durumdadır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Fas’ta yaklaşık 150 Türk Şirketi mevcuttur</a:t>
            </a:r>
          </a:p>
          <a:p>
            <a:pPr algn="ctr"/>
            <a:r>
              <a:rPr lang="tr-TR" sz="2800" b="1" dirty="0" smtClean="0">
                <a:solidFill>
                  <a:srgbClr val="FFFF00"/>
                </a:solidFill>
              </a:rPr>
              <a:t>Toplam 1,2 Milyar $ Doğrudan yatırım</a:t>
            </a:r>
          </a:p>
          <a:p>
            <a:pPr algn="ctr"/>
            <a:r>
              <a:rPr lang="tr-TR" sz="2800" b="1" dirty="0" smtClean="0">
                <a:solidFill>
                  <a:srgbClr val="FFFF00"/>
                </a:solidFill>
              </a:rPr>
              <a:t>8000 kişiye istihdam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İnşaat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Perakende 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Lojistik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Mobilya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Tekstil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Beyaz Eşya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Turizm</a:t>
            </a:r>
          </a:p>
          <a:p>
            <a:pPr algn="ctr"/>
            <a:r>
              <a:rPr lang="tr-TR" sz="2800" b="1" dirty="0" smtClean="0">
                <a:solidFill>
                  <a:schemeClr val="bg1"/>
                </a:solidFill>
              </a:rPr>
              <a:t>Ticaret</a:t>
            </a:r>
            <a:r>
              <a:rPr lang="tr-TR" sz="2800" b="1" dirty="0" smtClean="0">
                <a:solidFill>
                  <a:srgbClr val="FFFF00"/>
                </a:solidFill>
              </a:rPr>
              <a:t> </a:t>
            </a:r>
          </a:p>
          <a:p>
            <a:pPr algn="ctr"/>
            <a:endParaRPr lang="tr-TR" sz="2800" b="1" dirty="0" smtClean="0">
              <a:solidFill>
                <a:srgbClr val="FFFF00"/>
              </a:solidFill>
            </a:endParaRPr>
          </a:p>
          <a:p>
            <a:pPr algn="ctr"/>
            <a:endParaRPr lang="tr-TR" sz="2800" b="1" dirty="0" smtClean="0">
              <a:solidFill>
                <a:srgbClr val="FFFF00"/>
              </a:solidFill>
            </a:endParaRPr>
          </a:p>
          <a:p>
            <a:pPr algn="ctr"/>
            <a:endParaRPr lang="tr-TR" sz="2800" b="1" dirty="0" smtClean="0">
              <a:solidFill>
                <a:srgbClr val="FFFF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0" y="144835"/>
            <a:ext cx="9144000" cy="1123925"/>
          </a:xfrm>
        </p:spPr>
        <p:txBody>
          <a:bodyPr/>
          <a:lstStyle/>
          <a:p>
            <a:pPr>
              <a:defRPr/>
            </a:pPr>
            <a:r>
              <a:rPr lang="tr-TR" sz="3460" b="1" dirty="0" smtClean="0">
                <a:solidFill>
                  <a:srgbClr val="FFFF99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FAS’TA YERLEŞİK TÜRK FİRMALARI</a:t>
            </a:r>
            <a:endParaRPr lang="en-US" sz="3460" b="1" dirty="0" smtClean="0">
              <a:solidFill>
                <a:srgbClr val="FFFF99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884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412776"/>
            <a:ext cx="1656184" cy="74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0" name="Picture 4" descr="Image result for sultangaz maroc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348880"/>
            <a:ext cx="1656184" cy="792088"/>
          </a:xfrm>
          <a:prstGeom prst="rect">
            <a:avLst/>
          </a:prstGeom>
          <a:noFill/>
        </p:spPr>
      </p:pic>
      <p:pic>
        <p:nvPicPr>
          <p:cNvPr id="188422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5229200"/>
            <a:ext cx="172819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3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51720" y="4149080"/>
            <a:ext cx="309634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4" name="Picture 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51720" y="2420888"/>
            <a:ext cx="3096344" cy="711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5" name="Picture 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51720" y="1412776"/>
            <a:ext cx="3096344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6" name="Picture 1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51720" y="3284984"/>
            <a:ext cx="3096344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8" name="Picture 1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051720" y="4869160"/>
            <a:ext cx="3096344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29" name="Picture 1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292080" y="1412776"/>
            <a:ext cx="1695450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30" name="Picture 1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292080" y="3140968"/>
            <a:ext cx="1728192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33" name="Picture 17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292080" y="4293096"/>
            <a:ext cx="1656184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34" name="Picture 18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164288" y="1340768"/>
            <a:ext cx="1728192" cy="100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35" name="Picture 19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164288" y="2420888"/>
            <a:ext cx="1728193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36" name="Picture 2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64288" y="3861048"/>
            <a:ext cx="171869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37" name="Picture 21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92280" y="5085184"/>
            <a:ext cx="18002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38" name="Picture 22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22717" y="5877272"/>
            <a:ext cx="2189043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39" name="Picture 2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2555776" y="5805264"/>
            <a:ext cx="2088232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40" name="Picture 24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904581" y="5853261"/>
            <a:ext cx="197167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41" name="Picture 25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092280" y="5805264"/>
            <a:ext cx="1835696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43" name="Picture 27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51520" y="3284984"/>
            <a:ext cx="1656184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444" name="Picture 28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43310" y="4365104"/>
            <a:ext cx="1664394" cy="692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0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754" name="Rectangle 2"/>
          <p:cNvSpPr>
            <a:spLocks noChangeArrowheads="1"/>
          </p:cNvSpPr>
          <p:nvPr/>
        </p:nvSpPr>
        <p:spPr bwMode="auto">
          <a:xfrm>
            <a:off x="0" y="-24"/>
            <a:ext cx="9144000" cy="70788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tr-TR" sz="4000" b="1" dirty="0" smtClean="0">
                <a:solidFill>
                  <a:schemeClr val="bg1"/>
                </a:solidFill>
              </a:rPr>
              <a:t>FAS FUAR TAKVİMİ</a:t>
            </a:r>
            <a:endParaRPr lang="tr-TR" sz="4000" b="1" dirty="0">
              <a:solidFill>
                <a:schemeClr val="bg1"/>
              </a:solidFill>
            </a:endParaRP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642918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sp>
        <p:nvSpPr>
          <p:cNvPr id="9" name="8 Dikdörtgen"/>
          <p:cNvSpPr/>
          <p:nvPr/>
        </p:nvSpPr>
        <p:spPr>
          <a:xfrm>
            <a:off x="0" y="769410"/>
            <a:ext cx="5076056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MAROC STONE (Ocak )</a:t>
            </a: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SOLAIRE EXPO (Şubat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MOROCCO STYLE-HOME (Şubat) 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CREMAI (Ekmek-Mutfak-Ekip) (Mart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MEDICAL EXPO (Mart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AFRICA WATER/HYDROPOWER (Mart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A2 INT EDUCATION (Mart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FORUM ETUDIANT (Nisan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PREVENTİCA SECURİTY (Nisan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SIFAC (Soğutma-Havalandırma) (Nisan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u="sng" dirty="0" smtClean="0">
                <a:solidFill>
                  <a:schemeClr val="accent3">
                    <a:lumMod val="95000"/>
                  </a:schemeClr>
                </a:solidFill>
                <a:latin typeface="Calibri"/>
                <a:ea typeface="Calibri"/>
                <a:cs typeface="Times New Roman"/>
              </a:rPr>
              <a:t>PLAST EXPO (Nisan)</a:t>
            </a:r>
            <a:endParaRPr lang="fr-FR" sz="2000" b="1" u="sng" dirty="0" smtClean="0">
              <a:solidFill>
                <a:schemeClr val="accent3">
                  <a:lumMod val="95000"/>
                </a:schemeClr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THE BIG 5 CONSTRUCTION (Nisan)</a:t>
            </a:r>
            <a:endParaRPr lang="fr-FR" sz="2000" b="1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u="sng" dirty="0" smtClean="0">
                <a:solidFill>
                  <a:schemeClr val="accent1">
                    <a:lumMod val="20000"/>
                    <a:lumOff val="80000"/>
                  </a:schemeClr>
                </a:solidFill>
                <a:latin typeface="Calibri"/>
                <a:ea typeface="Calibri"/>
                <a:cs typeface="Times New Roman"/>
              </a:rPr>
              <a:t>SIAM TARIM FUARI (Nisan)</a:t>
            </a:r>
            <a:endParaRPr lang="fr-FR" sz="2000" b="1" u="sng" dirty="0" smtClean="0">
              <a:solidFill>
                <a:schemeClr val="accent1">
                  <a:lumMod val="20000"/>
                  <a:lumOff val="80000"/>
                </a:schemeClr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EAU EXPO FORUM (Mayıs)</a:t>
            </a:r>
            <a:endParaRPr lang="fr-FR" sz="2000" b="1" dirty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10" name="9 Dikdörtgen"/>
          <p:cNvSpPr/>
          <p:nvPr/>
        </p:nvSpPr>
        <p:spPr>
          <a:xfrm>
            <a:off x="4572000" y="857232"/>
            <a:ext cx="4572000" cy="54014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SIAB EXPO </a:t>
            </a:r>
            <a:r>
              <a:rPr lang="tr-TR" sz="2000" b="1" dirty="0" err="1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Food</a:t>
            </a: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tr-TR" sz="2000" b="1" dirty="0" err="1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Drink</a:t>
            </a: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 (Mayıs)</a:t>
            </a:r>
            <a:endParaRPr lang="fr-FR" sz="2000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TANGIER TOURISM (Mayıs)</a:t>
            </a:r>
            <a:endParaRPr lang="fr-FR" sz="2000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 AUTOMOTIVE MEETING (Haziran) </a:t>
            </a:r>
            <a:endParaRPr lang="fr-FR" sz="2000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 EXPO HALAL /Eylül)</a:t>
            </a:r>
            <a:endParaRPr lang="fr-FR" sz="2000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 POLLUTEC MAROC (Ekim)  </a:t>
            </a:r>
            <a:endParaRPr lang="fr-FR" sz="2000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tr-TR" sz="2000" b="1" u="sng" dirty="0" smtClean="0">
                <a:solidFill>
                  <a:schemeClr val="accent3">
                    <a:lumMod val="95000"/>
                  </a:schemeClr>
                </a:solidFill>
                <a:latin typeface="Calibri"/>
                <a:ea typeface="Calibri"/>
                <a:cs typeface="Times New Roman"/>
              </a:rPr>
              <a:t>AERO SPACE MEETING (Ekim) </a:t>
            </a:r>
            <a:endParaRPr lang="fr-FR" sz="2000" u="sng" dirty="0" smtClean="0">
              <a:solidFill>
                <a:schemeClr val="accent3">
                  <a:lumMod val="95000"/>
                </a:schemeClr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 </a:t>
            </a:r>
            <a:r>
              <a:rPr lang="tr-TR" sz="2000" b="1" u="sng" dirty="0" smtClean="0">
                <a:solidFill>
                  <a:schemeClr val="accent3">
                    <a:lumMod val="95000"/>
                  </a:schemeClr>
                </a:solidFill>
                <a:latin typeface="Calibri"/>
                <a:ea typeface="Calibri"/>
                <a:cs typeface="Times New Roman"/>
              </a:rPr>
              <a:t>ELEC-ENER (Ekim)</a:t>
            </a:r>
            <a:endParaRPr lang="fr-FR" sz="2000" u="sng" dirty="0" smtClean="0">
              <a:solidFill>
                <a:schemeClr val="accent3">
                  <a:lumMod val="95000"/>
                </a:schemeClr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WORL LP GAS FORUM (Ekim)</a:t>
            </a: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fr-FR" sz="2000" b="1" dirty="0" smtClean="0">
                <a:solidFill>
                  <a:schemeClr val="accent3">
                    <a:lumMod val="95000"/>
                  </a:schemeClr>
                </a:solidFill>
              </a:rPr>
              <a:t>SIB </a:t>
            </a:r>
            <a:r>
              <a:rPr lang="fr-FR" sz="2000" b="1" dirty="0">
                <a:solidFill>
                  <a:schemeClr val="accent3">
                    <a:lumMod val="95000"/>
                  </a:schemeClr>
                </a:solidFill>
              </a:rPr>
              <a:t>Salon </a:t>
            </a:r>
            <a:r>
              <a:rPr lang="tr-TR" sz="2000" b="1" dirty="0" smtClean="0">
                <a:solidFill>
                  <a:schemeClr val="accent3">
                    <a:lumMod val="95000"/>
                  </a:schemeClr>
                </a:solidFill>
              </a:rPr>
              <a:t>I</a:t>
            </a:r>
            <a:r>
              <a:rPr lang="fr-FR" sz="2000" b="1" dirty="0" smtClean="0">
                <a:solidFill>
                  <a:schemeClr val="accent3">
                    <a:lumMod val="95000"/>
                  </a:schemeClr>
                </a:solidFill>
              </a:rPr>
              <a:t>nt</a:t>
            </a:r>
            <a:r>
              <a:rPr lang="tr-TR" sz="2000" b="1" dirty="0" smtClean="0">
                <a:solidFill>
                  <a:schemeClr val="accent3">
                    <a:lumMod val="95000"/>
                  </a:schemeClr>
                </a:solidFill>
              </a:rPr>
              <a:t>. </a:t>
            </a:r>
            <a:r>
              <a:rPr lang="tr-TR" sz="2000" b="1" smtClean="0">
                <a:solidFill>
                  <a:schemeClr val="accent3">
                    <a:lumMod val="95000"/>
                  </a:schemeClr>
                </a:solidFill>
              </a:rPr>
              <a:t>Batiment</a:t>
            </a:r>
            <a:r>
              <a:rPr lang="fr-FR" sz="2000" b="1" dirty="0" smtClean="0">
                <a:solidFill>
                  <a:schemeClr val="accent3">
                    <a:lumMod val="95000"/>
                  </a:schemeClr>
                </a:solidFill>
              </a:rPr>
              <a:t> </a:t>
            </a:r>
            <a:endParaRPr lang="tr-TR" sz="2000" b="1" dirty="0" smtClean="0">
              <a:solidFill>
                <a:schemeClr val="accent3">
                  <a:lumMod val="95000"/>
                </a:schemeClr>
              </a:solidFill>
            </a:endParaRPr>
          </a:p>
          <a:p>
            <a:pPr lvl="1">
              <a:lnSpc>
                <a:spcPct val="115000"/>
              </a:lnSpc>
              <a:spcAft>
                <a:spcPts val="0"/>
              </a:spcAft>
              <a:tabLst>
                <a:tab pos="270510" algn="l"/>
                <a:tab pos="914400" algn="l"/>
              </a:tabLst>
            </a:pPr>
            <a:r>
              <a:rPr lang="tr-TR" sz="2000" b="1" dirty="0">
                <a:solidFill>
                  <a:schemeClr val="accent3">
                    <a:lumMod val="95000"/>
                  </a:schemeClr>
                </a:solidFill>
              </a:rPr>
              <a:t> </a:t>
            </a:r>
            <a:r>
              <a:rPr lang="tr-TR" sz="2000" b="1" dirty="0" smtClean="0">
                <a:solidFill>
                  <a:schemeClr val="accent3">
                    <a:lumMod val="95000"/>
                  </a:schemeClr>
                </a:solidFill>
              </a:rPr>
              <a:t>    (</a:t>
            </a:r>
            <a:r>
              <a:rPr lang="fr-FR" sz="2000" b="1" dirty="0" smtClean="0">
                <a:solidFill>
                  <a:schemeClr val="accent3">
                    <a:lumMod val="95000"/>
                  </a:schemeClr>
                </a:solidFill>
              </a:rPr>
              <a:t>25-29</a:t>
            </a:r>
            <a:r>
              <a:rPr lang="tr-TR" sz="2000" b="1" dirty="0" smtClean="0">
                <a:solidFill>
                  <a:schemeClr val="accent3">
                    <a:lumMod val="95000"/>
                  </a:schemeClr>
                </a:solidFill>
              </a:rPr>
              <a:t> KASIM </a:t>
            </a:r>
            <a:r>
              <a:rPr lang="fr-FR" sz="2000" b="1" dirty="0" smtClean="0">
                <a:solidFill>
                  <a:schemeClr val="accent3">
                    <a:lumMod val="95000"/>
                  </a:schemeClr>
                </a:solidFill>
              </a:rPr>
              <a:t>2020</a:t>
            </a:r>
            <a:r>
              <a:rPr lang="tr-TR" sz="2000" b="1" dirty="0" smtClean="0">
                <a:solidFill>
                  <a:schemeClr val="accent3">
                    <a:lumMod val="95000"/>
                  </a:schemeClr>
                </a:solidFill>
              </a:rPr>
              <a:t>)</a:t>
            </a:r>
            <a:endParaRPr lang="fr-FR" sz="2000" b="1" dirty="0">
              <a:solidFill>
                <a:schemeClr val="accent3">
                  <a:lumMod val="95000"/>
                </a:schemeClr>
              </a:solidFill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MED IT MAROC (Kasım) </a:t>
            </a:r>
            <a:endParaRPr lang="fr-FR" sz="2000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SIFEL AGADIR (Aralık) </a:t>
            </a:r>
            <a:endParaRPr lang="fr-FR" sz="2000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MAFEX FOOD Aralık) </a:t>
            </a:r>
            <a:endParaRPr lang="fr-FR" sz="2000" dirty="0" smtClean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u="sng" dirty="0" smtClean="0">
                <a:solidFill>
                  <a:schemeClr val="accent3">
                    <a:lumMod val="95000"/>
                  </a:schemeClr>
                </a:solidFill>
                <a:latin typeface="Calibri"/>
                <a:ea typeface="Calibri"/>
                <a:cs typeface="Times New Roman"/>
              </a:rPr>
              <a:t>MIDEST (Aralık)</a:t>
            </a:r>
            <a:endParaRPr lang="fr-FR" sz="2000" u="sng" dirty="0" smtClean="0">
              <a:solidFill>
                <a:schemeClr val="accent3">
                  <a:lumMod val="95000"/>
                </a:schemeClr>
              </a:solidFill>
              <a:latin typeface="Calibri"/>
              <a:ea typeface="Calibri"/>
              <a:cs typeface="Times New Roman"/>
            </a:endParaRPr>
          </a:p>
          <a:p>
            <a:pPr marL="742950" lvl="1" indent="-285750">
              <a:lnSpc>
                <a:spcPct val="115000"/>
              </a:lnSpc>
              <a:spcAft>
                <a:spcPts val="0"/>
              </a:spcAft>
              <a:buFont typeface="Symbol"/>
              <a:buBlip>
                <a:blip r:embed="rId3"/>
              </a:buBlip>
              <a:tabLst>
                <a:tab pos="270510" algn="l"/>
                <a:tab pos="914400" algn="l"/>
              </a:tabLst>
            </a:pPr>
            <a:r>
              <a:rPr lang="tr-TR" sz="2000" b="1" dirty="0" smtClean="0">
                <a:solidFill>
                  <a:srgbClr val="FFFF00"/>
                </a:solidFill>
                <a:latin typeface="Calibri"/>
                <a:ea typeface="Calibri"/>
                <a:cs typeface="Times New Roman"/>
              </a:rPr>
              <a:t>PACK TO PACK  (Aralık)</a:t>
            </a:r>
            <a:endParaRPr lang="fr-FR" sz="2000" dirty="0">
              <a:solidFill>
                <a:srgbClr val="FFFF00"/>
              </a:solidFill>
              <a:latin typeface="Calibri"/>
              <a:ea typeface="Calibri"/>
              <a:cs typeface="Times New Roman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6754" grpId="0" autoUpdateAnimBg="0"/>
      <p:bldP spid="586757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754" name="Rectangle 2"/>
          <p:cNvSpPr>
            <a:spLocks noChangeArrowheads="1"/>
          </p:cNvSpPr>
          <p:nvPr/>
        </p:nvSpPr>
        <p:spPr bwMode="auto">
          <a:xfrm>
            <a:off x="0" y="272842"/>
            <a:ext cx="9144000" cy="70788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/>
            <a:r>
              <a:rPr lang="tr-TR" sz="4000" b="1" dirty="0" smtClean="0">
                <a:solidFill>
                  <a:schemeClr val="bg1"/>
                </a:solidFill>
              </a:rPr>
              <a:t>FAS’IN ÜLKEMİZ İÇİN ÖNEMİ</a:t>
            </a:r>
            <a:endParaRPr lang="tr-TR" sz="4000" b="1" dirty="0">
              <a:solidFill>
                <a:schemeClr val="bg1"/>
              </a:solidFill>
            </a:endParaRPr>
          </a:p>
        </p:txBody>
      </p:sp>
      <p:sp>
        <p:nvSpPr>
          <p:cNvPr id="586755" name="Rectangle 3"/>
          <p:cNvSpPr>
            <a:spLocks noChangeArrowheads="1"/>
          </p:cNvSpPr>
          <p:nvPr/>
        </p:nvSpPr>
        <p:spPr bwMode="auto">
          <a:xfrm>
            <a:off x="0" y="1124744"/>
            <a:ext cx="9144000" cy="526297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sz="2800" b="1" dirty="0" smtClean="0">
                <a:solidFill>
                  <a:srgbClr val="FFFF00"/>
                </a:solidFill>
              </a:rPr>
              <a:t> </a:t>
            </a:r>
            <a:r>
              <a:rPr lang="tr-TR" sz="2800" b="1" dirty="0" err="1" smtClean="0">
                <a:solidFill>
                  <a:srgbClr val="FFFF00"/>
                </a:solidFill>
              </a:rPr>
              <a:t>Jeo</a:t>
            </a:r>
            <a:r>
              <a:rPr lang="tr-TR" sz="2800" b="1" dirty="0" smtClean="0">
                <a:solidFill>
                  <a:srgbClr val="FFFF00"/>
                </a:solidFill>
              </a:rPr>
              <a:t>-stratejik konum</a:t>
            </a:r>
          </a:p>
          <a:p>
            <a:pPr algn="just"/>
            <a:r>
              <a:rPr lang="tr-TR" sz="2800" dirty="0" smtClean="0">
                <a:solidFill>
                  <a:srgbClr val="FFFF99"/>
                </a:solidFill>
              </a:rPr>
              <a:t>   Güney-Kuzey Koridoru- Avrupa-Sahra ve Batı Afrika</a:t>
            </a:r>
          </a:p>
          <a:p>
            <a:pPr algn="just"/>
            <a:r>
              <a:rPr lang="tr-TR" sz="2800" dirty="0" smtClean="0">
                <a:solidFill>
                  <a:srgbClr val="FFFF99"/>
                </a:solidFill>
              </a:rPr>
              <a:t>   </a:t>
            </a:r>
            <a:r>
              <a:rPr lang="tr-TR" sz="2800" dirty="0" err="1" smtClean="0">
                <a:solidFill>
                  <a:srgbClr val="FFFF99"/>
                </a:solidFill>
              </a:rPr>
              <a:t>Akdenize</a:t>
            </a:r>
            <a:r>
              <a:rPr lang="tr-TR" sz="2800" dirty="0" smtClean="0">
                <a:solidFill>
                  <a:srgbClr val="FFFF99"/>
                </a:solidFill>
              </a:rPr>
              <a:t> Giriş</a:t>
            </a:r>
          </a:p>
          <a:p>
            <a:pPr algn="just"/>
            <a:r>
              <a:rPr lang="tr-TR" sz="2800" dirty="0" smtClean="0">
                <a:solidFill>
                  <a:srgbClr val="FFFF99"/>
                </a:solidFill>
              </a:rPr>
              <a:t>   Atlantik Okyanusuna Çıkış</a:t>
            </a:r>
          </a:p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sz="2800" b="1" dirty="0" smtClean="0">
                <a:solidFill>
                  <a:srgbClr val="FFFF99"/>
                </a:solidFill>
              </a:rPr>
              <a:t> </a:t>
            </a:r>
            <a:r>
              <a:rPr lang="tr-TR" sz="2800" b="1" dirty="0" smtClean="0">
                <a:solidFill>
                  <a:srgbClr val="FFFF00"/>
                </a:solidFill>
              </a:rPr>
              <a:t>İstikrar-Büyüme-Yabancı Sermaye</a:t>
            </a:r>
          </a:p>
          <a:p>
            <a:pPr algn="just">
              <a:buBlip>
                <a:blip r:embed="rId3"/>
              </a:buBlip>
            </a:pPr>
            <a:r>
              <a:rPr lang="tr-TR" sz="2800" b="1" dirty="0" smtClean="0">
                <a:solidFill>
                  <a:srgbClr val="FFFF00"/>
                </a:solidFill>
              </a:rPr>
              <a:t> Alım gücü hızla artan bir pazar</a:t>
            </a:r>
          </a:p>
          <a:p>
            <a:pPr algn="just">
              <a:buBlip>
                <a:blip r:embed="rId3"/>
              </a:buBlip>
            </a:pPr>
            <a:r>
              <a:rPr lang="tr-TR" sz="2800" b="1" dirty="0" smtClean="0">
                <a:solidFill>
                  <a:srgbClr val="FFFF00"/>
                </a:solidFill>
              </a:rPr>
              <a:t> Yüksek Sanayi-Tarım-Balıkçılık potansiyeli</a:t>
            </a:r>
          </a:p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sz="2800" b="1" dirty="0" smtClean="0">
                <a:solidFill>
                  <a:srgbClr val="FFFF00"/>
                </a:solidFill>
              </a:rPr>
              <a:t> Turizm potansiyeli	  </a:t>
            </a:r>
          </a:p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sz="2800" b="1" dirty="0" smtClean="0">
                <a:solidFill>
                  <a:srgbClr val="FFFF00"/>
                </a:solidFill>
              </a:rPr>
              <a:t> Müteahhitlik potansiyeli</a:t>
            </a:r>
          </a:p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sz="2800" b="1" dirty="0" smtClean="0">
                <a:solidFill>
                  <a:srgbClr val="FFFF00"/>
                </a:solidFill>
              </a:rPr>
              <a:t> Zengin Fosfat Kaynakları</a:t>
            </a:r>
          </a:p>
          <a:p>
            <a:pPr algn="just">
              <a:buFont typeface="Monotype Sorts" pitchFamily="2" charset="2"/>
              <a:buBlip>
                <a:blip r:embed="rId3"/>
              </a:buBlip>
            </a:pPr>
            <a:r>
              <a:rPr lang="tr-TR" sz="2800" b="1" dirty="0" smtClean="0">
                <a:solidFill>
                  <a:srgbClr val="FFFF00"/>
                </a:solidFill>
              </a:rPr>
              <a:t> Ülkemize karşı pozitif tutum</a:t>
            </a:r>
          </a:p>
          <a:p>
            <a:pPr algn="just">
              <a:buFont typeface="Monotype Sorts" pitchFamily="2" charset="2"/>
              <a:buBlip>
                <a:blip r:embed="rId3"/>
              </a:buBlip>
            </a:pPr>
            <a:endParaRPr lang="tr-TR" sz="2800" b="1" dirty="0" smtClean="0">
              <a:solidFill>
                <a:srgbClr val="FFFF00"/>
              </a:solidFill>
            </a:endParaRP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1099914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867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86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86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86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867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5867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5867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586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86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86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867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867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58675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000"/>
                            </p:stCondLst>
                            <p:childTnLst>
                              <p:par>
                                <p:cTn id="5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5867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4500"/>
                            </p:stCondLst>
                            <p:childTnLst>
                              <p:par>
                                <p:cTn id="6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8675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0"/>
                            </p:stCondLst>
                            <p:childTnLst>
                              <p:par>
                                <p:cTn id="73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5867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500"/>
                            </p:stCondLst>
                            <p:childTnLst>
                              <p:par>
                                <p:cTn id="8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58675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000"/>
                            </p:stCondLst>
                            <p:childTnLst>
                              <p:par>
                                <p:cTn id="8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58675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6754" grpId="0" autoUpdateAnimBg="0"/>
      <p:bldP spid="586755" grpId="0" build="p" autoUpdateAnimBg="0" advAuto="0"/>
      <p:bldP spid="586757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/>
          </p:cNvSpPr>
          <p:nvPr>
            <p:ph type="title" idx="4294967295"/>
          </p:nvPr>
        </p:nvSpPr>
        <p:spPr>
          <a:xfrm>
            <a:off x="1524000" y="260648"/>
            <a:ext cx="6019800" cy="1224136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tr-TR" sz="3400" b="1" dirty="0" smtClean="0">
                <a:solidFill>
                  <a:schemeClr val="bg1"/>
                </a:solidFill>
                <a:latin typeface="Calibri" pitchFamily="34" charset="0"/>
              </a:rPr>
              <a:t/>
            </a:r>
            <a:br>
              <a:rPr lang="tr-TR" sz="3400" b="1" dirty="0" smtClean="0">
                <a:solidFill>
                  <a:schemeClr val="bg1"/>
                </a:solidFill>
                <a:latin typeface="Calibri" pitchFamily="34" charset="0"/>
              </a:rPr>
            </a:br>
            <a:r>
              <a:rPr lang="tr-TR" sz="3400" b="1" dirty="0" smtClean="0">
                <a:solidFill>
                  <a:srgbClr val="FFFF00"/>
                </a:solidFill>
                <a:latin typeface="Calibri" pitchFamily="34" charset="0"/>
              </a:rPr>
              <a:t>T.C. RABAT BÜYÜKELÇİLİĞİ</a:t>
            </a:r>
            <a:br>
              <a:rPr lang="tr-TR" sz="3400" b="1" dirty="0" smtClean="0">
                <a:solidFill>
                  <a:srgbClr val="FFFF00"/>
                </a:solidFill>
                <a:latin typeface="Calibri" pitchFamily="34" charset="0"/>
              </a:rPr>
            </a:br>
            <a:r>
              <a:rPr lang="tr-TR" sz="3400" b="1" dirty="0" smtClean="0">
                <a:solidFill>
                  <a:srgbClr val="FFFF00"/>
                </a:solidFill>
                <a:latin typeface="Calibri" pitchFamily="34" charset="0"/>
              </a:rPr>
              <a:t>TİCARET MÜŞAVİRLİĞİ</a:t>
            </a:r>
            <a:br>
              <a:rPr lang="tr-TR" sz="3400" b="1" dirty="0" smtClean="0">
                <a:solidFill>
                  <a:srgbClr val="FFFF00"/>
                </a:solidFill>
                <a:latin typeface="Calibri" pitchFamily="34" charset="0"/>
              </a:rPr>
            </a:br>
            <a:r>
              <a:rPr lang="tr-TR" sz="3400" b="1" dirty="0" smtClean="0">
                <a:solidFill>
                  <a:srgbClr val="FFFF00"/>
                </a:solidFill>
                <a:latin typeface="Calibri" pitchFamily="34" charset="0"/>
              </a:rPr>
              <a:t>KAZABLANKA OFİSİ</a:t>
            </a:r>
            <a:r>
              <a:rPr lang="tr-TR" sz="3400" b="1" dirty="0" smtClean="0">
                <a:solidFill>
                  <a:schemeClr val="bg1"/>
                </a:solidFill>
                <a:latin typeface="Calibri" pitchFamily="34" charset="0"/>
              </a:rPr>
              <a:t/>
            </a:r>
            <a:br>
              <a:rPr lang="tr-TR" sz="3400" b="1" dirty="0" smtClean="0">
                <a:solidFill>
                  <a:schemeClr val="bg1"/>
                </a:solidFill>
                <a:latin typeface="Calibri" pitchFamily="34" charset="0"/>
              </a:rPr>
            </a:br>
            <a:endParaRPr lang="fr-FR" sz="3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8675" name="Rectangle 3"/>
          <p:cNvSpPr>
            <a:spLocks noGrp="1"/>
          </p:cNvSpPr>
          <p:nvPr>
            <p:ph type="body" idx="4294967295"/>
          </p:nvPr>
        </p:nvSpPr>
        <p:spPr>
          <a:xfrm>
            <a:off x="214313" y="1928841"/>
            <a:ext cx="8929687" cy="5500687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tr-TR" i="1" dirty="0" err="1" smtClean="0">
                <a:solidFill>
                  <a:schemeClr val="bg1"/>
                </a:solidFill>
                <a:latin typeface="+mj-lt"/>
              </a:rPr>
              <a:t>Angle</a:t>
            </a:r>
            <a:r>
              <a:rPr lang="tr-TR" i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tr-TR" i="1" dirty="0" err="1" smtClean="0">
                <a:solidFill>
                  <a:schemeClr val="bg1"/>
                </a:solidFill>
                <a:latin typeface="+mj-lt"/>
              </a:rPr>
              <a:t>Bd</a:t>
            </a:r>
            <a:r>
              <a:rPr lang="tr-TR" i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tr-TR" i="1" dirty="0" err="1" smtClean="0">
                <a:solidFill>
                  <a:schemeClr val="bg1"/>
                </a:solidFill>
                <a:latin typeface="+mj-lt"/>
              </a:rPr>
              <a:t>d'Anfa</a:t>
            </a:r>
            <a:r>
              <a:rPr lang="tr-TR" i="1" dirty="0" smtClean="0">
                <a:solidFill>
                  <a:schemeClr val="bg1"/>
                </a:solidFill>
                <a:latin typeface="+mj-lt"/>
              </a:rPr>
              <a:t> et </a:t>
            </a:r>
            <a:r>
              <a:rPr lang="tr-TR" i="1" dirty="0" err="1" smtClean="0">
                <a:solidFill>
                  <a:schemeClr val="bg1"/>
                </a:solidFill>
                <a:latin typeface="+mj-lt"/>
              </a:rPr>
              <a:t>Rue</a:t>
            </a:r>
            <a:r>
              <a:rPr lang="tr-TR" i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tr-TR" i="1" dirty="0" err="1" smtClean="0">
                <a:solidFill>
                  <a:schemeClr val="bg1"/>
                </a:solidFill>
                <a:latin typeface="+mj-lt"/>
              </a:rPr>
              <a:t>d'Algerie</a:t>
            </a:r>
            <a:endParaRPr lang="tr-TR" dirty="0" smtClean="0">
              <a:solidFill>
                <a:schemeClr val="bg1"/>
              </a:solidFill>
              <a:latin typeface="+mj-lt"/>
            </a:endParaRPr>
          </a:p>
          <a:p>
            <a:pPr algn="ctr">
              <a:buNone/>
            </a:pPr>
            <a:r>
              <a:rPr lang="tr-TR" i="1" dirty="0" smtClean="0">
                <a:solidFill>
                  <a:schemeClr val="bg1"/>
                </a:solidFill>
                <a:latin typeface="+mj-lt"/>
              </a:rPr>
              <a:t>2eme </a:t>
            </a:r>
            <a:r>
              <a:rPr lang="tr-TR" i="1" dirty="0" err="1" smtClean="0">
                <a:solidFill>
                  <a:schemeClr val="bg1"/>
                </a:solidFill>
                <a:latin typeface="+mj-lt"/>
              </a:rPr>
              <a:t>Etage</a:t>
            </a:r>
            <a:r>
              <a:rPr lang="tr-TR" i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tr-TR" i="1" dirty="0" err="1" smtClean="0">
                <a:solidFill>
                  <a:schemeClr val="bg1"/>
                </a:solidFill>
                <a:latin typeface="+mj-lt"/>
              </a:rPr>
              <a:t>Appt</a:t>
            </a:r>
            <a:r>
              <a:rPr lang="tr-TR" i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tr-TR" i="1" dirty="0">
                <a:solidFill>
                  <a:schemeClr val="bg1"/>
                </a:solidFill>
                <a:latin typeface="+mj-lt"/>
              </a:rPr>
              <a:t>1</a:t>
            </a:r>
            <a:r>
              <a:rPr lang="tr-TR" i="1" dirty="0" smtClean="0">
                <a:solidFill>
                  <a:schemeClr val="bg1"/>
                </a:solidFill>
                <a:latin typeface="+mj-lt"/>
              </a:rPr>
              <a:t> CASABLANCA-MAROC</a:t>
            </a:r>
            <a:endParaRPr lang="tr-TR" dirty="0" smtClean="0">
              <a:solidFill>
                <a:schemeClr val="bg1"/>
              </a:solidFill>
              <a:latin typeface="+mj-lt"/>
            </a:endParaRPr>
          </a:p>
          <a:p>
            <a:pPr algn="ctr">
              <a:buNone/>
            </a:pPr>
            <a:r>
              <a:rPr lang="tr-TR" i="1" dirty="0" smtClean="0">
                <a:solidFill>
                  <a:schemeClr val="bg1"/>
                </a:solidFill>
                <a:latin typeface="+mj-lt"/>
              </a:rPr>
              <a:t>Tel: +212 522 276757</a:t>
            </a:r>
          </a:p>
          <a:p>
            <a:pPr algn="ctr">
              <a:buNone/>
            </a:pPr>
            <a:r>
              <a:rPr lang="tr-TR" i="1" dirty="0" err="1" smtClean="0">
                <a:solidFill>
                  <a:schemeClr val="bg1"/>
                </a:solidFill>
                <a:latin typeface="+mj-lt"/>
              </a:rPr>
              <a:t>Fax</a:t>
            </a:r>
            <a:r>
              <a:rPr lang="tr-TR" i="1" dirty="0" smtClean="0">
                <a:solidFill>
                  <a:schemeClr val="bg1"/>
                </a:solidFill>
                <a:latin typeface="+mj-lt"/>
              </a:rPr>
              <a:t>:+212 522 276762</a:t>
            </a:r>
            <a:endParaRPr lang="tr-TR" sz="24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eaLnBrk="1" hangingPunct="1">
              <a:buFont typeface="Arial" pitchFamily="34" charset="0"/>
              <a:buNone/>
              <a:defRPr/>
            </a:pPr>
            <a:endParaRPr lang="en-US" sz="24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ctr" eaLnBrk="1" hangingPunct="1">
              <a:buFont typeface="Arial" pitchFamily="34" charset="0"/>
              <a:buNone/>
              <a:defRPr/>
            </a:pPr>
            <a:r>
              <a:rPr lang="tr-TR" b="1" dirty="0" smtClean="0">
                <a:solidFill>
                  <a:srgbClr val="FFFF00"/>
                </a:solidFill>
                <a:latin typeface="Calibri" pitchFamily="34" charset="0"/>
              </a:rPr>
              <a:t>Web:</a:t>
            </a:r>
            <a:r>
              <a:rPr lang="fr-FR" b="1" dirty="0" smtClean="0">
                <a:solidFill>
                  <a:srgbClr val="FFFF00"/>
                </a:solidFill>
                <a:latin typeface="Calibri" pitchFamily="34" charset="0"/>
              </a:rPr>
              <a:t> www.musavirlikler.gov.tr</a:t>
            </a:r>
            <a:r>
              <a:rPr lang="tr-TR" b="1" dirty="0" smtClean="0">
                <a:solidFill>
                  <a:srgbClr val="FFFF00"/>
                </a:solidFill>
                <a:latin typeface="Calibri" pitchFamily="34" charset="0"/>
              </a:rPr>
              <a:t> (FAS) </a:t>
            </a:r>
          </a:p>
          <a:p>
            <a:pPr algn="ctr" eaLnBrk="1" hangingPunct="1">
              <a:buFont typeface="Arial" pitchFamily="34" charset="0"/>
              <a:buNone/>
              <a:defRPr/>
            </a:pPr>
            <a:r>
              <a:rPr lang="de-DE" b="1" dirty="0" smtClean="0">
                <a:solidFill>
                  <a:srgbClr val="FFFF00"/>
                </a:solidFill>
                <a:latin typeface="Calibri" pitchFamily="34" charset="0"/>
              </a:rPr>
              <a:t>e-mail :</a:t>
            </a:r>
            <a:r>
              <a:rPr lang="tr-TR" b="1" dirty="0" smtClean="0">
                <a:solidFill>
                  <a:srgbClr val="FFFF00"/>
                </a:solidFill>
                <a:latin typeface="Calibri" pitchFamily="34" charset="0"/>
              </a:rPr>
              <a:t> </a:t>
            </a:r>
            <a:r>
              <a:rPr lang="tr-TR" b="1" dirty="0" err="1" smtClean="0">
                <a:solidFill>
                  <a:srgbClr val="FFFF00"/>
                </a:solidFill>
                <a:latin typeface="Calibri" pitchFamily="34" charset="0"/>
              </a:rPr>
              <a:t>kazablanka</a:t>
            </a:r>
            <a:r>
              <a:rPr lang="tr-TR" b="1" dirty="0" smtClean="0">
                <a:solidFill>
                  <a:srgbClr val="FFFF00"/>
                </a:solidFill>
                <a:latin typeface="Calibri" pitchFamily="34" charset="0"/>
              </a:rPr>
              <a:t>@ekonomi.gov.tr</a:t>
            </a:r>
          </a:p>
          <a:p>
            <a:pPr algn="ctr" eaLnBrk="1" hangingPunct="1">
              <a:buFont typeface="Arial" pitchFamily="34" charset="0"/>
              <a:buNone/>
              <a:defRPr/>
            </a:pPr>
            <a:endParaRPr lang="tr-TR" b="1" dirty="0" smtClean="0">
              <a:solidFill>
                <a:srgbClr val="FFFF00"/>
              </a:solidFill>
              <a:latin typeface="Calibri" pitchFamily="34" charset="0"/>
            </a:endParaRPr>
          </a:p>
          <a:p>
            <a:pPr algn="ctr" eaLnBrk="1" hangingPunct="1">
              <a:buFont typeface="Arial" pitchFamily="34" charset="0"/>
              <a:buNone/>
              <a:defRPr/>
            </a:pPr>
            <a:endParaRPr lang="de-DE" b="1" dirty="0" smtClean="0">
              <a:solidFill>
                <a:srgbClr val="FFFF00"/>
              </a:solidFill>
              <a:latin typeface="Calibri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844824"/>
            <a:ext cx="9144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tr-TR" sz="2000" b="1" dirty="0" smtClean="0">
              <a:solidFill>
                <a:schemeClr val="bg1"/>
              </a:solidFill>
            </a:endParaRPr>
          </a:p>
          <a:p>
            <a:pPr algn="ctr"/>
            <a:endParaRPr lang="tr-TR" sz="2000" b="1" dirty="0" smtClean="0">
              <a:solidFill>
                <a:schemeClr val="bg1"/>
              </a:solidFill>
            </a:endParaRPr>
          </a:p>
          <a:p>
            <a:pPr algn="ctr"/>
            <a:endParaRPr lang="tr-TR" sz="2000" b="1" dirty="0" smtClean="0">
              <a:solidFill>
                <a:schemeClr val="bg1"/>
              </a:solidFill>
            </a:endParaRPr>
          </a:p>
          <a:p>
            <a:pPr algn="ctr"/>
            <a:endParaRPr lang="tr-TR" sz="2000" b="1" dirty="0" smtClean="0">
              <a:solidFill>
                <a:schemeClr val="bg1"/>
              </a:solidFill>
            </a:endParaRPr>
          </a:p>
          <a:p>
            <a:pPr algn="ctr"/>
            <a:r>
              <a:rPr lang="tr-TR" sz="2000" b="1" dirty="0" smtClean="0">
                <a:solidFill>
                  <a:schemeClr val="bg1"/>
                </a:solidFill>
              </a:rPr>
              <a:t/>
            </a:r>
            <a:br>
              <a:rPr lang="tr-TR" sz="2000" b="1" dirty="0" smtClean="0">
                <a:solidFill>
                  <a:schemeClr val="bg1"/>
                </a:solidFill>
              </a:rPr>
            </a:br>
            <a:endParaRPr lang="tr-TR" sz="2000" b="1" dirty="0">
              <a:solidFill>
                <a:schemeClr val="bg1"/>
              </a:solidFill>
            </a:endParaRPr>
          </a:p>
        </p:txBody>
      </p:sp>
      <p:pic>
        <p:nvPicPr>
          <p:cNvPr id="140292" name="Picture 4" descr="http://img.webme.com/pic/f/fbmlkodarsiv/bayrak-2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905000" cy="1905000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2" name="Picture 4" descr="http://www.afrol.com/images/symbols/moz_mozal_aluminium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32040" y="1414487"/>
            <a:ext cx="3995936" cy="3742705"/>
          </a:xfrm>
          <a:prstGeom prst="rect">
            <a:avLst/>
          </a:prstGeom>
          <a:noFill/>
        </p:spPr>
      </p:pic>
      <p:sp>
        <p:nvSpPr>
          <p:cNvPr id="17410" name="AutoShape 2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sp>
        <p:nvSpPr>
          <p:cNvPr id="2" name="AutoShape 4" descr="data:image/jpeg;base64,/9j/4AAQSkZJRgABAQAAAQABAAD/2wCEAAkGBxISEhUUExQVFhUXGRwYFxgYGRoZGRoZHBsbGBkXHRgaHCggHhwlHRwaITEhJSkrLi4uGB8zODMsNygtLisBCgoKDg0OGhAQGywkICQsLCwsLCwsLC8sLCwsLCwsLCwsLCw0LCwvLCwsLCwsLCwsLCwsLCwsLCwsLCwsLCwsLP/AABEIALgBEwMBIgACEQEDEQH/xAAbAAABBQEBAAAAAAAAAAAAAAAFAAECAwQGB//EADwQAAIBAwIEBAQEBgEEAgMBAAECEQADIRIxBAVBURMiYXEGMoGRQqHB8BQjUmKx0eEzcoLxJKIWQ5MV/8QAGQEAAwEBAQAAAAAAAAAAAAAAAAEDAgQF/8QAJxEAAgIBBAIBBAMBAAAAAAAAAAECEQMSITFBE1EEIkJxkRRSYTL/2gAMAwEAAhEDEQA/AAtTtmKaKUV7HJ5h2XI/jDwwEdBpHUb49DXfcFzRLltXXIYA/wDFeJCuq5T8W+CgTwxA7b+u9cubAnvFHTjzdSPTrfEKanCnt79a5XlnOrN/5GhtypwaKW7prjcWuTpTT4NnMeVWr66LqhhMieh7g1wPxf8ACyWpu2iFXqh2n+0/oa7leKPWtF22l5CjgMCIINbhklBmZwUkeHtaYAMVIU4BgxPadqravWuaqlm2bZVWtlSADjEQAB++9eU8QBqOmY9d67sWTX0cuTHoB3EXwGgkCV6zGSJEgGMdaxcbdYEuvsCD9iDt2qPOLLBjc0yIiRuPcUC4fjSjTME7wY/LbpXF8jJJyaZWEFSZ0ScyIEkSPz9v3NEOH4tScHPY/n/j8q5m/wAaJ0uuTGGGhu+JwattQSuloIIwcHvg/wDNZhnyRdXf5Kyx45L0zvvh7nQ4dixUMence3atl/4suG4bgw2wwDA6AelcEvNGSBcU7nIieuIO+3vW+xxiP8rCe2zDE/Kc11xljm77OZ64o6q1z0uwa/ccwZ8s/Uf6gVqv/GN0KVts2ScuFkKdgCuJG01yc1IGq+KJjySDXLubvaLOG8zdjnv16Vl5rzi7fMucDYdKHsajWlBXYnJ1Q5ao09NW6MCpUqiXA3I+9AD0qrPEIPxL9xVPF8cqKWENHY/nisucUuTSi30aaZiBk4HrWK9dfSrTKnokT6QT64+tUeIiEFmFyRJ/ER1xnI/fvJ50nRRYXRvHEKdpPsMD67VYrAiRWG3zNWYKPKDuzbKD+IqsmOv0qm3xeh2G4JODCkdRiSdv0FY/kRvnY08Dq6CtSFV2tUeaJ9JqddS3RziJpTSpjQA80qaKVMDToMTBjvTUT4Dm72RChY64kn371ZzjmiXyD4aqQIkb/XoRU7d8G6VcgipCkRUrdskwASTsBk1pmQhwF+wpBYXMbgEAN6YzFH7vxRbCjwwVIxpPy/feuQYR0IPrTVKWNS3ZRZGuD0XhPimwwGpoMZB6Gn5h8XW7a/yodvyA715zSJrH8eNmvPKg7zj4kfiFUOBgkyuMdvT/AIoEz4iBvM9fb2pqarxgo8E3JvkasHG8os3J1LB7jBohTGiUVLZoSbXBzXEfD9xRFu5qX+hgCOxgGVmPagvgXbTAXCUUnJIJAHpAP5Cu/qLrPqOoNRn8aL4LLO1ycbbN0CVbUo3IhkyJgz5pgjb17GrU4hSFZwVxIZcqc4MRPTpPWi3HcosmQCbTER5CRI6jQNx7VkfgigzbJWIlMASBLBFyMiYhtvvyzwaeCscikS4XibgMo+tABhpOOu5DDEbmtfDc4UyLgKEdfmXp7MPqKC8LwygawiksDEbSCYJ0XAVYbgPE4JFLhuKvFwkJcEwJYKQegLE4nGSSOtYjlnHhjljT5OnHFIQCGmZ2zsY6frTtcMTEDuSAPymuZuvbRtGsI4AGH1LkSR4inzduoJ71tbibwyZdJkFY3GcsARAg4I3irx+U+yTwroKa7m5Cqv1ke8iB7013bza46nUo/wAMB+VCrnN3kALBPcnBLGBghf3tWezxN3EAhZiQoX38wEmh50/Y1iaDTKqb2zjeUJI9dUEfQn9BSOd00r28gn38wx6DegyeI6TBLahuwiCCD+IGQQv3qKcNckElAJEjV9dpOaz5n6NaFfIS8VLckT3hXWZjPyvP39q02eNQzLagQQBhpZlKLlR0JnMzpjrXNPZIGblqf+4+39NWNChoZWYFZCkSCNQO/wBPb8qy8skqRpQTe5tW2ASyAPb1EQGKg9iAcgZxv16VZZ4MuZBS2NtIkxBjqQv1M1gTjRmTpz8qqG22yPrv3q3h+MVVOlWOfxkAdSYCKDGNvzqVx7KNS6N9vgQDuSD8g2GTpJKg9QY9P/IVqu8MoQYAnMwB0JyT/ugt/mdxhhgIypEYOev33rOru+9xjHSY+sCAa2skF/yhaJPlnWIf3+f61KhXBXSqgEypwrHEHsZ9oG8bUXivQxZFNHDODiyNPFOBRPguRcRdAZbbFZiYx3n29a22lyZSb4BkU1emcs+HbPhJqsgtGSQsn7ilUH8mJdfHfs4EWhBOoY2HU09jhXf5EZvYE1WDFGeXfEd60AAV0jZdIH5iKpK1wSVdg4cBcmPDae0Gau4XgL5Oq3aubxIU7+8V0vAfGsH+ZaX3WZ+xokvxzZ/pcfb/AHUnPIvtKqEP7HC8Vwl8y727n/cVMfeKjyxLZceIYXr6+k9K7rj/AIysm2dAJYjYg/8AqK4DiXli0AajONsnsNq1CUpLdUYmoxezs3cUbGpiqH0XVge3WhpWmmlVVGjDdkzbEfMPbNVEVcdPYge81XFNARpEVU3ECYH3g6R9QI/T1FQbGWMyYUMVzAUwqyCTnEydomsvIkNRY54hZgEE+4/f2mmUliRIPopz336/lQu/8QKrAaJk9THQDAjf7Vh42+7HS1yRMgDVuRv4e8wAP/HcxNc8/kL8lo4WEr/MbInZhGAADmTqzt/TmarucfjUiqV9QDB20t65kd8ETQ+/bLHzAaxIOokMxwZKrIMiMyJ65JNT4Sy5mLbH0HlGD1OcxONQiai5zlsWWNR3Md607nURo/u+X7/amHCMXnVrLEbYciAOkAiOoP3oza5VdlTIWDMmNY32cAk79xWpeTKR/MYue+0e0kxv0oWCb6E8sV2cpdCF/KCdIB82GkHOcAjbcTvnFXcY1yV8NVswsEIILZksxJJcn3I9tq6o8nsY8m2xlpHsZwfUVju8jg4OtCI0EhDvOLirJ9m3xJxTfxZGfNED3eIKS1zQxwAEJ8TTBJYlRpAz8pM+bao2nQiEuaWI1aWOidyB260RvJ/MCqjBoJCOq6ScYUkwZEzBY++9VcZbeBbdSBpfU9sEsymMsZmFMGNQXA8pOak8TRtTRU924hXELmREid8BjgHT0J+Y1bwto3ICsGMSR5Ne/ZoM4j9az2eG0Ww1q80+YLZA1loySegkY2JkrgTIgl3bxbLE5YtbghQpA1ZwAJBmREjvWVa5NW62N78qbVK646z4Ujvs379abieUl9xc9PlYqRHmwRqESOh2qHBca8AWrouicK+WxvudX2JFPxvOLskBdB6z5jJKjsNonP51XVirsxc7oHHgrquA6tEkzhQVGJkwBmO5p2vKBpUgzuSTjBEScnBNZ77O/hhmmSZJIwSd4kDbScEb+tD+LtstzQTkR+cHsP33qDS6Kb+wu0kkiMqAZI6n29v2BWq1yR3ObiCAI0/MNx0xsKFuwBKj8MT7RP3H6elWWrLk+UmSYCrOYA2Awd/ypRpPdA5NrY6LhuSICrE5WDgBZIgyd5P+aN8PYLkAdepwB7msfLbTLbUP80Z9/wD1G1awa9bHBRjsqOGcnJ7nQ8k5EhuDxblvTuAGyTPYgYietejWOItoANawBtINeOm+YAkwKN/Dd9lcFULNtmIj1JyKjmxN7tlcc0tkj0ZufcOMax9j/qlXMXeZXQfNctT1hsf4p65/EW1nCkU1XFKiVr0EzhK6ealpptNMLHBHr96aKcLTxSAhppRVkUxFNMZXWbjHCjUzaQATGIYyIEEZ+nesvMOcqkhIdv8A6j69f8etAeIuvcMuZPTsPptG1c+XOkqRbHib3Zuv/EegnwwrHElgc5P4ZxOd+h6UE4u814GVgsZMtqIziO4jvFal4MFtRPpjH/NTZgJAECuOU2+TpjFR4Bt7g3ceYkx6KNsZ6zWvlLFGW3dci17HHvpyRMZyR2qTOehk/b9/Woi5+e//ADn1/wA0kzR1fD8utKBpUEbgnzD0I6DHatcVzXKuPNvG6dR/TncflPTPQ10dpwwBUyDsa9HDOMltscWSMk9yUUqeKUVYkNSpUqAshetqw0sAQdwQCPsaF3+SqW1KZmQUuFnQzk9ZB9c+1FjTRWXFPkSm1wc3x1s6jqTwzpIDs5NstiJaIG0QQoPpAFV3lZNSOVNtgGcAjSZaFnaYIYACIkkbV1MUPfk9sMXtgW2IgwAVI6gocfaD61zz+PfBeOX2AF4Fbk+XIUgYIUEsIdgCCcBjBxJ67HGOIvWxM6rQOS8EEsW0gDDTC9IiegNHrnAuHLOgKkATZHmETmCes5329KFcfwdq6LrC5BSSFeQ8QCSFMHfG3SuaeJotGdgziuIVoJTTEbHAGw3/AHtVdm1swPlDCSceu3+qdWJMjSyH8JnpGYwdxmKuSyognpqIHqdKDBqD2KL0aOFdBeYuupZ0wSQARscEe2TFauA5nbtOQNWgtgACSIIUx9en6UN4h8naegMQMnJnfOY9M1PgrmjSWUw2CSJEkmAfUD/NajJrdGdK4O4sE6FYgqG21DSc52NWihHGcze8QXMzJHbMmAPYDritPLbhJInAG3TJx+tdmH5LlSaI5MKirTCANSF09z96e3bk5kDqYmK6zguW8t3a8SOznT/gCa6JzUeiUY6jktZpV2b8HyucEf8A9CPyJpVPzL0/0a8T9r9kecfCfhIXS6HjdSunHUg6jn0xXMlK6LiOdu3ldTo6qGZdQ9cmhXF6CZRCo9W1D7xSxuX3BkUftMOmlootw3EWgPNZBPQyduuDuaL8KvCsgI4S4emqWaT3IBpyyV0JQvs429qAlQD7mP0NUPedXKlWwJgLqwJkyrHH0n0rofiDgLVkC54mhWYQjKwbaTG8x+tcjxfOQjzoYnQAJPuQdiIGBH9pHtOWZezccT4otvc4RPmBmSIEE49DBA9YoNxnM3vSPlX+kfqev7xWJ3LZMg+5Jn1JPtS11zzyylsWjiitxD2H760i4+tQb3Hp+/2aqY5Pb6Z3z6fnU6KlzOZgfWqi49D+/Scf8VEgzvj0/wBA702n2j7d4O/qP3migJluoiOv2xuf161Ws9iCPp7Z6D9+ytjv29v096nbVpJAMeo9RGBHagBK2O4z/bnbf2j7Vv5Vx7W2jcT5hj0z79J6gCsIsdcH/wBbH1Hf86cJIxjaIO33/wB01JxdoTSapna8PeW4upTI/wAeh9as01yHBcY9t5U9gQZhuwjr7+vSuq4DjUurK4PUdR/sev8Aiu7Fm1bPk48mJx36LdNMVq3TS01eyVFJWkFq7TUhaO8GO8Yo1CoI8D8NXr1vXbNs9dOrzR0noCe1D+Ycuu2W03EKn7g+xGDWvg+aXbRm2wU7YVfzxn61Tx/HXLx1XGLEYE/8VNOereqNy06f9MGmsHP7Sfw11mUEhTpkAwTgEE7ZIom2KE/E5nh3G0xn2YH9O/StZGtD/Asa+pAmz8Icwt3EtW+GS67JcaBDBRq8JmY3ICtK+XMZBG5oXa4K8bZu/gUgMQyQCZKgidWSGj2muj4f4iUa3VnUFy3YfJojB6eQ+7NQe3xJK2rYiFK4zBYFj0E7sdq8ySinydrcq4MTWhjRcGzEs0iCApK5BwZ0g9SDsMnPxF3SAA4GBgnGrykkqOpHWO46V0/GE6GurIFssonodRt3HgHZ8z6ifxE1QeRpxKW21kBUUCIOSzEjPqRW/E7pGdS5YE4cAAaTAJzBHf3zjFdN8OsxLZlYB2ODqYASd8A/lVvA/D4AjxPKMAaYP3k5ovZshVCjYD/mq4cMlLVInknFqkNFKKx8VzCMDGAQTGZnYH2OfT1rbbfUAciQDB3g7V1RyqTaRFxaW41KrAg7/wCaet2ILG3T8Vx960g81wJIAgBlGY2ZSK1cTzbgLSnXd1tPy25Zvy8o/wDIiuW5z8XIwK2LWgbi47anxnYeRfrr9xXDLLHg6I43dhSzzFCj3GZAqkhi0JExGAR36Dehr/HbW5XhVGfxuCR9E/39jQL+Gv3UNy65S027XSwBIzpA0lm6/IrDHSKGkhTFuY2kiCfzJ+kx/ipvI2qKrGk7NXHcRduuXvOWc7yQWwe2yien2FVcXxRuEFoJAC47AQP31is7ev07VEGcYgjrMekwD1qdFCbGO2f3+lQyNx+/X0piZERsIOMY9oOfUdj3pZE4P2nbPY9BTAYg428w/fWe33pnnOnacH/OcQakrkGcfcSepG+JEj6juaZsb5Edvrge57D86TAgH07fcwPYZ6dJNTR84G+QAM7kbQcwf06wW1HoOmDE9u3WnjHoO8Tj/wB79yO1IBLaGcQcHf7dcg70p3xtuOxJx+v3+tSIjp9w3r126/42qtVExn6TnbOYkyCIH36FgWG6DgScZjOd9snY06sYOdzB9f8AVZ4mAdx6sST1P92I2P61bBiQ05yB277be3egB27mY36HMEx+/SrLHEFCCp0kdt59P9GqlU4BOIxGNxjJMgZH3j1E0cgTMkj69D29Nsbfd2B2HIeYjiGW2SqXCYGpgFJ9zsfQ/Sdq6m98MX1GAG3kA7feK8kVs7DbfoeuMbR7fWuk5P8AFdxRouXLjJsPMZX7nIH3/IVeOaXDISwx5R0d/hmQw4IPY1WRVltg4DKQwOxGQacpXWmcrKdNNpq7RS0UAA/iPxha1WYDDcmJAOJE4x67b1w3MeJ4zSpuNcKOfKWEqx3EdK9P4pYRj2U/4NYr72R4Vt1V3YAqh0FsjcByNyCMZNSyQ1dlMc66PLv46+ABqIAwMAR07VK3x1wnNw+/+K7H4us29KKE0MCTkeWI/tJWdvXbvXONwaMygKufQx6/Ln7Vxyg4ujo1plC8Vd6XZHYkGtvKuK4tmK2pMQTkAYiDkgQAAPoKIrz25oW0li2gIKlSpAaWK4GoaR065Bz0BmyQHLlCrNLEkpmbjgbMYUqAhJz8sDY041ezCSa5QR4BHW2PEjX+LTkT2wN/arXWd/t0/wDL9/eq+E4xLhWGGozIJGoYJgL9M4+8UQHDmCYIG8/WJk+uPpXbGScTla+o5zjOAA8QgfKszqZYJVjjf0EetGktgADsI+2KxcVbY+JBADXEQyJMxbAggiNz0PTvRRh1rONJNhKynTSqcn+36tB+wBpVWzNGX4c5ZwYOrjGuhZzHyntI0kjPrVXxDzfghbezwvDqNUDxjOqAdUAuNW+DmP05u7ddzk47dB1AjpWVpj/jtvXlRT7PTk10O13AnMCAOw3gfWTUdQjcfT3xP76/SoAznpP3OQPTfqD96aQO4kQeg64iK2ZEXkxgHfP6/lUZX6mJyCRHv9fy+r6RB/2M9APp2+tRYHIxIO4EiekEYP5774yASRusDSRjA+mTinntORgTtt6xGY/YpJbgSAwB/wDYMdfpv6VCTGM9QYgY9CNxO3rQBai5GMHviREkD99fSosBsD07RPoY6n9abp2PzTMQYzPTMgdOlJLZ9c4UY3+mDj6/5pAPpI/DnvExOfaJpy0Dt+vy5yY2Ax3n0pgw9j/kf8bT6+lRYk5IjH2HUHPQe21ICDjzHSABIAnYjv8ApUvCgA5nptGI6Tj69/SkrzLErOBmfMcyZ7gR23EdaQJ6dIGQfpkGO1MCWlognb6gkZ7dN8elTLzmRMgwSZzuB0qsxvOr6b/kcRUgTMbmOg6bSOvb60AK0oJg+4GCe+YG89RVptjYzgYGP2O/tG1UMu8bY3679P3tvVgcnsM/nB6Dtnp0PegB1uRtnv8Alj9+tV/XvnAHX6b4mpXTG4jAn/UEAHb7VXbsBdUT3jYTG0DYyP3FMAnyvm72W8uRuynZiesd/Xf/ABXdcp463xCyuGHzKdx6+o9f8V5tIJ6zJmQQSf8AfX7d608Pxz2yrKWVhJHU+p/OIrcMjiTnjUj07+HqJsVj5D8S2r8Jci3cIH/Y59Cdj6H6E7UevBEjUyrJgaiBJ7CetXWVMg8dATmVqLT/APafzxQb4j4ZbZN+BqteGFMAmQxAicb3Af8AxFdbzThZtsO8D7kCnt8OC12RI1bemlR/kH7U3KwUaPEea3WuX3fUzAtuYBwAuygAYjasnFuwIEZ/3XS/GlnVxbqVACHSNMCRuCYXJg/+4rnOK4YDYEfUVzS5KJqyVm8xK/MI2z6lsfUk+5NFbHMLoUrrOk7ghTPm1ZkZz39tsUD4KTvOO/79q3hqx+BSbTC9jmDIZUKDqBkSMSJSRnT0gEbnvRK58T39IAVRBB6tsCIzv0jqAIzvXO2zmr3eKTk/ZhSZr4XnFxfKFBJYMB5jJUhgBB6wJxRofES7P5TmWWHCyRsCV22gE+9cwL+YUQPuT7n9BirVtnrj/P27+8UKUlwzdOTs65OccGBm6J/ut3S31Krp+2BSrkgo6AfUiaVPXI340aGSFBIdsfhCkTqEAt8q9d5ycTSvWiRqW2UCiYa4pc9Z+VTv2zsa0cdwouRcuk29MZTyalksRpKBZ953XfNY2cE3CpDEwwVoAAEZxH3I67VOGRSOmUHEtt8IGZQuoSMggbwSuRMAiBkZ7Un4AaZVSIBDKV2OchlGlYjOT2zMVv4K14g0q9vXOQ10WzqMEnW40vuQRj3oFa4LiAz3ELEISSSpWDME+TDR2H6RW7MUaltlh5IK7kDYD+onVkbZjPQZNZykMQUMgYXHUdCTLDMjf6kVTfJOosio6iZVWEAEQ3mOep3O225p+M5w2fDKkD8SoFKAmTgSDtE74670xD3rYB86MJ2BOTtn1EjrOxq4lBAIf6wO/UiYicGfpWS+ThntubkBpkjHRsYkkzH2qjh7r5ZUc28y4nrhiZMaft3oAJXbVs6SCwjb5TnHYbdBO+d+kVtDqRkbyBMGM6o+x9MQKqtXwFgO3UmYME9TJ0wQo2rV/FMhQ6hIggEKzSJkhNyRnJwP6h0QFN0ISZds7iMTtsD9t+u+afwvNJcggyRpjIyBDHHQ4MDsKt4vmIaCE06/KN9RP9UEZnbHrjadlw6oLqioxI8qAsNxt0jJMDcTAmkNGO1woJ1qfKBlgrQoO3XHsd9sxVa8LInUpx6x64kgdd8e9XcwJ1BIJIA0yGCqZH4mMBSTgKQJme9Sew1u14lxyB8owRq7jWCJjr+E5BIoAzvwTKAWkdttONzBIzsMHEDE1F+EgTI67wfaQfp962JwFxke4QAGWUgkKSGAYKXHmIg+UE+5IqyGAkkEk4CiYJGlViRJkiYJwN+wOgabPSRJkY7/AG9SO/8Ak2rwrHYg/X3P4Rk57g4A71t4S7qMEKWBAYGCJGSMT1xHsPU2WRb6lYIERkmduhOP074rVjoG3LDDLbjqcntnv9qqFkkewB2xuM7zOevt1milyyO8ntJmYkbY69fWs9rh1mF3npJPYgATJz+XWgy0ZVUNuv8A9TvJOqZzHr2G9QBAjBx0A7bbY/fTet7WF7mYBzI9RAz0A6/WoqhA3boYid4OSRjcbkbH6gjIrAAZOdwcjA7d62Jx4eBeLXFxku7RgLuDmABjOAO0VGfLBU9SdRUGB2BOfSMmYzFQ9dEj69xJz2xuJJgelJq9gOivc6Jt6TxQC4AAe7ICxpMeHM467xWng+fOssvFK5Jk+IygN5tRBDKsA52EwTmuYCALJwJ3J6n5cDaf3tTm1BKkqDMeYkGQY3aDiMx327T0PqTH9Pozc7483eKuvEanOx1DtgiQRAoTx1zB9cfvFHLdzVEASd9LbCeuTHX86YsgJ0+bB8wkyO4iMepAq1knjV2ctaIPQADfPfbBP+K22+DJthxdVdyV8+qAYJwmn8/8xRkqjbrM7YnbBH3qr+GtNsq56mftJ/x6Vk3QJIugTqBHowORBIxknP72o1y7xlUajbI3g2rTvk9XZJGfU9vSq14UDI0iMmBufzqw227mJHQz7/kftRQaUW3bizIVV9EUAY7RtOTArPduztk/XFM6EnYx++1LRI7eg7etKjRQBc/q/OPyCxSp2tj+77T+dKnQj0C/y8MWDBNDLIQqjCZnYef7k7+1DjyJGTzJw9lzmbYLsO4gAalnsZ9ela34/wA2h4nJCktBIyZAnzRBAaT74kfxXxBbV/BWwS5ZdOqBbLFhpIkYzBkLOK87HreyO+ejllF3kqJbY6g7FWEMrRmF1hV8+A34hESetDv4hSBaFsfy2HyqEhtiSsyRPXJ2JmBPTcLzw2nbw9CCRJYzgEmAXIAyzHIOT1gEYecczNwk8J4bDSEurCxdUMSoYg6SBq3OdvWeuDlW5zSUeit+FcIWa+jW2ljbJ/lgN8/mzvG5gDtQ7hrIAA4fwJZgVJ0roXIy8eIwkYgZDe1PeVnY+Lq4e3bIc21JMsBiI8vbOnrVnB37LD+YBqDDTJ0qJjEYUknVLTiB3zQwaOd8EA8txKXTo1FSHGkRLOo1PGqAsYneN6z8RwptqGHhXJAhEKhyBkBLlsDvtLSD12EzwysPEss6QQHCq09B8ysWZcgead/N3qi5ftA9LekBlZjpL7jyggGB2ImehmaZnYs4Hldy3bFy5bYzCjXcW2ATsoViDuCAZJMYGaEWOJFu4kR4yQ3mxqackuV1LjO4FGrN5b6oXuwFJjDxB2YCMe+8DpIjOb6LcYG4kgjzsxtOZA8srsmB5cjrAJmgKKxz8IhVrAXOkuyhip/sMEhgIyI2+lZ35wsFCy3UcnAB8QfUiQY652xG1H141LLDxAH3bStyCRI04HmEGIyQe07U8zbhbq6l4fwtEliSXY+bEFn1gZPSM5NAzmCbDYd2AH9JI9zHmmTRr+I0JbuBtLa82hrYadMkkkEKxwIjodqnyheGuIEXzO2snIDndSYLaflPl3iruY8iR0AVnBJhFdiRmR8oiF6ST1AgzFAA5ucm4AygpbltTOZQHSAxVPlZ4KD5ScrVdy+pkGSJwWPlVsEAIWAUQ3tn7EeVcz/hGFkQTOXtwZLYP8sxMbeUmQDWDj+X27j3Ha94bNkxaKq/eJCgZ39pM0ATd0UK6sb6s2kgLpIaPLE+YiQcbRPTfRww1Wy1z+Q2qJuuwwRKgBgVIgRGI3gbEGeAFpoN06fm1oDtklS0wOmwPzD1jfytEkEWvKTAKgFtGIBOnLSRO36UwstfiCBrF9gAPLqKZbKMUCnKSIyMgbnNT4biPIuFJM+ZYgSukAKYziZnOBA6ze5b0DXwyWdBMN4h80GFHhg6VIkTOSWJ3NWcQNalVNtnuiTqDKROCAWAAYAfIOxJbAoEY3v2UlUlzOGYy7En5XCgqGA6AxnfE09sMyqyl0GdkUs5gzMkDBkSIERg1TY5eGX+VaZnJjVOEJ6tEscCYG+fap8LakOlxSLzD/qXG06M+Rghhx6k6txgRQIlqd8SwBAUnQFUtMz8w1ZJGAMacbVk4cLZLa0B1AaC50Mv94GNz0bcduthL5B8UrGkPBcM4hYAJwpOwJG2I2q08G9vWxChguoaip1AE+cAjBGTDSTp2mJYFV5ndYVjBIByehiZBgwJ3mKXEhMQHZwDr1CFHmgFT+KY3bsB0q//AOQ/yW1J3lwQGk7aTBLTkQJias4S+tq278UrMWAVAgIxMyrhwZEDExB9aAMli2FnSuktGqI9cZODt06nIq5yQNBJA9APb+49uvXbNQ4a0dHyOgHm1uSoMwZyzEZ6rGBk5NX27i6tRZSgwXEkGI8igGTOMwNukUhox2Q8lUbaBj5hLARryBiY9A29Ndu3UJUP8ogqYOBGFMkzO4ETJ9a2W+Fs3CUa4yBYlSgDtOr8K+WIHzBm3iBIhcfwFoFVtXDcY50eGwboCUKkrqgZxOZ7AAGG2438wQfKCgJBGd+0TifQ1YJMdxiDgjciFA9ZG3WkvhFlTIJ3AkkzAjfM9v8AcVZe4IWravfU2gT8oXzTuFh8zEiSepzNAii5xBByFX1IAAJP9QLAn7U3D8Sd2tzndTBjpEnB+u1EOA4C1dXVaE25gqx1tPzGY0gAeo6fWtfNeX2UVnVQZiLauRAwIUMWbVMQr79MUWOgbq/pdCBgHVExiYOaes686sp5Xs3gw3HiBY9IKE49fy2pUAdlb4LhmhdjP/6yVIyqy0N4cxHl9sLioc95Lw6p4gvHh9M+KNSlpAUgKxAcE6sLnbG1A7nF3rLN4bWkGrUUYAITOnUw2k5PXeAdhU/ii6eYMvhWbFpVVSzag9xjBEl1Ehd4UwTAnoBOEEkUnO2RXmaLKm2bYEDVcBBf+95WAZ7Htjqbk5sz3bdtWa7M6haM4AOlfKdUFomTEQMULuePf1pNtE+UliFU7EaV9syTHaNqbhbz27ekK3DhSA91VcF4kSHVSPUknE4mqE7LuY8rvJcDjUoY7apcEiTHnZjHTUegmpW+K8MN/FJr0kIniW7bYBksSVn0jUB5hUb/AAl4a76JxDi2E13NQujS22obqD0JGDFaLHOrnDsA5i28FCBIRjE6vLkxkxMERkUADH54qklba2yp8ulmCtOCDb2yDO3SivJObhFNwcOqnSSbhQhCT5QB0KxMz/UarHN1W54qrbswoBZ0Yl5zKgMDkid5mdhIq7mnOLN201uxdPiXBqJAKKo2ZDrzkSZBO4zvQwRi4Xny4V7auRMOgWJHSIB2z77CqL98KCBqe60TLHTbAyAqjd9jJ2naa2cp47h1TTNjUCF06CuqcavEhlgdSentNZeZ8H/D3xNy3LMxhJdQrGYkROkdwPypAyFnirnDgTpLTqBjPYz9hn/VFuB49mtsbQbVcBtBlDTbDAFySOsCPcg1i5tcsoqR4bhicsZEAeaNLSMjcTnFQ4DnCW7bIpdLBJAcaiVY5IEEGSp3MwVxOaBlnA8juojFVZbRaDeEKwX8QKnO8CYjPvE+P5WqEnziACxyWeII9AcdPWrPiHmd4Lbti47WrijxIKXGZDPUrhwo3B6jNB+GRvDum2LrW5KKhic4JY7yJyFESRJoFsFOF59/D3Wu+H4mBbLyS6hdxqPQz+QroU+I7F5A5ViCDKldQ7GVBOa4Xg+GcK4QqSoMgsYI6kIB1/uOe1LlvGEFVCyr9BjzRkwBse1A0zuLPxFwllSi+GQZhbY80mYA8uMxjFc1Z5v4xY4DHcgaSSMYYQZwCM9Ko5lwyeRyvmDAGOvudp9dulY+N0tFpB5hkeYACMmcwTvtQB0H/wDt2fBdGuDUQSwXIciWgiApk9Kf/wDJR4SssIgUoZQBjMHZcN5gO0QO1CfC4Z7iobbK4WWMnS+CZPWZIyI2qPNQk21b5JJPTpQKy9ONa438r+Rr/EACTj0MgmBjb3O+bjuIt2/kuE3lklmBJ1A/3MQPpWROGulBqMqqtpKFSVMgknSZiJ3q6/aVEItjUXTzF1E4MmGDeWex7e1MRt4TminhwvEyQ5OhgBAMiSSNiO2/mHelcW3JR2QgQUa2wHlgRkbEnoe+KypyDi7ti28oyL5UTWuqD5pgdDnM9Irfy3g7du5ZSGS8AZ1A5wS0e04IiY3yaQy5QAruwAMyvnQhhBMwT5TIXBxlu9R4O5bRsAI5VVAuOIADBwQ0MQdSqwjfTHcVgvcQF4h1vlXKSo0gAEnOvOJBJzVipdeGGgsM29RCSreUkaiIGce07UwCdjhrmq4o0sifMFEhiwDAfKAcGCAxPTaKG8fzN2txpueCWIU4AWIUqxAOxjcDejXKVuuAltQoILSwZQoGC5ZsSTG2D2jaFtyuoW7guXF1B0BADdYx5h1zOZzMUDOdv3bgUFBcRywDHOp8jRDbYxgRlutaORXdXEIg8SzcD5cFjpz5m0gagR6GJireScyZiVKi3bbyqTsW30logk1RxfiC6XXTmJa2+tgqkEEmZnAz9qBHQcxNm23/AFLl66kkam1vbzqZjoUFTOSZ9OtCua8QbtoLBe185uAjynO46mD75jpU0tXeOuFrVpjeCq7tbEjSDAgEgufTfG+KxC22htS3EKeVma0oRT0UodpBB927UBZHgVti+qgsqkATaJHWQ2sfMTncbiPSrOK5Nde5c8S6FdG0qCunVAmRBx02msHB8qu3208PDxkZiNsS0GP9Vr4C9xAcWkQXXmfL1ycal7GRMxigEbWvxgrxIjELpcYxhiRP2pVVf5PxRYnweMX0RS6j2bVkUqBhD4h5bfvlrgCqABAlbaKgHQDDduhwPch+ScHe1aLXieIylkWIB0gtcBUEtgDERtWXjLjXsamFtd2IJUE7TA3OBJoxwnMSlhbOorf86m4zvqUGV0gThYG0GZPegyVcXwd+24N1dRfTpRtUb77QNpIVjuBGSArha8dTpaDqvlRiYbpOnQT2O43GazW+a3tMNdc3QwZBcQFMEZBIJmCT0EDriitq9evBfFuW5jELJ640wNO5wPtQMy8Tf1LKOyOQqgooQAD5VlAAFAxJM/nUV5SrWibt27duSCsNKKgjUc5YxqiMCBvOCHHWbFvShttcvfh0Qh/7ot53j5hkn3rPcuPqCWwS6YuatTrDHMzJiIMjt1oAF8VytQUU3NNrJJgOV2k6QRO/p6mjHK+F5d4xs8SG0aQyXFXzsckKVRZE9t8HO1ZF5WVfxLrBoOyyQx/CFmJzJ966blHK/KGKhXJJJHzZ2BY59Y9vagEjFz/guEt8Lc8MWwrT4ZVAXJnAlvNE98j7iuL4PhC4M3dJKklYeYGJaQFj/wAq7jnnCpbQq58jZIBK4GSWg5H+YA6UHvy76r58RTAOoEt5SFVA+oyojEEj0yKQ2gdwPG2EW4sIzaBouOskMuwVWkBT1nG+DRDikvXUW21nh9T6dS20fxFMHQfDRstk4AxORFU8wucNJLW7cqF8O2gKsxLLJbTiNMwJmpeIt2CyqDsE+SVkldS759JG2TEUCB3AXr/DjW1rUNRlXUyDjUZ3Gw+1DOMvlrhcjSSdWmCAuZAHWAIrp7/DXWINu1aQdD5i7AwZ1acDptgg1h43lTOCzFg5MQVwANRJYj0EzvA6yKAMVnmCpsqeYnxCAdW8+Uz5Vz0iYzRJOeKqaOHtkzMrp29TGWbbJ/Wmfk1lyrLcJt6QNhJIxk9Nh0q3gOVqpBt+IxLAKgQy8nC6ukic9+3QHuYX5i0G26i2WBEaWBEiAcnGa2fDvwz47+bCggEqZLSfmG8DIz647g3xfKbzBl8NGQCAlwktImR4kahp2+hzQ74iNzhHFmxc1OunzLPiAFQRtPlI0kdRIBzQD/033uBtm4y+GpKnDIvmOkkA61II7RPQ74rneacVbZrjQJUhVE+UkHI0gQe5kjbqYqzh+KsNYLvfujiipVVRfKdwqt6HGR/usHDcrOSZO2mBIJYSAYmD3HTrkRTEx+Fuusu3hqjzg4kbQAuY/e9ZODsu9xQmNRxJ7Z3Pp6UQ4PkhualdxadB5fEMDcDTgE6pP29q3cp5MiEDirptqwDDSQDESTLDcGMDqKBA1Xdbbf8AyDb0mFtAtM5MkLgZmDn6VXwPM+JDFkZmaNMkayAe0g5P5xRK61g3FF9XZNU27wUA3UzpDCdzCg5kSdoo5xnxC1ryWbPhoMBtIMnYwVOkYGMNPpSGc/8A/H/6lyXdSDcRiVLSRqlDmYJIIcydwKM/EPE2UVPDtgC6sq4UKSv9KkRiYLSTOetBrl48RfPjqWuiQdIwoEmWCjOTuOw9qF2bb3Liomu4FJ0AAnyzOB0FMDteQpbdP5jxAClACQRPechRH5dpoFxyiwwWy5aWI1o4V3acE7hre243npk4eLS/aklbiMPRhA7z/quj5XfuHhntKtq6j6FY69Rljp1BRDzGIE/LQA9jl7nSzaEiNDqA6aumImDJ2z5jBrLe4O/pN2EFwiJBEbyDiRmepn7YxcKbK3vDa2yNMMGZmUkHUNgGB9ak3CCzdF7LqZJ1HKnPmn8XWPWgCnguePa8zu3iSQQqgGOzSNIzmYJx0xUbXHtfFxF8pZerEsyBg5VnIOo4mSOh6GK3XL/DXB5yGUzEghh7GB36Vu5FyrhLdr+JN4q5DeGjFQQVBkEfiJjG2D9gCnhuV2ktlk1GVMEJJYtiA0yJmAYjP1qvgOKcEW1RkCGNFxiqhpOoK569dicUTHDgqRquMfNBViN9ukYMe8dJrLwPCMpKXT4ilSYyPMCCpLEnJg42xM7Uh0Q4vmxV2BPEWzPyFrzEfVbgHrjvSraOVWm8xUj3JY4wPNrzSphuaeAV7KrbdUTSdIQnWDGTobUqtqJkkE7nrIqS8PbuOxD+YKSWCBBAPlU5knJz/wAU1KgEjNzzjyqopaC8qInUcKAATjOxJoNxPJrp1F7oQAFgqS0RmScduk09KkAuYBOHCrwbamYfzLgIZIgQCT5VIM9fxH0rFwfEMrmGN1zv4erxDGZNyMKCI8vSmpUzIRWzxN7VqS4Trli+UX0CswxnfU3TaaJ8VZ4zSARbEQGdo6mIBDEj7d80qVI3RXd4W2Y1PdcAjq52GElpJBkjHeMdRHO7aKixgkbzLgZIwQN/KDBxA9RSpUCZq5apQ+IUA4h0IttrZShI+YJpy24iTv6Z2rbR3Rb66yMEmdyI1AqegOrcgR3pUqBmzj+EGkiyxt3AMalbVA3J1ZKqBk5iNjvWJuW3AhF+8xLQNTK3hqTiMepGSN9hSpUMEUc64dTbBXSiodRugiX1FcFZzvIwNqy8PxguAALcZFENcAhhIAwFyZEEgCR6709KgOw5yS7cyHc4MIpUZU51GBrLT1O+cA0uYcu4cNN2CjmGEgOrSApLR8k6wTE6mXfNKlQAE47kzreDDVoUeW4IOAJhseUjbM7DJxV3HspZQhPiea06kyCIlnG8xgyAJnpFKlQjLCHDJcCAG4XWQTaELAEEA3CdUbgxGDiKu4PgHvEjShfcqzO2BI0hmIEHB6ZXYxSpUGqMCWrcm04hgRIKAEYxOMdDiAQRGKVi82VKtbVvw6bZRVkgeVjuY2kxO2xpUqbMo0Dhm0XFZWn5rXh6dNsD+0GQfcnYTM4yWOb22eTKMRh0EkadpUEkAEmZA67ilSoW43sR4rinZVuFRcYgySQhEncWkAVTGPed6hwHLkdQ1tVDZ1qbmi5rGSqqwInTBnyxJ9qVKgQuU8q4ziWjRbW3aYKWcKqBs/y9ajL/ADHB7kxVfNOINp3sOo1JgtbLukQCCSTqk9ZAyTjoGpUAR4jmDJbthrUoEUSdIhiB5tsD0we5FEuDvILBuOClxSQQc2yTPVflBj1Gdx1alQCMPD8wv6g1wrpMaQoCqs7yTExgHJiR3ohft8QlouVYIWBIPlDETALRMAjVCmMSQYpUqARrs835UVBuXuIR4GtRbDAN1AIMETSpUqQWf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r-TR"/>
          </a:p>
        </p:txBody>
      </p:sp>
      <p:pic>
        <p:nvPicPr>
          <p:cNvPr id="140290" name="Picture 2" descr="Carte du Maro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08504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80528" y="175860"/>
            <a:ext cx="3671392" cy="289310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just">
              <a:buFont typeface="Monotype Sorts" pitchFamily="2" charset="2"/>
              <a:buBlip>
                <a:blip r:embed="rId5"/>
              </a:buBlip>
            </a:pPr>
            <a:endParaRPr lang="tr-TR" sz="200" b="1" dirty="0">
              <a:solidFill>
                <a:srgbClr val="FFFF66"/>
              </a:solidFill>
              <a:latin typeface="Arial Unicode MS" pitchFamily="34" charset="-128"/>
            </a:endParaRPr>
          </a:p>
          <a:p>
            <a:r>
              <a:rPr lang="tr-TR" sz="2000" b="1" dirty="0" smtClean="0">
                <a:solidFill>
                  <a:srgbClr val="FF0000"/>
                </a:solidFill>
              </a:rPr>
              <a:t>Kazablanka	  : 6 Milyon</a:t>
            </a:r>
          </a:p>
          <a:p>
            <a:r>
              <a:rPr lang="tr-TR" sz="2000" b="1" dirty="0" smtClean="0">
                <a:solidFill>
                  <a:srgbClr val="FF0000"/>
                </a:solidFill>
              </a:rPr>
              <a:t>Rabat</a:t>
            </a:r>
            <a:r>
              <a:rPr lang="tr-TR" sz="2000" b="1" dirty="0">
                <a:solidFill>
                  <a:srgbClr val="FF0000"/>
                </a:solidFill>
              </a:rPr>
              <a:t>	</a:t>
            </a:r>
            <a:r>
              <a:rPr lang="tr-TR" sz="2000" b="1" dirty="0" smtClean="0">
                <a:solidFill>
                  <a:srgbClr val="FF0000"/>
                </a:solidFill>
              </a:rPr>
              <a:t>  	  : 2,5 Milyon</a:t>
            </a:r>
          </a:p>
          <a:p>
            <a:r>
              <a:rPr lang="tr-TR" sz="2000" b="1" dirty="0" smtClean="0">
                <a:solidFill>
                  <a:srgbClr val="FF0000"/>
                </a:solidFill>
              </a:rPr>
              <a:t>Marakeş	  : 1,5 Milyon</a:t>
            </a:r>
          </a:p>
          <a:p>
            <a:r>
              <a:rPr lang="tr-TR" sz="2000" b="1" dirty="0" smtClean="0">
                <a:solidFill>
                  <a:srgbClr val="FF0000"/>
                </a:solidFill>
              </a:rPr>
              <a:t>Fes		  : 1,3 Milyon</a:t>
            </a:r>
          </a:p>
          <a:p>
            <a:r>
              <a:rPr lang="tr-TR" sz="2000" b="1" dirty="0" smtClean="0">
                <a:solidFill>
                  <a:srgbClr val="FF0000"/>
                </a:solidFill>
              </a:rPr>
              <a:t>Agadir	  	  : 1,2 Milyon</a:t>
            </a:r>
          </a:p>
          <a:p>
            <a:r>
              <a:rPr lang="tr-TR" sz="2000" b="1" dirty="0" smtClean="0">
                <a:solidFill>
                  <a:srgbClr val="FF0000"/>
                </a:solidFill>
              </a:rPr>
              <a:t>Tanger	  	  : 1,2 Milyon</a:t>
            </a:r>
          </a:p>
          <a:p>
            <a:r>
              <a:rPr lang="tr-TR" sz="2000" b="1" dirty="0" err="1" smtClean="0">
                <a:solidFill>
                  <a:srgbClr val="FF0000"/>
                </a:solidFill>
              </a:rPr>
              <a:t>Meknes</a:t>
            </a:r>
            <a:r>
              <a:rPr lang="tr-TR" sz="2000" b="1" dirty="0" smtClean="0">
                <a:solidFill>
                  <a:srgbClr val="FF0000"/>
                </a:solidFill>
              </a:rPr>
              <a:t>	  : 850 Bin</a:t>
            </a:r>
          </a:p>
          <a:p>
            <a:r>
              <a:rPr lang="tr-TR" sz="2000" b="1" dirty="0" err="1" smtClean="0">
                <a:solidFill>
                  <a:srgbClr val="FF0000"/>
                </a:solidFill>
              </a:rPr>
              <a:t>Tetouan</a:t>
            </a:r>
            <a:r>
              <a:rPr lang="tr-TR" sz="2000" b="1" dirty="0" smtClean="0">
                <a:solidFill>
                  <a:srgbClr val="FF0000"/>
                </a:solidFill>
              </a:rPr>
              <a:t>	  : 600 Bin</a:t>
            </a:r>
          </a:p>
          <a:p>
            <a:r>
              <a:rPr lang="tr-TR" sz="2000" b="1" dirty="0" err="1" smtClean="0">
                <a:solidFill>
                  <a:srgbClr val="FF0000"/>
                </a:solidFill>
              </a:rPr>
              <a:t>Kenitra</a:t>
            </a:r>
            <a:r>
              <a:rPr lang="tr-TR" sz="2000" b="1" dirty="0" smtClean="0">
                <a:solidFill>
                  <a:srgbClr val="FF0000"/>
                </a:solidFill>
              </a:rPr>
              <a:t>	  	  : 580 Bin</a:t>
            </a:r>
            <a:endParaRPr lang="tr-TR" sz="2000" b="1" dirty="0">
              <a:solidFill>
                <a:srgbClr val="FF0000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0236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500"/>
                            </p:stCondLst>
                            <p:childTnLst>
                              <p:par>
                                <p:cTn id="54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utoUpdateAnimBg="0" advAuto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/>
          </p:cNvSpPr>
          <p:nvPr>
            <p:ph type="title" idx="4294967295"/>
          </p:nvPr>
        </p:nvSpPr>
        <p:spPr>
          <a:xfrm>
            <a:off x="457200" y="46038"/>
            <a:ext cx="8229600" cy="1020762"/>
          </a:xfrm>
        </p:spPr>
        <p:txBody>
          <a:bodyPr/>
          <a:lstStyle/>
          <a:p>
            <a:pPr eaLnBrk="1" hangingPunct="1"/>
            <a:r>
              <a:rPr lang="tr-TR" sz="3600" b="1" dirty="0" smtClean="0">
                <a:solidFill>
                  <a:schemeClr val="bg1"/>
                </a:solidFill>
              </a:rPr>
              <a:t>TEMEL EKONOMİK GÖSTERGELER </a:t>
            </a:r>
            <a:endParaRPr lang="fr-FR" sz="36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459" name="Rectangle 3"/>
          <p:cNvSpPr>
            <a:spLocks noGrp="1"/>
          </p:cNvSpPr>
          <p:nvPr>
            <p:ph type="body" idx="4294967295"/>
          </p:nvPr>
        </p:nvSpPr>
        <p:spPr>
          <a:xfrm>
            <a:off x="24384" y="1066800"/>
            <a:ext cx="9012112" cy="5674568"/>
          </a:xfrm>
        </p:spPr>
        <p:txBody>
          <a:bodyPr/>
          <a:lstStyle/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GSMH</a:t>
            </a:r>
            <a:r>
              <a:rPr lang="fr-FR" sz="2800" b="1" dirty="0" smtClean="0">
                <a:solidFill>
                  <a:schemeClr val="bg1"/>
                </a:solidFill>
              </a:rPr>
              <a:t>			: </a:t>
            </a:r>
            <a:r>
              <a:rPr lang="tr-TR" sz="2800" b="1" dirty="0" smtClean="0">
                <a:solidFill>
                  <a:schemeClr val="bg1"/>
                </a:solidFill>
              </a:rPr>
              <a:t>118</a:t>
            </a:r>
            <a:r>
              <a:rPr lang="fr-FR" sz="2800" b="1" dirty="0" smtClean="0">
                <a:solidFill>
                  <a:schemeClr val="bg1"/>
                </a:solidFill>
              </a:rPr>
              <a:t> </a:t>
            </a:r>
            <a:r>
              <a:rPr lang="tr-TR" sz="2800" b="1" dirty="0" smtClean="0">
                <a:solidFill>
                  <a:schemeClr val="bg1"/>
                </a:solidFill>
              </a:rPr>
              <a:t>M</a:t>
            </a:r>
            <a:r>
              <a:rPr lang="fr-FR" sz="2800" b="1" dirty="0" smtClean="0">
                <a:solidFill>
                  <a:schemeClr val="bg1"/>
                </a:solidFill>
              </a:rPr>
              <a:t>i</a:t>
            </a:r>
            <a:r>
              <a:rPr lang="tr-TR" sz="2800" b="1" dirty="0" err="1" smtClean="0">
                <a:solidFill>
                  <a:schemeClr val="bg1"/>
                </a:solidFill>
              </a:rPr>
              <a:t>lyar</a:t>
            </a:r>
            <a:r>
              <a:rPr lang="fr-FR" sz="2800" b="1" dirty="0" smtClean="0">
                <a:solidFill>
                  <a:schemeClr val="bg1"/>
                </a:solidFill>
              </a:rPr>
              <a:t> </a:t>
            </a:r>
            <a:r>
              <a:rPr lang="tr-TR" sz="2800" b="1" dirty="0" smtClean="0">
                <a:solidFill>
                  <a:schemeClr val="bg1"/>
                </a:solidFill>
              </a:rPr>
              <a:t>$ (PPP 315 M. $)</a:t>
            </a:r>
          </a:p>
          <a:p>
            <a:pPr eaLnBrk="1" hangingPunct="1"/>
            <a:r>
              <a:rPr lang="tr-TR" sz="2800" b="1" dirty="0" err="1" smtClean="0">
                <a:solidFill>
                  <a:schemeClr val="bg1"/>
                </a:solidFill>
              </a:rPr>
              <a:t>KişiBaşı</a:t>
            </a:r>
            <a:r>
              <a:rPr lang="tr-TR" sz="2800" b="1" dirty="0" smtClean="0">
                <a:solidFill>
                  <a:schemeClr val="bg1"/>
                </a:solidFill>
              </a:rPr>
              <a:t> </a:t>
            </a:r>
            <a:r>
              <a:rPr lang="tr-TR" sz="2800" b="1" dirty="0" err="1" smtClean="0">
                <a:solidFill>
                  <a:schemeClr val="bg1"/>
                </a:solidFill>
              </a:rPr>
              <a:t>MilliGelir</a:t>
            </a:r>
            <a:r>
              <a:rPr lang="tr-TR" sz="2800" b="1" dirty="0" smtClean="0">
                <a:solidFill>
                  <a:schemeClr val="bg1"/>
                </a:solidFill>
              </a:rPr>
              <a:t> 	</a:t>
            </a:r>
            <a:r>
              <a:rPr lang="fr-FR" sz="2800" b="1" dirty="0" smtClean="0">
                <a:solidFill>
                  <a:schemeClr val="bg1"/>
                </a:solidFill>
              </a:rPr>
              <a:t>: </a:t>
            </a:r>
            <a:r>
              <a:rPr lang="tr-TR" sz="2800" b="1" dirty="0" smtClean="0">
                <a:solidFill>
                  <a:schemeClr val="bg1"/>
                </a:solidFill>
              </a:rPr>
              <a:t>3150 $ (PPP 8568 $)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Büyüme 		: %3,2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Enflasyon	 	: %1,6 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İşsizlik Oranı 		:%10 (gençlerde %27,5)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Yoksulluk Sınırı	: </a:t>
            </a:r>
            <a:r>
              <a:rPr lang="tr-TR" sz="2800" b="1" dirty="0" smtClean="0">
                <a:solidFill>
                  <a:srgbClr val="FFFF00"/>
                </a:solidFill>
              </a:rPr>
              <a:t>%20 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Dış Borç Stoku	: 49,8 Milyar $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Dış Borç Servisi	: 3,9 Milyon $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Rezervler 		: 21,4 Milyar $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Cari İşlemler D.	: -3,91 Milyar $</a:t>
            </a:r>
          </a:p>
          <a:p>
            <a:pPr eaLnBrk="1" hangingPunct="1"/>
            <a:r>
              <a:rPr lang="tr-TR" sz="2800" b="1" dirty="0" smtClean="0">
                <a:solidFill>
                  <a:schemeClr val="bg1"/>
                </a:solidFill>
              </a:rPr>
              <a:t>Kur ve Rejimi		: 1 $ = 9,8 DH</a:t>
            </a:r>
            <a:endParaRPr lang="fr-FR" sz="2800" b="1" dirty="0" smtClean="0">
              <a:solidFill>
                <a:schemeClr val="bg1"/>
              </a:solidFill>
            </a:endParaRPr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 flipV="1">
            <a:off x="0" y="908720"/>
            <a:ext cx="9144000" cy="143793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94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8" dur="500"/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500"/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945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3" dur="500"/>
                                        <p:tgtEl>
                                          <p:spTgt spid="1945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8" dur="500"/>
                                        <p:tgtEl>
                                          <p:spTgt spid="1945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8" grpId="0"/>
      <p:bldP spid="19459" grpId="0" build="p"/>
      <p:bldP spid="58675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5" name="Rectangle 5"/>
          <p:cNvSpPr>
            <a:spLocks noChangeArrowheads="1"/>
          </p:cNvSpPr>
          <p:nvPr/>
        </p:nvSpPr>
        <p:spPr bwMode="auto">
          <a:xfrm>
            <a:off x="395288" y="1712913"/>
            <a:ext cx="720725" cy="4089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26" name="Rectangle 6"/>
          <p:cNvSpPr>
            <a:spLocks noChangeArrowheads="1"/>
          </p:cNvSpPr>
          <p:nvPr/>
        </p:nvSpPr>
        <p:spPr bwMode="auto">
          <a:xfrm>
            <a:off x="898525" y="5291138"/>
            <a:ext cx="8064500" cy="5842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127" name="Rectangle 7"/>
          <p:cNvSpPr>
            <a:spLocks noChangeArrowheads="1"/>
          </p:cNvSpPr>
          <p:nvPr/>
        </p:nvSpPr>
        <p:spPr bwMode="auto">
          <a:xfrm>
            <a:off x="971550" y="1785938"/>
            <a:ext cx="215900" cy="4089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908720"/>
            <a:ext cx="9144000" cy="96838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 dirty="0">
              <a:cs typeface="+mn-cs"/>
            </a:endParaRP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429035086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2"/>
          <p:cNvSpPr txBox="1">
            <a:spLocks/>
          </p:cNvSpPr>
          <p:nvPr/>
        </p:nvSpPr>
        <p:spPr bwMode="auto">
          <a:xfrm>
            <a:off x="457200" y="274638"/>
            <a:ext cx="82296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eel Büyüme Hızı</a:t>
            </a:r>
            <a:r>
              <a:rPr kumimoji="0" lang="tr-TR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 (%)</a:t>
            </a:r>
            <a:endParaRPr kumimoji="0" lang="fr-FR" sz="3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86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6757" grpId="0" animBg="1"/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2"/>
          <p:cNvSpPr>
            <a:spLocks noGrp="1"/>
          </p:cNvSpPr>
          <p:nvPr>
            <p:ph type="title" idx="4294967295"/>
          </p:nvPr>
        </p:nvSpPr>
        <p:spPr>
          <a:xfrm>
            <a:off x="457200" y="115888"/>
            <a:ext cx="8229600" cy="1143000"/>
          </a:xfrm>
        </p:spPr>
        <p:txBody>
          <a:bodyPr/>
          <a:lstStyle/>
          <a:p>
            <a:pPr eaLnBrk="1" hangingPunct="1"/>
            <a:r>
              <a:rPr lang="tr-TR" sz="3800" b="1" dirty="0" err="1" smtClean="0">
                <a:solidFill>
                  <a:schemeClr val="bg1"/>
                </a:solidFill>
              </a:rPr>
              <a:t>GSMH’nın</a:t>
            </a:r>
            <a:r>
              <a:rPr lang="tr-TR" sz="3800" b="1" dirty="0" smtClean="0">
                <a:solidFill>
                  <a:schemeClr val="bg1"/>
                </a:solidFill>
              </a:rPr>
              <a:t> ve İşgücünün </a:t>
            </a:r>
            <a:br>
              <a:rPr lang="tr-TR" sz="3800" b="1" dirty="0" smtClean="0">
                <a:solidFill>
                  <a:schemeClr val="bg1"/>
                </a:solidFill>
              </a:rPr>
            </a:br>
            <a:r>
              <a:rPr lang="tr-TR" sz="3800" b="1" dirty="0" err="1" smtClean="0">
                <a:solidFill>
                  <a:schemeClr val="bg1"/>
                </a:solidFill>
              </a:rPr>
              <a:t>Sektörel</a:t>
            </a:r>
            <a:r>
              <a:rPr lang="tr-TR" sz="3800" b="1" dirty="0" smtClean="0">
                <a:solidFill>
                  <a:schemeClr val="bg1"/>
                </a:solidFill>
              </a:rPr>
              <a:t> Dağılımı (%)</a:t>
            </a:r>
            <a:endParaRPr lang="fr-FR" sz="3800" b="1" dirty="0" smtClean="0">
              <a:solidFill>
                <a:schemeClr val="bg1"/>
              </a:solidFill>
            </a:endParaRPr>
          </a:p>
        </p:txBody>
      </p:sp>
      <p:graphicFrame>
        <p:nvGraphicFramePr>
          <p:cNvPr id="5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8286289"/>
              </p:ext>
            </p:extLst>
          </p:nvPr>
        </p:nvGraphicFramePr>
        <p:xfrm>
          <a:off x="179512" y="1628800"/>
          <a:ext cx="4176464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6757" name="Rectangle 5"/>
          <p:cNvSpPr>
            <a:spLocks noChangeArrowheads="1"/>
          </p:cNvSpPr>
          <p:nvPr/>
        </p:nvSpPr>
        <p:spPr bwMode="auto">
          <a:xfrm>
            <a:off x="0" y="1243931"/>
            <a:ext cx="9144000" cy="96837"/>
          </a:xfrm>
          <a:prstGeom prst="rect">
            <a:avLst/>
          </a:prstGeom>
          <a:gradFill rotWithShape="0">
            <a:gsLst>
              <a:gs pos="0">
                <a:schemeClr val="accent1">
                  <a:gamma/>
                  <a:shade val="4627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40000"/>
              </a:lnSpc>
              <a:buClr>
                <a:schemeClr val="tx2"/>
              </a:buClr>
              <a:buSzPct val="80000"/>
              <a:buFont typeface="Wingdings" pitchFamily="2" charset="2"/>
              <a:buChar char="n"/>
              <a:defRPr/>
            </a:pPr>
            <a:endParaRPr lang="en-US" sz="2400">
              <a:cs typeface="+mn-cs"/>
            </a:endParaRPr>
          </a:p>
        </p:txBody>
      </p:sp>
      <p:graphicFrame>
        <p:nvGraphicFramePr>
          <p:cNvPr id="7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388543"/>
              </p:ext>
            </p:extLst>
          </p:nvPr>
        </p:nvGraphicFramePr>
        <p:xfrm>
          <a:off x="4355976" y="1546945"/>
          <a:ext cx="4680520" cy="4546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:fade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7" dur="500"/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2" dur="500"/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86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1" dur="500"/>
                                        <p:tgtEl>
                                          <p:spTgt spid="7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" dur="500"/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1" dur="500"/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6" dur="500"/>
                                        <p:tgtEl>
                                          <p:spTgt spid="7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category"/>
        </p:bldSub>
      </p:bldGraphic>
      <p:bldP spid="586757" grpId="0" animBg="1"/>
      <p:bldGraphic spid="7" grpId="0">
        <p:bldSub>
          <a:bldChart bld="category"/>
        </p:bldSub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HYljkxvECuzUdpvTng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cuvkA8cUuFSuKom2uI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JCBbnJZ02leNwu7tg6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WNCdWS0E6375yZc35f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Kc7k5EKkOoDPKFR6Z_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yZ4e0GDEGXO_IS8SRU0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RTRTl4W0OVkoeK3XQd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ybV6SipES7FKHiZu9z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GneH4wRkaP4kzmAYjm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WeRAzeREWWU6VZZ0Ad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vMaDNjOEClBXEJmUcPd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kWkDyvrEWIRHKLCBGq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eVHkfyEku2nwv2ucYr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Rs9lqm9EaXkCBlCU920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xKVyqKlkOtt7cxjOMb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R1HUk70067d7GtNuci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8TgE2btEqOblRl7_vk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3GcCs_CUO9RgGG2YAz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yGPWsACUS4fLqU.SLF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5.1MO2UEOhbfTltH.3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vR55Mikka4MLJ6Z9DK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utTaMvyU2.7NCSdi5d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r8VK5cyUi2RMvu7shj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MPYQOLJUWdDO6Jx6zc4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oWovQsUk6cvb4_K7vM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ku_W3H0GBw9DX7qPK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cpCAttQkObm76JjAfV8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mjUocHxEGU1FdX9Mf1M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IE3bAzEkmZmfPt3x0h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ZX.01bbk23JYUvE6f94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RkFR79kUSfxy43nV2g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okx2FhBEei_uMSK4LE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cJAOIsVEK44xBoYSLn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iCUpBqYEGuh3lgxIxL0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Iumn2zG0SUkCCIqPrY_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Y2gehGbEi3o9XeV2.V4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xc_NcHiE6fZvZCta4e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O6K5CNMUGj4HjDq_Ts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ekDqVOnEGxnQneeXpX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V3_7yyS0OUBojwzYj6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U3wrsa.kGV_SUM_lna_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_y2JLfj0a9lel3Azps0g"/>
</p:tagLst>
</file>

<file path=ppt/theme/theme1.xml><?xml version="1.0" encoding="utf-8"?>
<a:theme xmlns:a="http://schemas.openxmlformats.org/drawingml/2006/main" name="13_Thème Office">
  <a:themeElements>
    <a:clrScheme name="13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Thème Off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3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6560</TotalTime>
  <Words>1573</Words>
  <Application>Microsoft Office PowerPoint</Application>
  <PresentationFormat>Ekran Gösterisi (4:3)</PresentationFormat>
  <Paragraphs>631</Paragraphs>
  <Slides>57</Slides>
  <Notes>33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13</vt:i4>
      </vt:variant>
      <vt:variant>
        <vt:lpstr>Tema</vt:lpstr>
      </vt:variant>
      <vt:variant>
        <vt:i4>1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57</vt:i4>
      </vt:variant>
    </vt:vector>
  </HeadingPairs>
  <TitlesOfParts>
    <vt:vector size="72" baseType="lpstr">
      <vt:lpstr>MS PGothic</vt:lpstr>
      <vt:lpstr>Albertus Extra Bold</vt:lpstr>
      <vt:lpstr>Arial</vt:lpstr>
      <vt:lpstr>Arial Unicode MS</vt:lpstr>
      <vt:lpstr>Calibri</vt:lpstr>
      <vt:lpstr>Monotype Sorts</vt:lpstr>
      <vt:lpstr>黑体</vt:lpstr>
      <vt:lpstr>Symbol</vt:lpstr>
      <vt:lpstr>Tahoma</vt:lpstr>
      <vt:lpstr>Times New Roman</vt:lpstr>
      <vt:lpstr>Times New Roman Tur</vt:lpstr>
      <vt:lpstr>Trebuchet MS</vt:lpstr>
      <vt:lpstr>Wingdings</vt:lpstr>
      <vt:lpstr>13_Thème Office</vt:lpstr>
      <vt:lpstr>think-cell Slide</vt:lpstr>
      <vt:lpstr>PowerPoint Sunusu</vt:lpstr>
      <vt:lpstr>KISACA FAS TARİHİ</vt:lpstr>
      <vt:lpstr>GENEL BİLGİLER</vt:lpstr>
      <vt:lpstr>POLİTİK SİSTEM</vt:lpstr>
      <vt:lpstr>PowerPoint Sunusu</vt:lpstr>
      <vt:lpstr>PowerPoint Sunusu</vt:lpstr>
      <vt:lpstr>TEMEL EKONOMİK GÖSTERGELER </vt:lpstr>
      <vt:lpstr>PowerPoint Sunusu</vt:lpstr>
      <vt:lpstr>GSMH’nın ve İşgücünün  Sektörel Dağılımı (%)</vt:lpstr>
      <vt:lpstr>BAŞLICA İSTİHDAM ALANLARI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DIŞ BORÇ (Milyar $)</vt:lpstr>
      <vt:lpstr>PowerPoint Sunusu</vt:lpstr>
      <vt:lpstr>PowerPoint Sunusu</vt:lpstr>
      <vt:lpstr>PowerPoint Sunusu</vt:lpstr>
      <vt:lpstr>KUZEY AFRİKA (FDI-STOK) (2017-Milyar $)</vt:lpstr>
      <vt:lpstr>Doğrudan Yabancı Sermaye Yatırımları Ülke ve Sektörel Dağılım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KARŞILAŞTIRMALI MALİYETLER</vt:lpstr>
      <vt:lpstr>PowerPoint Sunusu</vt:lpstr>
      <vt:lpstr>FAS’IN DIŞ TİCARETİ (MİLYAR $)</vt:lpstr>
      <vt:lpstr>PowerPoint Sunusu</vt:lpstr>
      <vt:lpstr>PowerPoint Sunusu</vt:lpstr>
      <vt:lpstr>PowerPoint Sunusu</vt:lpstr>
      <vt:lpstr>KDV VE GÜMRÜK VERGİLERİ </vt:lpstr>
      <vt:lpstr>PowerPoint Sunusu</vt:lpstr>
      <vt:lpstr>PowerPoint Sunusu</vt:lpstr>
      <vt:lpstr>PowerPoint Sunusu</vt:lpstr>
      <vt:lpstr>Türkiye-Fas Dış Ticarette  Belli Başlı Mallar</vt:lpstr>
      <vt:lpstr>TÜRK FİRMALARININ ÜSTLENDİĞİ MÜTEAHHİTLİK PROJELERİ</vt:lpstr>
      <vt:lpstr> FAS  İHRACAT-YATIRIM-İŞ İMKANLARI </vt:lpstr>
      <vt:lpstr> FAS İLE TİCARETTE DİKKAT EDİLECEK HUSUSLAR</vt:lpstr>
      <vt:lpstr>FAS’TA YERLEŞİK TÜRK FİRMALARI</vt:lpstr>
      <vt:lpstr>FAS’TA YERLEŞİK TÜRK FİRMALARI</vt:lpstr>
      <vt:lpstr>PowerPoint Sunusu</vt:lpstr>
      <vt:lpstr>PowerPoint Sunusu</vt:lpstr>
      <vt:lpstr> T.C. RABAT BÜYÜKELÇİLİĞİ TİCARET MÜŞAVİRLİĞİ KAZABLANKA OFİSİ 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 TURQUIE EN BREF</dc:title>
  <dc:creator>DT PARIS</dc:creator>
  <cp:lastModifiedBy>Gökhan ÜSKÜDAR</cp:lastModifiedBy>
  <cp:revision>1655</cp:revision>
  <dcterms:created xsi:type="dcterms:W3CDTF">2008-06-23T09:17:30Z</dcterms:created>
  <dcterms:modified xsi:type="dcterms:W3CDTF">2019-04-01T09:27:27Z</dcterms:modified>
</cp:coreProperties>
</file>